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3"/>
  </p:notesMasterIdLst>
  <p:handoutMasterIdLst>
    <p:handoutMasterId r:id="rId34"/>
  </p:handoutMasterIdLst>
  <p:sldIdLst>
    <p:sldId id="256" r:id="rId2"/>
    <p:sldId id="269" r:id="rId3"/>
    <p:sldId id="258" r:id="rId4"/>
    <p:sldId id="271" r:id="rId5"/>
    <p:sldId id="273" r:id="rId6"/>
    <p:sldId id="274" r:id="rId7"/>
    <p:sldId id="275" r:id="rId8"/>
    <p:sldId id="276" r:id="rId9"/>
    <p:sldId id="292" r:id="rId10"/>
    <p:sldId id="277" r:id="rId11"/>
    <p:sldId id="278" r:id="rId12"/>
    <p:sldId id="279" r:id="rId13"/>
    <p:sldId id="281" r:id="rId14"/>
    <p:sldId id="293" r:id="rId15"/>
    <p:sldId id="282" r:id="rId16"/>
    <p:sldId id="283" r:id="rId17"/>
    <p:sldId id="284" r:id="rId18"/>
    <p:sldId id="285" r:id="rId19"/>
    <p:sldId id="294" r:id="rId20"/>
    <p:sldId id="286" r:id="rId21"/>
    <p:sldId id="296" r:id="rId22"/>
    <p:sldId id="298" r:id="rId23"/>
    <p:sldId id="299" r:id="rId24"/>
    <p:sldId id="288" r:id="rId25"/>
    <p:sldId id="289" r:id="rId26"/>
    <p:sldId id="295" r:id="rId27"/>
    <p:sldId id="290" r:id="rId28"/>
    <p:sldId id="301" r:id="rId29"/>
    <p:sldId id="300" r:id="rId30"/>
    <p:sldId id="291" r:id="rId31"/>
    <p:sldId id="261" r:id="rId32"/>
  </p:sldIdLst>
  <p:sldSz cx="12192000" cy="6858000"/>
  <p:notesSz cx="6858000" cy="9144000"/>
  <p:custDataLst>
    <p:tags r:id="rId3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AAFF"/>
    <a:srgbClr val="4F86FF"/>
    <a:srgbClr val="81CBFF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655" autoAdjust="0"/>
    <p:restoredTop sz="96182" autoAdjust="0"/>
  </p:normalViewPr>
  <p:slideViewPr>
    <p:cSldViewPr snapToGrid="0">
      <p:cViewPr varScale="1">
        <p:scale>
          <a:sx n="128" d="100"/>
          <a:sy n="128" d="100"/>
        </p:scale>
        <p:origin x="216" y="17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9" d="100"/>
        <a:sy n="139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5/1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5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>
            <a:extLst>
              <a:ext uri="{FF2B5EF4-FFF2-40B4-BE49-F238E27FC236}">
                <a16:creationId xmlns:a16="http://schemas.microsoft.com/office/drawing/2014/main" id="{4E8E7876-369D-4842-90FD-B7493F7362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715233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58688" y="4126794"/>
            <a:ext cx="6119586" cy="55879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www.freepptbackgrounds.net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058688" y="4833729"/>
            <a:ext cx="6119586" cy="12512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reepptbackgrounds.net</a:t>
            </a:r>
            <a:endParaRPr lang="zh-CN" altLang="en-US"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973CAC01-8834-4F76-840F-7B7C3095437B}"/>
              </a:ext>
            </a:extLst>
          </p:cNvPr>
          <p:cNvCxnSpPr>
            <a:cxnSpLocks/>
          </p:cNvCxnSpPr>
          <p:nvPr userDrawn="1"/>
        </p:nvCxnSpPr>
        <p:spPr>
          <a:xfrm>
            <a:off x="1058688" y="4730320"/>
            <a:ext cx="2555369" cy="0"/>
          </a:xfrm>
          <a:prstGeom prst="line">
            <a:avLst/>
          </a:prstGeom>
          <a:ln>
            <a:solidFill>
              <a:srgbClr val="538D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í$ḷîḑê">
            <a:extLst>
              <a:ext uri="{FF2B5EF4-FFF2-40B4-BE49-F238E27FC236}">
                <a16:creationId xmlns:a16="http://schemas.microsoft.com/office/drawing/2014/main" id="{0CEB6C2A-EB3D-4609-B2D8-CD968875BEE9}"/>
              </a:ext>
            </a:extLst>
          </p:cNvPr>
          <p:cNvSpPr/>
          <p:nvPr userDrawn="1"/>
        </p:nvSpPr>
        <p:spPr>
          <a:xfrm>
            <a:off x="-2359" y="-38530"/>
            <a:ext cx="12192000" cy="3783256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 hasCustomPrompt="1"/>
          </p:nvPr>
        </p:nvSpPr>
        <p:spPr>
          <a:xfrm>
            <a:off x="675698" y="4185069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tr-TR" altLang="zh-CN" dirty="0"/>
              <a:t>Freepptbackgrounds.net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 hasCustomPrompt="1"/>
          </p:nvPr>
        </p:nvSpPr>
        <p:spPr>
          <a:xfrm>
            <a:off x="676814" y="5080419"/>
            <a:ext cx="54191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>
                    <a:lumMod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altLang="zh-CN" dirty="0"/>
              <a:t>www.freepptbackgrounds.net</a:t>
            </a:r>
            <a:endParaRPr lang="zh-CN" altLang="en-US" dirty="0"/>
          </a:p>
        </p:txBody>
      </p:sp>
      <p:sp>
        <p:nvSpPr>
          <p:cNvPr id="6" name="íṥḻiḓe">
            <a:extLst>
              <a:ext uri="{FF2B5EF4-FFF2-40B4-BE49-F238E27FC236}">
                <a16:creationId xmlns:a16="http://schemas.microsoft.com/office/drawing/2014/main" id="{4B9D2C4D-E278-486B-A5E7-AC77CC51FBC2}"/>
              </a:ext>
            </a:extLst>
          </p:cNvPr>
          <p:cNvSpPr/>
          <p:nvPr/>
        </p:nvSpPr>
        <p:spPr>
          <a:xfrm>
            <a:off x="8316982" y="3324591"/>
            <a:ext cx="935729" cy="2752145"/>
          </a:xfrm>
          <a:custGeom>
            <a:avLst/>
            <a:gdLst>
              <a:gd name="connsiteX0" fmla="*/ 591711 w 935729"/>
              <a:gd name="connsiteY0" fmla="*/ 0 h 2752144"/>
              <a:gd name="connsiteX1" fmla="*/ 478873 w 935729"/>
              <a:gd name="connsiteY1" fmla="*/ 0 h 2752144"/>
              <a:gd name="connsiteX2" fmla="*/ 476121 w 935729"/>
              <a:gd name="connsiteY2" fmla="*/ 0 h 2752144"/>
              <a:gd name="connsiteX3" fmla="*/ 363283 w 935729"/>
              <a:gd name="connsiteY3" fmla="*/ 0 h 2752144"/>
              <a:gd name="connsiteX4" fmla="*/ 0 w 935729"/>
              <a:gd name="connsiteY4" fmla="*/ 2774162 h 2752144"/>
              <a:gd name="connsiteX5" fmla="*/ 952241 w 935729"/>
              <a:gd name="connsiteY5" fmla="*/ 2774162 h 2752144"/>
              <a:gd name="connsiteX6" fmla="*/ 591711 w 935729"/>
              <a:gd name="connsiteY6" fmla="*/ 0 h 2752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5729" h="2752144">
                <a:moveTo>
                  <a:pt x="591711" y="0"/>
                </a:moveTo>
                <a:lnTo>
                  <a:pt x="478873" y="0"/>
                </a:lnTo>
                <a:lnTo>
                  <a:pt x="476121" y="0"/>
                </a:lnTo>
                <a:lnTo>
                  <a:pt x="363283" y="0"/>
                </a:lnTo>
                <a:cubicBezTo>
                  <a:pt x="363283" y="1315525"/>
                  <a:pt x="0" y="2774162"/>
                  <a:pt x="0" y="2774162"/>
                </a:cubicBezTo>
                <a:lnTo>
                  <a:pt x="952241" y="2774162"/>
                </a:lnTo>
                <a:cubicBezTo>
                  <a:pt x="954994" y="2774162"/>
                  <a:pt x="591711" y="1315525"/>
                  <a:pt x="591711" y="0"/>
                </a:cubicBezTo>
                <a:close/>
              </a:path>
            </a:pathLst>
          </a:custGeom>
          <a:solidFill>
            <a:srgbClr val="F0E0A8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7" name="îŝļïḓe">
            <a:extLst>
              <a:ext uri="{FF2B5EF4-FFF2-40B4-BE49-F238E27FC236}">
                <a16:creationId xmlns:a16="http://schemas.microsoft.com/office/drawing/2014/main" id="{576ADDFA-8664-4DB6-B4C0-1A9A6EF85384}"/>
              </a:ext>
            </a:extLst>
          </p:cNvPr>
          <p:cNvSpPr/>
          <p:nvPr/>
        </p:nvSpPr>
        <p:spPr>
          <a:xfrm>
            <a:off x="8603205" y="3236522"/>
            <a:ext cx="385300" cy="825643"/>
          </a:xfrm>
          <a:custGeom>
            <a:avLst/>
            <a:gdLst>
              <a:gd name="connsiteX0" fmla="*/ 385300 w 385300"/>
              <a:gd name="connsiteY0" fmla="*/ 192650 h 825643"/>
              <a:gd name="connsiteX1" fmla="*/ 192650 w 385300"/>
              <a:gd name="connsiteY1" fmla="*/ 850413 h 825643"/>
              <a:gd name="connsiteX2" fmla="*/ 0 w 385300"/>
              <a:gd name="connsiteY2" fmla="*/ 192650 h 825643"/>
              <a:gd name="connsiteX3" fmla="*/ 192650 w 385300"/>
              <a:gd name="connsiteY3" fmla="*/ 0 h 825643"/>
              <a:gd name="connsiteX4" fmla="*/ 385300 w 385300"/>
              <a:gd name="connsiteY4" fmla="*/ 19265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25643">
                <a:moveTo>
                  <a:pt x="385300" y="192650"/>
                </a:moveTo>
                <a:cubicBezTo>
                  <a:pt x="385300" y="299984"/>
                  <a:pt x="192650" y="850413"/>
                  <a:pt x="192650" y="850413"/>
                </a:cubicBezTo>
                <a:cubicBezTo>
                  <a:pt x="192650" y="850413"/>
                  <a:pt x="0" y="297232"/>
                  <a:pt x="0" y="192650"/>
                </a:cubicBezTo>
                <a:cubicBezTo>
                  <a:pt x="0" y="85316"/>
                  <a:pt x="85317" y="0"/>
                  <a:pt x="192650" y="0"/>
                </a:cubicBezTo>
                <a:cubicBezTo>
                  <a:pt x="299984" y="0"/>
                  <a:pt x="385300" y="85316"/>
                  <a:pt x="385300" y="19265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îṣľïdê">
            <a:extLst>
              <a:ext uri="{FF2B5EF4-FFF2-40B4-BE49-F238E27FC236}">
                <a16:creationId xmlns:a16="http://schemas.microsoft.com/office/drawing/2014/main" id="{E0A9797B-855F-4638-8F86-0264DD9A909D}"/>
              </a:ext>
            </a:extLst>
          </p:cNvPr>
          <p:cNvSpPr/>
          <p:nvPr/>
        </p:nvSpPr>
        <p:spPr>
          <a:xfrm>
            <a:off x="8578436" y="3123684"/>
            <a:ext cx="412822" cy="247693"/>
          </a:xfrm>
          <a:custGeom>
            <a:avLst/>
            <a:gdLst>
              <a:gd name="connsiteX0" fmla="*/ 434839 w 412821"/>
              <a:gd name="connsiteY0" fmla="*/ 247693 h 247693"/>
              <a:gd name="connsiteX1" fmla="*/ 0 w 412821"/>
              <a:gd name="connsiteY1" fmla="*/ 247693 h 247693"/>
              <a:gd name="connsiteX2" fmla="*/ 35778 w 412821"/>
              <a:gd name="connsiteY2" fmla="*/ 0 h 247693"/>
              <a:gd name="connsiteX3" fmla="*/ 399061 w 412821"/>
              <a:gd name="connsiteY3" fmla="*/ 0 h 247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821" h="247693">
                <a:moveTo>
                  <a:pt x="434839" y="247693"/>
                </a:moveTo>
                <a:lnTo>
                  <a:pt x="0" y="247693"/>
                </a:lnTo>
                <a:lnTo>
                  <a:pt x="35778" y="0"/>
                </a:lnTo>
                <a:lnTo>
                  <a:pt x="399061" y="0"/>
                </a:lnTo>
                <a:close/>
              </a:path>
            </a:pathLst>
          </a:custGeom>
          <a:solidFill>
            <a:srgbClr val="52607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ïsľiḋê">
            <a:extLst>
              <a:ext uri="{FF2B5EF4-FFF2-40B4-BE49-F238E27FC236}">
                <a16:creationId xmlns:a16="http://schemas.microsoft.com/office/drawing/2014/main" id="{3CE770D3-ADD6-4126-B431-13B415934AE8}"/>
              </a:ext>
            </a:extLst>
          </p:cNvPr>
          <p:cNvSpPr/>
          <p:nvPr/>
        </p:nvSpPr>
        <p:spPr>
          <a:xfrm>
            <a:off x="8160109" y="2765905"/>
            <a:ext cx="385300" cy="880686"/>
          </a:xfrm>
          <a:custGeom>
            <a:avLst/>
            <a:gdLst>
              <a:gd name="connsiteX0" fmla="*/ 322001 w 385300"/>
              <a:gd name="connsiteY0" fmla="*/ 0 h 880686"/>
              <a:gd name="connsiteX1" fmla="*/ 0 w 385300"/>
              <a:gd name="connsiteY1" fmla="*/ 330257 h 880686"/>
              <a:gd name="connsiteX2" fmla="*/ 283471 w 385300"/>
              <a:gd name="connsiteY2" fmla="*/ 880686 h 880686"/>
              <a:gd name="connsiteX3" fmla="*/ 399061 w 385300"/>
              <a:gd name="connsiteY3" fmla="*/ 880686 h 880686"/>
              <a:gd name="connsiteX4" fmla="*/ 399061 w 385300"/>
              <a:gd name="connsiteY4" fmla="*/ 0 h 88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80686">
                <a:moveTo>
                  <a:pt x="322001" y="0"/>
                </a:moveTo>
                <a:lnTo>
                  <a:pt x="0" y="330257"/>
                </a:lnTo>
                <a:lnTo>
                  <a:pt x="283471" y="880686"/>
                </a:lnTo>
                <a:lnTo>
                  <a:pt x="399061" y="880686"/>
                </a:lnTo>
                <a:lnTo>
                  <a:pt x="399061" y="0"/>
                </a:ln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0" name="íṥ1íde">
            <a:extLst>
              <a:ext uri="{FF2B5EF4-FFF2-40B4-BE49-F238E27FC236}">
                <a16:creationId xmlns:a16="http://schemas.microsoft.com/office/drawing/2014/main" id="{EAE73F03-B85A-4711-B2FF-65E1E74783E2}"/>
              </a:ext>
            </a:extLst>
          </p:cNvPr>
          <p:cNvSpPr/>
          <p:nvPr/>
        </p:nvSpPr>
        <p:spPr>
          <a:xfrm>
            <a:off x="9032539" y="2765905"/>
            <a:ext cx="385300" cy="880686"/>
          </a:xfrm>
          <a:custGeom>
            <a:avLst/>
            <a:gdLst>
              <a:gd name="connsiteX0" fmla="*/ 74307 w 385300"/>
              <a:gd name="connsiteY0" fmla="*/ 0 h 880686"/>
              <a:gd name="connsiteX1" fmla="*/ 399061 w 385300"/>
              <a:gd name="connsiteY1" fmla="*/ 330257 h 880686"/>
              <a:gd name="connsiteX2" fmla="*/ 115590 w 385300"/>
              <a:gd name="connsiteY2" fmla="*/ 880686 h 880686"/>
              <a:gd name="connsiteX3" fmla="*/ 0 w 385300"/>
              <a:gd name="connsiteY3" fmla="*/ 880686 h 880686"/>
              <a:gd name="connsiteX4" fmla="*/ 0 w 385300"/>
              <a:gd name="connsiteY4" fmla="*/ 0 h 88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80686">
                <a:moveTo>
                  <a:pt x="74307" y="0"/>
                </a:moveTo>
                <a:lnTo>
                  <a:pt x="399061" y="330257"/>
                </a:lnTo>
                <a:lnTo>
                  <a:pt x="115590" y="880686"/>
                </a:lnTo>
                <a:lnTo>
                  <a:pt x="0" y="880686"/>
                </a:lnTo>
                <a:lnTo>
                  <a:pt x="0" y="0"/>
                </a:ln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1" name="iṧḻídê">
            <a:extLst>
              <a:ext uri="{FF2B5EF4-FFF2-40B4-BE49-F238E27FC236}">
                <a16:creationId xmlns:a16="http://schemas.microsoft.com/office/drawing/2014/main" id="{D9337412-E02A-461C-ABA0-D4D429FCC407}"/>
              </a:ext>
            </a:extLst>
          </p:cNvPr>
          <p:cNvSpPr/>
          <p:nvPr/>
        </p:nvSpPr>
        <p:spPr>
          <a:xfrm>
            <a:off x="8290252" y="1629270"/>
            <a:ext cx="990772" cy="1596244"/>
          </a:xfrm>
          <a:custGeom>
            <a:avLst/>
            <a:gdLst>
              <a:gd name="connsiteX0" fmla="*/ 978972 w 990772"/>
              <a:gd name="connsiteY0" fmla="*/ 0 h 1596243"/>
              <a:gd name="connsiteX1" fmla="*/ 505603 w 990772"/>
              <a:gd name="connsiteY1" fmla="*/ 85316 h 1596243"/>
              <a:gd name="connsiteX2" fmla="*/ 32234 w 990772"/>
              <a:gd name="connsiteY2" fmla="*/ 0 h 1596243"/>
              <a:gd name="connsiteX3" fmla="*/ 268919 w 990772"/>
              <a:gd name="connsiteY3" fmla="*/ 1604500 h 1596243"/>
              <a:gd name="connsiteX4" fmla="*/ 505603 w 990772"/>
              <a:gd name="connsiteY4" fmla="*/ 1604500 h 1596243"/>
              <a:gd name="connsiteX5" fmla="*/ 742288 w 990772"/>
              <a:gd name="connsiteY5" fmla="*/ 1604500 h 1596243"/>
              <a:gd name="connsiteX6" fmla="*/ 978972 w 990772"/>
              <a:gd name="connsiteY6" fmla="*/ 0 h 159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772" h="1596243">
                <a:moveTo>
                  <a:pt x="978972" y="0"/>
                </a:moveTo>
                <a:lnTo>
                  <a:pt x="505603" y="85316"/>
                </a:lnTo>
                <a:lnTo>
                  <a:pt x="32234" y="0"/>
                </a:lnTo>
                <a:cubicBezTo>
                  <a:pt x="-110877" y="935729"/>
                  <a:pt x="268919" y="1604500"/>
                  <a:pt x="268919" y="1604500"/>
                </a:cubicBezTo>
                <a:lnTo>
                  <a:pt x="505603" y="1604500"/>
                </a:lnTo>
                <a:lnTo>
                  <a:pt x="742288" y="1604500"/>
                </a:lnTo>
                <a:cubicBezTo>
                  <a:pt x="742288" y="1607252"/>
                  <a:pt x="1119331" y="935729"/>
                  <a:pt x="978972" y="0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2" name="ïśļîḓé">
            <a:extLst>
              <a:ext uri="{FF2B5EF4-FFF2-40B4-BE49-F238E27FC236}">
                <a16:creationId xmlns:a16="http://schemas.microsoft.com/office/drawing/2014/main" id="{18EEADD6-3C70-423A-B867-A47B422AA9CF}"/>
              </a:ext>
            </a:extLst>
          </p:cNvPr>
          <p:cNvSpPr/>
          <p:nvPr/>
        </p:nvSpPr>
        <p:spPr>
          <a:xfrm>
            <a:off x="8322486" y="891695"/>
            <a:ext cx="935729" cy="825643"/>
          </a:xfrm>
          <a:custGeom>
            <a:avLst/>
            <a:gdLst>
              <a:gd name="connsiteX0" fmla="*/ 473369 w 935729"/>
              <a:gd name="connsiteY0" fmla="*/ 0 h 825643"/>
              <a:gd name="connsiteX1" fmla="*/ 0 w 935729"/>
              <a:gd name="connsiteY1" fmla="*/ 737575 h 825643"/>
              <a:gd name="connsiteX2" fmla="*/ 473369 w 935729"/>
              <a:gd name="connsiteY2" fmla="*/ 842156 h 825643"/>
              <a:gd name="connsiteX3" fmla="*/ 946738 w 935729"/>
              <a:gd name="connsiteY3" fmla="*/ 737575 h 825643"/>
              <a:gd name="connsiteX4" fmla="*/ 473369 w 935729"/>
              <a:gd name="connsiteY4" fmla="*/ 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5729" h="825643">
                <a:moveTo>
                  <a:pt x="473369" y="0"/>
                </a:moveTo>
                <a:cubicBezTo>
                  <a:pt x="88069" y="288975"/>
                  <a:pt x="0" y="737575"/>
                  <a:pt x="0" y="737575"/>
                </a:cubicBezTo>
                <a:cubicBezTo>
                  <a:pt x="0" y="737575"/>
                  <a:pt x="211915" y="842156"/>
                  <a:pt x="473369" y="842156"/>
                </a:cubicBezTo>
                <a:cubicBezTo>
                  <a:pt x="734823" y="842156"/>
                  <a:pt x="946738" y="737575"/>
                  <a:pt x="946738" y="737575"/>
                </a:cubicBezTo>
                <a:cubicBezTo>
                  <a:pt x="946738" y="737575"/>
                  <a:pt x="858669" y="288975"/>
                  <a:pt x="473369" y="0"/>
                </a:cubicBez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ïşḷïḋé">
            <a:extLst>
              <a:ext uri="{FF2B5EF4-FFF2-40B4-BE49-F238E27FC236}">
                <a16:creationId xmlns:a16="http://schemas.microsoft.com/office/drawing/2014/main" id="{B8EE6B79-47AD-4A82-893F-4CFFA03FCCCC}"/>
              </a:ext>
            </a:extLst>
          </p:cNvPr>
          <p:cNvSpPr/>
          <p:nvPr/>
        </p:nvSpPr>
        <p:spPr>
          <a:xfrm>
            <a:off x="8526145" y="1821920"/>
            <a:ext cx="522907" cy="522907"/>
          </a:xfrm>
          <a:custGeom>
            <a:avLst/>
            <a:gdLst>
              <a:gd name="connsiteX0" fmla="*/ 539420 w 522907"/>
              <a:gd name="connsiteY0" fmla="*/ 269710 h 522907"/>
              <a:gd name="connsiteX1" fmla="*/ 269710 w 522907"/>
              <a:gd name="connsiteY1" fmla="*/ 539420 h 522907"/>
              <a:gd name="connsiteX2" fmla="*/ 1 w 522907"/>
              <a:gd name="connsiteY2" fmla="*/ 269710 h 522907"/>
              <a:gd name="connsiteX3" fmla="*/ 269710 w 522907"/>
              <a:gd name="connsiteY3" fmla="*/ 0 h 522907"/>
              <a:gd name="connsiteX4" fmla="*/ 539420 w 522907"/>
              <a:gd name="connsiteY4" fmla="*/ 269710 h 522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907" h="522907">
                <a:moveTo>
                  <a:pt x="539420" y="269710"/>
                </a:moveTo>
                <a:cubicBezTo>
                  <a:pt x="539420" y="418667"/>
                  <a:pt x="418667" y="539420"/>
                  <a:pt x="269710" y="539420"/>
                </a:cubicBezTo>
                <a:cubicBezTo>
                  <a:pt x="120754" y="539420"/>
                  <a:pt x="1" y="418667"/>
                  <a:pt x="1" y="269710"/>
                </a:cubicBezTo>
                <a:cubicBezTo>
                  <a:pt x="1" y="120753"/>
                  <a:pt x="120754" y="0"/>
                  <a:pt x="269710" y="0"/>
                </a:cubicBezTo>
                <a:cubicBezTo>
                  <a:pt x="418667" y="0"/>
                  <a:pt x="539420" y="120753"/>
                  <a:pt x="539420" y="269710"/>
                </a:cubicBez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4" name="iṩ1ïďè">
            <a:extLst>
              <a:ext uri="{FF2B5EF4-FFF2-40B4-BE49-F238E27FC236}">
                <a16:creationId xmlns:a16="http://schemas.microsoft.com/office/drawing/2014/main" id="{1C4E4086-7506-4C98-915D-6621A35123F7}"/>
              </a:ext>
            </a:extLst>
          </p:cNvPr>
          <p:cNvSpPr/>
          <p:nvPr/>
        </p:nvSpPr>
        <p:spPr>
          <a:xfrm>
            <a:off x="8526145" y="1794398"/>
            <a:ext cx="522907" cy="522907"/>
          </a:xfrm>
          <a:custGeom>
            <a:avLst/>
            <a:gdLst>
              <a:gd name="connsiteX0" fmla="*/ 539420 w 522907"/>
              <a:gd name="connsiteY0" fmla="*/ 269710 h 522907"/>
              <a:gd name="connsiteX1" fmla="*/ 269710 w 522907"/>
              <a:gd name="connsiteY1" fmla="*/ 539420 h 522907"/>
              <a:gd name="connsiteX2" fmla="*/ 1 w 522907"/>
              <a:gd name="connsiteY2" fmla="*/ 269710 h 522907"/>
              <a:gd name="connsiteX3" fmla="*/ 269710 w 522907"/>
              <a:gd name="connsiteY3" fmla="*/ 0 h 522907"/>
              <a:gd name="connsiteX4" fmla="*/ 539420 w 522907"/>
              <a:gd name="connsiteY4" fmla="*/ 269710 h 522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907" h="522907">
                <a:moveTo>
                  <a:pt x="539420" y="269710"/>
                </a:moveTo>
                <a:cubicBezTo>
                  <a:pt x="539420" y="418667"/>
                  <a:pt x="418667" y="539420"/>
                  <a:pt x="269710" y="539420"/>
                </a:cubicBezTo>
                <a:cubicBezTo>
                  <a:pt x="120754" y="539420"/>
                  <a:pt x="1" y="418667"/>
                  <a:pt x="1" y="269710"/>
                </a:cubicBezTo>
                <a:cubicBezTo>
                  <a:pt x="1" y="120753"/>
                  <a:pt x="120754" y="0"/>
                  <a:pt x="269710" y="0"/>
                </a:cubicBezTo>
                <a:cubicBezTo>
                  <a:pt x="418667" y="0"/>
                  <a:pt x="539420" y="120753"/>
                  <a:pt x="539420" y="269710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" name="îṡlïḓe">
            <a:extLst>
              <a:ext uri="{FF2B5EF4-FFF2-40B4-BE49-F238E27FC236}">
                <a16:creationId xmlns:a16="http://schemas.microsoft.com/office/drawing/2014/main" id="{19287916-88D7-4D7C-ABB3-C6C4BFC14AE8}"/>
              </a:ext>
            </a:extLst>
          </p:cNvPr>
          <p:cNvSpPr/>
          <p:nvPr/>
        </p:nvSpPr>
        <p:spPr>
          <a:xfrm>
            <a:off x="8570179" y="1838433"/>
            <a:ext cx="440343" cy="440343"/>
          </a:xfrm>
          <a:custGeom>
            <a:avLst/>
            <a:gdLst>
              <a:gd name="connsiteX0" fmla="*/ 451351 w 440343"/>
              <a:gd name="connsiteY0" fmla="*/ 225676 h 440343"/>
              <a:gd name="connsiteX1" fmla="*/ 225675 w 440343"/>
              <a:gd name="connsiteY1" fmla="*/ 451352 h 440343"/>
              <a:gd name="connsiteX2" fmla="*/ -1 w 440343"/>
              <a:gd name="connsiteY2" fmla="*/ 225676 h 440343"/>
              <a:gd name="connsiteX3" fmla="*/ 225675 w 440343"/>
              <a:gd name="connsiteY3" fmla="*/ 0 h 440343"/>
              <a:gd name="connsiteX4" fmla="*/ 451351 w 440343"/>
              <a:gd name="connsiteY4" fmla="*/ 225676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451351" y="225676"/>
                </a:moveTo>
                <a:cubicBezTo>
                  <a:pt x="451351" y="350313"/>
                  <a:pt x="350313" y="451352"/>
                  <a:pt x="225675" y="451352"/>
                </a:cubicBezTo>
                <a:cubicBezTo>
                  <a:pt x="101038" y="451352"/>
                  <a:pt x="-1" y="350313"/>
                  <a:pt x="-1" y="225676"/>
                </a:cubicBezTo>
                <a:cubicBezTo>
                  <a:pt x="-1" y="101039"/>
                  <a:pt x="101038" y="0"/>
                  <a:pt x="225675" y="0"/>
                </a:cubicBezTo>
                <a:cubicBezTo>
                  <a:pt x="350313" y="0"/>
                  <a:pt x="451351" y="101039"/>
                  <a:pt x="451351" y="225676"/>
                </a:cubicBezTo>
                <a:close/>
              </a:path>
            </a:pathLst>
          </a:custGeom>
          <a:solidFill>
            <a:srgbClr val="364459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6" name="ïsļíďê">
            <a:extLst>
              <a:ext uri="{FF2B5EF4-FFF2-40B4-BE49-F238E27FC236}">
                <a16:creationId xmlns:a16="http://schemas.microsoft.com/office/drawing/2014/main" id="{9DEDE7E6-C407-4FCD-99B4-ED9C8D02B696}"/>
              </a:ext>
            </a:extLst>
          </p:cNvPr>
          <p:cNvSpPr/>
          <p:nvPr/>
        </p:nvSpPr>
        <p:spPr>
          <a:xfrm>
            <a:off x="8572931" y="1863202"/>
            <a:ext cx="440343" cy="412822"/>
          </a:xfrm>
          <a:custGeom>
            <a:avLst/>
            <a:gdLst>
              <a:gd name="connsiteX0" fmla="*/ 222924 w 440343"/>
              <a:gd name="connsiteY0" fmla="*/ 0 h 412821"/>
              <a:gd name="connsiteX1" fmla="*/ 0 w 440343"/>
              <a:gd name="connsiteY1" fmla="*/ 211915 h 412821"/>
              <a:gd name="connsiteX2" fmla="*/ 222924 w 440343"/>
              <a:gd name="connsiteY2" fmla="*/ 423830 h 412821"/>
              <a:gd name="connsiteX3" fmla="*/ 445848 w 440343"/>
              <a:gd name="connsiteY3" fmla="*/ 211915 h 412821"/>
              <a:gd name="connsiteX4" fmla="*/ 222924 w 440343"/>
              <a:gd name="connsiteY4" fmla="*/ 0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12821">
                <a:moveTo>
                  <a:pt x="222924" y="0"/>
                </a:moveTo>
                <a:cubicBezTo>
                  <a:pt x="101830" y="0"/>
                  <a:pt x="5505" y="93573"/>
                  <a:pt x="0" y="211915"/>
                </a:cubicBezTo>
                <a:cubicBezTo>
                  <a:pt x="5505" y="330257"/>
                  <a:pt x="104581" y="423830"/>
                  <a:pt x="222924" y="423830"/>
                </a:cubicBezTo>
                <a:cubicBezTo>
                  <a:pt x="344018" y="423830"/>
                  <a:pt x="440343" y="330257"/>
                  <a:pt x="445848" y="211915"/>
                </a:cubicBezTo>
                <a:cubicBezTo>
                  <a:pt x="440343" y="93573"/>
                  <a:pt x="344018" y="0"/>
                  <a:pt x="222924" y="0"/>
                </a:cubicBezTo>
                <a:close/>
              </a:path>
            </a:pathLst>
          </a:custGeom>
          <a:solidFill>
            <a:srgbClr val="52607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7" name="iśļîďé">
            <a:extLst>
              <a:ext uri="{FF2B5EF4-FFF2-40B4-BE49-F238E27FC236}">
                <a16:creationId xmlns:a16="http://schemas.microsoft.com/office/drawing/2014/main" id="{B4235B6A-B258-4434-B53C-0DF8104C2596}"/>
              </a:ext>
            </a:extLst>
          </p:cNvPr>
          <p:cNvSpPr/>
          <p:nvPr/>
        </p:nvSpPr>
        <p:spPr>
          <a:xfrm>
            <a:off x="8570179" y="1841185"/>
            <a:ext cx="412822" cy="330257"/>
          </a:xfrm>
          <a:custGeom>
            <a:avLst/>
            <a:gdLst>
              <a:gd name="connsiteX0" fmla="*/ 225676 w 412821"/>
              <a:gd name="connsiteY0" fmla="*/ 0 h 330257"/>
              <a:gd name="connsiteX1" fmla="*/ 0 w 412821"/>
              <a:gd name="connsiteY1" fmla="*/ 225676 h 330257"/>
              <a:gd name="connsiteX2" fmla="*/ 38530 w 412821"/>
              <a:gd name="connsiteY2" fmla="*/ 349522 h 330257"/>
              <a:gd name="connsiteX3" fmla="*/ 421079 w 412821"/>
              <a:gd name="connsiteY3" fmla="*/ 115590 h 330257"/>
              <a:gd name="connsiteX4" fmla="*/ 225676 w 412821"/>
              <a:gd name="connsiteY4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2821" h="330257">
                <a:moveTo>
                  <a:pt x="225676" y="0"/>
                </a:moveTo>
                <a:cubicBezTo>
                  <a:pt x="101830" y="0"/>
                  <a:pt x="0" y="101829"/>
                  <a:pt x="0" y="225676"/>
                </a:cubicBezTo>
                <a:cubicBezTo>
                  <a:pt x="0" y="272462"/>
                  <a:pt x="13761" y="313745"/>
                  <a:pt x="38530" y="349522"/>
                </a:cubicBezTo>
                <a:lnTo>
                  <a:pt x="421079" y="115590"/>
                </a:lnTo>
                <a:cubicBezTo>
                  <a:pt x="382548" y="44034"/>
                  <a:pt x="308241" y="0"/>
                  <a:pt x="225676" y="0"/>
                </a:cubicBezTo>
                <a:close/>
              </a:path>
            </a:pathLst>
          </a:custGeom>
          <a:solidFill>
            <a:srgbClr val="FFFFFF">
              <a:alpha val="2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íSľîḋe">
            <a:extLst>
              <a:ext uri="{FF2B5EF4-FFF2-40B4-BE49-F238E27FC236}">
                <a16:creationId xmlns:a16="http://schemas.microsoft.com/office/drawing/2014/main" id="{C22FFDBC-B703-49F0-B9A2-0D44C4DB4393}"/>
              </a:ext>
            </a:extLst>
          </p:cNvPr>
          <p:cNvSpPr/>
          <p:nvPr/>
        </p:nvSpPr>
        <p:spPr>
          <a:xfrm>
            <a:off x="8476606" y="3054881"/>
            <a:ext cx="632993" cy="27521"/>
          </a:xfrm>
          <a:custGeom>
            <a:avLst/>
            <a:gdLst>
              <a:gd name="connsiteX0" fmla="*/ 638498 w 632993"/>
              <a:gd name="connsiteY0" fmla="*/ 0 h 27521"/>
              <a:gd name="connsiteX1" fmla="*/ 0 w 632993"/>
              <a:gd name="connsiteY1" fmla="*/ 0 h 27521"/>
              <a:gd name="connsiteX2" fmla="*/ 11008 w 632993"/>
              <a:gd name="connsiteY2" fmla="*/ 27521 h 27521"/>
              <a:gd name="connsiteX3" fmla="*/ 624737 w 632993"/>
              <a:gd name="connsiteY3" fmla="*/ 27521 h 27521"/>
              <a:gd name="connsiteX4" fmla="*/ 638498 w 632993"/>
              <a:gd name="connsiteY4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993" h="27521">
                <a:moveTo>
                  <a:pt x="638498" y="0"/>
                </a:moveTo>
                <a:lnTo>
                  <a:pt x="0" y="0"/>
                </a:lnTo>
                <a:cubicBezTo>
                  <a:pt x="2752" y="8257"/>
                  <a:pt x="8256" y="19265"/>
                  <a:pt x="11008" y="27521"/>
                </a:cubicBezTo>
                <a:lnTo>
                  <a:pt x="624737" y="27521"/>
                </a:lnTo>
                <a:cubicBezTo>
                  <a:pt x="630241" y="19265"/>
                  <a:pt x="632993" y="8257"/>
                  <a:pt x="638498" y="0"/>
                </a:cubicBez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9" name="iṥľîḍé">
            <a:extLst>
              <a:ext uri="{FF2B5EF4-FFF2-40B4-BE49-F238E27FC236}">
                <a16:creationId xmlns:a16="http://schemas.microsoft.com/office/drawing/2014/main" id="{70CD57D8-A556-42B1-92BD-AFFD89475DAC}"/>
              </a:ext>
            </a:extLst>
          </p:cNvPr>
          <p:cNvSpPr/>
          <p:nvPr/>
        </p:nvSpPr>
        <p:spPr>
          <a:xfrm>
            <a:off x="8416058" y="2878743"/>
            <a:ext cx="743079" cy="27521"/>
          </a:xfrm>
          <a:custGeom>
            <a:avLst/>
            <a:gdLst>
              <a:gd name="connsiteX0" fmla="*/ 0 w 743079"/>
              <a:gd name="connsiteY0" fmla="*/ 0 h 27521"/>
              <a:gd name="connsiteX1" fmla="*/ 8257 w 743079"/>
              <a:gd name="connsiteY1" fmla="*/ 27521 h 27521"/>
              <a:gd name="connsiteX2" fmla="*/ 751336 w 743079"/>
              <a:gd name="connsiteY2" fmla="*/ 27521 h 27521"/>
              <a:gd name="connsiteX3" fmla="*/ 759592 w 743079"/>
              <a:gd name="connsiteY3" fmla="*/ 0 h 27521"/>
              <a:gd name="connsiteX4" fmla="*/ 0 w 743079"/>
              <a:gd name="connsiteY4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3079" h="27521">
                <a:moveTo>
                  <a:pt x="0" y="0"/>
                </a:moveTo>
                <a:cubicBezTo>
                  <a:pt x="2752" y="8257"/>
                  <a:pt x="5505" y="19265"/>
                  <a:pt x="8257" y="27521"/>
                </a:cubicBezTo>
                <a:lnTo>
                  <a:pt x="751336" y="27521"/>
                </a:lnTo>
                <a:cubicBezTo>
                  <a:pt x="754088" y="19265"/>
                  <a:pt x="756840" y="8257"/>
                  <a:pt x="75959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2" name="i$ḷîḓé">
            <a:extLst>
              <a:ext uri="{FF2B5EF4-FFF2-40B4-BE49-F238E27FC236}">
                <a16:creationId xmlns:a16="http://schemas.microsoft.com/office/drawing/2014/main" id="{003BE360-7A2F-4CE2-A33F-0D6BE8D78D9B}"/>
              </a:ext>
            </a:extLst>
          </p:cNvPr>
          <p:cNvSpPr/>
          <p:nvPr userDrawn="1"/>
        </p:nvSpPr>
        <p:spPr>
          <a:xfrm>
            <a:off x="2603530" y="1210944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îşļíďé">
            <a:extLst>
              <a:ext uri="{FF2B5EF4-FFF2-40B4-BE49-F238E27FC236}">
                <a16:creationId xmlns:a16="http://schemas.microsoft.com/office/drawing/2014/main" id="{10A46B75-4CB3-4159-91B4-76AE8433560E}"/>
              </a:ext>
            </a:extLst>
          </p:cNvPr>
          <p:cNvSpPr/>
          <p:nvPr/>
        </p:nvSpPr>
        <p:spPr>
          <a:xfrm>
            <a:off x="11091143" y="302736"/>
            <a:ext cx="825643" cy="412822"/>
          </a:xfrm>
          <a:custGeom>
            <a:avLst/>
            <a:gdLst>
              <a:gd name="connsiteX0" fmla="*/ 0 w 825643"/>
              <a:gd name="connsiteY0" fmla="*/ 0 h 412821"/>
              <a:gd name="connsiteX1" fmla="*/ 101830 w 825643"/>
              <a:gd name="connsiteY1" fmla="*/ 143112 h 412821"/>
              <a:gd name="connsiteX2" fmla="*/ 277967 w 825643"/>
              <a:gd name="connsiteY2" fmla="*/ 145864 h 412821"/>
              <a:gd name="connsiteX3" fmla="*/ 377044 w 825643"/>
              <a:gd name="connsiteY3" fmla="*/ 288975 h 412821"/>
              <a:gd name="connsiteX4" fmla="*/ 553181 w 825643"/>
              <a:gd name="connsiteY4" fmla="*/ 291727 h 412821"/>
              <a:gd name="connsiteX5" fmla="*/ 655010 w 825643"/>
              <a:gd name="connsiteY5" fmla="*/ 434839 h 412821"/>
              <a:gd name="connsiteX6" fmla="*/ 828396 w 825643"/>
              <a:gd name="connsiteY6" fmla="*/ 437591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5643" h="412821">
                <a:moveTo>
                  <a:pt x="0" y="0"/>
                </a:moveTo>
                <a:lnTo>
                  <a:pt x="101830" y="143112"/>
                </a:lnTo>
                <a:lnTo>
                  <a:pt x="277967" y="145864"/>
                </a:lnTo>
                <a:lnTo>
                  <a:pt x="377044" y="288975"/>
                </a:lnTo>
                <a:lnTo>
                  <a:pt x="553181" y="291727"/>
                </a:lnTo>
                <a:lnTo>
                  <a:pt x="655010" y="434839"/>
                </a:lnTo>
                <a:lnTo>
                  <a:pt x="828396" y="437591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ś1ïḑê">
            <a:extLst>
              <a:ext uri="{FF2B5EF4-FFF2-40B4-BE49-F238E27FC236}">
                <a16:creationId xmlns:a16="http://schemas.microsoft.com/office/drawing/2014/main" id="{2EDB1647-72FC-447B-B72A-287870657966}"/>
              </a:ext>
            </a:extLst>
          </p:cNvPr>
          <p:cNvSpPr/>
          <p:nvPr/>
        </p:nvSpPr>
        <p:spPr>
          <a:xfrm>
            <a:off x="6745507" y="3330095"/>
            <a:ext cx="137607" cy="137607"/>
          </a:xfrm>
          <a:custGeom>
            <a:avLst/>
            <a:gdLst>
              <a:gd name="connsiteX0" fmla="*/ 137607 w 137607"/>
              <a:gd name="connsiteY0" fmla="*/ 68804 h 137607"/>
              <a:gd name="connsiteX1" fmla="*/ 68804 w 137607"/>
              <a:gd name="connsiteY1" fmla="*/ 137607 h 137607"/>
              <a:gd name="connsiteX2" fmla="*/ 0 w 137607"/>
              <a:gd name="connsiteY2" fmla="*/ 68804 h 137607"/>
              <a:gd name="connsiteX3" fmla="*/ 68804 w 137607"/>
              <a:gd name="connsiteY3" fmla="*/ 0 h 137607"/>
              <a:gd name="connsiteX4" fmla="*/ 137607 w 137607"/>
              <a:gd name="connsiteY4" fmla="*/ 68804 h 1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37607">
                <a:moveTo>
                  <a:pt x="137607" y="68804"/>
                </a:moveTo>
                <a:cubicBezTo>
                  <a:pt x="137607" y="106803"/>
                  <a:pt x="106803" y="137607"/>
                  <a:pt x="68804" y="137607"/>
                </a:cubicBezTo>
                <a:cubicBezTo>
                  <a:pt x="30805" y="137607"/>
                  <a:pt x="0" y="106803"/>
                  <a:pt x="0" y="68804"/>
                </a:cubicBezTo>
                <a:cubicBezTo>
                  <a:pt x="0" y="30804"/>
                  <a:pt x="30805" y="0"/>
                  <a:pt x="68804" y="0"/>
                </a:cubicBezTo>
                <a:cubicBezTo>
                  <a:pt x="106803" y="0"/>
                  <a:pt x="137607" y="30804"/>
                  <a:pt x="137607" y="68804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iṥľíḑê">
            <a:extLst>
              <a:ext uri="{FF2B5EF4-FFF2-40B4-BE49-F238E27FC236}">
                <a16:creationId xmlns:a16="http://schemas.microsoft.com/office/drawing/2014/main" id="{54F17FC3-13F9-40DE-93F9-DE115C43F676}"/>
              </a:ext>
            </a:extLst>
          </p:cNvPr>
          <p:cNvSpPr/>
          <p:nvPr userDrawn="1"/>
        </p:nvSpPr>
        <p:spPr>
          <a:xfrm>
            <a:off x="985269" y="927473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7" name="iš1iḓe">
            <a:extLst>
              <a:ext uri="{FF2B5EF4-FFF2-40B4-BE49-F238E27FC236}">
                <a16:creationId xmlns:a16="http://schemas.microsoft.com/office/drawing/2014/main" id="{8BFE8511-EE67-4DEA-812E-7D0ADBECCF7F}"/>
              </a:ext>
            </a:extLst>
          </p:cNvPr>
          <p:cNvSpPr/>
          <p:nvPr/>
        </p:nvSpPr>
        <p:spPr>
          <a:xfrm>
            <a:off x="10675569" y="3365873"/>
            <a:ext cx="192650" cy="192650"/>
          </a:xfrm>
          <a:custGeom>
            <a:avLst/>
            <a:gdLst>
              <a:gd name="connsiteX0" fmla="*/ 192650 w 192650"/>
              <a:gd name="connsiteY0" fmla="*/ 96325 h 192650"/>
              <a:gd name="connsiteX1" fmla="*/ 96325 w 192650"/>
              <a:gd name="connsiteY1" fmla="*/ 192650 h 192650"/>
              <a:gd name="connsiteX2" fmla="*/ 0 w 192650"/>
              <a:gd name="connsiteY2" fmla="*/ 96325 h 192650"/>
              <a:gd name="connsiteX3" fmla="*/ 96325 w 192650"/>
              <a:gd name="connsiteY3" fmla="*/ 0 h 192650"/>
              <a:gd name="connsiteX4" fmla="*/ 192650 w 192650"/>
              <a:gd name="connsiteY4" fmla="*/ 9632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50" h="192650">
                <a:moveTo>
                  <a:pt x="192650" y="96325"/>
                </a:moveTo>
                <a:cubicBezTo>
                  <a:pt x="192650" y="149524"/>
                  <a:pt x="149523" y="192650"/>
                  <a:pt x="96325" y="192650"/>
                </a:cubicBezTo>
                <a:cubicBezTo>
                  <a:pt x="43126" y="192650"/>
                  <a:pt x="0" y="149524"/>
                  <a:pt x="0" y="96325"/>
                </a:cubicBezTo>
                <a:cubicBezTo>
                  <a:pt x="0" y="43126"/>
                  <a:pt x="43126" y="0"/>
                  <a:pt x="96325" y="0"/>
                </a:cubicBezTo>
                <a:cubicBezTo>
                  <a:pt x="149523" y="0"/>
                  <a:pt x="192650" y="43126"/>
                  <a:pt x="192650" y="96325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8" name="îṡḷiḍé">
            <a:extLst>
              <a:ext uri="{FF2B5EF4-FFF2-40B4-BE49-F238E27FC236}">
                <a16:creationId xmlns:a16="http://schemas.microsoft.com/office/drawing/2014/main" id="{6E3D9E46-2714-4560-9F3F-B0442D16F220}"/>
              </a:ext>
            </a:extLst>
          </p:cNvPr>
          <p:cNvSpPr/>
          <p:nvPr userDrawn="1"/>
        </p:nvSpPr>
        <p:spPr>
          <a:xfrm>
            <a:off x="5220819" y="1177918"/>
            <a:ext cx="467865" cy="467865"/>
          </a:xfrm>
          <a:custGeom>
            <a:avLst/>
            <a:gdLst>
              <a:gd name="connsiteX0" fmla="*/ 478873 w 467864"/>
              <a:gd name="connsiteY0" fmla="*/ 239437 h 467864"/>
              <a:gd name="connsiteX1" fmla="*/ 239437 w 467864"/>
              <a:gd name="connsiteY1" fmla="*/ 478873 h 467864"/>
              <a:gd name="connsiteX2" fmla="*/ 0 w 467864"/>
              <a:gd name="connsiteY2" fmla="*/ 239437 h 467864"/>
              <a:gd name="connsiteX3" fmla="*/ 239437 w 467864"/>
              <a:gd name="connsiteY3" fmla="*/ 0 h 467864"/>
              <a:gd name="connsiteX4" fmla="*/ 478873 w 467864"/>
              <a:gd name="connsiteY4" fmla="*/ 239437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7864" h="467864">
                <a:moveTo>
                  <a:pt x="478873" y="239437"/>
                </a:moveTo>
                <a:cubicBezTo>
                  <a:pt x="478873" y="371674"/>
                  <a:pt x="371674" y="478873"/>
                  <a:pt x="239437" y="478873"/>
                </a:cubicBezTo>
                <a:cubicBezTo>
                  <a:pt x="107200" y="478873"/>
                  <a:pt x="0" y="371674"/>
                  <a:pt x="0" y="239437"/>
                </a:cubicBezTo>
                <a:cubicBezTo>
                  <a:pt x="0" y="107199"/>
                  <a:pt x="107200" y="0"/>
                  <a:pt x="239437" y="0"/>
                </a:cubicBezTo>
                <a:cubicBezTo>
                  <a:pt x="371674" y="0"/>
                  <a:pt x="478873" y="107199"/>
                  <a:pt x="478873" y="239437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9" name="iṣļïďe">
            <a:extLst>
              <a:ext uri="{FF2B5EF4-FFF2-40B4-BE49-F238E27FC236}">
                <a16:creationId xmlns:a16="http://schemas.microsoft.com/office/drawing/2014/main" id="{16213269-75F4-458F-969F-98A333F40D37}"/>
              </a:ext>
            </a:extLst>
          </p:cNvPr>
          <p:cNvSpPr/>
          <p:nvPr/>
        </p:nvSpPr>
        <p:spPr>
          <a:xfrm>
            <a:off x="9880200" y="1312773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0" name="išlïḑe">
            <a:extLst>
              <a:ext uri="{FF2B5EF4-FFF2-40B4-BE49-F238E27FC236}">
                <a16:creationId xmlns:a16="http://schemas.microsoft.com/office/drawing/2014/main" id="{77E619EA-0014-45E4-906E-4A5F8C012482}"/>
              </a:ext>
            </a:extLst>
          </p:cNvPr>
          <p:cNvSpPr/>
          <p:nvPr/>
        </p:nvSpPr>
        <p:spPr>
          <a:xfrm>
            <a:off x="9943499" y="1249474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6599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6599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1" name="iṩḻîḍê">
            <a:extLst>
              <a:ext uri="{FF2B5EF4-FFF2-40B4-BE49-F238E27FC236}">
                <a16:creationId xmlns:a16="http://schemas.microsoft.com/office/drawing/2014/main" id="{335521EF-D722-479E-8B0F-C9DEEE698257}"/>
              </a:ext>
            </a:extLst>
          </p:cNvPr>
          <p:cNvSpPr/>
          <p:nvPr userDrawn="1"/>
        </p:nvSpPr>
        <p:spPr>
          <a:xfrm>
            <a:off x="7070260" y="632993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2" name="iŝḷïḍê">
            <a:extLst>
              <a:ext uri="{FF2B5EF4-FFF2-40B4-BE49-F238E27FC236}">
                <a16:creationId xmlns:a16="http://schemas.microsoft.com/office/drawing/2014/main" id="{97A36413-78AF-412B-9C8B-4D925DFCE9D0}"/>
              </a:ext>
            </a:extLst>
          </p:cNvPr>
          <p:cNvSpPr/>
          <p:nvPr userDrawn="1"/>
        </p:nvSpPr>
        <p:spPr>
          <a:xfrm>
            <a:off x="7133559" y="569694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3847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3847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3" name="îṥlíḓè">
            <a:extLst>
              <a:ext uri="{FF2B5EF4-FFF2-40B4-BE49-F238E27FC236}">
                <a16:creationId xmlns:a16="http://schemas.microsoft.com/office/drawing/2014/main" id="{5613AED9-EC14-4A2F-84AA-6EB33997F192}"/>
              </a:ext>
            </a:extLst>
          </p:cNvPr>
          <p:cNvSpPr/>
          <p:nvPr/>
        </p:nvSpPr>
        <p:spPr>
          <a:xfrm>
            <a:off x="10152662" y="2691598"/>
            <a:ext cx="440343" cy="440343"/>
          </a:xfrm>
          <a:custGeom>
            <a:avLst/>
            <a:gdLst>
              <a:gd name="connsiteX0" fmla="*/ 162376 w 440343"/>
              <a:gd name="connsiteY0" fmla="*/ 443095 h 440343"/>
              <a:gd name="connsiteX1" fmla="*/ 0 w 440343"/>
              <a:gd name="connsiteY1" fmla="*/ 162376 h 440343"/>
              <a:gd name="connsiteX2" fmla="*/ 280719 w 440343"/>
              <a:gd name="connsiteY2" fmla="*/ 0 h 440343"/>
              <a:gd name="connsiteX3" fmla="*/ 443095 w 440343"/>
              <a:gd name="connsiteY3" fmla="*/ 280719 h 440343"/>
              <a:gd name="connsiteX4" fmla="*/ 162376 w 440343"/>
              <a:gd name="connsiteY4" fmla="*/ 443095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162376" y="443095"/>
                </a:moveTo>
                <a:cubicBezTo>
                  <a:pt x="214668" y="239437"/>
                  <a:pt x="203659" y="217419"/>
                  <a:pt x="0" y="162376"/>
                </a:cubicBezTo>
                <a:cubicBezTo>
                  <a:pt x="203659" y="214667"/>
                  <a:pt x="225676" y="203659"/>
                  <a:pt x="280719" y="0"/>
                </a:cubicBezTo>
                <a:cubicBezTo>
                  <a:pt x="228429" y="203659"/>
                  <a:pt x="239437" y="225676"/>
                  <a:pt x="443095" y="280719"/>
                </a:cubicBezTo>
                <a:cubicBezTo>
                  <a:pt x="236685" y="228428"/>
                  <a:pt x="217419" y="239437"/>
                  <a:pt x="162376" y="443095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4" name="ïSḻíḑê">
            <a:extLst>
              <a:ext uri="{FF2B5EF4-FFF2-40B4-BE49-F238E27FC236}">
                <a16:creationId xmlns:a16="http://schemas.microsoft.com/office/drawing/2014/main" id="{224DCD4A-E727-46EE-896E-80B7EBB83E40}"/>
              </a:ext>
            </a:extLst>
          </p:cNvPr>
          <p:cNvSpPr/>
          <p:nvPr userDrawn="1"/>
        </p:nvSpPr>
        <p:spPr>
          <a:xfrm>
            <a:off x="3385139" y="1981544"/>
            <a:ext cx="275214" cy="275214"/>
          </a:xfrm>
          <a:custGeom>
            <a:avLst/>
            <a:gdLst>
              <a:gd name="connsiteX0" fmla="*/ 220172 w 275214"/>
              <a:gd name="connsiteY0" fmla="*/ 277967 h 275214"/>
              <a:gd name="connsiteX1" fmla="*/ 0 w 275214"/>
              <a:gd name="connsiteY1" fmla="*/ 220172 h 275214"/>
              <a:gd name="connsiteX2" fmla="*/ 57795 w 275214"/>
              <a:gd name="connsiteY2" fmla="*/ 0 h 275214"/>
              <a:gd name="connsiteX3" fmla="*/ 277967 w 275214"/>
              <a:gd name="connsiteY3" fmla="*/ 57795 h 275214"/>
              <a:gd name="connsiteX4" fmla="*/ 220172 w 275214"/>
              <a:gd name="connsiteY4" fmla="*/ 277967 h 275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214" h="275214">
                <a:moveTo>
                  <a:pt x="220172" y="277967"/>
                </a:moveTo>
                <a:cubicBezTo>
                  <a:pt x="145864" y="148616"/>
                  <a:pt x="129351" y="145864"/>
                  <a:pt x="0" y="220172"/>
                </a:cubicBezTo>
                <a:cubicBezTo>
                  <a:pt x="129351" y="145864"/>
                  <a:pt x="132103" y="129351"/>
                  <a:pt x="57795" y="0"/>
                </a:cubicBezTo>
                <a:cubicBezTo>
                  <a:pt x="132103" y="129351"/>
                  <a:pt x="148616" y="132103"/>
                  <a:pt x="277967" y="57795"/>
                </a:cubicBezTo>
                <a:cubicBezTo>
                  <a:pt x="151368" y="134855"/>
                  <a:pt x="145864" y="151368"/>
                  <a:pt x="220172" y="27796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í$ļíḋé">
            <a:extLst>
              <a:ext uri="{FF2B5EF4-FFF2-40B4-BE49-F238E27FC236}">
                <a16:creationId xmlns:a16="http://schemas.microsoft.com/office/drawing/2014/main" id="{426E4134-F12E-430D-BF79-EF431E02A88A}"/>
              </a:ext>
            </a:extLst>
          </p:cNvPr>
          <p:cNvSpPr/>
          <p:nvPr userDrawn="1"/>
        </p:nvSpPr>
        <p:spPr>
          <a:xfrm>
            <a:off x="6096001" y="1447628"/>
            <a:ext cx="1431115" cy="1431115"/>
          </a:xfrm>
          <a:custGeom>
            <a:avLst/>
            <a:gdLst>
              <a:gd name="connsiteX0" fmla="*/ 1436620 w 1431115"/>
              <a:gd name="connsiteY0" fmla="*/ 718310 h 1431115"/>
              <a:gd name="connsiteX1" fmla="*/ 718310 w 1431115"/>
              <a:gd name="connsiteY1" fmla="*/ 1436619 h 1431115"/>
              <a:gd name="connsiteX2" fmla="*/ 0 w 1431115"/>
              <a:gd name="connsiteY2" fmla="*/ 718310 h 1431115"/>
              <a:gd name="connsiteX3" fmla="*/ 718310 w 1431115"/>
              <a:gd name="connsiteY3" fmla="*/ 0 h 1431115"/>
              <a:gd name="connsiteX4" fmla="*/ 1436620 w 1431115"/>
              <a:gd name="connsiteY4" fmla="*/ 718310 h 1431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115" h="1431115">
                <a:moveTo>
                  <a:pt x="1436620" y="718310"/>
                </a:moveTo>
                <a:cubicBezTo>
                  <a:pt x="1436620" y="1115021"/>
                  <a:pt x="1115022" y="1436619"/>
                  <a:pt x="718310" y="1436619"/>
                </a:cubicBezTo>
                <a:cubicBezTo>
                  <a:pt x="321599" y="1436619"/>
                  <a:pt x="0" y="1115021"/>
                  <a:pt x="0" y="718310"/>
                </a:cubicBezTo>
                <a:cubicBezTo>
                  <a:pt x="0" y="321598"/>
                  <a:pt x="321598" y="0"/>
                  <a:pt x="718310" y="0"/>
                </a:cubicBezTo>
                <a:cubicBezTo>
                  <a:pt x="1115022" y="0"/>
                  <a:pt x="1436620" y="321598"/>
                  <a:pt x="1436620" y="71831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6" name="îśliďe">
            <a:extLst>
              <a:ext uri="{FF2B5EF4-FFF2-40B4-BE49-F238E27FC236}">
                <a16:creationId xmlns:a16="http://schemas.microsoft.com/office/drawing/2014/main" id="{2C3704EB-6F9B-48B3-B4B5-83C5EF2F9B5E}"/>
              </a:ext>
            </a:extLst>
          </p:cNvPr>
          <p:cNvSpPr/>
          <p:nvPr userDrawn="1"/>
        </p:nvSpPr>
        <p:spPr>
          <a:xfrm>
            <a:off x="6310668" y="1662295"/>
            <a:ext cx="990772" cy="990772"/>
          </a:xfrm>
          <a:custGeom>
            <a:avLst/>
            <a:gdLst>
              <a:gd name="connsiteX0" fmla="*/ 1007285 w 990772"/>
              <a:gd name="connsiteY0" fmla="*/ 503642 h 990772"/>
              <a:gd name="connsiteX1" fmla="*/ 503642 w 990772"/>
              <a:gd name="connsiteY1" fmla="*/ 1007285 h 990772"/>
              <a:gd name="connsiteX2" fmla="*/ 0 w 990772"/>
              <a:gd name="connsiteY2" fmla="*/ 503642 h 990772"/>
              <a:gd name="connsiteX3" fmla="*/ 503642 w 990772"/>
              <a:gd name="connsiteY3" fmla="*/ 0 h 990772"/>
              <a:gd name="connsiteX4" fmla="*/ 1007285 w 990772"/>
              <a:gd name="connsiteY4" fmla="*/ 503642 h 990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772" h="990772">
                <a:moveTo>
                  <a:pt x="1007285" y="503642"/>
                </a:moveTo>
                <a:cubicBezTo>
                  <a:pt x="1007285" y="781796"/>
                  <a:pt x="781797" y="1007285"/>
                  <a:pt x="503642" y="1007285"/>
                </a:cubicBezTo>
                <a:cubicBezTo>
                  <a:pt x="225488" y="1007285"/>
                  <a:pt x="0" y="781796"/>
                  <a:pt x="0" y="503642"/>
                </a:cubicBezTo>
                <a:cubicBezTo>
                  <a:pt x="0" y="225488"/>
                  <a:pt x="225488" y="0"/>
                  <a:pt x="503642" y="0"/>
                </a:cubicBezTo>
                <a:cubicBezTo>
                  <a:pt x="781796" y="0"/>
                  <a:pt x="1007285" y="225488"/>
                  <a:pt x="1007285" y="503642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7" name="í$ḻïďé">
            <a:extLst>
              <a:ext uri="{FF2B5EF4-FFF2-40B4-BE49-F238E27FC236}">
                <a16:creationId xmlns:a16="http://schemas.microsoft.com/office/drawing/2014/main" id="{1D8CFF3B-5011-4061-83F2-19A7A18E380B}"/>
              </a:ext>
            </a:extLst>
          </p:cNvPr>
          <p:cNvSpPr/>
          <p:nvPr userDrawn="1"/>
        </p:nvSpPr>
        <p:spPr>
          <a:xfrm>
            <a:off x="7116945" y="2102134"/>
            <a:ext cx="165129" cy="192650"/>
          </a:xfrm>
          <a:custGeom>
            <a:avLst/>
            <a:gdLst>
              <a:gd name="connsiteX0" fmla="*/ 102698 w 165128"/>
              <a:gd name="connsiteY0" fmla="*/ 12515 h 192650"/>
              <a:gd name="connsiteX1" fmla="*/ 152831 w 165128"/>
              <a:gd name="connsiteY1" fmla="*/ 119747 h 192650"/>
              <a:gd name="connsiteX2" fmla="*/ 67655 w 165128"/>
              <a:gd name="connsiteY2" fmla="*/ 201948 h 192650"/>
              <a:gd name="connsiteX3" fmla="*/ 17522 w 165128"/>
              <a:gd name="connsiteY3" fmla="*/ 94716 h 192650"/>
              <a:gd name="connsiteX4" fmla="*/ 102698 w 165128"/>
              <a:gd name="connsiteY4" fmla="*/ 1251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5128" h="192650">
                <a:moveTo>
                  <a:pt x="102698" y="12515"/>
                </a:moveTo>
                <a:cubicBezTo>
                  <a:pt x="140062" y="19427"/>
                  <a:pt x="162508" y="67437"/>
                  <a:pt x="152831" y="119747"/>
                </a:cubicBezTo>
                <a:cubicBezTo>
                  <a:pt x="143154" y="172057"/>
                  <a:pt x="105019" y="208860"/>
                  <a:pt x="67655" y="201948"/>
                </a:cubicBezTo>
                <a:cubicBezTo>
                  <a:pt x="30290" y="195036"/>
                  <a:pt x="7845" y="147026"/>
                  <a:pt x="17522" y="94716"/>
                </a:cubicBezTo>
                <a:cubicBezTo>
                  <a:pt x="27198" y="42406"/>
                  <a:pt x="65333" y="5603"/>
                  <a:pt x="102698" y="12515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8" name="iślîḋè">
            <a:extLst>
              <a:ext uri="{FF2B5EF4-FFF2-40B4-BE49-F238E27FC236}">
                <a16:creationId xmlns:a16="http://schemas.microsoft.com/office/drawing/2014/main" id="{9DAD6437-B149-4053-8035-B7E5937CED35}"/>
              </a:ext>
            </a:extLst>
          </p:cNvPr>
          <p:cNvSpPr/>
          <p:nvPr userDrawn="1"/>
        </p:nvSpPr>
        <p:spPr>
          <a:xfrm>
            <a:off x="7143999" y="2319474"/>
            <a:ext cx="110086" cy="110086"/>
          </a:xfrm>
          <a:custGeom>
            <a:avLst/>
            <a:gdLst>
              <a:gd name="connsiteX0" fmla="*/ 86162 w 110085"/>
              <a:gd name="connsiteY0" fmla="*/ 20533 h 110085"/>
              <a:gd name="connsiteX1" fmla="*/ 87035 w 110085"/>
              <a:gd name="connsiteY1" fmla="*/ 81638 h 110085"/>
              <a:gd name="connsiteX2" fmla="*/ 29302 w 110085"/>
              <a:gd name="connsiteY2" fmla="*/ 101677 h 110085"/>
              <a:gd name="connsiteX3" fmla="*/ 28430 w 110085"/>
              <a:gd name="connsiteY3" fmla="*/ 40572 h 110085"/>
              <a:gd name="connsiteX4" fmla="*/ 86162 w 110085"/>
              <a:gd name="connsiteY4" fmla="*/ 20533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085" h="110085">
                <a:moveTo>
                  <a:pt x="86162" y="20533"/>
                </a:moveTo>
                <a:cubicBezTo>
                  <a:pt x="102346" y="31873"/>
                  <a:pt x="102736" y="59230"/>
                  <a:pt x="87035" y="81638"/>
                </a:cubicBezTo>
                <a:cubicBezTo>
                  <a:pt x="71333" y="104045"/>
                  <a:pt x="45486" y="113017"/>
                  <a:pt x="29302" y="101677"/>
                </a:cubicBezTo>
                <a:cubicBezTo>
                  <a:pt x="13119" y="90337"/>
                  <a:pt x="12729" y="62979"/>
                  <a:pt x="28430" y="40572"/>
                </a:cubicBezTo>
                <a:cubicBezTo>
                  <a:pt x="44132" y="18164"/>
                  <a:pt x="69979" y="9193"/>
                  <a:pt x="86162" y="20533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9" name="ïŝ1îďé">
            <a:extLst>
              <a:ext uri="{FF2B5EF4-FFF2-40B4-BE49-F238E27FC236}">
                <a16:creationId xmlns:a16="http://schemas.microsoft.com/office/drawing/2014/main" id="{A6062F55-BBF8-4BE4-A8ED-901540F09B7D}"/>
              </a:ext>
            </a:extLst>
          </p:cNvPr>
          <p:cNvSpPr/>
          <p:nvPr userDrawn="1"/>
        </p:nvSpPr>
        <p:spPr>
          <a:xfrm>
            <a:off x="7004544" y="2289928"/>
            <a:ext cx="137607" cy="165129"/>
          </a:xfrm>
          <a:custGeom>
            <a:avLst/>
            <a:gdLst>
              <a:gd name="connsiteX0" fmla="*/ 117309 w 137607"/>
              <a:gd name="connsiteY0" fmla="*/ 26860 h 165128"/>
              <a:gd name="connsiteX1" fmla="*/ 116117 w 137607"/>
              <a:gd name="connsiteY1" fmla="*/ 110057 h 165128"/>
              <a:gd name="connsiteX2" fmla="*/ 38308 w 137607"/>
              <a:gd name="connsiteY2" fmla="*/ 139533 h 165128"/>
              <a:gd name="connsiteX3" fmla="*/ 39500 w 137607"/>
              <a:gd name="connsiteY3" fmla="*/ 56337 h 165128"/>
              <a:gd name="connsiteX4" fmla="*/ 117309 w 137607"/>
              <a:gd name="connsiteY4" fmla="*/ 26860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7309" y="26860"/>
                </a:moveTo>
                <a:cubicBezTo>
                  <a:pt x="138466" y="41695"/>
                  <a:pt x="137933" y="78943"/>
                  <a:pt x="116117" y="110057"/>
                </a:cubicBezTo>
                <a:cubicBezTo>
                  <a:pt x="94302" y="141170"/>
                  <a:pt x="59466" y="154368"/>
                  <a:pt x="38308" y="139533"/>
                </a:cubicBezTo>
                <a:cubicBezTo>
                  <a:pt x="17151" y="124699"/>
                  <a:pt x="17685" y="87450"/>
                  <a:pt x="39500" y="56337"/>
                </a:cubicBezTo>
                <a:cubicBezTo>
                  <a:pt x="61315" y="25223"/>
                  <a:pt x="96152" y="12026"/>
                  <a:pt x="117309" y="26860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0" name="iṧḻïḋè">
            <a:extLst>
              <a:ext uri="{FF2B5EF4-FFF2-40B4-BE49-F238E27FC236}">
                <a16:creationId xmlns:a16="http://schemas.microsoft.com/office/drawing/2014/main" id="{ACB9DE55-8D2B-49E8-9CC6-7C7E8D02E569}"/>
              </a:ext>
            </a:extLst>
          </p:cNvPr>
          <p:cNvSpPr/>
          <p:nvPr/>
        </p:nvSpPr>
        <p:spPr>
          <a:xfrm>
            <a:off x="10626031" y="1417355"/>
            <a:ext cx="825643" cy="825643"/>
          </a:xfrm>
          <a:custGeom>
            <a:avLst/>
            <a:gdLst>
              <a:gd name="connsiteX0" fmla="*/ 847660 w 825643"/>
              <a:gd name="connsiteY0" fmla="*/ 423830 h 825643"/>
              <a:gd name="connsiteX1" fmla="*/ 423830 w 825643"/>
              <a:gd name="connsiteY1" fmla="*/ 847661 h 825643"/>
              <a:gd name="connsiteX2" fmla="*/ 0 w 825643"/>
              <a:gd name="connsiteY2" fmla="*/ 423830 h 825643"/>
              <a:gd name="connsiteX3" fmla="*/ 423830 w 825643"/>
              <a:gd name="connsiteY3" fmla="*/ 0 h 825643"/>
              <a:gd name="connsiteX4" fmla="*/ 847660 w 825643"/>
              <a:gd name="connsiteY4" fmla="*/ 42383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3" h="825643">
                <a:moveTo>
                  <a:pt x="847660" y="423830"/>
                </a:moveTo>
                <a:cubicBezTo>
                  <a:pt x="847660" y="657905"/>
                  <a:pt x="657905" y="847661"/>
                  <a:pt x="423830" y="847661"/>
                </a:cubicBezTo>
                <a:cubicBezTo>
                  <a:pt x="189755" y="847661"/>
                  <a:pt x="0" y="657905"/>
                  <a:pt x="0" y="423830"/>
                </a:cubicBezTo>
                <a:cubicBezTo>
                  <a:pt x="0" y="189755"/>
                  <a:pt x="189755" y="0"/>
                  <a:pt x="423830" y="0"/>
                </a:cubicBezTo>
                <a:cubicBezTo>
                  <a:pt x="657905" y="0"/>
                  <a:pt x="847660" y="189755"/>
                  <a:pt x="847660" y="42383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1" name="iŝľiḋe">
            <a:extLst>
              <a:ext uri="{FF2B5EF4-FFF2-40B4-BE49-F238E27FC236}">
                <a16:creationId xmlns:a16="http://schemas.microsoft.com/office/drawing/2014/main" id="{63D5013D-282F-458C-8918-1D1F1DEF9959}"/>
              </a:ext>
            </a:extLst>
          </p:cNvPr>
          <p:cNvSpPr/>
          <p:nvPr/>
        </p:nvSpPr>
        <p:spPr>
          <a:xfrm>
            <a:off x="10689330" y="1857698"/>
            <a:ext cx="770600" cy="302736"/>
          </a:xfrm>
          <a:custGeom>
            <a:avLst/>
            <a:gdLst>
              <a:gd name="connsiteX0" fmla="*/ 754087 w 770600"/>
              <a:gd name="connsiteY0" fmla="*/ 137607 h 302735"/>
              <a:gd name="connsiteX1" fmla="*/ 784361 w 770600"/>
              <a:gd name="connsiteY1" fmla="*/ 0 h 302735"/>
              <a:gd name="connsiteX2" fmla="*/ 401813 w 770600"/>
              <a:gd name="connsiteY2" fmla="*/ 137607 h 302735"/>
              <a:gd name="connsiteX3" fmla="*/ 0 w 770600"/>
              <a:gd name="connsiteY3" fmla="*/ 203659 h 302735"/>
              <a:gd name="connsiteX4" fmla="*/ 93573 w 770600"/>
              <a:gd name="connsiteY4" fmla="*/ 308240 h 302735"/>
              <a:gd name="connsiteX5" fmla="*/ 429335 w 770600"/>
              <a:gd name="connsiteY5" fmla="*/ 244941 h 302735"/>
              <a:gd name="connsiteX6" fmla="*/ 754087 w 770600"/>
              <a:gd name="connsiteY6" fmla="*/ 137607 h 30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0600" h="302735">
                <a:moveTo>
                  <a:pt x="754087" y="137607"/>
                </a:moveTo>
                <a:cubicBezTo>
                  <a:pt x="770600" y="93573"/>
                  <a:pt x="781609" y="49539"/>
                  <a:pt x="784361" y="0"/>
                </a:cubicBezTo>
                <a:cubicBezTo>
                  <a:pt x="690788" y="49539"/>
                  <a:pt x="555934" y="99077"/>
                  <a:pt x="401813" y="137607"/>
                </a:cubicBezTo>
                <a:cubicBezTo>
                  <a:pt x="250445" y="176137"/>
                  <a:pt x="107333" y="198154"/>
                  <a:pt x="0" y="203659"/>
                </a:cubicBezTo>
                <a:cubicBezTo>
                  <a:pt x="24769" y="244941"/>
                  <a:pt x="55043" y="277967"/>
                  <a:pt x="93573" y="308240"/>
                </a:cubicBezTo>
                <a:cubicBezTo>
                  <a:pt x="195402" y="297232"/>
                  <a:pt x="310993" y="275214"/>
                  <a:pt x="429335" y="244941"/>
                </a:cubicBezTo>
                <a:cubicBezTo>
                  <a:pt x="547677" y="214667"/>
                  <a:pt x="657762" y="176137"/>
                  <a:pt x="754087" y="137607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2" name="îṣļïdé">
            <a:extLst>
              <a:ext uri="{FF2B5EF4-FFF2-40B4-BE49-F238E27FC236}">
                <a16:creationId xmlns:a16="http://schemas.microsoft.com/office/drawing/2014/main" id="{61FAC990-D018-40F3-8D02-22B34A1BD6D9}"/>
              </a:ext>
            </a:extLst>
          </p:cNvPr>
          <p:cNvSpPr/>
          <p:nvPr/>
        </p:nvSpPr>
        <p:spPr>
          <a:xfrm>
            <a:off x="10318615" y="1561383"/>
            <a:ext cx="1458637" cy="550429"/>
          </a:xfrm>
          <a:custGeom>
            <a:avLst/>
            <a:gdLst>
              <a:gd name="connsiteX0" fmla="*/ 1055999 w 1458636"/>
              <a:gd name="connsiteY0" fmla="*/ 7339 h 550428"/>
              <a:gd name="connsiteX1" fmla="*/ 1089025 w 1458636"/>
              <a:gd name="connsiteY1" fmla="*/ 54126 h 550428"/>
              <a:gd name="connsiteX2" fmla="*/ 1281675 w 1458636"/>
              <a:gd name="connsiteY2" fmla="*/ 100912 h 550428"/>
              <a:gd name="connsiteX3" fmla="*/ 756015 w 1458636"/>
              <a:gd name="connsiteY3" fmla="*/ 373374 h 550428"/>
              <a:gd name="connsiteX4" fmla="*/ 164304 w 1458636"/>
              <a:gd name="connsiteY4" fmla="*/ 392639 h 550428"/>
              <a:gd name="connsiteX5" fmla="*/ 307416 w 1458636"/>
              <a:gd name="connsiteY5" fmla="*/ 257784 h 550428"/>
              <a:gd name="connsiteX6" fmla="*/ 315672 w 1458636"/>
              <a:gd name="connsiteY6" fmla="*/ 199989 h 550428"/>
              <a:gd name="connsiteX7" fmla="*/ 1928 w 1458636"/>
              <a:gd name="connsiteY7" fmla="*/ 469699 h 550428"/>
              <a:gd name="connsiteX8" fmla="*/ 783537 w 1458636"/>
              <a:gd name="connsiteY8" fmla="*/ 483460 h 550428"/>
              <a:gd name="connsiteX9" fmla="*/ 1460564 w 1458636"/>
              <a:gd name="connsiteY9" fmla="*/ 89903 h 550428"/>
              <a:gd name="connsiteX10" fmla="*/ 1055999 w 1458636"/>
              <a:gd name="connsiteY10" fmla="*/ 7339 h 550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58636" h="550428">
                <a:moveTo>
                  <a:pt x="1055999" y="7339"/>
                </a:moveTo>
                <a:cubicBezTo>
                  <a:pt x="1069760" y="21100"/>
                  <a:pt x="1080769" y="37613"/>
                  <a:pt x="1089025" y="54126"/>
                </a:cubicBezTo>
                <a:cubicBezTo>
                  <a:pt x="1199111" y="51373"/>
                  <a:pt x="1270667" y="65134"/>
                  <a:pt x="1281675" y="100912"/>
                </a:cubicBezTo>
                <a:cubicBezTo>
                  <a:pt x="1300940" y="172468"/>
                  <a:pt x="1064256" y="293562"/>
                  <a:pt x="756015" y="373374"/>
                </a:cubicBezTo>
                <a:cubicBezTo>
                  <a:pt x="447776" y="453186"/>
                  <a:pt x="183570" y="461443"/>
                  <a:pt x="164304" y="392639"/>
                </a:cubicBezTo>
                <a:cubicBezTo>
                  <a:pt x="156048" y="356861"/>
                  <a:pt x="211091" y="307323"/>
                  <a:pt x="307416" y="257784"/>
                </a:cubicBezTo>
                <a:cubicBezTo>
                  <a:pt x="307416" y="238519"/>
                  <a:pt x="310168" y="219254"/>
                  <a:pt x="315672" y="199989"/>
                </a:cubicBezTo>
                <a:cubicBezTo>
                  <a:pt x="109261" y="290810"/>
                  <a:pt x="-17337" y="392639"/>
                  <a:pt x="1928" y="469699"/>
                </a:cubicBezTo>
                <a:cubicBezTo>
                  <a:pt x="32202" y="582537"/>
                  <a:pt x="381723" y="588042"/>
                  <a:pt x="783537" y="483460"/>
                </a:cubicBezTo>
                <a:cubicBezTo>
                  <a:pt x="1188102" y="376126"/>
                  <a:pt x="1490838" y="199989"/>
                  <a:pt x="1460564" y="89903"/>
                </a:cubicBezTo>
                <a:cubicBezTo>
                  <a:pt x="1441299" y="12843"/>
                  <a:pt x="1278923" y="-14678"/>
                  <a:pt x="1055999" y="7339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3" name="îş1iḋè">
            <a:extLst>
              <a:ext uri="{FF2B5EF4-FFF2-40B4-BE49-F238E27FC236}">
                <a16:creationId xmlns:a16="http://schemas.microsoft.com/office/drawing/2014/main" id="{E4990760-A9CA-4343-B0AC-A52CFDE79A62}"/>
              </a:ext>
            </a:extLst>
          </p:cNvPr>
          <p:cNvSpPr/>
          <p:nvPr/>
        </p:nvSpPr>
        <p:spPr>
          <a:xfrm>
            <a:off x="11087871" y="1451417"/>
            <a:ext cx="220172" cy="220172"/>
          </a:xfrm>
          <a:custGeom>
            <a:avLst/>
            <a:gdLst>
              <a:gd name="connsiteX0" fmla="*/ 160664 w 220171"/>
              <a:gd name="connsiteY0" fmla="*/ 59365 h 220171"/>
              <a:gd name="connsiteX1" fmla="*/ 194116 w 220171"/>
              <a:gd name="connsiteY1" fmla="*/ 172913 h 220171"/>
              <a:gd name="connsiteX2" fmla="*/ 75856 w 220171"/>
              <a:gd name="connsiteY2" fmla="*/ 167731 h 220171"/>
              <a:gd name="connsiteX3" fmla="*/ 42404 w 220171"/>
              <a:gd name="connsiteY3" fmla="*/ 54183 h 220171"/>
              <a:gd name="connsiteX4" fmla="*/ 160664 w 220171"/>
              <a:gd name="connsiteY4" fmla="*/ 59365 h 22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171" h="220171">
                <a:moveTo>
                  <a:pt x="160664" y="59365"/>
                </a:moveTo>
                <a:cubicBezTo>
                  <a:pt x="202558" y="92151"/>
                  <a:pt x="217535" y="142989"/>
                  <a:pt x="194116" y="172913"/>
                </a:cubicBezTo>
                <a:cubicBezTo>
                  <a:pt x="170697" y="202837"/>
                  <a:pt x="117750" y="200517"/>
                  <a:pt x="75856" y="167731"/>
                </a:cubicBezTo>
                <a:cubicBezTo>
                  <a:pt x="33962" y="134944"/>
                  <a:pt x="18985" y="84107"/>
                  <a:pt x="42404" y="54183"/>
                </a:cubicBezTo>
                <a:cubicBezTo>
                  <a:pt x="65823" y="24258"/>
                  <a:pt x="118769" y="26578"/>
                  <a:pt x="160664" y="593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4" name="ïṥḻíḑè">
            <a:extLst>
              <a:ext uri="{FF2B5EF4-FFF2-40B4-BE49-F238E27FC236}">
                <a16:creationId xmlns:a16="http://schemas.microsoft.com/office/drawing/2014/main" id="{D016CFC5-A3C9-4687-A800-116FB3E53572}"/>
              </a:ext>
            </a:extLst>
          </p:cNvPr>
          <p:cNvSpPr/>
          <p:nvPr/>
        </p:nvSpPr>
        <p:spPr>
          <a:xfrm>
            <a:off x="11303251" y="1585819"/>
            <a:ext cx="82564" cy="110086"/>
          </a:xfrm>
          <a:custGeom>
            <a:avLst/>
            <a:gdLst>
              <a:gd name="connsiteX0" fmla="*/ 86328 w 82564"/>
              <a:gd name="connsiteY0" fmla="*/ 43965 h 110085"/>
              <a:gd name="connsiteX1" fmla="*/ 77398 w 82564"/>
              <a:gd name="connsiteY1" fmla="*/ 104414 h 110085"/>
              <a:gd name="connsiteX2" fmla="*/ 22823 w 82564"/>
              <a:gd name="connsiteY2" fmla="*/ 76931 h 110085"/>
              <a:gd name="connsiteX3" fmla="*/ 31753 w 82564"/>
              <a:gd name="connsiteY3" fmla="*/ 16483 h 110085"/>
              <a:gd name="connsiteX4" fmla="*/ 86328 w 82564"/>
              <a:gd name="connsiteY4" fmla="*/ 43965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110085">
                <a:moveTo>
                  <a:pt x="86328" y="43965"/>
                </a:moveTo>
                <a:cubicBezTo>
                  <a:pt x="98933" y="68247"/>
                  <a:pt x="94934" y="95311"/>
                  <a:pt x="77398" y="104414"/>
                </a:cubicBezTo>
                <a:cubicBezTo>
                  <a:pt x="59862" y="113517"/>
                  <a:pt x="35427" y="101212"/>
                  <a:pt x="22823" y="76931"/>
                </a:cubicBezTo>
                <a:cubicBezTo>
                  <a:pt x="10219" y="52649"/>
                  <a:pt x="14217" y="25586"/>
                  <a:pt x="31753" y="16483"/>
                </a:cubicBezTo>
                <a:cubicBezTo>
                  <a:pt x="49289" y="7380"/>
                  <a:pt x="73724" y="19684"/>
                  <a:pt x="86328" y="439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5" name="íşľîďe">
            <a:extLst>
              <a:ext uri="{FF2B5EF4-FFF2-40B4-BE49-F238E27FC236}">
                <a16:creationId xmlns:a16="http://schemas.microsoft.com/office/drawing/2014/main" id="{A09EE74A-09E5-41B0-ABDA-23569B3A5A2C}"/>
              </a:ext>
            </a:extLst>
          </p:cNvPr>
          <p:cNvSpPr/>
          <p:nvPr/>
        </p:nvSpPr>
        <p:spPr>
          <a:xfrm>
            <a:off x="11221665" y="1664342"/>
            <a:ext cx="137607" cy="165129"/>
          </a:xfrm>
          <a:custGeom>
            <a:avLst/>
            <a:gdLst>
              <a:gd name="connsiteX0" fmla="*/ 114738 w 137607"/>
              <a:gd name="connsiteY0" fmla="*/ 61084 h 165128"/>
              <a:gd name="connsiteX1" fmla="*/ 104864 w 137607"/>
              <a:gd name="connsiteY1" fmla="*/ 143699 h 165128"/>
              <a:gd name="connsiteX2" fmla="*/ 31663 w 137607"/>
              <a:gd name="connsiteY2" fmla="*/ 104146 h 165128"/>
              <a:gd name="connsiteX3" fmla="*/ 41537 w 137607"/>
              <a:gd name="connsiteY3" fmla="*/ 21531 h 165128"/>
              <a:gd name="connsiteX4" fmla="*/ 114738 w 137607"/>
              <a:gd name="connsiteY4" fmla="*/ 61084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4738" y="61084"/>
                </a:moveTo>
                <a:cubicBezTo>
                  <a:pt x="132225" y="94820"/>
                  <a:pt x="127804" y="131807"/>
                  <a:pt x="104864" y="143699"/>
                </a:cubicBezTo>
                <a:cubicBezTo>
                  <a:pt x="81924" y="155590"/>
                  <a:pt x="49150" y="137882"/>
                  <a:pt x="31663" y="104146"/>
                </a:cubicBezTo>
                <a:cubicBezTo>
                  <a:pt x="14176" y="70411"/>
                  <a:pt x="18596" y="33423"/>
                  <a:pt x="41537" y="21531"/>
                </a:cubicBezTo>
                <a:cubicBezTo>
                  <a:pt x="64477" y="9640"/>
                  <a:pt x="97250" y="27348"/>
                  <a:pt x="114738" y="61084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7" name="íṡḻîḑe">
            <a:extLst>
              <a:ext uri="{FF2B5EF4-FFF2-40B4-BE49-F238E27FC236}">
                <a16:creationId xmlns:a16="http://schemas.microsoft.com/office/drawing/2014/main" id="{424F238A-6201-4C33-96CE-A0E355D8EB8F}"/>
              </a:ext>
            </a:extLst>
          </p:cNvPr>
          <p:cNvSpPr/>
          <p:nvPr userDrawn="1"/>
        </p:nvSpPr>
        <p:spPr>
          <a:xfrm>
            <a:off x="3660501" y="2416383"/>
            <a:ext cx="1954023" cy="577950"/>
          </a:xfrm>
          <a:custGeom>
            <a:avLst/>
            <a:gdLst>
              <a:gd name="connsiteX0" fmla="*/ 1975892 w 1954022"/>
              <a:gd name="connsiteY0" fmla="*/ 0 h 577950"/>
              <a:gd name="connsiteX1" fmla="*/ 104433 w 1954022"/>
              <a:gd name="connsiteY1" fmla="*/ 599967 h 577950"/>
              <a:gd name="connsiteX2" fmla="*/ 2604 w 1954022"/>
              <a:gd name="connsiteY2" fmla="*/ 542172 h 577950"/>
              <a:gd name="connsiteX3" fmla="*/ 60399 w 1954022"/>
              <a:gd name="connsiteY3" fmla="*/ 440343 h 577950"/>
              <a:gd name="connsiteX4" fmla="*/ 1975892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2" y="0"/>
                </a:moveTo>
                <a:cubicBezTo>
                  <a:pt x="1975892" y="0"/>
                  <a:pt x="148467" y="586207"/>
                  <a:pt x="104433" y="599967"/>
                </a:cubicBezTo>
                <a:cubicBezTo>
                  <a:pt x="60399" y="610976"/>
                  <a:pt x="13613" y="586207"/>
                  <a:pt x="2604" y="542172"/>
                </a:cubicBezTo>
                <a:cubicBezTo>
                  <a:pt x="-8405" y="498138"/>
                  <a:pt x="16365" y="451352"/>
                  <a:pt x="60399" y="440343"/>
                </a:cubicBezTo>
                <a:cubicBezTo>
                  <a:pt x="107185" y="423830"/>
                  <a:pt x="1975892" y="0"/>
                  <a:pt x="1975892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8" name="íş1idé">
            <a:extLst>
              <a:ext uri="{FF2B5EF4-FFF2-40B4-BE49-F238E27FC236}">
                <a16:creationId xmlns:a16="http://schemas.microsoft.com/office/drawing/2014/main" id="{834E2282-2A1B-4B04-AC43-C3BB4DD6A84E}"/>
              </a:ext>
            </a:extLst>
          </p:cNvPr>
          <p:cNvSpPr/>
          <p:nvPr/>
        </p:nvSpPr>
        <p:spPr>
          <a:xfrm>
            <a:off x="9912421" y="68965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9" name="ïšļîdê">
            <a:extLst>
              <a:ext uri="{FF2B5EF4-FFF2-40B4-BE49-F238E27FC236}">
                <a16:creationId xmlns:a16="http://schemas.microsoft.com/office/drawing/2014/main" id="{39D1E457-C7D4-4278-9A3D-2002B409109F}"/>
              </a:ext>
            </a:extLst>
          </p:cNvPr>
          <p:cNvSpPr/>
          <p:nvPr/>
        </p:nvSpPr>
        <p:spPr>
          <a:xfrm>
            <a:off x="9880348" y="220172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0" name="îSľîdé">
            <a:extLst>
              <a:ext uri="{FF2B5EF4-FFF2-40B4-BE49-F238E27FC236}">
                <a16:creationId xmlns:a16="http://schemas.microsoft.com/office/drawing/2014/main" id="{A0375FE5-F9D7-41D5-8D96-77B8317E3438}"/>
              </a:ext>
            </a:extLst>
          </p:cNvPr>
          <p:cNvSpPr/>
          <p:nvPr/>
        </p:nvSpPr>
        <p:spPr>
          <a:xfrm>
            <a:off x="7818843" y="5776752"/>
            <a:ext cx="990772" cy="935729"/>
          </a:xfrm>
          <a:custGeom>
            <a:avLst/>
            <a:gdLst>
              <a:gd name="connsiteX0" fmla="*/ 0 w 990772"/>
              <a:gd name="connsiteY0" fmla="*/ 0 h 935729"/>
              <a:gd name="connsiteX1" fmla="*/ 999028 w 990772"/>
              <a:gd name="connsiteY1" fmla="*/ 0 h 935729"/>
              <a:gd name="connsiteX2" fmla="*/ 999028 w 990772"/>
              <a:gd name="connsiteY2" fmla="*/ 949490 h 935729"/>
              <a:gd name="connsiteX3" fmla="*/ 0 w 990772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772" h="935729">
                <a:moveTo>
                  <a:pt x="0" y="0"/>
                </a:moveTo>
                <a:lnTo>
                  <a:pt x="999028" y="0"/>
                </a:lnTo>
                <a:lnTo>
                  <a:pt x="999028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E8C2A9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1" name="íş1ïḑe">
            <a:extLst>
              <a:ext uri="{FF2B5EF4-FFF2-40B4-BE49-F238E27FC236}">
                <a16:creationId xmlns:a16="http://schemas.microsoft.com/office/drawing/2014/main" id="{54824A01-535B-45D3-BF36-1EEF3B58FFDF}"/>
              </a:ext>
            </a:extLst>
          </p:cNvPr>
          <p:cNvSpPr/>
          <p:nvPr/>
        </p:nvSpPr>
        <p:spPr>
          <a:xfrm>
            <a:off x="8795855" y="5776752"/>
            <a:ext cx="27521" cy="935729"/>
          </a:xfrm>
          <a:custGeom>
            <a:avLst/>
            <a:gdLst>
              <a:gd name="connsiteX0" fmla="*/ 0 w 0"/>
              <a:gd name="connsiteY0" fmla="*/ 0 h 935729"/>
              <a:gd name="connsiteX1" fmla="*/ 22017 w 0"/>
              <a:gd name="connsiteY1" fmla="*/ 0 h 935729"/>
              <a:gd name="connsiteX2" fmla="*/ 22017 w 0"/>
              <a:gd name="connsiteY2" fmla="*/ 949490 h 935729"/>
              <a:gd name="connsiteX3" fmla="*/ 0 w 0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h="935729">
                <a:moveTo>
                  <a:pt x="0" y="0"/>
                </a:moveTo>
                <a:lnTo>
                  <a:pt x="22017" y="0"/>
                </a:lnTo>
                <a:lnTo>
                  <a:pt x="22017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FFDBC4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2" name="ïşḷíḑé">
            <a:extLst>
              <a:ext uri="{FF2B5EF4-FFF2-40B4-BE49-F238E27FC236}">
                <a16:creationId xmlns:a16="http://schemas.microsoft.com/office/drawing/2014/main" id="{EF9AF0EC-60E2-4067-B723-274716DCB695}"/>
              </a:ext>
            </a:extLst>
          </p:cNvPr>
          <p:cNvSpPr/>
          <p:nvPr/>
        </p:nvSpPr>
        <p:spPr>
          <a:xfrm>
            <a:off x="8817872" y="5776752"/>
            <a:ext cx="990772" cy="935729"/>
          </a:xfrm>
          <a:custGeom>
            <a:avLst/>
            <a:gdLst>
              <a:gd name="connsiteX0" fmla="*/ 0 w 990772"/>
              <a:gd name="connsiteY0" fmla="*/ 0 h 935729"/>
              <a:gd name="connsiteX1" fmla="*/ 999028 w 990772"/>
              <a:gd name="connsiteY1" fmla="*/ 0 h 935729"/>
              <a:gd name="connsiteX2" fmla="*/ 999028 w 990772"/>
              <a:gd name="connsiteY2" fmla="*/ 949490 h 935729"/>
              <a:gd name="connsiteX3" fmla="*/ 0 w 990772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772" h="935729">
                <a:moveTo>
                  <a:pt x="0" y="0"/>
                </a:moveTo>
                <a:lnTo>
                  <a:pt x="999028" y="0"/>
                </a:lnTo>
                <a:lnTo>
                  <a:pt x="999028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D4A58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3" name="îSlïḓè">
            <a:extLst>
              <a:ext uri="{FF2B5EF4-FFF2-40B4-BE49-F238E27FC236}">
                <a16:creationId xmlns:a16="http://schemas.microsoft.com/office/drawing/2014/main" id="{B63022B4-2F2A-4E76-ACDA-AF43F289AF41}"/>
              </a:ext>
            </a:extLst>
          </p:cNvPr>
          <p:cNvSpPr/>
          <p:nvPr/>
        </p:nvSpPr>
        <p:spPr>
          <a:xfrm>
            <a:off x="7417030" y="5440990"/>
            <a:ext cx="1376072" cy="330257"/>
          </a:xfrm>
          <a:custGeom>
            <a:avLst/>
            <a:gdLst>
              <a:gd name="connsiteX0" fmla="*/ 1400841 w 1376072"/>
              <a:gd name="connsiteY0" fmla="*/ 335762 h 330257"/>
              <a:gd name="connsiteX1" fmla="*/ 401813 w 1376072"/>
              <a:gd name="connsiteY1" fmla="*/ 335762 h 330257"/>
              <a:gd name="connsiteX2" fmla="*/ 0 w 1376072"/>
              <a:gd name="connsiteY2" fmla="*/ 0 h 330257"/>
              <a:gd name="connsiteX3" fmla="*/ 999028 w 1376072"/>
              <a:gd name="connsiteY3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76072" h="330257">
                <a:moveTo>
                  <a:pt x="1400841" y="335762"/>
                </a:moveTo>
                <a:lnTo>
                  <a:pt x="401813" y="335762"/>
                </a:lnTo>
                <a:lnTo>
                  <a:pt x="0" y="0"/>
                </a:lnTo>
                <a:lnTo>
                  <a:pt x="999028" y="0"/>
                </a:lnTo>
                <a:close/>
              </a:path>
            </a:pathLst>
          </a:custGeom>
          <a:solidFill>
            <a:srgbClr val="D4A58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4" name="iṧľíḍé">
            <a:extLst>
              <a:ext uri="{FF2B5EF4-FFF2-40B4-BE49-F238E27FC236}">
                <a16:creationId xmlns:a16="http://schemas.microsoft.com/office/drawing/2014/main" id="{D7BAFB0D-607E-4355-9740-3FEEB1B6B7C3}"/>
              </a:ext>
            </a:extLst>
          </p:cNvPr>
          <p:cNvSpPr/>
          <p:nvPr/>
        </p:nvSpPr>
        <p:spPr>
          <a:xfrm>
            <a:off x="8817872" y="5440990"/>
            <a:ext cx="1403594" cy="330257"/>
          </a:xfrm>
          <a:custGeom>
            <a:avLst/>
            <a:gdLst>
              <a:gd name="connsiteX0" fmla="*/ 0 w 1403593"/>
              <a:gd name="connsiteY0" fmla="*/ 335762 h 330257"/>
              <a:gd name="connsiteX1" fmla="*/ 1001780 w 1403593"/>
              <a:gd name="connsiteY1" fmla="*/ 335762 h 330257"/>
              <a:gd name="connsiteX2" fmla="*/ 1403594 w 1403593"/>
              <a:gd name="connsiteY2" fmla="*/ 0 h 330257"/>
              <a:gd name="connsiteX3" fmla="*/ 401813 w 1403593"/>
              <a:gd name="connsiteY3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3593" h="330257">
                <a:moveTo>
                  <a:pt x="0" y="335762"/>
                </a:moveTo>
                <a:lnTo>
                  <a:pt x="1001780" y="335762"/>
                </a:lnTo>
                <a:lnTo>
                  <a:pt x="1403594" y="0"/>
                </a:lnTo>
                <a:lnTo>
                  <a:pt x="401813" y="0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5" name="ïšḻídê">
            <a:extLst>
              <a:ext uri="{FF2B5EF4-FFF2-40B4-BE49-F238E27FC236}">
                <a16:creationId xmlns:a16="http://schemas.microsoft.com/office/drawing/2014/main" id="{F3F9D2BC-AA46-4797-9367-56F087BD1FAB}"/>
              </a:ext>
            </a:extLst>
          </p:cNvPr>
          <p:cNvSpPr/>
          <p:nvPr/>
        </p:nvSpPr>
        <p:spPr>
          <a:xfrm>
            <a:off x="8817872" y="5776751"/>
            <a:ext cx="990772" cy="467865"/>
          </a:xfrm>
          <a:custGeom>
            <a:avLst/>
            <a:gdLst>
              <a:gd name="connsiteX0" fmla="*/ 0 w 990772"/>
              <a:gd name="connsiteY0" fmla="*/ 0 h 467864"/>
              <a:gd name="connsiteX1" fmla="*/ 1001780 w 990772"/>
              <a:gd name="connsiteY1" fmla="*/ 476121 h 467864"/>
              <a:gd name="connsiteX2" fmla="*/ 1001780 w 990772"/>
              <a:gd name="connsiteY2" fmla="*/ 0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0772" h="467864">
                <a:moveTo>
                  <a:pt x="0" y="0"/>
                </a:moveTo>
                <a:lnTo>
                  <a:pt x="1001780" y="476121"/>
                </a:lnTo>
                <a:lnTo>
                  <a:pt x="1001780" y="0"/>
                </a:lnTo>
                <a:close/>
              </a:path>
            </a:pathLst>
          </a:custGeom>
          <a:solidFill>
            <a:srgbClr val="F0D8C7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6" name="îṧliḋé">
            <a:extLst>
              <a:ext uri="{FF2B5EF4-FFF2-40B4-BE49-F238E27FC236}">
                <a16:creationId xmlns:a16="http://schemas.microsoft.com/office/drawing/2014/main" id="{62CA928B-910D-4426-8FCB-3BD3F7DB1564}"/>
              </a:ext>
            </a:extLst>
          </p:cNvPr>
          <p:cNvSpPr/>
          <p:nvPr/>
        </p:nvSpPr>
        <p:spPr>
          <a:xfrm>
            <a:off x="8173870" y="6517079"/>
            <a:ext cx="275214" cy="192650"/>
          </a:xfrm>
          <a:custGeom>
            <a:avLst/>
            <a:gdLst>
              <a:gd name="connsiteX0" fmla="*/ 0 w 275214"/>
              <a:gd name="connsiteY0" fmla="*/ 209163 h 192650"/>
              <a:gd name="connsiteX1" fmla="*/ 0 w 275214"/>
              <a:gd name="connsiteY1" fmla="*/ 0 h 192650"/>
              <a:gd name="connsiteX2" fmla="*/ 35778 w 275214"/>
              <a:gd name="connsiteY2" fmla="*/ 19265 h 192650"/>
              <a:gd name="connsiteX3" fmla="*/ 71556 w 275214"/>
              <a:gd name="connsiteY3" fmla="*/ 0 h 192650"/>
              <a:gd name="connsiteX4" fmla="*/ 107333 w 275214"/>
              <a:gd name="connsiteY4" fmla="*/ 19265 h 192650"/>
              <a:gd name="connsiteX5" fmla="*/ 145863 w 275214"/>
              <a:gd name="connsiteY5" fmla="*/ 0 h 192650"/>
              <a:gd name="connsiteX6" fmla="*/ 181642 w 275214"/>
              <a:gd name="connsiteY6" fmla="*/ 19265 h 192650"/>
              <a:gd name="connsiteX7" fmla="*/ 217419 w 275214"/>
              <a:gd name="connsiteY7" fmla="*/ 0 h 192650"/>
              <a:gd name="connsiteX8" fmla="*/ 253198 w 275214"/>
              <a:gd name="connsiteY8" fmla="*/ 19265 h 192650"/>
              <a:gd name="connsiteX9" fmla="*/ 288975 w 275214"/>
              <a:gd name="connsiteY9" fmla="*/ 0 h 192650"/>
              <a:gd name="connsiteX10" fmla="*/ 288975 w 275214"/>
              <a:gd name="connsiteY10" fmla="*/ 209163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5214" h="192650">
                <a:moveTo>
                  <a:pt x="0" y="209163"/>
                </a:moveTo>
                <a:lnTo>
                  <a:pt x="0" y="0"/>
                </a:lnTo>
                <a:lnTo>
                  <a:pt x="35778" y="19265"/>
                </a:lnTo>
                <a:lnTo>
                  <a:pt x="71556" y="0"/>
                </a:lnTo>
                <a:lnTo>
                  <a:pt x="107333" y="19265"/>
                </a:lnTo>
                <a:lnTo>
                  <a:pt x="145863" y="0"/>
                </a:lnTo>
                <a:lnTo>
                  <a:pt x="181642" y="19265"/>
                </a:lnTo>
                <a:lnTo>
                  <a:pt x="217419" y="0"/>
                </a:lnTo>
                <a:lnTo>
                  <a:pt x="253198" y="19265"/>
                </a:lnTo>
                <a:lnTo>
                  <a:pt x="288975" y="0"/>
                </a:lnTo>
                <a:lnTo>
                  <a:pt x="288975" y="209163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7" name="iṡlïḋe">
            <a:extLst>
              <a:ext uri="{FF2B5EF4-FFF2-40B4-BE49-F238E27FC236}">
                <a16:creationId xmlns:a16="http://schemas.microsoft.com/office/drawing/2014/main" id="{1764F2C4-9821-4B8C-9A17-C16018C79F68}"/>
              </a:ext>
            </a:extLst>
          </p:cNvPr>
          <p:cNvSpPr/>
          <p:nvPr/>
        </p:nvSpPr>
        <p:spPr>
          <a:xfrm>
            <a:off x="8259187" y="6335437"/>
            <a:ext cx="110086" cy="27521"/>
          </a:xfrm>
          <a:custGeom>
            <a:avLst/>
            <a:gdLst>
              <a:gd name="connsiteX0" fmla="*/ 121094 w 110085"/>
              <a:gd name="connsiteY0" fmla="*/ 11009 h 0"/>
              <a:gd name="connsiteX1" fmla="*/ 110086 w 110085"/>
              <a:gd name="connsiteY1" fmla="*/ 22017 h 0"/>
              <a:gd name="connsiteX2" fmla="*/ 11008 w 110085"/>
              <a:gd name="connsiteY2" fmla="*/ 22017 h 0"/>
              <a:gd name="connsiteX3" fmla="*/ 0 w 110085"/>
              <a:gd name="connsiteY3" fmla="*/ 11009 h 0"/>
              <a:gd name="connsiteX4" fmla="*/ 0 w 110085"/>
              <a:gd name="connsiteY4" fmla="*/ 11009 h 0"/>
              <a:gd name="connsiteX5" fmla="*/ 11008 w 110085"/>
              <a:gd name="connsiteY5" fmla="*/ 0 h 0"/>
              <a:gd name="connsiteX6" fmla="*/ 110086 w 110085"/>
              <a:gd name="connsiteY6" fmla="*/ 0 h 0"/>
              <a:gd name="connsiteX7" fmla="*/ 121094 w 110085"/>
              <a:gd name="connsiteY7" fmla="*/ 11009 h 0"/>
              <a:gd name="connsiteX8" fmla="*/ 121094 w 110085"/>
              <a:gd name="connsiteY8" fmla="*/ 11009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085">
                <a:moveTo>
                  <a:pt x="121094" y="11009"/>
                </a:moveTo>
                <a:cubicBezTo>
                  <a:pt x="121094" y="16513"/>
                  <a:pt x="115590" y="22017"/>
                  <a:pt x="110086" y="22017"/>
                </a:cubicBezTo>
                <a:lnTo>
                  <a:pt x="11008" y="22017"/>
                </a:lnTo>
                <a:cubicBezTo>
                  <a:pt x="5504" y="22017"/>
                  <a:pt x="0" y="16513"/>
                  <a:pt x="0" y="11009"/>
                </a:cubicBezTo>
                <a:lnTo>
                  <a:pt x="0" y="11009"/>
                </a:lnTo>
                <a:cubicBezTo>
                  <a:pt x="0" y="5504"/>
                  <a:pt x="5504" y="0"/>
                  <a:pt x="11008" y="0"/>
                </a:cubicBezTo>
                <a:lnTo>
                  <a:pt x="110086" y="0"/>
                </a:lnTo>
                <a:cubicBezTo>
                  <a:pt x="115590" y="0"/>
                  <a:pt x="121094" y="5504"/>
                  <a:pt x="121094" y="11009"/>
                </a:cubicBezTo>
                <a:lnTo>
                  <a:pt x="121094" y="11009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8" name="ïṡlïďe">
            <a:extLst>
              <a:ext uri="{FF2B5EF4-FFF2-40B4-BE49-F238E27FC236}">
                <a16:creationId xmlns:a16="http://schemas.microsoft.com/office/drawing/2014/main" id="{A166895F-7AFB-4E94-90A7-C5FDDC829F73}"/>
              </a:ext>
            </a:extLst>
          </p:cNvPr>
          <p:cNvSpPr/>
          <p:nvPr/>
        </p:nvSpPr>
        <p:spPr>
          <a:xfrm>
            <a:off x="8267443" y="6365711"/>
            <a:ext cx="82564" cy="27521"/>
          </a:xfrm>
          <a:custGeom>
            <a:avLst/>
            <a:gdLst>
              <a:gd name="connsiteX0" fmla="*/ 104582 w 82564"/>
              <a:gd name="connsiteY0" fmla="*/ 11008 h 0"/>
              <a:gd name="connsiteX1" fmla="*/ 93573 w 82564"/>
              <a:gd name="connsiteY1" fmla="*/ 22017 h 0"/>
              <a:gd name="connsiteX2" fmla="*/ 11008 w 82564"/>
              <a:gd name="connsiteY2" fmla="*/ 22017 h 0"/>
              <a:gd name="connsiteX3" fmla="*/ 0 w 82564"/>
              <a:gd name="connsiteY3" fmla="*/ 11008 h 0"/>
              <a:gd name="connsiteX4" fmla="*/ 0 w 82564"/>
              <a:gd name="connsiteY4" fmla="*/ 11008 h 0"/>
              <a:gd name="connsiteX5" fmla="*/ 11008 w 82564"/>
              <a:gd name="connsiteY5" fmla="*/ 0 h 0"/>
              <a:gd name="connsiteX6" fmla="*/ 93573 w 82564"/>
              <a:gd name="connsiteY6" fmla="*/ 0 h 0"/>
              <a:gd name="connsiteX7" fmla="*/ 104582 w 82564"/>
              <a:gd name="connsiteY7" fmla="*/ 11008 h 0"/>
              <a:gd name="connsiteX8" fmla="*/ 104582 w 82564"/>
              <a:gd name="connsiteY8" fmla="*/ 11008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564">
                <a:moveTo>
                  <a:pt x="104582" y="11008"/>
                </a:moveTo>
                <a:cubicBezTo>
                  <a:pt x="104582" y="16513"/>
                  <a:pt x="99077" y="22017"/>
                  <a:pt x="93573" y="22017"/>
                </a:cubicBezTo>
                <a:lnTo>
                  <a:pt x="11008" y="22017"/>
                </a:lnTo>
                <a:cubicBezTo>
                  <a:pt x="5505" y="22017"/>
                  <a:pt x="0" y="16513"/>
                  <a:pt x="0" y="11008"/>
                </a:cubicBezTo>
                <a:lnTo>
                  <a:pt x="0" y="11008"/>
                </a:lnTo>
                <a:cubicBezTo>
                  <a:pt x="0" y="5504"/>
                  <a:pt x="5505" y="0"/>
                  <a:pt x="11008" y="0"/>
                </a:cubicBezTo>
                <a:lnTo>
                  <a:pt x="93573" y="0"/>
                </a:lnTo>
                <a:cubicBezTo>
                  <a:pt x="99077" y="0"/>
                  <a:pt x="104582" y="5504"/>
                  <a:pt x="104582" y="11008"/>
                </a:cubicBezTo>
                <a:lnTo>
                  <a:pt x="104582" y="11008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9" name="îṣliḋè">
            <a:extLst>
              <a:ext uri="{FF2B5EF4-FFF2-40B4-BE49-F238E27FC236}">
                <a16:creationId xmlns:a16="http://schemas.microsoft.com/office/drawing/2014/main" id="{D352BF02-A1F9-4757-8D55-38134770A0CE}"/>
              </a:ext>
            </a:extLst>
          </p:cNvPr>
          <p:cNvSpPr/>
          <p:nvPr/>
        </p:nvSpPr>
        <p:spPr>
          <a:xfrm>
            <a:off x="8291133" y="6398736"/>
            <a:ext cx="27521" cy="27521"/>
          </a:xfrm>
          <a:custGeom>
            <a:avLst/>
            <a:gdLst>
              <a:gd name="connsiteX0" fmla="*/ 36858 w 27521"/>
              <a:gd name="connsiteY0" fmla="*/ 0 h 27521"/>
              <a:gd name="connsiteX1" fmla="*/ 17592 w 27521"/>
              <a:gd name="connsiteY1" fmla="*/ 0 h 27521"/>
              <a:gd name="connsiteX2" fmla="*/ 6584 w 27521"/>
              <a:gd name="connsiteY2" fmla="*/ 0 h 27521"/>
              <a:gd name="connsiteX3" fmla="*/ 1079 w 27521"/>
              <a:gd name="connsiteY3" fmla="*/ 8257 h 27521"/>
              <a:gd name="connsiteX4" fmla="*/ 6584 w 27521"/>
              <a:gd name="connsiteY4" fmla="*/ 19265 h 27521"/>
              <a:gd name="connsiteX5" fmla="*/ 17592 w 27521"/>
              <a:gd name="connsiteY5" fmla="*/ 27521 h 27521"/>
              <a:gd name="connsiteX6" fmla="*/ 34105 w 27521"/>
              <a:gd name="connsiteY6" fmla="*/ 27521 h 27521"/>
              <a:gd name="connsiteX7" fmla="*/ 45114 w 27521"/>
              <a:gd name="connsiteY7" fmla="*/ 19265 h 27521"/>
              <a:gd name="connsiteX8" fmla="*/ 50618 w 27521"/>
              <a:gd name="connsiteY8" fmla="*/ 8257 h 27521"/>
              <a:gd name="connsiteX9" fmla="*/ 45114 w 27521"/>
              <a:gd name="connsiteY9" fmla="*/ 0 h 27521"/>
              <a:gd name="connsiteX10" fmla="*/ 36858 w 27521"/>
              <a:gd name="connsiteY10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521" h="27521">
                <a:moveTo>
                  <a:pt x="36858" y="0"/>
                </a:moveTo>
                <a:cubicBezTo>
                  <a:pt x="31353" y="0"/>
                  <a:pt x="23097" y="0"/>
                  <a:pt x="17592" y="0"/>
                </a:cubicBezTo>
                <a:lnTo>
                  <a:pt x="6584" y="0"/>
                </a:lnTo>
                <a:cubicBezTo>
                  <a:pt x="1079" y="0"/>
                  <a:pt x="-1672" y="2752"/>
                  <a:pt x="1079" y="8257"/>
                </a:cubicBezTo>
                <a:lnTo>
                  <a:pt x="6584" y="19265"/>
                </a:lnTo>
                <a:cubicBezTo>
                  <a:pt x="9336" y="24769"/>
                  <a:pt x="14840" y="27521"/>
                  <a:pt x="17592" y="27521"/>
                </a:cubicBezTo>
                <a:cubicBezTo>
                  <a:pt x="23097" y="27521"/>
                  <a:pt x="31353" y="27521"/>
                  <a:pt x="34105" y="27521"/>
                </a:cubicBezTo>
                <a:cubicBezTo>
                  <a:pt x="36858" y="27521"/>
                  <a:pt x="45114" y="24769"/>
                  <a:pt x="45114" y="19265"/>
                </a:cubicBezTo>
                <a:lnTo>
                  <a:pt x="50618" y="8257"/>
                </a:lnTo>
                <a:cubicBezTo>
                  <a:pt x="53371" y="2752"/>
                  <a:pt x="50618" y="0"/>
                  <a:pt x="45114" y="0"/>
                </a:cubicBezTo>
                <a:lnTo>
                  <a:pt x="36858" y="0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60" name="iSľídê">
            <a:extLst>
              <a:ext uri="{FF2B5EF4-FFF2-40B4-BE49-F238E27FC236}">
                <a16:creationId xmlns:a16="http://schemas.microsoft.com/office/drawing/2014/main" id="{3825712B-D2E4-4266-99F4-3935653F664A}"/>
              </a:ext>
            </a:extLst>
          </p:cNvPr>
          <p:cNvSpPr/>
          <p:nvPr/>
        </p:nvSpPr>
        <p:spPr>
          <a:xfrm>
            <a:off x="8173870" y="5977658"/>
            <a:ext cx="275214" cy="330257"/>
          </a:xfrm>
          <a:custGeom>
            <a:avLst/>
            <a:gdLst>
              <a:gd name="connsiteX0" fmla="*/ 145863 w 275214"/>
              <a:gd name="connsiteY0" fmla="*/ 0 h 330257"/>
              <a:gd name="connsiteX1" fmla="*/ 0 w 275214"/>
              <a:gd name="connsiteY1" fmla="*/ 145864 h 330257"/>
              <a:gd name="connsiteX2" fmla="*/ 44034 w 275214"/>
              <a:gd name="connsiteY2" fmla="*/ 250445 h 330257"/>
              <a:gd name="connsiteX3" fmla="*/ 44034 w 275214"/>
              <a:gd name="connsiteY3" fmla="*/ 250445 h 330257"/>
              <a:gd name="connsiteX4" fmla="*/ 85317 w 275214"/>
              <a:gd name="connsiteY4" fmla="*/ 330257 h 330257"/>
              <a:gd name="connsiteX5" fmla="*/ 85317 w 275214"/>
              <a:gd name="connsiteY5" fmla="*/ 330257 h 330257"/>
              <a:gd name="connsiteX6" fmla="*/ 104581 w 275214"/>
              <a:gd name="connsiteY6" fmla="*/ 352275 h 330257"/>
              <a:gd name="connsiteX7" fmla="*/ 145863 w 275214"/>
              <a:gd name="connsiteY7" fmla="*/ 352275 h 330257"/>
              <a:gd name="connsiteX8" fmla="*/ 187145 w 275214"/>
              <a:gd name="connsiteY8" fmla="*/ 352275 h 330257"/>
              <a:gd name="connsiteX9" fmla="*/ 206411 w 275214"/>
              <a:gd name="connsiteY9" fmla="*/ 330257 h 330257"/>
              <a:gd name="connsiteX10" fmla="*/ 206411 w 275214"/>
              <a:gd name="connsiteY10" fmla="*/ 333010 h 330257"/>
              <a:gd name="connsiteX11" fmla="*/ 247693 w 275214"/>
              <a:gd name="connsiteY11" fmla="*/ 250445 h 330257"/>
              <a:gd name="connsiteX12" fmla="*/ 247693 w 275214"/>
              <a:gd name="connsiteY12" fmla="*/ 250445 h 330257"/>
              <a:gd name="connsiteX13" fmla="*/ 291727 w 275214"/>
              <a:gd name="connsiteY13" fmla="*/ 145864 h 330257"/>
              <a:gd name="connsiteX14" fmla="*/ 145863 w 275214"/>
              <a:gd name="connsiteY14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5214" h="330257">
                <a:moveTo>
                  <a:pt x="145863" y="0"/>
                </a:moveTo>
                <a:cubicBezTo>
                  <a:pt x="63299" y="0"/>
                  <a:pt x="0" y="66052"/>
                  <a:pt x="0" y="145864"/>
                </a:cubicBezTo>
                <a:cubicBezTo>
                  <a:pt x="0" y="187146"/>
                  <a:pt x="16513" y="222924"/>
                  <a:pt x="44034" y="250445"/>
                </a:cubicBezTo>
                <a:lnTo>
                  <a:pt x="44034" y="250445"/>
                </a:lnTo>
                <a:cubicBezTo>
                  <a:pt x="68804" y="277967"/>
                  <a:pt x="79812" y="310992"/>
                  <a:pt x="85317" y="330257"/>
                </a:cubicBezTo>
                <a:lnTo>
                  <a:pt x="85317" y="330257"/>
                </a:lnTo>
                <a:cubicBezTo>
                  <a:pt x="88069" y="344018"/>
                  <a:pt x="99077" y="352275"/>
                  <a:pt x="104581" y="352275"/>
                </a:cubicBezTo>
                <a:lnTo>
                  <a:pt x="145863" y="352275"/>
                </a:lnTo>
                <a:lnTo>
                  <a:pt x="187145" y="352275"/>
                </a:lnTo>
                <a:cubicBezTo>
                  <a:pt x="192650" y="352275"/>
                  <a:pt x="203659" y="346770"/>
                  <a:pt x="206411" y="330257"/>
                </a:cubicBezTo>
                <a:lnTo>
                  <a:pt x="206411" y="333010"/>
                </a:lnTo>
                <a:cubicBezTo>
                  <a:pt x="211915" y="313745"/>
                  <a:pt x="222924" y="280719"/>
                  <a:pt x="247693" y="250445"/>
                </a:cubicBezTo>
                <a:lnTo>
                  <a:pt x="247693" y="250445"/>
                </a:lnTo>
                <a:cubicBezTo>
                  <a:pt x="275214" y="222924"/>
                  <a:pt x="291727" y="187146"/>
                  <a:pt x="291727" y="145864"/>
                </a:cubicBezTo>
                <a:cubicBezTo>
                  <a:pt x="291727" y="66052"/>
                  <a:pt x="225676" y="0"/>
                  <a:pt x="145863" y="0"/>
                </a:cubicBez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Freepptbackgrounds.net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Download free</a:t>
            </a:r>
            <a:endParaRPr lang="tr-TR" altLang="zh-CN" dirty="0"/>
          </a:p>
          <a:p>
            <a:pPr lvl="1"/>
            <a:r>
              <a:rPr lang="en-US" altLang="zh-CN" dirty="0" err="1"/>
              <a:t>Powerpoint</a:t>
            </a:r>
            <a:r>
              <a:rPr lang="en-US" altLang="zh-CN" dirty="0"/>
              <a:t> Template</a:t>
            </a:r>
            <a:endParaRPr lang="tr-TR" altLang="zh-CN" dirty="0"/>
          </a:p>
          <a:p>
            <a:pPr lvl="2"/>
            <a:r>
              <a:rPr lang="en-US" altLang="zh-CN" dirty="0"/>
              <a:t>and </a:t>
            </a:r>
            <a:endParaRPr lang="tr-TR" altLang="zh-CN" dirty="0"/>
          </a:p>
          <a:p>
            <a:pPr lvl="3"/>
            <a:r>
              <a:rPr lang="en-US" altLang="zh-CN" dirty="0"/>
              <a:t>Google slides</a:t>
            </a:r>
            <a:endParaRPr lang="tr-TR" altLang="zh-CN" dirty="0"/>
          </a:p>
          <a:p>
            <a:pPr lvl="4"/>
            <a:r>
              <a:rPr lang="en-US" altLang="zh-CN" dirty="0"/>
              <a:t>Presentation for you.</a:t>
            </a:r>
            <a:endParaRPr lang="zh-CN" altLang="en-US" dirty="0"/>
          </a:p>
        </p:txBody>
      </p:sp>
      <p:sp>
        <p:nvSpPr>
          <p:cNvPr id="9" name="矩形 8"/>
          <p:cNvSpPr/>
          <p:nvPr userDrawn="1"/>
        </p:nvSpPr>
        <p:spPr>
          <a:xfrm>
            <a:off x="9602485" y="5326225"/>
            <a:ext cx="7751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模板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moban/     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行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hangye/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节日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jieri/           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素材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sucai/</a:t>
            </a:r>
          </a:p>
          <a:p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背景图片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beijing/      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图表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tubiao/     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优秀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xiazai/        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教程： 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powerpoint/      </a:t>
            </a:r>
          </a:p>
          <a:p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ord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教程： 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word/              Excel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教程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excel/ 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资料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ziliao/                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课件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kejian/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范文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fanwen/             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试卷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shiti/ 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教案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jiaoan/       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字体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ziti/</a:t>
            </a:r>
          </a:p>
          <a:p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 </a:t>
            </a:r>
            <a:endParaRPr lang="zh-CN" altLang="en-US" sz="100" dirty="0">
              <a:solidFill>
                <a:prstClr val="white"/>
              </a:solidFill>
              <a:latin typeface="Calibri"/>
              <a:ea typeface="宋体"/>
            </a:endParaRPr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íṡḷïḓê">
            <a:extLst>
              <a:ext uri="{FF2B5EF4-FFF2-40B4-BE49-F238E27FC236}">
                <a16:creationId xmlns:a16="http://schemas.microsoft.com/office/drawing/2014/main" id="{1AB0CE82-C315-4193-82BB-25C7A1C63879}"/>
              </a:ext>
            </a:extLst>
          </p:cNvPr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>
                  <a:alpha val="10000"/>
                </a:srgbClr>
              </a:gs>
              <a:gs pos="100000">
                <a:srgbClr val="4F86FF">
                  <a:alpha val="10000"/>
                </a:srgbClr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" name="í$ḷîḑê">
            <a:extLst>
              <a:ext uri="{FF2B5EF4-FFF2-40B4-BE49-F238E27FC236}">
                <a16:creationId xmlns:a16="http://schemas.microsoft.com/office/drawing/2014/main" id="{0CEB6C2A-EB3D-4609-B2D8-CD968875BEE9}"/>
              </a:ext>
            </a:extLst>
          </p:cNvPr>
          <p:cNvSpPr/>
          <p:nvPr userDrawn="1"/>
        </p:nvSpPr>
        <p:spPr>
          <a:xfrm>
            <a:off x="-2359" y="-38530"/>
            <a:ext cx="12192000" cy="873669"/>
          </a:xfrm>
          <a:prstGeom prst="rect">
            <a:avLst/>
          </a:prstGeom>
          <a:gradFill>
            <a:gsLst>
              <a:gs pos="0">
                <a:srgbClr val="2DAA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i$ḷîḓé">
            <a:extLst>
              <a:ext uri="{FF2B5EF4-FFF2-40B4-BE49-F238E27FC236}">
                <a16:creationId xmlns:a16="http://schemas.microsoft.com/office/drawing/2014/main" id="{003BE360-7A2F-4CE2-A33F-0D6BE8D78D9B}"/>
              </a:ext>
            </a:extLst>
          </p:cNvPr>
          <p:cNvSpPr/>
          <p:nvPr userDrawn="1"/>
        </p:nvSpPr>
        <p:spPr>
          <a:xfrm>
            <a:off x="2603530" y="253020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9" name="îşļíďé">
            <a:extLst>
              <a:ext uri="{FF2B5EF4-FFF2-40B4-BE49-F238E27FC236}">
                <a16:creationId xmlns:a16="http://schemas.microsoft.com/office/drawing/2014/main" id="{10A46B75-4CB3-4159-91B4-76AE8433560E}"/>
              </a:ext>
            </a:extLst>
          </p:cNvPr>
          <p:cNvSpPr/>
          <p:nvPr userDrawn="1"/>
        </p:nvSpPr>
        <p:spPr>
          <a:xfrm>
            <a:off x="11091143" y="12456"/>
            <a:ext cx="825643" cy="412822"/>
          </a:xfrm>
          <a:custGeom>
            <a:avLst/>
            <a:gdLst>
              <a:gd name="connsiteX0" fmla="*/ 0 w 825643"/>
              <a:gd name="connsiteY0" fmla="*/ 0 h 412821"/>
              <a:gd name="connsiteX1" fmla="*/ 101830 w 825643"/>
              <a:gd name="connsiteY1" fmla="*/ 143112 h 412821"/>
              <a:gd name="connsiteX2" fmla="*/ 277967 w 825643"/>
              <a:gd name="connsiteY2" fmla="*/ 145864 h 412821"/>
              <a:gd name="connsiteX3" fmla="*/ 377044 w 825643"/>
              <a:gd name="connsiteY3" fmla="*/ 288975 h 412821"/>
              <a:gd name="connsiteX4" fmla="*/ 553181 w 825643"/>
              <a:gd name="connsiteY4" fmla="*/ 291727 h 412821"/>
              <a:gd name="connsiteX5" fmla="*/ 655010 w 825643"/>
              <a:gd name="connsiteY5" fmla="*/ 434839 h 412821"/>
              <a:gd name="connsiteX6" fmla="*/ 828396 w 825643"/>
              <a:gd name="connsiteY6" fmla="*/ 437591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5643" h="412821">
                <a:moveTo>
                  <a:pt x="0" y="0"/>
                </a:moveTo>
                <a:lnTo>
                  <a:pt x="101830" y="143112"/>
                </a:lnTo>
                <a:lnTo>
                  <a:pt x="277967" y="145864"/>
                </a:lnTo>
                <a:lnTo>
                  <a:pt x="377044" y="288975"/>
                </a:lnTo>
                <a:lnTo>
                  <a:pt x="553181" y="291727"/>
                </a:lnTo>
                <a:lnTo>
                  <a:pt x="655010" y="434839"/>
                </a:lnTo>
                <a:lnTo>
                  <a:pt x="828396" y="437591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1" name="iṥľíḑê">
            <a:extLst>
              <a:ext uri="{FF2B5EF4-FFF2-40B4-BE49-F238E27FC236}">
                <a16:creationId xmlns:a16="http://schemas.microsoft.com/office/drawing/2014/main" id="{54F17FC3-13F9-40DE-93F9-DE115C43F676}"/>
              </a:ext>
            </a:extLst>
          </p:cNvPr>
          <p:cNvSpPr/>
          <p:nvPr userDrawn="1"/>
        </p:nvSpPr>
        <p:spPr>
          <a:xfrm>
            <a:off x="985269" y="608165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îṡḷiḍé">
            <a:extLst>
              <a:ext uri="{FF2B5EF4-FFF2-40B4-BE49-F238E27FC236}">
                <a16:creationId xmlns:a16="http://schemas.microsoft.com/office/drawing/2014/main" id="{6E3D9E46-2714-4560-9F3F-B0442D16F220}"/>
              </a:ext>
            </a:extLst>
          </p:cNvPr>
          <p:cNvSpPr/>
          <p:nvPr userDrawn="1"/>
        </p:nvSpPr>
        <p:spPr>
          <a:xfrm>
            <a:off x="5220819" y="219994"/>
            <a:ext cx="467865" cy="467865"/>
          </a:xfrm>
          <a:custGeom>
            <a:avLst/>
            <a:gdLst>
              <a:gd name="connsiteX0" fmla="*/ 478873 w 467864"/>
              <a:gd name="connsiteY0" fmla="*/ 239437 h 467864"/>
              <a:gd name="connsiteX1" fmla="*/ 239437 w 467864"/>
              <a:gd name="connsiteY1" fmla="*/ 478873 h 467864"/>
              <a:gd name="connsiteX2" fmla="*/ 0 w 467864"/>
              <a:gd name="connsiteY2" fmla="*/ 239437 h 467864"/>
              <a:gd name="connsiteX3" fmla="*/ 239437 w 467864"/>
              <a:gd name="connsiteY3" fmla="*/ 0 h 467864"/>
              <a:gd name="connsiteX4" fmla="*/ 478873 w 467864"/>
              <a:gd name="connsiteY4" fmla="*/ 239437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7864" h="467864">
                <a:moveTo>
                  <a:pt x="478873" y="239437"/>
                </a:moveTo>
                <a:cubicBezTo>
                  <a:pt x="478873" y="371674"/>
                  <a:pt x="371674" y="478873"/>
                  <a:pt x="239437" y="478873"/>
                </a:cubicBezTo>
                <a:cubicBezTo>
                  <a:pt x="107200" y="478873"/>
                  <a:pt x="0" y="371674"/>
                  <a:pt x="0" y="239437"/>
                </a:cubicBezTo>
                <a:cubicBezTo>
                  <a:pt x="0" y="107199"/>
                  <a:pt x="107200" y="0"/>
                  <a:pt x="239437" y="0"/>
                </a:cubicBezTo>
                <a:cubicBezTo>
                  <a:pt x="371674" y="0"/>
                  <a:pt x="478873" y="107199"/>
                  <a:pt x="478873" y="239437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ṣļïďe">
            <a:extLst>
              <a:ext uri="{FF2B5EF4-FFF2-40B4-BE49-F238E27FC236}">
                <a16:creationId xmlns:a16="http://schemas.microsoft.com/office/drawing/2014/main" id="{16213269-75F4-458F-969F-98A333F40D37}"/>
              </a:ext>
            </a:extLst>
          </p:cNvPr>
          <p:cNvSpPr/>
          <p:nvPr userDrawn="1"/>
        </p:nvSpPr>
        <p:spPr>
          <a:xfrm>
            <a:off x="9880200" y="383877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išlïḑe">
            <a:extLst>
              <a:ext uri="{FF2B5EF4-FFF2-40B4-BE49-F238E27FC236}">
                <a16:creationId xmlns:a16="http://schemas.microsoft.com/office/drawing/2014/main" id="{77E619EA-0014-45E4-906E-4A5F8C012482}"/>
              </a:ext>
            </a:extLst>
          </p:cNvPr>
          <p:cNvSpPr/>
          <p:nvPr userDrawn="1"/>
        </p:nvSpPr>
        <p:spPr>
          <a:xfrm>
            <a:off x="9943499" y="320578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6599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6599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6" name="iṩḻîḍê">
            <a:extLst>
              <a:ext uri="{FF2B5EF4-FFF2-40B4-BE49-F238E27FC236}">
                <a16:creationId xmlns:a16="http://schemas.microsoft.com/office/drawing/2014/main" id="{335521EF-D722-479E-8B0F-C9DEEE698257}"/>
              </a:ext>
            </a:extLst>
          </p:cNvPr>
          <p:cNvSpPr/>
          <p:nvPr userDrawn="1"/>
        </p:nvSpPr>
        <p:spPr>
          <a:xfrm>
            <a:off x="7070260" y="313685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7" name="iŝḷïḍê">
            <a:extLst>
              <a:ext uri="{FF2B5EF4-FFF2-40B4-BE49-F238E27FC236}">
                <a16:creationId xmlns:a16="http://schemas.microsoft.com/office/drawing/2014/main" id="{97A36413-78AF-412B-9C8B-4D925DFCE9D0}"/>
              </a:ext>
            </a:extLst>
          </p:cNvPr>
          <p:cNvSpPr/>
          <p:nvPr userDrawn="1"/>
        </p:nvSpPr>
        <p:spPr>
          <a:xfrm>
            <a:off x="7133559" y="250386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3847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3847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iṧḻïḋè">
            <a:extLst>
              <a:ext uri="{FF2B5EF4-FFF2-40B4-BE49-F238E27FC236}">
                <a16:creationId xmlns:a16="http://schemas.microsoft.com/office/drawing/2014/main" id="{ACB9DE55-8D2B-49E8-9CC6-7C7E8D02E569}"/>
              </a:ext>
            </a:extLst>
          </p:cNvPr>
          <p:cNvSpPr/>
          <p:nvPr userDrawn="1"/>
        </p:nvSpPr>
        <p:spPr>
          <a:xfrm>
            <a:off x="10626031" y="9497"/>
            <a:ext cx="825643" cy="825643"/>
          </a:xfrm>
          <a:custGeom>
            <a:avLst/>
            <a:gdLst>
              <a:gd name="connsiteX0" fmla="*/ 847660 w 825643"/>
              <a:gd name="connsiteY0" fmla="*/ 423830 h 825643"/>
              <a:gd name="connsiteX1" fmla="*/ 423830 w 825643"/>
              <a:gd name="connsiteY1" fmla="*/ 847661 h 825643"/>
              <a:gd name="connsiteX2" fmla="*/ 0 w 825643"/>
              <a:gd name="connsiteY2" fmla="*/ 423830 h 825643"/>
              <a:gd name="connsiteX3" fmla="*/ 423830 w 825643"/>
              <a:gd name="connsiteY3" fmla="*/ 0 h 825643"/>
              <a:gd name="connsiteX4" fmla="*/ 847660 w 825643"/>
              <a:gd name="connsiteY4" fmla="*/ 42383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3" h="825643">
                <a:moveTo>
                  <a:pt x="847660" y="423830"/>
                </a:moveTo>
                <a:cubicBezTo>
                  <a:pt x="847660" y="657905"/>
                  <a:pt x="657905" y="847661"/>
                  <a:pt x="423830" y="847661"/>
                </a:cubicBezTo>
                <a:cubicBezTo>
                  <a:pt x="189755" y="847661"/>
                  <a:pt x="0" y="657905"/>
                  <a:pt x="0" y="423830"/>
                </a:cubicBezTo>
                <a:cubicBezTo>
                  <a:pt x="0" y="189755"/>
                  <a:pt x="189755" y="0"/>
                  <a:pt x="423830" y="0"/>
                </a:cubicBezTo>
                <a:cubicBezTo>
                  <a:pt x="657905" y="0"/>
                  <a:pt x="847660" y="189755"/>
                  <a:pt x="847660" y="42383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6" name="iŝľiḋe">
            <a:extLst>
              <a:ext uri="{FF2B5EF4-FFF2-40B4-BE49-F238E27FC236}">
                <a16:creationId xmlns:a16="http://schemas.microsoft.com/office/drawing/2014/main" id="{63D5013D-282F-458C-8918-1D1F1DEF9959}"/>
              </a:ext>
            </a:extLst>
          </p:cNvPr>
          <p:cNvSpPr/>
          <p:nvPr userDrawn="1"/>
        </p:nvSpPr>
        <p:spPr>
          <a:xfrm>
            <a:off x="10689330" y="449840"/>
            <a:ext cx="770600" cy="302736"/>
          </a:xfrm>
          <a:custGeom>
            <a:avLst/>
            <a:gdLst>
              <a:gd name="connsiteX0" fmla="*/ 754087 w 770600"/>
              <a:gd name="connsiteY0" fmla="*/ 137607 h 302735"/>
              <a:gd name="connsiteX1" fmla="*/ 784361 w 770600"/>
              <a:gd name="connsiteY1" fmla="*/ 0 h 302735"/>
              <a:gd name="connsiteX2" fmla="*/ 401813 w 770600"/>
              <a:gd name="connsiteY2" fmla="*/ 137607 h 302735"/>
              <a:gd name="connsiteX3" fmla="*/ 0 w 770600"/>
              <a:gd name="connsiteY3" fmla="*/ 203659 h 302735"/>
              <a:gd name="connsiteX4" fmla="*/ 93573 w 770600"/>
              <a:gd name="connsiteY4" fmla="*/ 308240 h 302735"/>
              <a:gd name="connsiteX5" fmla="*/ 429335 w 770600"/>
              <a:gd name="connsiteY5" fmla="*/ 244941 h 302735"/>
              <a:gd name="connsiteX6" fmla="*/ 754087 w 770600"/>
              <a:gd name="connsiteY6" fmla="*/ 137607 h 30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0600" h="302735">
                <a:moveTo>
                  <a:pt x="754087" y="137607"/>
                </a:moveTo>
                <a:cubicBezTo>
                  <a:pt x="770600" y="93573"/>
                  <a:pt x="781609" y="49539"/>
                  <a:pt x="784361" y="0"/>
                </a:cubicBezTo>
                <a:cubicBezTo>
                  <a:pt x="690788" y="49539"/>
                  <a:pt x="555934" y="99077"/>
                  <a:pt x="401813" y="137607"/>
                </a:cubicBezTo>
                <a:cubicBezTo>
                  <a:pt x="250445" y="176137"/>
                  <a:pt x="107333" y="198154"/>
                  <a:pt x="0" y="203659"/>
                </a:cubicBezTo>
                <a:cubicBezTo>
                  <a:pt x="24769" y="244941"/>
                  <a:pt x="55043" y="277967"/>
                  <a:pt x="93573" y="308240"/>
                </a:cubicBezTo>
                <a:cubicBezTo>
                  <a:pt x="195402" y="297232"/>
                  <a:pt x="310993" y="275214"/>
                  <a:pt x="429335" y="244941"/>
                </a:cubicBezTo>
                <a:cubicBezTo>
                  <a:pt x="547677" y="214667"/>
                  <a:pt x="657762" y="176137"/>
                  <a:pt x="754087" y="137607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7" name="îṣļïdé">
            <a:extLst>
              <a:ext uri="{FF2B5EF4-FFF2-40B4-BE49-F238E27FC236}">
                <a16:creationId xmlns:a16="http://schemas.microsoft.com/office/drawing/2014/main" id="{61FAC990-D018-40F3-8D02-22B34A1BD6D9}"/>
              </a:ext>
            </a:extLst>
          </p:cNvPr>
          <p:cNvSpPr/>
          <p:nvPr userDrawn="1"/>
        </p:nvSpPr>
        <p:spPr>
          <a:xfrm>
            <a:off x="10318615" y="153525"/>
            <a:ext cx="1458637" cy="550429"/>
          </a:xfrm>
          <a:custGeom>
            <a:avLst/>
            <a:gdLst>
              <a:gd name="connsiteX0" fmla="*/ 1055999 w 1458636"/>
              <a:gd name="connsiteY0" fmla="*/ 7339 h 550428"/>
              <a:gd name="connsiteX1" fmla="*/ 1089025 w 1458636"/>
              <a:gd name="connsiteY1" fmla="*/ 54126 h 550428"/>
              <a:gd name="connsiteX2" fmla="*/ 1281675 w 1458636"/>
              <a:gd name="connsiteY2" fmla="*/ 100912 h 550428"/>
              <a:gd name="connsiteX3" fmla="*/ 756015 w 1458636"/>
              <a:gd name="connsiteY3" fmla="*/ 373374 h 550428"/>
              <a:gd name="connsiteX4" fmla="*/ 164304 w 1458636"/>
              <a:gd name="connsiteY4" fmla="*/ 392639 h 550428"/>
              <a:gd name="connsiteX5" fmla="*/ 307416 w 1458636"/>
              <a:gd name="connsiteY5" fmla="*/ 257784 h 550428"/>
              <a:gd name="connsiteX6" fmla="*/ 315672 w 1458636"/>
              <a:gd name="connsiteY6" fmla="*/ 199989 h 550428"/>
              <a:gd name="connsiteX7" fmla="*/ 1928 w 1458636"/>
              <a:gd name="connsiteY7" fmla="*/ 469699 h 550428"/>
              <a:gd name="connsiteX8" fmla="*/ 783537 w 1458636"/>
              <a:gd name="connsiteY8" fmla="*/ 483460 h 550428"/>
              <a:gd name="connsiteX9" fmla="*/ 1460564 w 1458636"/>
              <a:gd name="connsiteY9" fmla="*/ 89903 h 550428"/>
              <a:gd name="connsiteX10" fmla="*/ 1055999 w 1458636"/>
              <a:gd name="connsiteY10" fmla="*/ 7339 h 550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58636" h="550428">
                <a:moveTo>
                  <a:pt x="1055999" y="7339"/>
                </a:moveTo>
                <a:cubicBezTo>
                  <a:pt x="1069760" y="21100"/>
                  <a:pt x="1080769" y="37613"/>
                  <a:pt x="1089025" y="54126"/>
                </a:cubicBezTo>
                <a:cubicBezTo>
                  <a:pt x="1199111" y="51373"/>
                  <a:pt x="1270667" y="65134"/>
                  <a:pt x="1281675" y="100912"/>
                </a:cubicBezTo>
                <a:cubicBezTo>
                  <a:pt x="1300940" y="172468"/>
                  <a:pt x="1064256" y="293562"/>
                  <a:pt x="756015" y="373374"/>
                </a:cubicBezTo>
                <a:cubicBezTo>
                  <a:pt x="447776" y="453186"/>
                  <a:pt x="183570" y="461443"/>
                  <a:pt x="164304" y="392639"/>
                </a:cubicBezTo>
                <a:cubicBezTo>
                  <a:pt x="156048" y="356861"/>
                  <a:pt x="211091" y="307323"/>
                  <a:pt x="307416" y="257784"/>
                </a:cubicBezTo>
                <a:cubicBezTo>
                  <a:pt x="307416" y="238519"/>
                  <a:pt x="310168" y="219254"/>
                  <a:pt x="315672" y="199989"/>
                </a:cubicBezTo>
                <a:cubicBezTo>
                  <a:pt x="109261" y="290810"/>
                  <a:pt x="-17337" y="392639"/>
                  <a:pt x="1928" y="469699"/>
                </a:cubicBezTo>
                <a:cubicBezTo>
                  <a:pt x="32202" y="582537"/>
                  <a:pt x="381723" y="588042"/>
                  <a:pt x="783537" y="483460"/>
                </a:cubicBezTo>
                <a:cubicBezTo>
                  <a:pt x="1188102" y="376126"/>
                  <a:pt x="1490838" y="199989"/>
                  <a:pt x="1460564" y="89903"/>
                </a:cubicBezTo>
                <a:cubicBezTo>
                  <a:pt x="1441299" y="12843"/>
                  <a:pt x="1278923" y="-14678"/>
                  <a:pt x="1055999" y="7339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8" name="îş1iḋè">
            <a:extLst>
              <a:ext uri="{FF2B5EF4-FFF2-40B4-BE49-F238E27FC236}">
                <a16:creationId xmlns:a16="http://schemas.microsoft.com/office/drawing/2014/main" id="{E4990760-A9CA-4343-B0AC-A52CFDE79A62}"/>
              </a:ext>
            </a:extLst>
          </p:cNvPr>
          <p:cNvSpPr/>
          <p:nvPr userDrawn="1"/>
        </p:nvSpPr>
        <p:spPr>
          <a:xfrm>
            <a:off x="11087871" y="43559"/>
            <a:ext cx="220172" cy="220172"/>
          </a:xfrm>
          <a:custGeom>
            <a:avLst/>
            <a:gdLst>
              <a:gd name="connsiteX0" fmla="*/ 160664 w 220171"/>
              <a:gd name="connsiteY0" fmla="*/ 59365 h 220171"/>
              <a:gd name="connsiteX1" fmla="*/ 194116 w 220171"/>
              <a:gd name="connsiteY1" fmla="*/ 172913 h 220171"/>
              <a:gd name="connsiteX2" fmla="*/ 75856 w 220171"/>
              <a:gd name="connsiteY2" fmla="*/ 167731 h 220171"/>
              <a:gd name="connsiteX3" fmla="*/ 42404 w 220171"/>
              <a:gd name="connsiteY3" fmla="*/ 54183 h 220171"/>
              <a:gd name="connsiteX4" fmla="*/ 160664 w 220171"/>
              <a:gd name="connsiteY4" fmla="*/ 59365 h 22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171" h="220171">
                <a:moveTo>
                  <a:pt x="160664" y="59365"/>
                </a:moveTo>
                <a:cubicBezTo>
                  <a:pt x="202558" y="92151"/>
                  <a:pt x="217535" y="142989"/>
                  <a:pt x="194116" y="172913"/>
                </a:cubicBezTo>
                <a:cubicBezTo>
                  <a:pt x="170697" y="202837"/>
                  <a:pt x="117750" y="200517"/>
                  <a:pt x="75856" y="167731"/>
                </a:cubicBezTo>
                <a:cubicBezTo>
                  <a:pt x="33962" y="134944"/>
                  <a:pt x="18985" y="84107"/>
                  <a:pt x="42404" y="54183"/>
                </a:cubicBezTo>
                <a:cubicBezTo>
                  <a:pt x="65823" y="24258"/>
                  <a:pt x="118769" y="26578"/>
                  <a:pt x="160664" y="593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9" name="ïṥḻíḑè">
            <a:extLst>
              <a:ext uri="{FF2B5EF4-FFF2-40B4-BE49-F238E27FC236}">
                <a16:creationId xmlns:a16="http://schemas.microsoft.com/office/drawing/2014/main" id="{D016CFC5-A3C9-4687-A800-116FB3E53572}"/>
              </a:ext>
            </a:extLst>
          </p:cNvPr>
          <p:cNvSpPr/>
          <p:nvPr userDrawn="1"/>
        </p:nvSpPr>
        <p:spPr>
          <a:xfrm>
            <a:off x="11303251" y="177961"/>
            <a:ext cx="82564" cy="110086"/>
          </a:xfrm>
          <a:custGeom>
            <a:avLst/>
            <a:gdLst>
              <a:gd name="connsiteX0" fmla="*/ 86328 w 82564"/>
              <a:gd name="connsiteY0" fmla="*/ 43965 h 110085"/>
              <a:gd name="connsiteX1" fmla="*/ 77398 w 82564"/>
              <a:gd name="connsiteY1" fmla="*/ 104414 h 110085"/>
              <a:gd name="connsiteX2" fmla="*/ 22823 w 82564"/>
              <a:gd name="connsiteY2" fmla="*/ 76931 h 110085"/>
              <a:gd name="connsiteX3" fmla="*/ 31753 w 82564"/>
              <a:gd name="connsiteY3" fmla="*/ 16483 h 110085"/>
              <a:gd name="connsiteX4" fmla="*/ 86328 w 82564"/>
              <a:gd name="connsiteY4" fmla="*/ 43965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110085">
                <a:moveTo>
                  <a:pt x="86328" y="43965"/>
                </a:moveTo>
                <a:cubicBezTo>
                  <a:pt x="98933" y="68247"/>
                  <a:pt x="94934" y="95311"/>
                  <a:pt x="77398" y="104414"/>
                </a:cubicBezTo>
                <a:cubicBezTo>
                  <a:pt x="59862" y="113517"/>
                  <a:pt x="35427" y="101212"/>
                  <a:pt x="22823" y="76931"/>
                </a:cubicBezTo>
                <a:cubicBezTo>
                  <a:pt x="10219" y="52649"/>
                  <a:pt x="14217" y="25586"/>
                  <a:pt x="31753" y="16483"/>
                </a:cubicBezTo>
                <a:cubicBezTo>
                  <a:pt x="49289" y="7380"/>
                  <a:pt x="73724" y="19684"/>
                  <a:pt x="86328" y="439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0" name="íşľîďe">
            <a:extLst>
              <a:ext uri="{FF2B5EF4-FFF2-40B4-BE49-F238E27FC236}">
                <a16:creationId xmlns:a16="http://schemas.microsoft.com/office/drawing/2014/main" id="{A09EE74A-09E5-41B0-ABDA-23569B3A5A2C}"/>
              </a:ext>
            </a:extLst>
          </p:cNvPr>
          <p:cNvSpPr/>
          <p:nvPr userDrawn="1"/>
        </p:nvSpPr>
        <p:spPr>
          <a:xfrm>
            <a:off x="11221665" y="256484"/>
            <a:ext cx="137607" cy="165129"/>
          </a:xfrm>
          <a:custGeom>
            <a:avLst/>
            <a:gdLst>
              <a:gd name="connsiteX0" fmla="*/ 114738 w 137607"/>
              <a:gd name="connsiteY0" fmla="*/ 61084 h 165128"/>
              <a:gd name="connsiteX1" fmla="*/ 104864 w 137607"/>
              <a:gd name="connsiteY1" fmla="*/ 143699 h 165128"/>
              <a:gd name="connsiteX2" fmla="*/ 31663 w 137607"/>
              <a:gd name="connsiteY2" fmla="*/ 104146 h 165128"/>
              <a:gd name="connsiteX3" fmla="*/ 41537 w 137607"/>
              <a:gd name="connsiteY3" fmla="*/ 21531 h 165128"/>
              <a:gd name="connsiteX4" fmla="*/ 114738 w 137607"/>
              <a:gd name="connsiteY4" fmla="*/ 61084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4738" y="61084"/>
                </a:moveTo>
                <a:cubicBezTo>
                  <a:pt x="132225" y="94820"/>
                  <a:pt x="127804" y="131807"/>
                  <a:pt x="104864" y="143699"/>
                </a:cubicBezTo>
                <a:cubicBezTo>
                  <a:pt x="81924" y="155590"/>
                  <a:pt x="49150" y="137882"/>
                  <a:pt x="31663" y="104146"/>
                </a:cubicBezTo>
                <a:cubicBezTo>
                  <a:pt x="14176" y="70411"/>
                  <a:pt x="18596" y="33423"/>
                  <a:pt x="41537" y="21531"/>
                </a:cubicBezTo>
                <a:cubicBezTo>
                  <a:pt x="64477" y="9640"/>
                  <a:pt x="97250" y="27348"/>
                  <a:pt x="114738" y="61084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2" name="íş1idé">
            <a:extLst>
              <a:ext uri="{FF2B5EF4-FFF2-40B4-BE49-F238E27FC236}">
                <a16:creationId xmlns:a16="http://schemas.microsoft.com/office/drawing/2014/main" id="{834E2282-2A1B-4B04-AC43-C3BB4DD6A84E}"/>
              </a:ext>
            </a:extLst>
          </p:cNvPr>
          <p:cNvSpPr/>
          <p:nvPr userDrawn="1"/>
        </p:nvSpPr>
        <p:spPr>
          <a:xfrm>
            <a:off x="9912421" y="39937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3" name="ïšļîdê">
            <a:extLst>
              <a:ext uri="{FF2B5EF4-FFF2-40B4-BE49-F238E27FC236}">
                <a16:creationId xmlns:a16="http://schemas.microsoft.com/office/drawing/2014/main" id="{39D1E457-C7D4-4278-9A3D-2002B409109F}"/>
              </a:ext>
            </a:extLst>
          </p:cNvPr>
          <p:cNvSpPr/>
          <p:nvPr userDrawn="1"/>
        </p:nvSpPr>
        <p:spPr>
          <a:xfrm>
            <a:off x="9880348" y="-70108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6">
    <p:bg>
      <p:bgPr>
        <a:solidFill>
          <a:srgbClr val="4F8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íṡḷïḓê">
            <a:extLst>
              <a:ext uri="{FF2B5EF4-FFF2-40B4-BE49-F238E27FC236}">
                <a16:creationId xmlns:a16="http://schemas.microsoft.com/office/drawing/2014/main" id="{1AB0CE82-C315-4193-82BB-25C7A1C63879}"/>
              </a:ext>
            </a:extLst>
          </p:cNvPr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4926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ṡḷïḓê">
            <a:extLst>
              <a:ext uri="{FF2B5EF4-FFF2-40B4-BE49-F238E27FC236}">
                <a16:creationId xmlns:a16="http://schemas.microsoft.com/office/drawing/2014/main" id="{1AB0CE82-C315-4193-82BB-25C7A1C63879}"/>
              </a:ext>
            </a:extLst>
          </p:cNvPr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2BCF0012-CFD2-4F43-9303-197588224407}"/>
              </a:ext>
            </a:extLst>
          </p:cNvPr>
          <p:cNvGrpSpPr/>
          <p:nvPr userDrawn="1"/>
        </p:nvGrpSpPr>
        <p:grpSpPr>
          <a:xfrm rot="20138802">
            <a:off x="1804890" y="1648101"/>
            <a:ext cx="1257730" cy="3170470"/>
            <a:chOff x="8160109" y="891695"/>
            <a:chExt cx="1257730" cy="3170470"/>
          </a:xfrm>
        </p:grpSpPr>
        <p:sp>
          <p:nvSpPr>
            <p:cNvPr id="7" name="íṩḷîḓè">
              <a:extLst>
                <a:ext uri="{FF2B5EF4-FFF2-40B4-BE49-F238E27FC236}">
                  <a16:creationId xmlns:a16="http://schemas.microsoft.com/office/drawing/2014/main" id="{605CF221-A7BA-4697-B406-E9F07DD8D962}"/>
                </a:ext>
              </a:extLst>
            </p:cNvPr>
            <p:cNvSpPr/>
            <p:nvPr userDrawn="1"/>
          </p:nvSpPr>
          <p:spPr>
            <a:xfrm>
              <a:off x="8603205" y="3236522"/>
              <a:ext cx="385300" cy="825643"/>
            </a:xfrm>
            <a:custGeom>
              <a:avLst/>
              <a:gdLst>
                <a:gd name="connsiteX0" fmla="*/ 385300 w 385300"/>
                <a:gd name="connsiteY0" fmla="*/ 192650 h 825643"/>
                <a:gd name="connsiteX1" fmla="*/ 192650 w 385300"/>
                <a:gd name="connsiteY1" fmla="*/ 850413 h 825643"/>
                <a:gd name="connsiteX2" fmla="*/ 0 w 385300"/>
                <a:gd name="connsiteY2" fmla="*/ 192650 h 825643"/>
                <a:gd name="connsiteX3" fmla="*/ 192650 w 385300"/>
                <a:gd name="connsiteY3" fmla="*/ 0 h 825643"/>
                <a:gd name="connsiteX4" fmla="*/ 385300 w 385300"/>
                <a:gd name="connsiteY4" fmla="*/ 19265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25643">
                  <a:moveTo>
                    <a:pt x="385300" y="192650"/>
                  </a:moveTo>
                  <a:cubicBezTo>
                    <a:pt x="385300" y="299984"/>
                    <a:pt x="192650" y="850413"/>
                    <a:pt x="192650" y="850413"/>
                  </a:cubicBezTo>
                  <a:cubicBezTo>
                    <a:pt x="192650" y="850413"/>
                    <a:pt x="0" y="297232"/>
                    <a:pt x="0" y="192650"/>
                  </a:cubicBezTo>
                  <a:cubicBezTo>
                    <a:pt x="0" y="85316"/>
                    <a:pt x="85317" y="0"/>
                    <a:pt x="192650" y="0"/>
                  </a:cubicBezTo>
                  <a:cubicBezTo>
                    <a:pt x="299984" y="0"/>
                    <a:pt x="385300" y="85316"/>
                    <a:pt x="385300" y="192650"/>
                  </a:cubicBezTo>
                  <a:close/>
                </a:path>
              </a:pathLst>
            </a:custGeom>
            <a:solidFill>
              <a:srgbClr val="FFC72B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iṡļíḍe">
              <a:extLst>
                <a:ext uri="{FF2B5EF4-FFF2-40B4-BE49-F238E27FC236}">
                  <a16:creationId xmlns:a16="http://schemas.microsoft.com/office/drawing/2014/main" id="{C6CF470B-8E0D-46B9-B7E6-2DDA2963AF9D}"/>
                </a:ext>
              </a:extLst>
            </p:cNvPr>
            <p:cNvSpPr/>
            <p:nvPr userDrawn="1"/>
          </p:nvSpPr>
          <p:spPr>
            <a:xfrm>
              <a:off x="8578436" y="3123684"/>
              <a:ext cx="412822" cy="247693"/>
            </a:xfrm>
            <a:custGeom>
              <a:avLst/>
              <a:gdLst>
                <a:gd name="connsiteX0" fmla="*/ 434839 w 412821"/>
                <a:gd name="connsiteY0" fmla="*/ 247693 h 247693"/>
                <a:gd name="connsiteX1" fmla="*/ 0 w 412821"/>
                <a:gd name="connsiteY1" fmla="*/ 247693 h 247693"/>
                <a:gd name="connsiteX2" fmla="*/ 35778 w 412821"/>
                <a:gd name="connsiteY2" fmla="*/ 0 h 247693"/>
                <a:gd name="connsiteX3" fmla="*/ 399061 w 412821"/>
                <a:gd name="connsiteY3" fmla="*/ 0 h 247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821" h="247693">
                  <a:moveTo>
                    <a:pt x="434839" y="247693"/>
                  </a:moveTo>
                  <a:lnTo>
                    <a:pt x="0" y="247693"/>
                  </a:lnTo>
                  <a:lnTo>
                    <a:pt x="35778" y="0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íšḻïḓé">
              <a:extLst>
                <a:ext uri="{FF2B5EF4-FFF2-40B4-BE49-F238E27FC236}">
                  <a16:creationId xmlns:a16="http://schemas.microsoft.com/office/drawing/2014/main" id="{2C49BD33-6302-4780-903B-519E908189A8}"/>
                </a:ext>
              </a:extLst>
            </p:cNvPr>
            <p:cNvSpPr/>
            <p:nvPr userDrawn="1"/>
          </p:nvSpPr>
          <p:spPr>
            <a:xfrm>
              <a:off x="8160109" y="2765905"/>
              <a:ext cx="385300" cy="880686"/>
            </a:xfrm>
            <a:custGeom>
              <a:avLst/>
              <a:gdLst>
                <a:gd name="connsiteX0" fmla="*/ 322001 w 385300"/>
                <a:gd name="connsiteY0" fmla="*/ 0 h 880686"/>
                <a:gd name="connsiteX1" fmla="*/ 0 w 385300"/>
                <a:gd name="connsiteY1" fmla="*/ 330257 h 880686"/>
                <a:gd name="connsiteX2" fmla="*/ 283471 w 385300"/>
                <a:gd name="connsiteY2" fmla="*/ 880686 h 880686"/>
                <a:gd name="connsiteX3" fmla="*/ 399061 w 385300"/>
                <a:gd name="connsiteY3" fmla="*/ 880686 h 880686"/>
                <a:gd name="connsiteX4" fmla="*/ 399061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322001" y="0"/>
                  </a:moveTo>
                  <a:lnTo>
                    <a:pt x="0" y="330257"/>
                  </a:lnTo>
                  <a:lnTo>
                    <a:pt x="283471" y="880686"/>
                  </a:lnTo>
                  <a:lnTo>
                    <a:pt x="399061" y="880686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îṥļïďe">
              <a:extLst>
                <a:ext uri="{FF2B5EF4-FFF2-40B4-BE49-F238E27FC236}">
                  <a16:creationId xmlns:a16="http://schemas.microsoft.com/office/drawing/2014/main" id="{8B6F07AB-51F3-424B-BE3E-87012450D058}"/>
                </a:ext>
              </a:extLst>
            </p:cNvPr>
            <p:cNvSpPr/>
            <p:nvPr userDrawn="1"/>
          </p:nvSpPr>
          <p:spPr>
            <a:xfrm>
              <a:off x="9032539" y="2765905"/>
              <a:ext cx="385300" cy="880686"/>
            </a:xfrm>
            <a:custGeom>
              <a:avLst/>
              <a:gdLst>
                <a:gd name="connsiteX0" fmla="*/ 74307 w 385300"/>
                <a:gd name="connsiteY0" fmla="*/ 0 h 880686"/>
                <a:gd name="connsiteX1" fmla="*/ 399061 w 385300"/>
                <a:gd name="connsiteY1" fmla="*/ 330257 h 880686"/>
                <a:gd name="connsiteX2" fmla="*/ 115590 w 385300"/>
                <a:gd name="connsiteY2" fmla="*/ 880686 h 880686"/>
                <a:gd name="connsiteX3" fmla="*/ 0 w 385300"/>
                <a:gd name="connsiteY3" fmla="*/ 880686 h 880686"/>
                <a:gd name="connsiteX4" fmla="*/ 0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74307" y="0"/>
                  </a:moveTo>
                  <a:lnTo>
                    <a:pt x="399061" y="330257"/>
                  </a:lnTo>
                  <a:lnTo>
                    <a:pt x="115590" y="880686"/>
                  </a:lnTo>
                  <a:lnTo>
                    <a:pt x="0" y="8806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iṧlîḍê">
              <a:extLst>
                <a:ext uri="{FF2B5EF4-FFF2-40B4-BE49-F238E27FC236}">
                  <a16:creationId xmlns:a16="http://schemas.microsoft.com/office/drawing/2014/main" id="{1FB5861E-709D-4101-9C10-E8C552D9387F}"/>
                </a:ext>
              </a:extLst>
            </p:cNvPr>
            <p:cNvSpPr/>
            <p:nvPr userDrawn="1"/>
          </p:nvSpPr>
          <p:spPr>
            <a:xfrm>
              <a:off x="8290252" y="1629270"/>
              <a:ext cx="990772" cy="1596244"/>
            </a:xfrm>
            <a:custGeom>
              <a:avLst/>
              <a:gdLst>
                <a:gd name="connsiteX0" fmla="*/ 978972 w 990772"/>
                <a:gd name="connsiteY0" fmla="*/ 0 h 1596243"/>
                <a:gd name="connsiteX1" fmla="*/ 505603 w 990772"/>
                <a:gd name="connsiteY1" fmla="*/ 85316 h 1596243"/>
                <a:gd name="connsiteX2" fmla="*/ 32234 w 990772"/>
                <a:gd name="connsiteY2" fmla="*/ 0 h 1596243"/>
                <a:gd name="connsiteX3" fmla="*/ 268919 w 990772"/>
                <a:gd name="connsiteY3" fmla="*/ 1604500 h 1596243"/>
                <a:gd name="connsiteX4" fmla="*/ 505603 w 990772"/>
                <a:gd name="connsiteY4" fmla="*/ 1604500 h 1596243"/>
                <a:gd name="connsiteX5" fmla="*/ 742288 w 990772"/>
                <a:gd name="connsiteY5" fmla="*/ 1604500 h 1596243"/>
                <a:gd name="connsiteX6" fmla="*/ 978972 w 990772"/>
                <a:gd name="connsiteY6" fmla="*/ 0 h 159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0772" h="1596243">
                  <a:moveTo>
                    <a:pt x="978972" y="0"/>
                  </a:moveTo>
                  <a:lnTo>
                    <a:pt x="505603" y="85316"/>
                  </a:lnTo>
                  <a:lnTo>
                    <a:pt x="32234" y="0"/>
                  </a:lnTo>
                  <a:cubicBezTo>
                    <a:pt x="-110877" y="935729"/>
                    <a:pt x="268919" y="1604500"/>
                    <a:pt x="268919" y="1604500"/>
                  </a:cubicBezTo>
                  <a:lnTo>
                    <a:pt x="505603" y="1604500"/>
                  </a:lnTo>
                  <a:lnTo>
                    <a:pt x="742288" y="1604500"/>
                  </a:lnTo>
                  <a:cubicBezTo>
                    <a:pt x="742288" y="1607252"/>
                    <a:pt x="1119331" y="935729"/>
                    <a:pt x="978972" y="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íSļíḑè">
              <a:extLst>
                <a:ext uri="{FF2B5EF4-FFF2-40B4-BE49-F238E27FC236}">
                  <a16:creationId xmlns:a16="http://schemas.microsoft.com/office/drawing/2014/main" id="{FAFF69C2-B3A5-40E1-A057-2633B8525A70}"/>
                </a:ext>
              </a:extLst>
            </p:cNvPr>
            <p:cNvSpPr/>
            <p:nvPr userDrawn="1"/>
          </p:nvSpPr>
          <p:spPr>
            <a:xfrm>
              <a:off x="8322486" y="891695"/>
              <a:ext cx="935729" cy="825643"/>
            </a:xfrm>
            <a:custGeom>
              <a:avLst/>
              <a:gdLst>
                <a:gd name="connsiteX0" fmla="*/ 473369 w 935729"/>
                <a:gd name="connsiteY0" fmla="*/ 0 h 825643"/>
                <a:gd name="connsiteX1" fmla="*/ 0 w 935729"/>
                <a:gd name="connsiteY1" fmla="*/ 737575 h 825643"/>
                <a:gd name="connsiteX2" fmla="*/ 473369 w 935729"/>
                <a:gd name="connsiteY2" fmla="*/ 842156 h 825643"/>
                <a:gd name="connsiteX3" fmla="*/ 946738 w 935729"/>
                <a:gd name="connsiteY3" fmla="*/ 737575 h 825643"/>
                <a:gd name="connsiteX4" fmla="*/ 473369 w 935729"/>
                <a:gd name="connsiteY4" fmla="*/ 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5729" h="825643">
                  <a:moveTo>
                    <a:pt x="473369" y="0"/>
                  </a:moveTo>
                  <a:cubicBezTo>
                    <a:pt x="88069" y="288975"/>
                    <a:pt x="0" y="737575"/>
                    <a:pt x="0" y="737575"/>
                  </a:cubicBezTo>
                  <a:cubicBezTo>
                    <a:pt x="0" y="737575"/>
                    <a:pt x="211915" y="842156"/>
                    <a:pt x="473369" y="842156"/>
                  </a:cubicBezTo>
                  <a:cubicBezTo>
                    <a:pt x="734823" y="842156"/>
                    <a:pt x="946738" y="737575"/>
                    <a:pt x="946738" y="737575"/>
                  </a:cubicBezTo>
                  <a:cubicBezTo>
                    <a:pt x="946738" y="737575"/>
                    <a:pt x="858669" y="288975"/>
                    <a:pt x="473369" y="0"/>
                  </a:cubicBez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ísḻïdê">
              <a:extLst>
                <a:ext uri="{FF2B5EF4-FFF2-40B4-BE49-F238E27FC236}">
                  <a16:creationId xmlns:a16="http://schemas.microsoft.com/office/drawing/2014/main" id="{6F1912D6-CF2D-49A4-AB60-16A031225408}"/>
                </a:ext>
              </a:extLst>
            </p:cNvPr>
            <p:cNvSpPr/>
            <p:nvPr userDrawn="1"/>
          </p:nvSpPr>
          <p:spPr>
            <a:xfrm>
              <a:off x="8526145" y="1821920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ïšļíďe">
              <a:extLst>
                <a:ext uri="{FF2B5EF4-FFF2-40B4-BE49-F238E27FC236}">
                  <a16:creationId xmlns:a16="http://schemas.microsoft.com/office/drawing/2014/main" id="{D7FE3920-756A-4B51-8E62-16CB025C1C40}"/>
                </a:ext>
              </a:extLst>
            </p:cNvPr>
            <p:cNvSpPr/>
            <p:nvPr userDrawn="1"/>
          </p:nvSpPr>
          <p:spPr>
            <a:xfrm>
              <a:off x="8526145" y="1794398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ïṣļíḋè">
              <a:extLst>
                <a:ext uri="{FF2B5EF4-FFF2-40B4-BE49-F238E27FC236}">
                  <a16:creationId xmlns:a16="http://schemas.microsoft.com/office/drawing/2014/main" id="{2439F7ED-2FC2-4B5A-B436-B25D3EF5E2F2}"/>
                </a:ext>
              </a:extLst>
            </p:cNvPr>
            <p:cNvSpPr/>
            <p:nvPr userDrawn="1"/>
          </p:nvSpPr>
          <p:spPr>
            <a:xfrm>
              <a:off x="8570179" y="1838433"/>
              <a:ext cx="440343" cy="440343"/>
            </a:xfrm>
            <a:custGeom>
              <a:avLst/>
              <a:gdLst>
                <a:gd name="connsiteX0" fmla="*/ 451351 w 440343"/>
                <a:gd name="connsiteY0" fmla="*/ 225676 h 440343"/>
                <a:gd name="connsiteX1" fmla="*/ 225675 w 440343"/>
                <a:gd name="connsiteY1" fmla="*/ 451352 h 440343"/>
                <a:gd name="connsiteX2" fmla="*/ -1 w 440343"/>
                <a:gd name="connsiteY2" fmla="*/ 225676 h 440343"/>
                <a:gd name="connsiteX3" fmla="*/ 225675 w 440343"/>
                <a:gd name="connsiteY3" fmla="*/ 0 h 440343"/>
                <a:gd name="connsiteX4" fmla="*/ 451351 w 440343"/>
                <a:gd name="connsiteY4" fmla="*/ 225676 h 44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40343">
                  <a:moveTo>
                    <a:pt x="451351" y="225676"/>
                  </a:moveTo>
                  <a:cubicBezTo>
                    <a:pt x="451351" y="350313"/>
                    <a:pt x="350313" y="451352"/>
                    <a:pt x="225675" y="451352"/>
                  </a:cubicBezTo>
                  <a:cubicBezTo>
                    <a:pt x="101038" y="451352"/>
                    <a:pt x="-1" y="350313"/>
                    <a:pt x="-1" y="225676"/>
                  </a:cubicBezTo>
                  <a:cubicBezTo>
                    <a:pt x="-1" y="101039"/>
                    <a:pt x="101038" y="0"/>
                    <a:pt x="225675" y="0"/>
                  </a:cubicBezTo>
                  <a:cubicBezTo>
                    <a:pt x="350313" y="0"/>
                    <a:pt x="451351" y="101039"/>
                    <a:pt x="451351" y="225676"/>
                  </a:cubicBezTo>
                  <a:close/>
                </a:path>
              </a:pathLst>
            </a:custGeom>
            <a:solidFill>
              <a:srgbClr val="364459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íṩļîḍê">
              <a:extLst>
                <a:ext uri="{FF2B5EF4-FFF2-40B4-BE49-F238E27FC236}">
                  <a16:creationId xmlns:a16="http://schemas.microsoft.com/office/drawing/2014/main" id="{F1F30093-C2C4-489D-8C52-899C0D8F0660}"/>
                </a:ext>
              </a:extLst>
            </p:cNvPr>
            <p:cNvSpPr/>
            <p:nvPr userDrawn="1"/>
          </p:nvSpPr>
          <p:spPr>
            <a:xfrm>
              <a:off x="8572931" y="1863202"/>
              <a:ext cx="440343" cy="412822"/>
            </a:xfrm>
            <a:custGeom>
              <a:avLst/>
              <a:gdLst>
                <a:gd name="connsiteX0" fmla="*/ 222924 w 440343"/>
                <a:gd name="connsiteY0" fmla="*/ 0 h 412821"/>
                <a:gd name="connsiteX1" fmla="*/ 0 w 440343"/>
                <a:gd name="connsiteY1" fmla="*/ 211915 h 412821"/>
                <a:gd name="connsiteX2" fmla="*/ 222924 w 440343"/>
                <a:gd name="connsiteY2" fmla="*/ 423830 h 412821"/>
                <a:gd name="connsiteX3" fmla="*/ 445848 w 440343"/>
                <a:gd name="connsiteY3" fmla="*/ 211915 h 412821"/>
                <a:gd name="connsiteX4" fmla="*/ 222924 w 440343"/>
                <a:gd name="connsiteY4" fmla="*/ 0 h 412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12821">
                  <a:moveTo>
                    <a:pt x="222924" y="0"/>
                  </a:moveTo>
                  <a:cubicBezTo>
                    <a:pt x="101830" y="0"/>
                    <a:pt x="5505" y="93573"/>
                    <a:pt x="0" y="211915"/>
                  </a:cubicBezTo>
                  <a:cubicBezTo>
                    <a:pt x="5505" y="330257"/>
                    <a:pt x="104581" y="423830"/>
                    <a:pt x="222924" y="423830"/>
                  </a:cubicBezTo>
                  <a:cubicBezTo>
                    <a:pt x="344018" y="423830"/>
                    <a:pt x="440343" y="330257"/>
                    <a:pt x="445848" y="211915"/>
                  </a:cubicBezTo>
                  <a:cubicBezTo>
                    <a:pt x="440343" y="93573"/>
                    <a:pt x="344018" y="0"/>
                    <a:pt x="222924" y="0"/>
                  </a:cubicBez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iṩḻîdè">
              <a:extLst>
                <a:ext uri="{FF2B5EF4-FFF2-40B4-BE49-F238E27FC236}">
                  <a16:creationId xmlns:a16="http://schemas.microsoft.com/office/drawing/2014/main" id="{98BC3FD7-3225-473C-B8B4-DEE63496164D}"/>
                </a:ext>
              </a:extLst>
            </p:cNvPr>
            <p:cNvSpPr/>
            <p:nvPr userDrawn="1"/>
          </p:nvSpPr>
          <p:spPr>
            <a:xfrm>
              <a:off x="8570179" y="1841185"/>
              <a:ext cx="412822" cy="330257"/>
            </a:xfrm>
            <a:custGeom>
              <a:avLst/>
              <a:gdLst>
                <a:gd name="connsiteX0" fmla="*/ 225676 w 412821"/>
                <a:gd name="connsiteY0" fmla="*/ 0 h 330257"/>
                <a:gd name="connsiteX1" fmla="*/ 0 w 412821"/>
                <a:gd name="connsiteY1" fmla="*/ 225676 h 330257"/>
                <a:gd name="connsiteX2" fmla="*/ 38530 w 412821"/>
                <a:gd name="connsiteY2" fmla="*/ 349522 h 330257"/>
                <a:gd name="connsiteX3" fmla="*/ 421079 w 412821"/>
                <a:gd name="connsiteY3" fmla="*/ 115590 h 330257"/>
                <a:gd name="connsiteX4" fmla="*/ 225676 w 412821"/>
                <a:gd name="connsiteY4" fmla="*/ 0 h 33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821" h="330257">
                  <a:moveTo>
                    <a:pt x="225676" y="0"/>
                  </a:moveTo>
                  <a:cubicBezTo>
                    <a:pt x="101830" y="0"/>
                    <a:pt x="0" y="101829"/>
                    <a:pt x="0" y="225676"/>
                  </a:cubicBezTo>
                  <a:cubicBezTo>
                    <a:pt x="0" y="272462"/>
                    <a:pt x="13761" y="313745"/>
                    <a:pt x="38530" y="349522"/>
                  </a:cubicBezTo>
                  <a:lnTo>
                    <a:pt x="421079" y="115590"/>
                  </a:lnTo>
                  <a:cubicBezTo>
                    <a:pt x="382548" y="44034"/>
                    <a:pt x="308241" y="0"/>
                    <a:pt x="225676" y="0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îSlîḍé">
              <a:extLst>
                <a:ext uri="{FF2B5EF4-FFF2-40B4-BE49-F238E27FC236}">
                  <a16:creationId xmlns:a16="http://schemas.microsoft.com/office/drawing/2014/main" id="{3FFBE7FD-E35A-4454-9494-F3C8BE2C456D}"/>
                </a:ext>
              </a:extLst>
            </p:cNvPr>
            <p:cNvSpPr/>
            <p:nvPr userDrawn="1"/>
          </p:nvSpPr>
          <p:spPr>
            <a:xfrm>
              <a:off x="8476606" y="3054881"/>
              <a:ext cx="632993" cy="27521"/>
            </a:xfrm>
            <a:custGeom>
              <a:avLst/>
              <a:gdLst>
                <a:gd name="connsiteX0" fmla="*/ 638498 w 632993"/>
                <a:gd name="connsiteY0" fmla="*/ 0 h 27521"/>
                <a:gd name="connsiteX1" fmla="*/ 0 w 632993"/>
                <a:gd name="connsiteY1" fmla="*/ 0 h 27521"/>
                <a:gd name="connsiteX2" fmla="*/ 11008 w 632993"/>
                <a:gd name="connsiteY2" fmla="*/ 27521 h 27521"/>
                <a:gd name="connsiteX3" fmla="*/ 624737 w 632993"/>
                <a:gd name="connsiteY3" fmla="*/ 27521 h 27521"/>
                <a:gd name="connsiteX4" fmla="*/ 638498 w 632993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993" h="27521">
                  <a:moveTo>
                    <a:pt x="638498" y="0"/>
                  </a:moveTo>
                  <a:lnTo>
                    <a:pt x="0" y="0"/>
                  </a:lnTo>
                  <a:cubicBezTo>
                    <a:pt x="2752" y="8257"/>
                    <a:pt x="8256" y="19265"/>
                    <a:pt x="11008" y="27521"/>
                  </a:cubicBezTo>
                  <a:lnTo>
                    <a:pt x="624737" y="27521"/>
                  </a:lnTo>
                  <a:cubicBezTo>
                    <a:pt x="630241" y="19265"/>
                    <a:pt x="632993" y="8257"/>
                    <a:pt x="638498" y="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îšľîḋe">
              <a:extLst>
                <a:ext uri="{FF2B5EF4-FFF2-40B4-BE49-F238E27FC236}">
                  <a16:creationId xmlns:a16="http://schemas.microsoft.com/office/drawing/2014/main" id="{C081E5E1-FAF5-489F-8FE3-037A72D9E024}"/>
                </a:ext>
              </a:extLst>
            </p:cNvPr>
            <p:cNvSpPr/>
            <p:nvPr userDrawn="1"/>
          </p:nvSpPr>
          <p:spPr>
            <a:xfrm>
              <a:off x="8416058" y="2878743"/>
              <a:ext cx="743079" cy="27521"/>
            </a:xfrm>
            <a:custGeom>
              <a:avLst/>
              <a:gdLst>
                <a:gd name="connsiteX0" fmla="*/ 0 w 743079"/>
                <a:gd name="connsiteY0" fmla="*/ 0 h 27521"/>
                <a:gd name="connsiteX1" fmla="*/ 8257 w 743079"/>
                <a:gd name="connsiteY1" fmla="*/ 27521 h 27521"/>
                <a:gd name="connsiteX2" fmla="*/ 751336 w 743079"/>
                <a:gd name="connsiteY2" fmla="*/ 27521 h 27521"/>
                <a:gd name="connsiteX3" fmla="*/ 759592 w 743079"/>
                <a:gd name="connsiteY3" fmla="*/ 0 h 27521"/>
                <a:gd name="connsiteX4" fmla="*/ 0 w 743079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079" h="27521">
                  <a:moveTo>
                    <a:pt x="0" y="0"/>
                  </a:moveTo>
                  <a:cubicBezTo>
                    <a:pt x="2752" y="8257"/>
                    <a:pt x="5505" y="19265"/>
                    <a:pt x="8257" y="27521"/>
                  </a:cubicBezTo>
                  <a:lnTo>
                    <a:pt x="751336" y="27521"/>
                  </a:lnTo>
                  <a:cubicBezTo>
                    <a:pt x="754088" y="19265"/>
                    <a:pt x="756840" y="8257"/>
                    <a:pt x="75959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2" name="îṧḻiḓê">
            <a:extLst>
              <a:ext uri="{FF2B5EF4-FFF2-40B4-BE49-F238E27FC236}">
                <a16:creationId xmlns:a16="http://schemas.microsoft.com/office/drawing/2014/main" id="{B0999D69-6BA4-4D59-BA07-E9FFE98BB661}"/>
              </a:ext>
            </a:extLst>
          </p:cNvPr>
          <p:cNvSpPr/>
          <p:nvPr userDrawn="1"/>
        </p:nvSpPr>
        <p:spPr>
          <a:xfrm>
            <a:off x="2603530" y="1210944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Sḷíḋe">
            <a:extLst>
              <a:ext uri="{FF2B5EF4-FFF2-40B4-BE49-F238E27FC236}">
                <a16:creationId xmlns:a16="http://schemas.microsoft.com/office/drawing/2014/main" id="{3D58C860-03EC-49A7-8187-774B9475B95E}"/>
              </a:ext>
            </a:extLst>
          </p:cNvPr>
          <p:cNvSpPr/>
          <p:nvPr userDrawn="1"/>
        </p:nvSpPr>
        <p:spPr>
          <a:xfrm>
            <a:off x="6745507" y="3330095"/>
            <a:ext cx="137607" cy="137607"/>
          </a:xfrm>
          <a:custGeom>
            <a:avLst/>
            <a:gdLst>
              <a:gd name="connsiteX0" fmla="*/ 137607 w 137607"/>
              <a:gd name="connsiteY0" fmla="*/ 68804 h 137607"/>
              <a:gd name="connsiteX1" fmla="*/ 68804 w 137607"/>
              <a:gd name="connsiteY1" fmla="*/ 137607 h 137607"/>
              <a:gd name="connsiteX2" fmla="*/ 0 w 137607"/>
              <a:gd name="connsiteY2" fmla="*/ 68804 h 137607"/>
              <a:gd name="connsiteX3" fmla="*/ 68804 w 137607"/>
              <a:gd name="connsiteY3" fmla="*/ 0 h 137607"/>
              <a:gd name="connsiteX4" fmla="*/ 137607 w 137607"/>
              <a:gd name="connsiteY4" fmla="*/ 68804 h 1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37607">
                <a:moveTo>
                  <a:pt x="137607" y="68804"/>
                </a:moveTo>
                <a:cubicBezTo>
                  <a:pt x="137607" y="106803"/>
                  <a:pt x="106803" y="137607"/>
                  <a:pt x="68804" y="137607"/>
                </a:cubicBezTo>
                <a:cubicBezTo>
                  <a:pt x="30805" y="137607"/>
                  <a:pt x="0" y="106803"/>
                  <a:pt x="0" y="68804"/>
                </a:cubicBezTo>
                <a:cubicBezTo>
                  <a:pt x="0" y="30804"/>
                  <a:pt x="30805" y="0"/>
                  <a:pt x="68804" y="0"/>
                </a:cubicBezTo>
                <a:cubicBezTo>
                  <a:pt x="106803" y="0"/>
                  <a:pt x="137607" y="30804"/>
                  <a:pt x="137607" y="68804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ïŝḷïḑé">
            <a:extLst>
              <a:ext uri="{FF2B5EF4-FFF2-40B4-BE49-F238E27FC236}">
                <a16:creationId xmlns:a16="http://schemas.microsoft.com/office/drawing/2014/main" id="{EA8291A3-153D-4422-B9B9-E63EF84536A7}"/>
              </a:ext>
            </a:extLst>
          </p:cNvPr>
          <p:cNvSpPr/>
          <p:nvPr userDrawn="1"/>
        </p:nvSpPr>
        <p:spPr>
          <a:xfrm>
            <a:off x="985269" y="927473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6" name="isḻiďê">
            <a:extLst>
              <a:ext uri="{FF2B5EF4-FFF2-40B4-BE49-F238E27FC236}">
                <a16:creationId xmlns:a16="http://schemas.microsoft.com/office/drawing/2014/main" id="{A3E26944-B390-468F-8043-3F40DB94FDD7}"/>
              </a:ext>
            </a:extLst>
          </p:cNvPr>
          <p:cNvSpPr/>
          <p:nvPr userDrawn="1"/>
        </p:nvSpPr>
        <p:spPr>
          <a:xfrm>
            <a:off x="10675569" y="3365873"/>
            <a:ext cx="192650" cy="192650"/>
          </a:xfrm>
          <a:custGeom>
            <a:avLst/>
            <a:gdLst>
              <a:gd name="connsiteX0" fmla="*/ 192650 w 192650"/>
              <a:gd name="connsiteY0" fmla="*/ 96325 h 192650"/>
              <a:gd name="connsiteX1" fmla="*/ 96325 w 192650"/>
              <a:gd name="connsiteY1" fmla="*/ 192650 h 192650"/>
              <a:gd name="connsiteX2" fmla="*/ 0 w 192650"/>
              <a:gd name="connsiteY2" fmla="*/ 96325 h 192650"/>
              <a:gd name="connsiteX3" fmla="*/ 96325 w 192650"/>
              <a:gd name="connsiteY3" fmla="*/ 0 h 192650"/>
              <a:gd name="connsiteX4" fmla="*/ 192650 w 192650"/>
              <a:gd name="connsiteY4" fmla="*/ 9632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50" h="192650">
                <a:moveTo>
                  <a:pt x="192650" y="96325"/>
                </a:moveTo>
                <a:cubicBezTo>
                  <a:pt x="192650" y="149524"/>
                  <a:pt x="149523" y="192650"/>
                  <a:pt x="96325" y="192650"/>
                </a:cubicBezTo>
                <a:cubicBezTo>
                  <a:pt x="43126" y="192650"/>
                  <a:pt x="0" y="149524"/>
                  <a:pt x="0" y="96325"/>
                </a:cubicBezTo>
                <a:cubicBezTo>
                  <a:pt x="0" y="43126"/>
                  <a:pt x="43126" y="0"/>
                  <a:pt x="96325" y="0"/>
                </a:cubicBezTo>
                <a:cubicBezTo>
                  <a:pt x="149523" y="0"/>
                  <a:pt x="192650" y="43126"/>
                  <a:pt x="192650" y="96325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2" name="ï$1iḓè">
            <a:extLst>
              <a:ext uri="{FF2B5EF4-FFF2-40B4-BE49-F238E27FC236}">
                <a16:creationId xmlns:a16="http://schemas.microsoft.com/office/drawing/2014/main" id="{039C1114-654B-4813-8370-0924F011BBA3}"/>
              </a:ext>
            </a:extLst>
          </p:cNvPr>
          <p:cNvSpPr/>
          <p:nvPr userDrawn="1"/>
        </p:nvSpPr>
        <p:spPr>
          <a:xfrm>
            <a:off x="10152662" y="2691598"/>
            <a:ext cx="440343" cy="440343"/>
          </a:xfrm>
          <a:custGeom>
            <a:avLst/>
            <a:gdLst>
              <a:gd name="connsiteX0" fmla="*/ 162376 w 440343"/>
              <a:gd name="connsiteY0" fmla="*/ 443095 h 440343"/>
              <a:gd name="connsiteX1" fmla="*/ 0 w 440343"/>
              <a:gd name="connsiteY1" fmla="*/ 162376 h 440343"/>
              <a:gd name="connsiteX2" fmla="*/ 280719 w 440343"/>
              <a:gd name="connsiteY2" fmla="*/ 0 h 440343"/>
              <a:gd name="connsiteX3" fmla="*/ 443095 w 440343"/>
              <a:gd name="connsiteY3" fmla="*/ 280719 h 440343"/>
              <a:gd name="connsiteX4" fmla="*/ 162376 w 440343"/>
              <a:gd name="connsiteY4" fmla="*/ 443095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162376" y="443095"/>
                </a:moveTo>
                <a:cubicBezTo>
                  <a:pt x="214668" y="239437"/>
                  <a:pt x="203659" y="217419"/>
                  <a:pt x="0" y="162376"/>
                </a:cubicBezTo>
                <a:cubicBezTo>
                  <a:pt x="203659" y="214667"/>
                  <a:pt x="225676" y="203659"/>
                  <a:pt x="280719" y="0"/>
                </a:cubicBezTo>
                <a:cubicBezTo>
                  <a:pt x="228429" y="203659"/>
                  <a:pt x="239437" y="225676"/>
                  <a:pt x="443095" y="280719"/>
                </a:cubicBezTo>
                <a:cubicBezTo>
                  <a:pt x="236685" y="228428"/>
                  <a:pt x="217419" y="239437"/>
                  <a:pt x="162376" y="443095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3" name="ïŝlíďé">
            <a:extLst>
              <a:ext uri="{FF2B5EF4-FFF2-40B4-BE49-F238E27FC236}">
                <a16:creationId xmlns:a16="http://schemas.microsoft.com/office/drawing/2014/main" id="{8B241F30-9BA4-41A7-B1CA-B167577B9AF3}"/>
              </a:ext>
            </a:extLst>
          </p:cNvPr>
          <p:cNvSpPr/>
          <p:nvPr userDrawn="1"/>
        </p:nvSpPr>
        <p:spPr>
          <a:xfrm>
            <a:off x="3385139" y="1981544"/>
            <a:ext cx="275214" cy="275214"/>
          </a:xfrm>
          <a:custGeom>
            <a:avLst/>
            <a:gdLst>
              <a:gd name="connsiteX0" fmla="*/ 220172 w 275214"/>
              <a:gd name="connsiteY0" fmla="*/ 277967 h 275214"/>
              <a:gd name="connsiteX1" fmla="*/ 0 w 275214"/>
              <a:gd name="connsiteY1" fmla="*/ 220172 h 275214"/>
              <a:gd name="connsiteX2" fmla="*/ 57795 w 275214"/>
              <a:gd name="connsiteY2" fmla="*/ 0 h 275214"/>
              <a:gd name="connsiteX3" fmla="*/ 277967 w 275214"/>
              <a:gd name="connsiteY3" fmla="*/ 57795 h 275214"/>
              <a:gd name="connsiteX4" fmla="*/ 220172 w 275214"/>
              <a:gd name="connsiteY4" fmla="*/ 277967 h 275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214" h="275214">
                <a:moveTo>
                  <a:pt x="220172" y="277967"/>
                </a:moveTo>
                <a:cubicBezTo>
                  <a:pt x="145864" y="148616"/>
                  <a:pt x="129351" y="145864"/>
                  <a:pt x="0" y="220172"/>
                </a:cubicBezTo>
                <a:cubicBezTo>
                  <a:pt x="129351" y="145864"/>
                  <a:pt x="132103" y="129351"/>
                  <a:pt x="57795" y="0"/>
                </a:cubicBezTo>
                <a:cubicBezTo>
                  <a:pt x="132103" y="129351"/>
                  <a:pt x="148616" y="132103"/>
                  <a:pt x="277967" y="57795"/>
                </a:cubicBezTo>
                <a:cubicBezTo>
                  <a:pt x="151368" y="134855"/>
                  <a:pt x="145864" y="151368"/>
                  <a:pt x="220172" y="27796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5" name="i$ļiḍê">
            <a:extLst>
              <a:ext uri="{FF2B5EF4-FFF2-40B4-BE49-F238E27FC236}">
                <a16:creationId xmlns:a16="http://schemas.microsoft.com/office/drawing/2014/main" id="{BD6C2004-E566-45A1-A2F8-2B36A5AE40ED}"/>
              </a:ext>
            </a:extLst>
          </p:cNvPr>
          <p:cNvSpPr/>
          <p:nvPr userDrawn="1"/>
        </p:nvSpPr>
        <p:spPr>
          <a:xfrm>
            <a:off x="3660501" y="2416383"/>
            <a:ext cx="1954023" cy="577950"/>
          </a:xfrm>
          <a:custGeom>
            <a:avLst/>
            <a:gdLst>
              <a:gd name="connsiteX0" fmla="*/ 1975892 w 1954022"/>
              <a:gd name="connsiteY0" fmla="*/ 0 h 577950"/>
              <a:gd name="connsiteX1" fmla="*/ 104433 w 1954022"/>
              <a:gd name="connsiteY1" fmla="*/ 599967 h 577950"/>
              <a:gd name="connsiteX2" fmla="*/ 2604 w 1954022"/>
              <a:gd name="connsiteY2" fmla="*/ 542172 h 577950"/>
              <a:gd name="connsiteX3" fmla="*/ 60399 w 1954022"/>
              <a:gd name="connsiteY3" fmla="*/ 440343 h 577950"/>
              <a:gd name="connsiteX4" fmla="*/ 1975892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2" y="0"/>
                </a:moveTo>
                <a:cubicBezTo>
                  <a:pt x="1975892" y="0"/>
                  <a:pt x="148467" y="586207"/>
                  <a:pt x="104433" y="599967"/>
                </a:cubicBezTo>
                <a:cubicBezTo>
                  <a:pt x="60399" y="610976"/>
                  <a:pt x="13613" y="586207"/>
                  <a:pt x="2604" y="542172"/>
                </a:cubicBezTo>
                <a:cubicBezTo>
                  <a:pt x="-8405" y="498138"/>
                  <a:pt x="16365" y="451352"/>
                  <a:pt x="60399" y="440343"/>
                </a:cubicBezTo>
                <a:cubicBezTo>
                  <a:pt x="107185" y="423830"/>
                  <a:pt x="1975892" y="0"/>
                  <a:pt x="1975892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6" name="î$ḻiḓê">
            <a:extLst>
              <a:ext uri="{FF2B5EF4-FFF2-40B4-BE49-F238E27FC236}">
                <a16:creationId xmlns:a16="http://schemas.microsoft.com/office/drawing/2014/main" id="{FDDE1163-1DB0-4ADF-916F-E4A50058F7A7}"/>
              </a:ext>
            </a:extLst>
          </p:cNvPr>
          <p:cNvSpPr/>
          <p:nvPr userDrawn="1"/>
        </p:nvSpPr>
        <p:spPr>
          <a:xfrm>
            <a:off x="9912421" y="68965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7" name="ïṥlîḑe">
            <a:extLst>
              <a:ext uri="{FF2B5EF4-FFF2-40B4-BE49-F238E27FC236}">
                <a16:creationId xmlns:a16="http://schemas.microsoft.com/office/drawing/2014/main" id="{ECB3898A-3C28-4E33-8530-9346524730AD}"/>
              </a:ext>
            </a:extLst>
          </p:cNvPr>
          <p:cNvSpPr/>
          <p:nvPr userDrawn="1"/>
        </p:nvSpPr>
        <p:spPr>
          <a:xfrm>
            <a:off x="9880348" y="220172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3385133" y="1611827"/>
            <a:ext cx="10845798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Freepptbackgrounds.net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5133" y="3918063"/>
            <a:ext cx="10845798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www.freepptbackgrounds.net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5135" y="3621792"/>
            <a:ext cx="10845798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www.freepptbackgrounds.net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70" r:id="rId6"/>
    <p:sldLayoutId id="2147483661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ḷi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ṩḷiḋê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ï$líḍé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Sļîḍe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ṣḷïde"/>
          <p:cNvSpPr>
            <a:spLocks noGrp="1"/>
          </p:cNvSpPr>
          <p:nvPr>
            <p:ph type="subTitle" idx="1"/>
          </p:nvPr>
        </p:nvSpPr>
        <p:spPr>
          <a:xfrm>
            <a:off x="1058688" y="4649821"/>
            <a:ext cx="6119586" cy="558799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tr-TR" altLang="zh-CN" sz="2000" spc="600" dirty="0">
                <a:solidFill>
                  <a:srgbClr val="538DFF"/>
                </a:solidFill>
                <a:latin typeface="+mj-lt"/>
              </a:rPr>
              <a:t>Presentation </a:t>
            </a:r>
            <a:r>
              <a:rPr lang="tr-TR" altLang="zh-CN" sz="2000" spc="600" dirty="0" err="1">
                <a:solidFill>
                  <a:srgbClr val="538DFF"/>
                </a:solidFill>
                <a:latin typeface="+mj-lt"/>
              </a:rPr>
              <a:t>Template</a:t>
            </a:r>
            <a:endParaRPr lang="en-US" altLang="zh-CN" sz="2000" spc="600" dirty="0">
              <a:solidFill>
                <a:srgbClr val="538DFF"/>
              </a:solidFill>
              <a:latin typeface="+mj-lt"/>
            </a:endParaRPr>
          </a:p>
        </p:txBody>
      </p:sp>
      <p:sp>
        <p:nvSpPr>
          <p:cNvPr id="4" name="îṣliḑê"/>
          <p:cNvSpPr>
            <a:spLocks noGrp="1"/>
          </p:cNvSpPr>
          <p:nvPr>
            <p:ph type="ctrTitle"/>
          </p:nvPr>
        </p:nvSpPr>
        <p:spPr>
          <a:xfrm>
            <a:off x="1058688" y="3135949"/>
            <a:ext cx="6119586" cy="586102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tr-TR" altLang="zh-CN" sz="6000" dirty="0">
                <a:solidFill>
                  <a:srgbClr val="538D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 panose="020B0503020204020204" pitchFamily="34" charset="-122"/>
                <a:cs typeface="Roboto" panose="02000000000000000000" pitchFamily="2" charset="0"/>
              </a:rPr>
              <a:t>SPACE SCIENCE</a:t>
            </a:r>
            <a:endParaRPr lang="zh-CN" altLang="en-US" sz="6000" dirty="0">
              <a:solidFill>
                <a:srgbClr val="538D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微软雅黑" panose="020B0503020204020204" pitchFamily="34" charset="-122"/>
              <a:cs typeface="Roboto" panose="02000000000000000000" pitchFamily="2" charset="0"/>
            </a:endParaRPr>
          </a:p>
        </p:txBody>
      </p:sp>
      <p:sp>
        <p:nvSpPr>
          <p:cNvPr id="6" name="îṣḷïde"/>
          <p:cNvSpPr txBox="1">
            <a:spLocks/>
          </p:cNvSpPr>
          <p:nvPr/>
        </p:nvSpPr>
        <p:spPr>
          <a:xfrm>
            <a:off x="1058688" y="6077471"/>
            <a:ext cx="6119586" cy="55879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zh-CN" sz="1200" b="1" spc="600" dirty="0">
                <a:solidFill>
                  <a:srgbClr val="538DFF"/>
                </a:solidFill>
                <a:latin typeface="+mj-lt"/>
              </a:rPr>
              <a:t>www.freepptbackgrounds.net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f12f3e85-63ad-40e8-b2b0-b671460cc7a1" descr="DAUAAB+LCAAAAAAABACtU9FqwjAU/ZdseyvS1tWqb7pa2YNTUPYyfMjaa5vRppKmoIj/vtsYMWo3lA2hmJNzbs49udmRRxaTPnGIRR7ldg34f55TIQNGE0HzSRFDhnszUaxBSAYl6X/stMg1RO80q0CztohPGGd5lSuY9O2WjRDdGJBjKzCAiOU0C1jCJNZG5LWcgYiAS02UogKL6IXntfxOz23b+uu5FhmLolqjBZvsraO1tmHtpcgKYVjTpY7UZ4M6Xa1YBIsUclAq3FowLgc8nqc0PjYyFCxJJYey1MD08wsiaciwO1SqmopflSlWfwjDjj8YhQEabXTt3e6680fX3XtcB51RLxz95No3Z0cKxpNr28R+Is3qrqEeFkUGlF/LDzNgyJfoj/EYzzIHsmfUGgsaM5wiTVMzjJMmtufB1oEKWKmRwf7mEBU8/oXl1awG3FU4xScDEkSpdi6cGLvHmEnIsvp5DXiS4dL11U3hra3hDbl1b4cIFESW++uXeDr+rJMzw/9KW57uzrGNwBewMcK+GIRTUP79Aarmy7P4GiKqz3dujehyscTfN2VqQr4MBQAA">
            <a:extLst>
              <a:ext uri="{FF2B5EF4-FFF2-40B4-BE49-F238E27FC236}">
                <a16:creationId xmlns:a16="http://schemas.microsoft.com/office/drawing/2014/main" id="{A0EAB937-613D-4416-9FCE-958295DE6B68}"/>
              </a:ext>
            </a:extLst>
          </p:cNvPr>
          <p:cNvGrpSpPr>
            <a:grpSpLocks noChangeAspect="1"/>
          </p:cNvGrpSpPr>
          <p:nvPr/>
        </p:nvGrpSpPr>
        <p:grpSpPr>
          <a:xfrm>
            <a:off x="2686244" y="1353206"/>
            <a:ext cx="6819513" cy="4151589"/>
            <a:chOff x="2686244" y="1353205"/>
            <a:chExt cx="6819513" cy="4151589"/>
          </a:xfrm>
        </p:grpSpPr>
        <p:sp>
          <p:nvSpPr>
            <p:cNvPr id="3" name="ExtraShape1">
              <a:extLst>
                <a:ext uri="{FF2B5EF4-FFF2-40B4-BE49-F238E27FC236}">
                  <a16:creationId xmlns:a16="http://schemas.microsoft.com/office/drawing/2014/main" id="{845A9506-B4A9-48AA-910E-8AA741F9E26C}"/>
                </a:ext>
              </a:extLst>
            </p:cNvPr>
            <p:cNvSpPr/>
            <p:nvPr/>
          </p:nvSpPr>
          <p:spPr bwMode="auto">
            <a:xfrm>
              <a:off x="2686244" y="3790516"/>
              <a:ext cx="5948816" cy="892251"/>
            </a:xfrm>
            <a:prstGeom prst="ellipse">
              <a:avLst/>
            </a:prstGeom>
            <a:solidFill>
              <a:srgbClr val="E3F1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" name="ExtraShape2">
              <a:extLst>
                <a:ext uri="{FF2B5EF4-FFF2-40B4-BE49-F238E27FC236}">
                  <a16:creationId xmlns:a16="http://schemas.microsoft.com/office/drawing/2014/main" id="{81C65CB0-B779-41FD-BCCB-DA925878D8AF}"/>
                </a:ext>
              </a:extLst>
            </p:cNvPr>
            <p:cNvSpPr/>
            <p:nvPr/>
          </p:nvSpPr>
          <p:spPr bwMode="auto">
            <a:xfrm>
              <a:off x="2864981" y="3026553"/>
              <a:ext cx="5589897" cy="1504862"/>
            </a:xfrm>
            <a:custGeom>
              <a:avLst/>
              <a:gdLst>
                <a:gd name="T0" fmla="*/ 0 w 8276"/>
                <a:gd name="T1" fmla="*/ 0 h 2233"/>
                <a:gd name="T2" fmla="*/ 0 w 8276"/>
                <a:gd name="T3" fmla="*/ 1612 h 2233"/>
                <a:gd name="T4" fmla="*/ 4138 w 8276"/>
                <a:gd name="T5" fmla="*/ 2233 h 2233"/>
                <a:gd name="T6" fmla="*/ 8276 w 8276"/>
                <a:gd name="T7" fmla="*/ 1612 h 2233"/>
                <a:gd name="T8" fmla="*/ 8276 w 8276"/>
                <a:gd name="T9" fmla="*/ 0 h 2233"/>
                <a:gd name="T10" fmla="*/ 0 w 8276"/>
                <a:gd name="T11" fmla="*/ 0 h 2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76" h="2233">
                  <a:moveTo>
                    <a:pt x="0" y="0"/>
                  </a:moveTo>
                  <a:cubicBezTo>
                    <a:pt x="0" y="1612"/>
                    <a:pt x="0" y="1612"/>
                    <a:pt x="0" y="1612"/>
                  </a:cubicBezTo>
                  <a:cubicBezTo>
                    <a:pt x="0" y="1955"/>
                    <a:pt x="1853" y="2233"/>
                    <a:pt x="4138" y="2233"/>
                  </a:cubicBezTo>
                  <a:cubicBezTo>
                    <a:pt x="6423" y="2233"/>
                    <a:pt x="8276" y="1955"/>
                    <a:pt x="8276" y="1612"/>
                  </a:cubicBezTo>
                  <a:cubicBezTo>
                    <a:pt x="8276" y="0"/>
                    <a:pt x="8276" y="0"/>
                    <a:pt x="8276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rgbClr val="4285F4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" name="ValueShape">
              <a:extLst>
                <a:ext uri="{FF2B5EF4-FFF2-40B4-BE49-F238E27FC236}">
                  <a16:creationId xmlns:a16="http://schemas.microsoft.com/office/drawing/2014/main" id="{5E027649-6CB6-478F-9BD7-916D854BB3F7}"/>
                </a:ext>
              </a:extLst>
            </p:cNvPr>
            <p:cNvSpPr/>
            <p:nvPr/>
          </p:nvSpPr>
          <p:spPr bwMode="auto">
            <a:xfrm>
              <a:off x="3388976" y="1474626"/>
              <a:ext cx="4378093" cy="2672214"/>
            </a:xfrm>
            <a:custGeom>
              <a:avLst/>
              <a:gdLst>
                <a:gd name="connsiteX0" fmla="*/ 377322 w 4378093"/>
                <a:gd name="connsiteY0" fmla="*/ 14791 h 2672214"/>
                <a:gd name="connsiteX1" fmla="*/ 1683212 w 4378093"/>
                <a:gd name="connsiteY1" fmla="*/ 14791 h 2672214"/>
                <a:gd name="connsiteX2" fmla="*/ 1683212 w 4378093"/>
                <a:gd name="connsiteY2" fmla="*/ 553310 h 2672214"/>
                <a:gd name="connsiteX3" fmla="*/ 806648 w 4378093"/>
                <a:gd name="connsiteY3" fmla="*/ 553310 h 2672214"/>
                <a:gd name="connsiteX4" fmla="*/ 729219 w 4378093"/>
                <a:gd name="connsiteY4" fmla="*/ 1000154 h 2672214"/>
                <a:gd name="connsiteX5" fmla="*/ 819938 w 4378093"/>
                <a:gd name="connsiteY5" fmla="*/ 954028 h 2672214"/>
                <a:gd name="connsiteX6" fmla="*/ 991553 w 4378093"/>
                <a:gd name="connsiteY6" fmla="*/ 933848 h 2672214"/>
                <a:gd name="connsiteX7" fmla="*/ 1339405 w 4378093"/>
                <a:gd name="connsiteY7" fmla="*/ 996118 h 2672214"/>
                <a:gd name="connsiteX8" fmla="*/ 1615029 w 4378093"/>
                <a:gd name="connsiteY8" fmla="*/ 1169666 h 2672214"/>
                <a:gd name="connsiteX9" fmla="*/ 1796466 w 4378093"/>
                <a:gd name="connsiteY9" fmla="*/ 1435466 h 2672214"/>
                <a:gd name="connsiteX10" fmla="*/ 1861183 w 4378093"/>
                <a:gd name="connsiteY10" fmla="*/ 1779103 h 2672214"/>
                <a:gd name="connsiteX11" fmla="*/ 1787221 w 4378093"/>
                <a:gd name="connsiteY11" fmla="*/ 2142344 h 2672214"/>
                <a:gd name="connsiteX12" fmla="*/ 1581515 w 4378093"/>
                <a:gd name="connsiteY12" fmla="*/ 2424864 h 2672214"/>
                <a:gd name="connsiteX13" fmla="*/ 1267176 w 4378093"/>
                <a:gd name="connsiteY13" fmla="*/ 2607638 h 2672214"/>
                <a:gd name="connsiteX14" fmla="*/ 869631 w 4378093"/>
                <a:gd name="connsiteY14" fmla="*/ 2672214 h 2672214"/>
                <a:gd name="connsiteX15" fmla="*/ 351897 w 4378093"/>
                <a:gd name="connsiteY15" fmla="*/ 2557476 h 2672214"/>
                <a:gd name="connsiteX16" fmla="*/ 0 w 4378093"/>
                <a:gd name="connsiteY16" fmla="*/ 2236325 h 2672214"/>
                <a:gd name="connsiteX17" fmla="*/ 333407 w 4378093"/>
                <a:gd name="connsiteY17" fmla="*/ 1871355 h 2672214"/>
                <a:gd name="connsiteX18" fmla="*/ 581295 w 4378093"/>
                <a:gd name="connsiteY18" fmla="*/ 2077768 h 2672214"/>
                <a:gd name="connsiteX19" fmla="*/ 873098 w 4378093"/>
                <a:gd name="connsiteY19" fmla="*/ 2155605 h 2672214"/>
                <a:gd name="connsiteX20" fmla="*/ 1148722 w 4378093"/>
                <a:gd name="connsiteY20" fmla="*/ 2057588 h 2672214"/>
                <a:gd name="connsiteX21" fmla="*/ 1254464 w 4378093"/>
                <a:gd name="connsiteY21" fmla="*/ 1793518 h 2672214"/>
                <a:gd name="connsiteX22" fmla="*/ 1156233 w 4378093"/>
                <a:gd name="connsiteY22" fmla="*/ 1536943 h 2672214"/>
                <a:gd name="connsiteX23" fmla="*/ 906612 w 4378093"/>
                <a:gd name="connsiteY23" fmla="*/ 1439502 h 2672214"/>
                <a:gd name="connsiteX24" fmla="*/ 719973 w 4378093"/>
                <a:gd name="connsiteY24" fmla="*/ 1483322 h 2672214"/>
                <a:gd name="connsiteX25" fmla="*/ 584762 w 4378093"/>
                <a:gd name="connsiteY25" fmla="*/ 1609014 h 2672214"/>
                <a:gd name="connsiteX26" fmla="*/ 70495 w 4378093"/>
                <a:gd name="connsiteY26" fmla="*/ 1609014 h 2672214"/>
                <a:gd name="connsiteX27" fmla="*/ 85519 w 4378093"/>
                <a:gd name="connsiteY27" fmla="*/ 1533483 h 2672214"/>
                <a:gd name="connsiteX28" fmla="*/ 120766 w 4378093"/>
                <a:gd name="connsiteY28" fmla="*/ 1347250 h 2672214"/>
                <a:gd name="connsiteX29" fmla="*/ 168726 w 4378093"/>
                <a:gd name="connsiteY29" fmla="*/ 1090676 h 2672214"/>
                <a:gd name="connsiteX30" fmla="*/ 225931 w 4378093"/>
                <a:gd name="connsiteY30" fmla="*/ 800660 h 2672214"/>
                <a:gd name="connsiteX31" fmla="*/ 377322 w 4378093"/>
                <a:gd name="connsiteY31" fmla="*/ 14791 h 2672214"/>
                <a:gd name="connsiteX32" fmla="*/ 3232180 w 4378093"/>
                <a:gd name="connsiteY32" fmla="*/ 0 h 2672214"/>
                <a:gd name="connsiteX33" fmla="*/ 3871558 w 4378093"/>
                <a:gd name="connsiteY33" fmla="*/ 153368 h 2672214"/>
                <a:gd name="connsiteX34" fmla="*/ 4282215 w 4378093"/>
                <a:gd name="connsiteY34" fmla="*/ 571960 h 2672214"/>
                <a:gd name="connsiteX35" fmla="*/ 3831128 w 4378093"/>
                <a:gd name="connsiteY35" fmla="*/ 911561 h 2672214"/>
                <a:gd name="connsiteX36" fmla="*/ 3574106 w 4378093"/>
                <a:gd name="connsiteY36" fmla="*/ 636536 h 2672214"/>
                <a:gd name="connsiteX37" fmla="*/ 3209654 w 4378093"/>
                <a:gd name="connsiteY37" fmla="*/ 539095 h 2672214"/>
                <a:gd name="connsiteX38" fmla="*/ 2934150 w 4378093"/>
                <a:gd name="connsiteY38" fmla="*/ 599636 h 2672214"/>
                <a:gd name="connsiteX39" fmla="*/ 2721602 w 4378093"/>
                <a:gd name="connsiteY39" fmla="*/ 769725 h 2672214"/>
                <a:gd name="connsiteX40" fmla="*/ 2584716 w 4378093"/>
                <a:gd name="connsiteY40" fmla="*/ 1022263 h 2672214"/>
                <a:gd name="connsiteX41" fmla="*/ 2536777 w 4378093"/>
                <a:gd name="connsiteY41" fmla="*/ 1332459 h 2672214"/>
                <a:gd name="connsiteX42" fmla="*/ 2588759 w 4378093"/>
                <a:gd name="connsiteY42" fmla="*/ 1646115 h 2672214"/>
                <a:gd name="connsiteX43" fmla="*/ 2733153 w 4378093"/>
                <a:gd name="connsiteY43" fmla="*/ 1895194 h 2672214"/>
                <a:gd name="connsiteX44" fmla="*/ 2952633 w 4378093"/>
                <a:gd name="connsiteY44" fmla="*/ 2059517 h 2672214"/>
                <a:gd name="connsiteX45" fmla="*/ 3235645 w 4378093"/>
                <a:gd name="connsiteY45" fmla="*/ 2118904 h 2672214"/>
                <a:gd name="connsiteX46" fmla="*/ 3875601 w 4378093"/>
                <a:gd name="connsiteY46" fmla="*/ 1790258 h 2672214"/>
                <a:gd name="connsiteX47" fmla="*/ 3875601 w 4378093"/>
                <a:gd name="connsiteY47" fmla="*/ 1708961 h 2672214"/>
                <a:gd name="connsiteX48" fmla="*/ 3365023 w 4378093"/>
                <a:gd name="connsiteY48" fmla="*/ 1708961 h 2672214"/>
                <a:gd name="connsiteX49" fmla="*/ 3365023 w 4378093"/>
                <a:gd name="connsiteY49" fmla="*/ 1269613 h 2672214"/>
                <a:gd name="connsiteX50" fmla="*/ 4378093 w 4378093"/>
                <a:gd name="connsiteY50" fmla="*/ 1269613 h 2672214"/>
                <a:gd name="connsiteX51" fmla="*/ 4378093 w 4378093"/>
                <a:gd name="connsiteY51" fmla="*/ 2638973 h 2672214"/>
                <a:gd name="connsiteX52" fmla="*/ 3875601 w 4378093"/>
                <a:gd name="connsiteY52" fmla="*/ 2638973 h 2672214"/>
                <a:gd name="connsiteX53" fmla="*/ 3875601 w 4378093"/>
                <a:gd name="connsiteY53" fmla="*/ 2380668 h 2672214"/>
                <a:gd name="connsiteX54" fmla="*/ 3184241 w 4378093"/>
                <a:gd name="connsiteY54" fmla="*/ 2657423 h 2672214"/>
                <a:gd name="connsiteX55" fmla="*/ 2696188 w 4378093"/>
                <a:gd name="connsiteY55" fmla="*/ 2559982 h 2672214"/>
                <a:gd name="connsiteX56" fmla="*/ 2294772 w 4378093"/>
                <a:gd name="connsiteY56" fmla="*/ 2284957 h 2672214"/>
                <a:gd name="connsiteX57" fmla="*/ 2022733 w 4378093"/>
                <a:gd name="connsiteY57" fmla="*/ 1858294 h 2672214"/>
                <a:gd name="connsiteX58" fmla="*/ 1922812 w 4378093"/>
                <a:gd name="connsiteY58" fmla="*/ 1310550 h 2672214"/>
                <a:gd name="connsiteX59" fmla="*/ 2022733 w 4378093"/>
                <a:gd name="connsiteY59" fmla="*/ 800859 h 2672214"/>
                <a:gd name="connsiteX60" fmla="*/ 2298237 w 4378093"/>
                <a:gd name="connsiteY60" fmla="*/ 383997 h 2672214"/>
                <a:gd name="connsiteX61" fmla="*/ 2714671 w 4378093"/>
                <a:gd name="connsiteY61" fmla="*/ 103207 h 2672214"/>
                <a:gd name="connsiteX62" fmla="*/ 3232180 w 4378093"/>
                <a:gd name="connsiteY62" fmla="*/ 0 h 267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4378093" h="2672214">
                  <a:moveTo>
                    <a:pt x="377322" y="14791"/>
                  </a:moveTo>
                  <a:cubicBezTo>
                    <a:pt x="1683212" y="14791"/>
                    <a:pt x="1683212" y="14791"/>
                    <a:pt x="1683212" y="14791"/>
                  </a:cubicBezTo>
                  <a:cubicBezTo>
                    <a:pt x="1683212" y="553310"/>
                    <a:pt x="1683212" y="553310"/>
                    <a:pt x="1683212" y="553310"/>
                  </a:cubicBezTo>
                  <a:cubicBezTo>
                    <a:pt x="806648" y="553310"/>
                    <a:pt x="806648" y="553310"/>
                    <a:pt x="806648" y="553310"/>
                  </a:cubicBezTo>
                  <a:cubicBezTo>
                    <a:pt x="729219" y="1000154"/>
                    <a:pt x="729219" y="1000154"/>
                    <a:pt x="729219" y="1000154"/>
                  </a:cubicBezTo>
                  <a:cubicBezTo>
                    <a:pt x="745976" y="982857"/>
                    <a:pt x="776601" y="967289"/>
                    <a:pt x="819938" y="954028"/>
                  </a:cubicBezTo>
                  <a:cubicBezTo>
                    <a:pt x="862697" y="940190"/>
                    <a:pt x="919902" y="933848"/>
                    <a:pt x="991553" y="933848"/>
                  </a:cubicBezTo>
                  <a:cubicBezTo>
                    <a:pt x="1117519" y="933848"/>
                    <a:pt x="1233084" y="954604"/>
                    <a:pt x="1339405" y="996118"/>
                  </a:cubicBezTo>
                  <a:cubicBezTo>
                    <a:pt x="1445147" y="1038207"/>
                    <a:pt x="1537600" y="1095865"/>
                    <a:pt x="1615029" y="1169666"/>
                  </a:cubicBezTo>
                  <a:cubicBezTo>
                    <a:pt x="1692458" y="1243467"/>
                    <a:pt x="1753129" y="1332260"/>
                    <a:pt x="1796466" y="1435466"/>
                  </a:cubicBezTo>
                  <a:cubicBezTo>
                    <a:pt x="1839226" y="1539249"/>
                    <a:pt x="1861183" y="1653410"/>
                    <a:pt x="1861183" y="1779103"/>
                  </a:cubicBezTo>
                  <a:cubicBezTo>
                    <a:pt x="1861183" y="1911715"/>
                    <a:pt x="1836337" y="2032795"/>
                    <a:pt x="1787221" y="2142344"/>
                  </a:cubicBezTo>
                  <a:cubicBezTo>
                    <a:pt x="1737528" y="2251893"/>
                    <a:pt x="1669344" y="2345874"/>
                    <a:pt x="1581515" y="2424864"/>
                  </a:cubicBezTo>
                  <a:cubicBezTo>
                    <a:pt x="1494263" y="2503855"/>
                    <a:pt x="1389098" y="2564395"/>
                    <a:pt x="1267176" y="2607638"/>
                  </a:cubicBezTo>
                  <a:cubicBezTo>
                    <a:pt x="1145255" y="2650881"/>
                    <a:pt x="1012354" y="2672214"/>
                    <a:pt x="869631" y="2672214"/>
                  </a:cubicBezTo>
                  <a:cubicBezTo>
                    <a:pt x="677214" y="2672214"/>
                    <a:pt x="504444" y="2634160"/>
                    <a:pt x="351897" y="2557476"/>
                  </a:cubicBezTo>
                  <a:cubicBezTo>
                    <a:pt x="198773" y="2481369"/>
                    <a:pt x="81474" y="2374703"/>
                    <a:pt x="0" y="2236325"/>
                  </a:cubicBezTo>
                  <a:cubicBezTo>
                    <a:pt x="333407" y="1871355"/>
                    <a:pt x="333407" y="1871355"/>
                    <a:pt x="333407" y="1871355"/>
                  </a:cubicBezTo>
                  <a:cubicBezTo>
                    <a:pt x="402168" y="1957264"/>
                    <a:pt x="484798" y="2026453"/>
                    <a:pt x="581295" y="2077768"/>
                  </a:cubicBezTo>
                  <a:cubicBezTo>
                    <a:pt x="677214" y="2129659"/>
                    <a:pt x="774867" y="2155605"/>
                    <a:pt x="873098" y="2155605"/>
                  </a:cubicBezTo>
                  <a:cubicBezTo>
                    <a:pt x="986930" y="2155605"/>
                    <a:pt x="1078804" y="2122740"/>
                    <a:pt x="1148722" y="2057588"/>
                  </a:cubicBezTo>
                  <a:cubicBezTo>
                    <a:pt x="1219217" y="1992435"/>
                    <a:pt x="1254464" y="1904220"/>
                    <a:pt x="1254464" y="1793518"/>
                  </a:cubicBezTo>
                  <a:cubicBezTo>
                    <a:pt x="1254464" y="1688005"/>
                    <a:pt x="1221528" y="1602095"/>
                    <a:pt x="1156233" y="1536943"/>
                  </a:cubicBezTo>
                  <a:cubicBezTo>
                    <a:pt x="1090939" y="1471790"/>
                    <a:pt x="1007732" y="1439502"/>
                    <a:pt x="906612" y="1439502"/>
                  </a:cubicBezTo>
                  <a:cubicBezTo>
                    <a:pt x="840162" y="1439502"/>
                    <a:pt x="777756" y="1453916"/>
                    <a:pt x="719973" y="1483322"/>
                  </a:cubicBezTo>
                  <a:cubicBezTo>
                    <a:pt x="661613" y="1513303"/>
                    <a:pt x="616542" y="1554817"/>
                    <a:pt x="584762" y="1609014"/>
                  </a:cubicBezTo>
                  <a:cubicBezTo>
                    <a:pt x="70495" y="1609014"/>
                    <a:pt x="70495" y="1609014"/>
                    <a:pt x="70495" y="1609014"/>
                  </a:cubicBezTo>
                  <a:cubicBezTo>
                    <a:pt x="70495" y="1606708"/>
                    <a:pt x="75696" y="1581339"/>
                    <a:pt x="85519" y="1533483"/>
                  </a:cubicBezTo>
                  <a:cubicBezTo>
                    <a:pt x="95342" y="1485628"/>
                    <a:pt x="106898" y="1423358"/>
                    <a:pt x="120766" y="1347250"/>
                  </a:cubicBezTo>
                  <a:cubicBezTo>
                    <a:pt x="134056" y="1270566"/>
                    <a:pt x="150235" y="1185234"/>
                    <a:pt x="168726" y="1090676"/>
                  </a:cubicBezTo>
                  <a:cubicBezTo>
                    <a:pt x="187216" y="995541"/>
                    <a:pt x="206285" y="899253"/>
                    <a:pt x="225931" y="800660"/>
                  </a:cubicBezTo>
                  <a:cubicBezTo>
                    <a:pt x="270424" y="569454"/>
                    <a:pt x="320695" y="307113"/>
                    <a:pt x="377322" y="14791"/>
                  </a:cubicBezTo>
                  <a:close/>
                  <a:moveTo>
                    <a:pt x="3232180" y="0"/>
                  </a:moveTo>
                  <a:cubicBezTo>
                    <a:pt x="3475917" y="0"/>
                    <a:pt x="3689043" y="51315"/>
                    <a:pt x="3871558" y="153368"/>
                  </a:cubicBezTo>
                  <a:cubicBezTo>
                    <a:pt x="4054072" y="255422"/>
                    <a:pt x="4190958" y="394952"/>
                    <a:pt x="4282215" y="571960"/>
                  </a:cubicBezTo>
                  <a:cubicBezTo>
                    <a:pt x="3831128" y="911561"/>
                    <a:pt x="3831128" y="911561"/>
                    <a:pt x="3831128" y="911561"/>
                  </a:cubicBezTo>
                  <a:cubicBezTo>
                    <a:pt x="3771637" y="793364"/>
                    <a:pt x="3686156" y="701689"/>
                    <a:pt x="3574106" y="636536"/>
                  </a:cubicBezTo>
                  <a:cubicBezTo>
                    <a:pt x="3462056" y="571384"/>
                    <a:pt x="3340764" y="539095"/>
                    <a:pt x="3209654" y="539095"/>
                  </a:cubicBezTo>
                  <a:cubicBezTo>
                    <a:pt x="3108578" y="539095"/>
                    <a:pt x="3016744" y="559275"/>
                    <a:pt x="2934150" y="599636"/>
                  </a:cubicBezTo>
                  <a:cubicBezTo>
                    <a:pt x="2851556" y="640572"/>
                    <a:pt x="2781092" y="697076"/>
                    <a:pt x="2721602" y="769725"/>
                  </a:cubicBezTo>
                  <a:cubicBezTo>
                    <a:pt x="2662689" y="842373"/>
                    <a:pt x="2617060" y="926552"/>
                    <a:pt x="2584716" y="1022263"/>
                  </a:cubicBezTo>
                  <a:cubicBezTo>
                    <a:pt x="2552949" y="1118551"/>
                    <a:pt x="2536777" y="1221757"/>
                    <a:pt x="2536777" y="1332459"/>
                  </a:cubicBezTo>
                  <a:cubicBezTo>
                    <a:pt x="2536777" y="1445468"/>
                    <a:pt x="2554104" y="1550404"/>
                    <a:pt x="2588759" y="1646115"/>
                  </a:cubicBezTo>
                  <a:cubicBezTo>
                    <a:pt x="2623413" y="1742403"/>
                    <a:pt x="2671352" y="1825429"/>
                    <a:pt x="2733153" y="1895194"/>
                  </a:cubicBezTo>
                  <a:cubicBezTo>
                    <a:pt x="2794376" y="1965536"/>
                    <a:pt x="2867729" y="2020310"/>
                    <a:pt x="2952633" y="2059517"/>
                  </a:cubicBezTo>
                  <a:cubicBezTo>
                    <a:pt x="3038114" y="2099301"/>
                    <a:pt x="3132259" y="2118904"/>
                    <a:pt x="3235645" y="2118904"/>
                  </a:cubicBezTo>
                  <a:cubicBezTo>
                    <a:pt x="3472452" y="2118904"/>
                    <a:pt x="3685578" y="2009356"/>
                    <a:pt x="3875601" y="1790258"/>
                  </a:cubicBezTo>
                  <a:cubicBezTo>
                    <a:pt x="3875601" y="1708961"/>
                    <a:pt x="3875601" y="1708961"/>
                    <a:pt x="3875601" y="1708961"/>
                  </a:cubicBezTo>
                  <a:cubicBezTo>
                    <a:pt x="3365023" y="1708961"/>
                    <a:pt x="3365023" y="1708961"/>
                    <a:pt x="3365023" y="1708961"/>
                  </a:cubicBezTo>
                  <a:cubicBezTo>
                    <a:pt x="3365023" y="1269613"/>
                    <a:pt x="3365023" y="1269613"/>
                    <a:pt x="3365023" y="1269613"/>
                  </a:cubicBezTo>
                  <a:cubicBezTo>
                    <a:pt x="4378093" y="1269613"/>
                    <a:pt x="4378093" y="1269613"/>
                    <a:pt x="4378093" y="1269613"/>
                  </a:cubicBezTo>
                  <a:cubicBezTo>
                    <a:pt x="4378093" y="2638973"/>
                    <a:pt x="4378093" y="2638973"/>
                    <a:pt x="4378093" y="2638973"/>
                  </a:cubicBezTo>
                  <a:cubicBezTo>
                    <a:pt x="3875601" y="2638973"/>
                    <a:pt x="3875601" y="2638973"/>
                    <a:pt x="3875601" y="2638973"/>
                  </a:cubicBezTo>
                  <a:lnTo>
                    <a:pt x="3875601" y="2380668"/>
                  </a:lnTo>
                  <a:cubicBezTo>
                    <a:pt x="3675759" y="2565172"/>
                    <a:pt x="3445306" y="2657423"/>
                    <a:pt x="3184241" y="2657423"/>
                  </a:cubicBezTo>
                  <a:cubicBezTo>
                    <a:pt x="3011545" y="2657423"/>
                    <a:pt x="2848669" y="2625135"/>
                    <a:pt x="2696188" y="2559982"/>
                  </a:cubicBezTo>
                  <a:cubicBezTo>
                    <a:pt x="2543130" y="2494830"/>
                    <a:pt x="2409132" y="2403155"/>
                    <a:pt x="2294772" y="2284957"/>
                  </a:cubicBezTo>
                  <a:cubicBezTo>
                    <a:pt x="2179834" y="2166760"/>
                    <a:pt x="2089732" y="2024346"/>
                    <a:pt x="2022733" y="1858294"/>
                  </a:cubicBezTo>
                  <a:cubicBezTo>
                    <a:pt x="1956312" y="1692241"/>
                    <a:pt x="1922812" y="1509467"/>
                    <a:pt x="1922812" y="1310550"/>
                  </a:cubicBezTo>
                  <a:cubicBezTo>
                    <a:pt x="1922812" y="1130659"/>
                    <a:pt x="1956312" y="961147"/>
                    <a:pt x="2022733" y="800859"/>
                  </a:cubicBezTo>
                  <a:cubicBezTo>
                    <a:pt x="2089732" y="641149"/>
                    <a:pt x="2181567" y="502195"/>
                    <a:pt x="2298237" y="383997"/>
                  </a:cubicBezTo>
                  <a:cubicBezTo>
                    <a:pt x="2415486" y="265800"/>
                    <a:pt x="2554104" y="172395"/>
                    <a:pt x="2714671" y="103207"/>
                  </a:cubicBezTo>
                  <a:cubicBezTo>
                    <a:pt x="2874660" y="34594"/>
                    <a:pt x="3047355" y="0"/>
                    <a:pt x="323218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100000"/>
                  </a:schemeClr>
                </a:gs>
                <a:gs pos="100000">
                  <a:schemeClr val="accent6">
                    <a:lumMod val="20000"/>
                    <a:lumOff val="80000"/>
                  </a:schemeClr>
                </a:gs>
                <a:gs pos="55769">
                  <a:schemeClr val="accent6">
                    <a:lumMod val="100000"/>
                  </a:schemeClr>
                </a:gs>
                <a:gs pos="55869">
                  <a:schemeClr val="accent6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pic>
          <p:nvPicPr>
            <p:cNvPr id="6" name="ExtraShape1">
              <a:extLst>
                <a:ext uri="{FF2B5EF4-FFF2-40B4-BE49-F238E27FC236}">
                  <a16:creationId xmlns:a16="http://schemas.microsoft.com/office/drawing/2014/main" id="{6331F9CB-77AF-4FA6-B915-83FDF9A05F3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61318" y="2354195"/>
              <a:ext cx="229922" cy="139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ExtraShape3">
              <a:extLst>
                <a:ext uri="{FF2B5EF4-FFF2-40B4-BE49-F238E27FC236}">
                  <a16:creationId xmlns:a16="http://schemas.microsoft.com/office/drawing/2014/main" id="{7D15768B-A7F8-489B-B2D7-505CA70E9F7E}"/>
                </a:ext>
              </a:extLst>
            </p:cNvPr>
            <p:cNvSpPr/>
            <p:nvPr/>
          </p:nvSpPr>
          <p:spPr bwMode="auto">
            <a:xfrm>
              <a:off x="6929516" y="3263630"/>
              <a:ext cx="147912" cy="196239"/>
            </a:xfrm>
            <a:custGeom>
              <a:avLst/>
              <a:gdLst>
                <a:gd name="T0" fmla="*/ 150 w 216"/>
                <a:gd name="T1" fmla="*/ 38 h 286"/>
                <a:gd name="T2" fmla="*/ 164 w 216"/>
                <a:gd name="T3" fmla="*/ 110 h 286"/>
                <a:gd name="T4" fmla="*/ 198 w 216"/>
                <a:gd name="T5" fmla="*/ 232 h 286"/>
                <a:gd name="T6" fmla="*/ 53 w 216"/>
                <a:gd name="T7" fmla="*/ 218 h 286"/>
                <a:gd name="T8" fmla="*/ 21 w 216"/>
                <a:gd name="T9" fmla="*/ 137 h 286"/>
                <a:gd name="T10" fmla="*/ 6 w 216"/>
                <a:gd name="T11" fmla="*/ 74 h 286"/>
                <a:gd name="T12" fmla="*/ 52 w 216"/>
                <a:gd name="T13" fmla="*/ 0 h 286"/>
                <a:gd name="T14" fmla="*/ 150 w 216"/>
                <a:gd name="T15" fmla="*/ 38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6" h="286">
                  <a:moveTo>
                    <a:pt x="150" y="38"/>
                  </a:moveTo>
                  <a:cubicBezTo>
                    <a:pt x="150" y="38"/>
                    <a:pt x="156" y="88"/>
                    <a:pt x="164" y="110"/>
                  </a:cubicBezTo>
                  <a:cubicBezTo>
                    <a:pt x="172" y="132"/>
                    <a:pt x="216" y="183"/>
                    <a:pt x="198" y="232"/>
                  </a:cubicBezTo>
                  <a:cubicBezTo>
                    <a:pt x="177" y="286"/>
                    <a:pt x="89" y="234"/>
                    <a:pt x="53" y="218"/>
                  </a:cubicBezTo>
                  <a:cubicBezTo>
                    <a:pt x="17" y="202"/>
                    <a:pt x="25" y="173"/>
                    <a:pt x="21" y="137"/>
                  </a:cubicBezTo>
                  <a:cubicBezTo>
                    <a:pt x="17" y="100"/>
                    <a:pt x="0" y="100"/>
                    <a:pt x="6" y="74"/>
                  </a:cubicBezTo>
                  <a:cubicBezTo>
                    <a:pt x="13" y="49"/>
                    <a:pt x="52" y="0"/>
                    <a:pt x="52" y="0"/>
                  </a:cubicBezTo>
                  <a:lnTo>
                    <a:pt x="150" y="38"/>
                  </a:lnTo>
                  <a:close/>
                </a:path>
              </a:pathLst>
            </a:custGeom>
            <a:solidFill>
              <a:srgbClr val="213A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" name="ExtraShape4">
              <a:extLst>
                <a:ext uri="{FF2B5EF4-FFF2-40B4-BE49-F238E27FC236}">
                  <a16:creationId xmlns:a16="http://schemas.microsoft.com/office/drawing/2014/main" id="{FF12206C-B8F4-419C-AFC0-9CBF1B745AB1}"/>
                </a:ext>
              </a:extLst>
            </p:cNvPr>
            <p:cNvSpPr/>
            <p:nvPr/>
          </p:nvSpPr>
          <p:spPr bwMode="auto">
            <a:xfrm>
              <a:off x="6961734" y="3246056"/>
              <a:ext cx="76152" cy="62973"/>
            </a:xfrm>
            <a:custGeom>
              <a:avLst/>
              <a:gdLst>
                <a:gd name="T0" fmla="*/ 22 w 111"/>
                <a:gd name="T1" fmla="*/ 0 h 92"/>
                <a:gd name="T2" fmla="*/ 0 w 111"/>
                <a:gd name="T3" fmla="*/ 33 h 92"/>
                <a:gd name="T4" fmla="*/ 104 w 111"/>
                <a:gd name="T5" fmla="*/ 73 h 92"/>
                <a:gd name="T6" fmla="*/ 111 w 111"/>
                <a:gd name="T7" fmla="*/ 36 h 92"/>
                <a:gd name="T8" fmla="*/ 22 w 111"/>
                <a:gd name="T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92">
                  <a:moveTo>
                    <a:pt x="22" y="0"/>
                  </a:moveTo>
                  <a:cubicBezTo>
                    <a:pt x="22" y="0"/>
                    <a:pt x="0" y="32"/>
                    <a:pt x="0" y="33"/>
                  </a:cubicBezTo>
                  <a:cubicBezTo>
                    <a:pt x="1" y="34"/>
                    <a:pt x="97" y="92"/>
                    <a:pt x="104" y="73"/>
                  </a:cubicBezTo>
                  <a:cubicBezTo>
                    <a:pt x="109" y="58"/>
                    <a:pt x="111" y="36"/>
                    <a:pt x="111" y="36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" name="ExtraShape5">
              <a:extLst>
                <a:ext uri="{FF2B5EF4-FFF2-40B4-BE49-F238E27FC236}">
                  <a16:creationId xmlns:a16="http://schemas.microsoft.com/office/drawing/2014/main" id="{80C34055-EA34-4353-AF44-0550A34D9DA6}"/>
                </a:ext>
              </a:extLst>
            </p:cNvPr>
            <p:cNvSpPr/>
            <p:nvPr/>
          </p:nvSpPr>
          <p:spPr bwMode="auto">
            <a:xfrm>
              <a:off x="6645409" y="3311958"/>
              <a:ext cx="196239" cy="149376"/>
            </a:xfrm>
            <a:custGeom>
              <a:avLst/>
              <a:gdLst>
                <a:gd name="T0" fmla="*/ 158 w 287"/>
                <a:gd name="T1" fmla="*/ 2 h 218"/>
                <a:gd name="T2" fmla="*/ 102 w 287"/>
                <a:gd name="T3" fmla="*/ 67 h 218"/>
                <a:gd name="T4" fmla="*/ 3 w 287"/>
                <a:gd name="T5" fmla="*/ 163 h 218"/>
                <a:gd name="T6" fmla="*/ 150 w 287"/>
                <a:gd name="T7" fmla="*/ 201 h 218"/>
                <a:gd name="T8" fmla="*/ 240 w 287"/>
                <a:gd name="T9" fmla="*/ 117 h 218"/>
                <a:gd name="T10" fmla="*/ 285 w 287"/>
                <a:gd name="T11" fmla="*/ 68 h 218"/>
                <a:gd name="T12" fmla="*/ 265 w 287"/>
                <a:gd name="T13" fmla="*/ 0 h 218"/>
                <a:gd name="T14" fmla="*/ 235 w 287"/>
                <a:gd name="T15" fmla="*/ 7 h 218"/>
                <a:gd name="T16" fmla="*/ 158 w 287"/>
                <a:gd name="T17" fmla="*/ 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7" h="218">
                  <a:moveTo>
                    <a:pt x="158" y="2"/>
                  </a:moveTo>
                  <a:cubicBezTo>
                    <a:pt x="158" y="2"/>
                    <a:pt x="129" y="27"/>
                    <a:pt x="102" y="67"/>
                  </a:cubicBezTo>
                  <a:cubicBezTo>
                    <a:pt x="76" y="106"/>
                    <a:pt x="6" y="109"/>
                    <a:pt x="3" y="163"/>
                  </a:cubicBezTo>
                  <a:cubicBezTo>
                    <a:pt x="0" y="217"/>
                    <a:pt x="98" y="218"/>
                    <a:pt x="150" y="201"/>
                  </a:cubicBezTo>
                  <a:cubicBezTo>
                    <a:pt x="201" y="183"/>
                    <a:pt x="209" y="130"/>
                    <a:pt x="240" y="117"/>
                  </a:cubicBezTo>
                  <a:cubicBezTo>
                    <a:pt x="271" y="104"/>
                    <a:pt x="287" y="93"/>
                    <a:pt x="285" y="68"/>
                  </a:cubicBezTo>
                  <a:cubicBezTo>
                    <a:pt x="283" y="42"/>
                    <a:pt x="265" y="0"/>
                    <a:pt x="265" y="0"/>
                  </a:cubicBezTo>
                  <a:cubicBezTo>
                    <a:pt x="265" y="0"/>
                    <a:pt x="246" y="6"/>
                    <a:pt x="235" y="7"/>
                  </a:cubicBezTo>
                  <a:cubicBezTo>
                    <a:pt x="223" y="9"/>
                    <a:pt x="185" y="9"/>
                    <a:pt x="158" y="2"/>
                  </a:cubicBezTo>
                  <a:close/>
                </a:path>
              </a:pathLst>
            </a:custGeom>
            <a:solidFill>
              <a:srgbClr val="213A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" name="ExtraShape2">
              <a:extLst>
                <a:ext uri="{FF2B5EF4-FFF2-40B4-BE49-F238E27FC236}">
                  <a16:creationId xmlns:a16="http://schemas.microsoft.com/office/drawing/2014/main" id="{EDC4A08C-FF23-4E54-A727-A06F7EB7E64C}"/>
                </a:ext>
              </a:extLst>
            </p:cNvPr>
            <p:cNvSpPr/>
            <p:nvPr/>
          </p:nvSpPr>
          <p:spPr bwMode="auto">
            <a:xfrm>
              <a:off x="6746457" y="2157956"/>
              <a:ext cx="572585" cy="524280"/>
            </a:xfrm>
            <a:custGeom>
              <a:avLst/>
              <a:gdLst>
                <a:gd name="connsiteX0" fmla="*/ 323545 w 572585"/>
                <a:gd name="connsiteY0" fmla="*/ 0 h 524280"/>
                <a:gd name="connsiteX1" fmla="*/ 436778 w 572585"/>
                <a:gd name="connsiteY1" fmla="*/ 4788 h 524280"/>
                <a:gd name="connsiteX2" fmla="*/ 469032 w 572585"/>
                <a:gd name="connsiteY2" fmla="*/ 14365 h 524280"/>
                <a:gd name="connsiteX3" fmla="*/ 571284 w 572585"/>
                <a:gd name="connsiteY3" fmla="*/ 86192 h 524280"/>
                <a:gd name="connsiteX4" fmla="*/ 495110 w 572585"/>
                <a:gd name="connsiteY4" fmla="*/ 246946 h 524280"/>
                <a:gd name="connsiteX5" fmla="*/ 494423 w 572585"/>
                <a:gd name="connsiteY5" fmla="*/ 261312 h 524280"/>
                <a:gd name="connsiteX6" fmla="*/ 493737 w 572585"/>
                <a:gd name="connsiteY6" fmla="*/ 311932 h 524280"/>
                <a:gd name="connsiteX7" fmla="*/ 492365 w 572585"/>
                <a:gd name="connsiteY7" fmla="*/ 386495 h 524280"/>
                <a:gd name="connsiteX8" fmla="*/ 507462 w 572585"/>
                <a:gd name="connsiteY8" fmla="*/ 513047 h 524280"/>
                <a:gd name="connsiteX9" fmla="*/ 136196 w 572585"/>
                <a:gd name="connsiteY9" fmla="*/ 513047 h 524280"/>
                <a:gd name="connsiteX10" fmla="*/ 245998 w 572585"/>
                <a:gd name="connsiteY10" fmla="*/ 417962 h 524280"/>
                <a:gd name="connsiteX11" fmla="*/ 234932 w 572585"/>
                <a:gd name="connsiteY11" fmla="*/ 335532 h 524280"/>
                <a:gd name="connsiteX12" fmla="*/ 224711 w 572585"/>
                <a:gd name="connsiteY12" fmla="*/ 288569 h 524280"/>
                <a:gd name="connsiteX13" fmla="*/ 218524 w 572585"/>
                <a:gd name="connsiteY13" fmla="*/ 315069 h 524280"/>
                <a:gd name="connsiteX14" fmla="*/ 214078 w 572585"/>
                <a:gd name="connsiteY14" fmla="*/ 331083 h 524280"/>
                <a:gd name="connsiteX15" fmla="*/ 154574 w 572585"/>
                <a:gd name="connsiteY15" fmla="*/ 396852 h 524280"/>
                <a:gd name="connsiteX16" fmla="*/ 28042 w 572585"/>
                <a:gd name="connsiteY16" fmla="*/ 524280 h 524280"/>
                <a:gd name="connsiteX17" fmla="*/ 0 w 572585"/>
                <a:gd name="connsiteY17" fmla="*/ 470843 h 524280"/>
                <a:gd name="connsiteX18" fmla="*/ 106697 w 572585"/>
                <a:gd name="connsiteY18" fmla="*/ 345470 h 524280"/>
                <a:gd name="connsiteX19" fmla="*/ 145683 w 572585"/>
                <a:gd name="connsiteY19" fmla="*/ 301624 h 524280"/>
                <a:gd name="connsiteX20" fmla="*/ 179881 w 572585"/>
                <a:gd name="connsiteY20" fmla="*/ 148163 h 524280"/>
                <a:gd name="connsiteX21" fmla="*/ 224338 w 572585"/>
                <a:gd name="connsiteY21" fmla="*/ 45398 h 524280"/>
                <a:gd name="connsiteX22" fmla="*/ 224384 w 572585"/>
                <a:gd name="connsiteY22" fmla="*/ 45603 h 524280"/>
                <a:gd name="connsiteX23" fmla="*/ 248850 w 572585"/>
                <a:gd name="connsiteY23" fmla="*/ 29436 h 524280"/>
                <a:gd name="connsiteX24" fmla="*/ 323545 w 572585"/>
                <a:gd name="connsiteY24" fmla="*/ 0 h 524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72585" h="524280">
                  <a:moveTo>
                    <a:pt x="323545" y="0"/>
                  </a:moveTo>
                  <a:cubicBezTo>
                    <a:pt x="436778" y="4788"/>
                    <a:pt x="436778" y="4788"/>
                    <a:pt x="436778" y="4788"/>
                  </a:cubicBezTo>
                  <a:cubicBezTo>
                    <a:pt x="436778" y="4788"/>
                    <a:pt x="455993" y="8209"/>
                    <a:pt x="469032" y="14365"/>
                  </a:cubicBezTo>
                  <a:cubicBezTo>
                    <a:pt x="482757" y="20522"/>
                    <a:pt x="558932" y="47884"/>
                    <a:pt x="571284" y="86192"/>
                  </a:cubicBezTo>
                  <a:cubicBezTo>
                    <a:pt x="584323" y="124499"/>
                    <a:pt x="495110" y="246946"/>
                    <a:pt x="495110" y="246946"/>
                  </a:cubicBezTo>
                  <a:cubicBezTo>
                    <a:pt x="495110" y="246946"/>
                    <a:pt x="495110" y="252419"/>
                    <a:pt x="494423" y="261312"/>
                  </a:cubicBezTo>
                  <a:cubicBezTo>
                    <a:pt x="494423" y="273625"/>
                    <a:pt x="493737" y="292095"/>
                    <a:pt x="493737" y="311932"/>
                  </a:cubicBezTo>
                  <a:cubicBezTo>
                    <a:pt x="493051" y="337243"/>
                    <a:pt x="492365" y="365973"/>
                    <a:pt x="492365" y="386495"/>
                  </a:cubicBezTo>
                  <a:cubicBezTo>
                    <a:pt x="492365" y="435063"/>
                    <a:pt x="505403" y="505522"/>
                    <a:pt x="507462" y="513047"/>
                  </a:cubicBezTo>
                  <a:cubicBezTo>
                    <a:pt x="509521" y="519887"/>
                    <a:pt x="136196" y="513047"/>
                    <a:pt x="136196" y="513047"/>
                  </a:cubicBezTo>
                  <a:cubicBezTo>
                    <a:pt x="136196" y="513047"/>
                    <a:pt x="239135" y="437800"/>
                    <a:pt x="245998" y="417962"/>
                  </a:cubicBezTo>
                  <a:cubicBezTo>
                    <a:pt x="249429" y="408043"/>
                    <a:pt x="242910" y="372985"/>
                    <a:pt x="234932" y="335532"/>
                  </a:cubicBezTo>
                  <a:lnTo>
                    <a:pt x="224711" y="288569"/>
                  </a:lnTo>
                  <a:lnTo>
                    <a:pt x="218524" y="315069"/>
                  </a:lnTo>
                  <a:cubicBezTo>
                    <a:pt x="216643" y="322691"/>
                    <a:pt x="215104" y="328343"/>
                    <a:pt x="214078" y="331083"/>
                  </a:cubicBezTo>
                  <a:cubicBezTo>
                    <a:pt x="210659" y="337934"/>
                    <a:pt x="185352" y="365338"/>
                    <a:pt x="154574" y="396852"/>
                  </a:cubicBezTo>
                  <a:cubicBezTo>
                    <a:pt x="99858" y="453030"/>
                    <a:pt x="28042" y="524280"/>
                    <a:pt x="28042" y="524280"/>
                  </a:cubicBezTo>
                  <a:cubicBezTo>
                    <a:pt x="0" y="470843"/>
                    <a:pt x="0" y="470843"/>
                    <a:pt x="0" y="470843"/>
                  </a:cubicBezTo>
                  <a:cubicBezTo>
                    <a:pt x="0" y="470843"/>
                    <a:pt x="63608" y="395482"/>
                    <a:pt x="106697" y="345470"/>
                  </a:cubicBezTo>
                  <a:cubicBezTo>
                    <a:pt x="127216" y="322177"/>
                    <a:pt x="142947" y="304364"/>
                    <a:pt x="145683" y="301624"/>
                  </a:cubicBezTo>
                  <a:cubicBezTo>
                    <a:pt x="154574" y="294088"/>
                    <a:pt x="164834" y="213932"/>
                    <a:pt x="179881" y="148163"/>
                  </a:cubicBezTo>
                  <a:cubicBezTo>
                    <a:pt x="194928" y="81708"/>
                    <a:pt x="224338" y="45398"/>
                    <a:pt x="224338" y="45398"/>
                  </a:cubicBezTo>
                  <a:lnTo>
                    <a:pt x="224384" y="45603"/>
                  </a:lnTo>
                  <a:lnTo>
                    <a:pt x="248850" y="29436"/>
                  </a:lnTo>
                  <a:cubicBezTo>
                    <a:pt x="279925" y="13467"/>
                    <a:pt x="323545" y="0"/>
                    <a:pt x="323545" y="0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1" name="ExtraShape3">
              <a:extLst>
                <a:ext uri="{FF2B5EF4-FFF2-40B4-BE49-F238E27FC236}">
                  <a16:creationId xmlns:a16="http://schemas.microsoft.com/office/drawing/2014/main" id="{3684560E-C825-469D-9280-3AB0904AAC9A}"/>
                </a:ext>
              </a:extLst>
            </p:cNvPr>
            <p:cNvSpPr/>
            <p:nvPr/>
          </p:nvSpPr>
          <p:spPr bwMode="auto">
            <a:xfrm>
              <a:off x="6746457" y="2503571"/>
              <a:ext cx="153770" cy="178665"/>
            </a:xfrm>
            <a:custGeom>
              <a:avLst/>
              <a:gdLst>
                <a:gd name="T0" fmla="*/ 226 w 226"/>
                <a:gd name="T1" fmla="*/ 75 h 261"/>
                <a:gd name="T2" fmla="*/ 41 w 226"/>
                <a:gd name="T3" fmla="*/ 261 h 261"/>
                <a:gd name="T4" fmla="*/ 0 w 226"/>
                <a:gd name="T5" fmla="*/ 183 h 261"/>
                <a:gd name="T6" fmla="*/ 156 w 226"/>
                <a:gd name="T7" fmla="*/ 0 h 261"/>
                <a:gd name="T8" fmla="*/ 226 w 226"/>
                <a:gd name="T9" fmla="*/ 75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" h="261">
                  <a:moveTo>
                    <a:pt x="226" y="75"/>
                  </a:moveTo>
                  <a:cubicBezTo>
                    <a:pt x="146" y="157"/>
                    <a:pt x="41" y="261"/>
                    <a:pt x="41" y="261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83"/>
                    <a:pt x="93" y="73"/>
                    <a:pt x="156" y="0"/>
                  </a:cubicBezTo>
                  <a:cubicBezTo>
                    <a:pt x="176" y="9"/>
                    <a:pt x="212" y="32"/>
                    <a:pt x="226" y="75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2" name="ExtraShape1">
              <a:extLst>
                <a:ext uri="{FF2B5EF4-FFF2-40B4-BE49-F238E27FC236}">
                  <a16:creationId xmlns:a16="http://schemas.microsoft.com/office/drawing/2014/main" id="{6E073B37-690C-40E1-9A1C-82C19AF05C96}"/>
                </a:ext>
              </a:extLst>
            </p:cNvPr>
            <p:cNvSpPr/>
            <p:nvPr/>
          </p:nvSpPr>
          <p:spPr bwMode="auto">
            <a:xfrm>
              <a:off x="6753780" y="3289991"/>
              <a:ext cx="74688" cy="36612"/>
            </a:xfrm>
            <a:custGeom>
              <a:avLst/>
              <a:gdLst>
                <a:gd name="T0" fmla="*/ 5 w 109"/>
                <a:gd name="T1" fmla="*/ 0 h 54"/>
                <a:gd name="T2" fmla="*/ 0 w 109"/>
                <a:gd name="T3" fmla="*/ 36 h 54"/>
                <a:gd name="T4" fmla="*/ 107 w 109"/>
                <a:gd name="T5" fmla="*/ 34 h 54"/>
                <a:gd name="T6" fmla="*/ 109 w 109"/>
                <a:gd name="T7" fmla="*/ 2 h 54"/>
                <a:gd name="T8" fmla="*/ 5 w 109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54">
                  <a:moveTo>
                    <a:pt x="5" y="0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51" y="54"/>
                    <a:pt x="107" y="34"/>
                  </a:cubicBezTo>
                  <a:cubicBezTo>
                    <a:pt x="109" y="2"/>
                    <a:pt x="109" y="2"/>
                    <a:pt x="109" y="2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3" name="ExtraShape2">
              <a:extLst>
                <a:ext uri="{FF2B5EF4-FFF2-40B4-BE49-F238E27FC236}">
                  <a16:creationId xmlns:a16="http://schemas.microsoft.com/office/drawing/2014/main" id="{1CA680CE-D8AA-42C1-8A2E-84EECE8023B7}"/>
                </a:ext>
              </a:extLst>
            </p:cNvPr>
            <p:cNvSpPr/>
            <p:nvPr/>
          </p:nvSpPr>
          <p:spPr bwMode="auto">
            <a:xfrm>
              <a:off x="6614655" y="2652947"/>
              <a:ext cx="691229" cy="654618"/>
            </a:xfrm>
            <a:custGeom>
              <a:avLst/>
              <a:gdLst>
                <a:gd name="T0" fmla="*/ 931 w 1007"/>
                <a:gd name="T1" fmla="*/ 28 h 957"/>
                <a:gd name="T2" fmla="*/ 1006 w 1007"/>
                <a:gd name="T3" fmla="*/ 211 h 957"/>
                <a:gd name="T4" fmla="*/ 855 w 1007"/>
                <a:gd name="T5" fmla="*/ 569 h 957"/>
                <a:gd name="T6" fmla="*/ 629 w 1007"/>
                <a:gd name="T7" fmla="*/ 907 h 957"/>
                <a:gd name="T8" fmla="*/ 512 w 1007"/>
                <a:gd name="T9" fmla="*/ 871 h 957"/>
                <a:gd name="T10" fmla="*/ 636 w 1007"/>
                <a:gd name="T11" fmla="*/ 535 h 957"/>
                <a:gd name="T12" fmla="*/ 708 w 1007"/>
                <a:gd name="T13" fmla="*/ 283 h 957"/>
                <a:gd name="T14" fmla="*/ 618 w 1007"/>
                <a:gd name="T15" fmla="*/ 223 h 957"/>
                <a:gd name="T16" fmla="*/ 301 w 1007"/>
                <a:gd name="T17" fmla="*/ 282 h 957"/>
                <a:gd name="T18" fmla="*/ 277 w 1007"/>
                <a:gd name="T19" fmla="*/ 488 h 957"/>
                <a:gd name="T20" fmla="*/ 328 w 1007"/>
                <a:gd name="T21" fmla="*/ 934 h 957"/>
                <a:gd name="T22" fmla="*/ 187 w 1007"/>
                <a:gd name="T23" fmla="*/ 938 h 957"/>
                <a:gd name="T24" fmla="*/ 8 w 1007"/>
                <a:gd name="T25" fmla="*/ 244 h 957"/>
                <a:gd name="T26" fmla="*/ 427 w 1007"/>
                <a:gd name="T27" fmla="*/ 0 h 957"/>
                <a:gd name="T28" fmla="*/ 931 w 1007"/>
                <a:gd name="T29" fmla="*/ 28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07" h="957">
                  <a:moveTo>
                    <a:pt x="931" y="28"/>
                  </a:moveTo>
                  <a:cubicBezTo>
                    <a:pt x="931" y="28"/>
                    <a:pt x="1005" y="136"/>
                    <a:pt x="1006" y="211"/>
                  </a:cubicBezTo>
                  <a:cubicBezTo>
                    <a:pt x="1007" y="285"/>
                    <a:pt x="875" y="534"/>
                    <a:pt x="855" y="569"/>
                  </a:cubicBezTo>
                  <a:cubicBezTo>
                    <a:pt x="794" y="676"/>
                    <a:pt x="629" y="907"/>
                    <a:pt x="629" y="907"/>
                  </a:cubicBezTo>
                  <a:cubicBezTo>
                    <a:pt x="629" y="907"/>
                    <a:pt x="601" y="906"/>
                    <a:pt x="512" y="871"/>
                  </a:cubicBezTo>
                  <a:cubicBezTo>
                    <a:pt x="512" y="871"/>
                    <a:pt x="622" y="567"/>
                    <a:pt x="636" y="535"/>
                  </a:cubicBezTo>
                  <a:cubicBezTo>
                    <a:pt x="695" y="401"/>
                    <a:pt x="728" y="306"/>
                    <a:pt x="708" y="283"/>
                  </a:cubicBezTo>
                  <a:cubicBezTo>
                    <a:pt x="688" y="260"/>
                    <a:pt x="634" y="237"/>
                    <a:pt x="618" y="223"/>
                  </a:cubicBezTo>
                  <a:cubicBezTo>
                    <a:pt x="603" y="210"/>
                    <a:pt x="329" y="275"/>
                    <a:pt x="301" y="282"/>
                  </a:cubicBezTo>
                  <a:cubicBezTo>
                    <a:pt x="227" y="302"/>
                    <a:pt x="260" y="430"/>
                    <a:pt x="277" y="488"/>
                  </a:cubicBezTo>
                  <a:cubicBezTo>
                    <a:pt x="304" y="585"/>
                    <a:pt x="328" y="934"/>
                    <a:pt x="328" y="934"/>
                  </a:cubicBezTo>
                  <a:cubicBezTo>
                    <a:pt x="328" y="934"/>
                    <a:pt x="275" y="957"/>
                    <a:pt x="187" y="938"/>
                  </a:cubicBezTo>
                  <a:cubicBezTo>
                    <a:pt x="187" y="938"/>
                    <a:pt x="13" y="307"/>
                    <a:pt x="8" y="244"/>
                  </a:cubicBezTo>
                  <a:cubicBezTo>
                    <a:pt x="2" y="182"/>
                    <a:pt x="0" y="78"/>
                    <a:pt x="427" y="0"/>
                  </a:cubicBezTo>
                  <a:lnTo>
                    <a:pt x="931" y="28"/>
                  </a:lnTo>
                  <a:close/>
                </a:path>
              </a:pathLst>
            </a:custGeom>
            <a:solidFill>
              <a:srgbClr val="5B5E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4" name="ExtraShape4">
              <a:extLst>
                <a:ext uri="{FF2B5EF4-FFF2-40B4-BE49-F238E27FC236}">
                  <a16:creationId xmlns:a16="http://schemas.microsoft.com/office/drawing/2014/main" id="{648FE893-209A-49DF-AF93-B527BB878DED}"/>
                </a:ext>
              </a:extLst>
            </p:cNvPr>
            <p:cNvSpPr/>
            <p:nvPr/>
          </p:nvSpPr>
          <p:spPr bwMode="auto">
            <a:xfrm>
              <a:off x="7022083" y="1910322"/>
              <a:ext cx="194469" cy="359690"/>
            </a:xfrm>
            <a:custGeom>
              <a:avLst/>
              <a:gdLst>
                <a:gd name="connsiteX0" fmla="*/ 64202 w 194469"/>
                <a:gd name="connsiteY0" fmla="*/ 10 h 359690"/>
                <a:gd name="connsiteX1" fmla="*/ 79252 w 194469"/>
                <a:gd name="connsiteY1" fmla="*/ 1505 h 359690"/>
                <a:gd name="connsiteX2" fmla="*/ 166815 w 194469"/>
                <a:gd name="connsiteY2" fmla="*/ 67113 h 359690"/>
                <a:gd name="connsiteX3" fmla="*/ 159145 w 194469"/>
                <a:gd name="connsiteY3" fmla="*/ 143742 h 359690"/>
                <a:gd name="connsiteX4" fmla="*/ 157682 w 194469"/>
                <a:gd name="connsiteY4" fmla="*/ 147287 h 359690"/>
                <a:gd name="connsiteX5" fmla="*/ 155977 w 194469"/>
                <a:gd name="connsiteY5" fmla="*/ 178304 h 359690"/>
                <a:gd name="connsiteX6" fmla="*/ 160913 w 194469"/>
                <a:gd name="connsiteY6" fmla="*/ 249122 h 359690"/>
                <a:gd name="connsiteX7" fmla="*/ 160976 w 194469"/>
                <a:gd name="connsiteY7" fmla="*/ 249642 h 359690"/>
                <a:gd name="connsiteX8" fmla="*/ 194469 w 194469"/>
                <a:gd name="connsiteY8" fmla="*/ 262191 h 359690"/>
                <a:gd name="connsiteX9" fmla="*/ 58288 w 194469"/>
                <a:gd name="connsiteY9" fmla="*/ 359363 h 359690"/>
                <a:gd name="connsiteX10" fmla="*/ 48023 w 194469"/>
                <a:gd name="connsiteY10" fmla="*/ 247029 h 359690"/>
                <a:gd name="connsiteX11" fmla="*/ 64169 w 194469"/>
                <a:gd name="connsiteY11" fmla="*/ 243971 h 359690"/>
                <a:gd name="connsiteX12" fmla="*/ 69132 w 194469"/>
                <a:gd name="connsiteY12" fmla="*/ 243514 h 359690"/>
                <a:gd name="connsiteX13" fmla="*/ 69618 w 194469"/>
                <a:gd name="connsiteY13" fmla="*/ 241532 h 359690"/>
                <a:gd name="connsiteX14" fmla="*/ 70305 w 194469"/>
                <a:gd name="connsiteY14" fmla="*/ 221663 h 359690"/>
                <a:gd name="connsiteX15" fmla="*/ 42278 w 194469"/>
                <a:gd name="connsiteY15" fmla="*/ 212511 h 359690"/>
                <a:gd name="connsiteX16" fmla="*/ 3409 w 194469"/>
                <a:gd name="connsiteY16" fmla="*/ 102651 h 359690"/>
                <a:gd name="connsiteX17" fmla="*/ 64202 w 194469"/>
                <a:gd name="connsiteY17" fmla="*/ 10 h 359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4469" h="359690">
                  <a:moveTo>
                    <a:pt x="64202" y="10"/>
                  </a:moveTo>
                  <a:cubicBezTo>
                    <a:pt x="73090" y="138"/>
                    <a:pt x="79252" y="1505"/>
                    <a:pt x="79252" y="1505"/>
                  </a:cubicBezTo>
                  <a:cubicBezTo>
                    <a:pt x="110968" y="2871"/>
                    <a:pt x="169573" y="28158"/>
                    <a:pt x="166815" y="67113"/>
                  </a:cubicBezTo>
                  <a:cubicBezTo>
                    <a:pt x="165091" y="86591"/>
                    <a:pt x="165609" y="115978"/>
                    <a:pt x="159145" y="143742"/>
                  </a:cubicBezTo>
                  <a:lnTo>
                    <a:pt x="157682" y="147287"/>
                  </a:lnTo>
                  <a:lnTo>
                    <a:pt x="155977" y="178304"/>
                  </a:lnTo>
                  <a:cubicBezTo>
                    <a:pt x="156364" y="202670"/>
                    <a:pt x="158687" y="228941"/>
                    <a:pt x="160913" y="249122"/>
                  </a:cubicBezTo>
                  <a:lnTo>
                    <a:pt x="160976" y="249642"/>
                  </a:lnTo>
                  <a:lnTo>
                    <a:pt x="194469" y="262191"/>
                  </a:lnTo>
                  <a:cubicBezTo>
                    <a:pt x="194469" y="262191"/>
                    <a:pt x="142460" y="366254"/>
                    <a:pt x="58288" y="359363"/>
                  </a:cubicBezTo>
                  <a:cubicBezTo>
                    <a:pt x="-25201" y="353160"/>
                    <a:pt x="43917" y="248407"/>
                    <a:pt x="48023" y="247029"/>
                  </a:cubicBezTo>
                  <a:cubicBezTo>
                    <a:pt x="49049" y="246857"/>
                    <a:pt x="54952" y="245435"/>
                    <a:pt x="64169" y="243971"/>
                  </a:cubicBezTo>
                  <a:lnTo>
                    <a:pt x="69132" y="243514"/>
                  </a:lnTo>
                  <a:lnTo>
                    <a:pt x="69618" y="241532"/>
                  </a:lnTo>
                  <a:lnTo>
                    <a:pt x="70305" y="221663"/>
                  </a:lnTo>
                  <a:lnTo>
                    <a:pt x="42278" y="212511"/>
                  </a:lnTo>
                  <a:cubicBezTo>
                    <a:pt x="25990" y="197817"/>
                    <a:pt x="14441" y="164501"/>
                    <a:pt x="3409" y="102651"/>
                  </a:cubicBezTo>
                  <a:cubicBezTo>
                    <a:pt x="-13655" y="10389"/>
                    <a:pt x="37538" y="-375"/>
                    <a:pt x="64202" y="10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5" name="ExtraShape5">
              <a:extLst>
                <a:ext uri="{FF2B5EF4-FFF2-40B4-BE49-F238E27FC236}">
                  <a16:creationId xmlns:a16="http://schemas.microsoft.com/office/drawing/2014/main" id="{75F71447-2FD8-42BB-932A-B39BB3B735E0}"/>
                </a:ext>
              </a:extLst>
            </p:cNvPr>
            <p:cNvSpPr/>
            <p:nvPr/>
          </p:nvSpPr>
          <p:spPr bwMode="auto">
            <a:xfrm>
              <a:off x="7010061" y="1866526"/>
              <a:ext cx="188917" cy="174272"/>
            </a:xfrm>
            <a:custGeom>
              <a:avLst/>
              <a:gdLst>
                <a:gd name="T0" fmla="*/ 252 w 274"/>
                <a:gd name="T1" fmla="*/ 254 h 254"/>
                <a:gd name="T2" fmla="*/ 227 w 274"/>
                <a:gd name="T3" fmla="*/ 195 h 254"/>
                <a:gd name="T4" fmla="*/ 203 w 274"/>
                <a:gd name="T5" fmla="*/ 216 h 254"/>
                <a:gd name="T6" fmla="*/ 182 w 274"/>
                <a:gd name="T7" fmla="*/ 220 h 254"/>
                <a:gd name="T8" fmla="*/ 168 w 274"/>
                <a:gd name="T9" fmla="*/ 161 h 254"/>
                <a:gd name="T10" fmla="*/ 17 w 274"/>
                <a:gd name="T11" fmla="*/ 174 h 254"/>
                <a:gd name="T12" fmla="*/ 38 w 274"/>
                <a:gd name="T13" fmla="*/ 44 h 254"/>
                <a:gd name="T14" fmla="*/ 213 w 274"/>
                <a:gd name="T15" fmla="*/ 41 h 254"/>
                <a:gd name="T16" fmla="*/ 267 w 274"/>
                <a:gd name="T17" fmla="*/ 74 h 254"/>
                <a:gd name="T18" fmla="*/ 252 w 274"/>
                <a:gd name="T19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4" h="254">
                  <a:moveTo>
                    <a:pt x="252" y="254"/>
                  </a:moveTo>
                  <a:cubicBezTo>
                    <a:pt x="252" y="254"/>
                    <a:pt x="248" y="197"/>
                    <a:pt x="227" y="195"/>
                  </a:cubicBezTo>
                  <a:cubicBezTo>
                    <a:pt x="206" y="193"/>
                    <a:pt x="203" y="216"/>
                    <a:pt x="203" y="216"/>
                  </a:cubicBezTo>
                  <a:cubicBezTo>
                    <a:pt x="182" y="220"/>
                    <a:pt x="182" y="220"/>
                    <a:pt x="182" y="220"/>
                  </a:cubicBezTo>
                  <a:cubicBezTo>
                    <a:pt x="182" y="220"/>
                    <a:pt x="189" y="170"/>
                    <a:pt x="168" y="161"/>
                  </a:cubicBezTo>
                  <a:cubicBezTo>
                    <a:pt x="147" y="153"/>
                    <a:pt x="34" y="189"/>
                    <a:pt x="17" y="174"/>
                  </a:cubicBezTo>
                  <a:cubicBezTo>
                    <a:pt x="0" y="160"/>
                    <a:pt x="8" y="58"/>
                    <a:pt x="38" y="44"/>
                  </a:cubicBezTo>
                  <a:cubicBezTo>
                    <a:pt x="68" y="31"/>
                    <a:pt x="152" y="0"/>
                    <a:pt x="213" y="41"/>
                  </a:cubicBezTo>
                  <a:cubicBezTo>
                    <a:pt x="213" y="41"/>
                    <a:pt x="260" y="35"/>
                    <a:pt x="267" y="74"/>
                  </a:cubicBezTo>
                  <a:cubicBezTo>
                    <a:pt x="274" y="112"/>
                    <a:pt x="265" y="225"/>
                    <a:pt x="252" y="254"/>
                  </a:cubicBezTo>
                  <a:close/>
                </a:path>
              </a:pathLst>
            </a:custGeom>
            <a:solidFill>
              <a:srgbClr val="3A3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6" name="ExtraShape6">
              <a:extLst>
                <a:ext uri="{FF2B5EF4-FFF2-40B4-BE49-F238E27FC236}">
                  <a16:creationId xmlns:a16="http://schemas.microsoft.com/office/drawing/2014/main" id="{3CEC50C4-5B74-4D83-82C3-3B18BEE0A276}"/>
                </a:ext>
              </a:extLst>
            </p:cNvPr>
            <p:cNvSpPr/>
            <p:nvPr/>
          </p:nvSpPr>
          <p:spPr bwMode="auto">
            <a:xfrm>
              <a:off x="7092071" y="2087661"/>
              <a:ext cx="76152" cy="64437"/>
            </a:xfrm>
            <a:custGeom>
              <a:avLst/>
              <a:gdLst>
                <a:gd name="T0" fmla="*/ 0 w 111"/>
                <a:gd name="T1" fmla="*/ 95 h 95"/>
                <a:gd name="T2" fmla="*/ 111 w 111"/>
                <a:gd name="T3" fmla="*/ 0 h 95"/>
                <a:gd name="T4" fmla="*/ 1 w 111"/>
                <a:gd name="T5" fmla="*/ 66 h 95"/>
                <a:gd name="T6" fmla="*/ 0 w 111"/>
                <a:gd name="T7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1" h="95">
                  <a:moveTo>
                    <a:pt x="0" y="95"/>
                  </a:moveTo>
                  <a:cubicBezTo>
                    <a:pt x="103" y="63"/>
                    <a:pt x="111" y="1"/>
                    <a:pt x="111" y="0"/>
                  </a:cubicBezTo>
                  <a:cubicBezTo>
                    <a:pt x="77" y="59"/>
                    <a:pt x="1" y="66"/>
                    <a:pt x="1" y="66"/>
                  </a:cubicBezTo>
                  <a:cubicBezTo>
                    <a:pt x="1" y="75"/>
                    <a:pt x="1" y="85"/>
                    <a:pt x="0" y="95"/>
                  </a:cubicBezTo>
                  <a:close/>
                </a:path>
              </a:pathLst>
            </a:custGeom>
            <a:solidFill>
              <a:srgbClr val="A778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7" name="ExtraShape7">
              <a:extLst>
                <a:ext uri="{FF2B5EF4-FFF2-40B4-BE49-F238E27FC236}">
                  <a16:creationId xmlns:a16="http://schemas.microsoft.com/office/drawing/2014/main" id="{2FF42D6C-42FC-4941-8606-BBB53490712B}"/>
                </a:ext>
              </a:extLst>
            </p:cNvPr>
            <p:cNvSpPr/>
            <p:nvPr/>
          </p:nvSpPr>
          <p:spPr bwMode="auto">
            <a:xfrm>
              <a:off x="6840183" y="2633908"/>
              <a:ext cx="414445" cy="62973"/>
            </a:xfrm>
            <a:custGeom>
              <a:avLst/>
              <a:gdLst>
                <a:gd name="T0" fmla="*/ 0 w 604"/>
                <a:gd name="T1" fmla="*/ 47 h 93"/>
                <a:gd name="T2" fmla="*/ 604 w 604"/>
                <a:gd name="T3" fmla="*/ 55 h 93"/>
                <a:gd name="T4" fmla="*/ 169 w 604"/>
                <a:gd name="T5" fmla="*/ 0 h 93"/>
                <a:gd name="T6" fmla="*/ 0 w 604"/>
                <a:gd name="T7" fmla="*/ 4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4" h="93">
                  <a:moveTo>
                    <a:pt x="0" y="47"/>
                  </a:moveTo>
                  <a:cubicBezTo>
                    <a:pt x="0" y="47"/>
                    <a:pt x="376" y="93"/>
                    <a:pt x="604" y="55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0"/>
                    <a:pt x="166" y="12"/>
                    <a:pt x="0" y="47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8" name="ExtraShape8">
              <a:extLst>
                <a:ext uri="{FF2B5EF4-FFF2-40B4-BE49-F238E27FC236}">
                  <a16:creationId xmlns:a16="http://schemas.microsoft.com/office/drawing/2014/main" id="{F1D1A8B2-BC9D-4A13-B443-C4EA551CBA54}"/>
                </a:ext>
              </a:extLst>
            </p:cNvPr>
            <p:cNvSpPr/>
            <p:nvPr/>
          </p:nvSpPr>
          <p:spPr bwMode="auto">
            <a:xfrm>
              <a:off x="7014455" y="2622192"/>
              <a:ext cx="36612" cy="49792"/>
            </a:xfrm>
            <a:custGeom>
              <a:avLst/>
              <a:gdLst>
                <a:gd name="T0" fmla="*/ 28 w 53"/>
                <a:gd name="T1" fmla="*/ 0 h 72"/>
                <a:gd name="T2" fmla="*/ 0 w 53"/>
                <a:gd name="T3" fmla="*/ 14 h 72"/>
                <a:gd name="T4" fmla="*/ 21 w 53"/>
                <a:gd name="T5" fmla="*/ 72 h 72"/>
                <a:gd name="T6" fmla="*/ 53 w 53"/>
                <a:gd name="T7" fmla="*/ 64 h 72"/>
                <a:gd name="T8" fmla="*/ 28 w 53"/>
                <a:gd name="T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72">
                  <a:moveTo>
                    <a:pt x="28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6" y="59"/>
                    <a:pt x="21" y="72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3" y="64"/>
                    <a:pt x="46" y="16"/>
                    <a:pt x="28" y="0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9" name="ExtraShape9">
              <a:extLst>
                <a:ext uri="{FF2B5EF4-FFF2-40B4-BE49-F238E27FC236}">
                  <a16:creationId xmlns:a16="http://schemas.microsoft.com/office/drawing/2014/main" id="{7B6B6E10-4566-4D8C-8D0A-710C688EEB79}"/>
                </a:ext>
              </a:extLst>
            </p:cNvPr>
            <p:cNvSpPr/>
            <p:nvPr/>
          </p:nvSpPr>
          <p:spPr bwMode="auto">
            <a:xfrm>
              <a:off x="7033493" y="2232643"/>
              <a:ext cx="307538" cy="432019"/>
            </a:xfrm>
            <a:custGeom>
              <a:avLst/>
              <a:gdLst>
                <a:gd name="T0" fmla="*/ 434 w 448"/>
                <a:gd name="T1" fmla="*/ 478 h 632"/>
                <a:gd name="T2" fmla="*/ 272 w 448"/>
                <a:gd name="T3" fmla="*/ 547 h 632"/>
                <a:gd name="T4" fmla="*/ 272 w 448"/>
                <a:gd name="T5" fmla="*/ 547 h 632"/>
                <a:gd name="T6" fmla="*/ 29 w 448"/>
                <a:gd name="T7" fmla="*/ 632 h 632"/>
                <a:gd name="T8" fmla="*/ 0 w 448"/>
                <a:gd name="T9" fmla="*/ 569 h 632"/>
                <a:gd name="T10" fmla="*/ 225 w 448"/>
                <a:gd name="T11" fmla="*/ 445 h 632"/>
                <a:gd name="T12" fmla="*/ 306 w 448"/>
                <a:gd name="T13" fmla="*/ 397 h 632"/>
                <a:gd name="T14" fmla="*/ 314 w 448"/>
                <a:gd name="T15" fmla="*/ 321 h 632"/>
                <a:gd name="T16" fmla="*/ 276 w 448"/>
                <a:gd name="T17" fmla="*/ 82 h 632"/>
                <a:gd name="T18" fmla="*/ 335 w 448"/>
                <a:gd name="T19" fmla="*/ 3 h 632"/>
                <a:gd name="T20" fmla="*/ 414 w 448"/>
                <a:gd name="T21" fmla="*/ 15 h 632"/>
                <a:gd name="T22" fmla="*/ 437 w 448"/>
                <a:gd name="T23" fmla="*/ 147 h 632"/>
                <a:gd name="T24" fmla="*/ 434 w 448"/>
                <a:gd name="T25" fmla="*/ 478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8" h="632">
                  <a:moveTo>
                    <a:pt x="434" y="478"/>
                  </a:moveTo>
                  <a:cubicBezTo>
                    <a:pt x="429" y="485"/>
                    <a:pt x="355" y="514"/>
                    <a:pt x="272" y="547"/>
                  </a:cubicBezTo>
                  <a:cubicBezTo>
                    <a:pt x="272" y="547"/>
                    <a:pt x="272" y="547"/>
                    <a:pt x="272" y="547"/>
                  </a:cubicBezTo>
                  <a:cubicBezTo>
                    <a:pt x="158" y="591"/>
                    <a:pt x="29" y="632"/>
                    <a:pt x="29" y="632"/>
                  </a:cubicBezTo>
                  <a:cubicBezTo>
                    <a:pt x="0" y="569"/>
                    <a:pt x="0" y="569"/>
                    <a:pt x="0" y="569"/>
                  </a:cubicBezTo>
                  <a:cubicBezTo>
                    <a:pt x="0" y="569"/>
                    <a:pt x="134" y="496"/>
                    <a:pt x="225" y="445"/>
                  </a:cubicBezTo>
                  <a:cubicBezTo>
                    <a:pt x="268" y="421"/>
                    <a:pt x="302" y="401"/>
                    <a:pt x="306" y="397"/>
                  </a:cubicBezTo>
                  <a:cubicBezTo>
                    <a:pt x="321" y="383"/>
                    <a:pt x="325" y="360"/>
                    <a:pt x="314" y="321"/>
                  </a:cubicBezTo>
                  <a:cubicBezTo>
                    <a:pt x="303" y="282"/>
                    <a:pt x="278" y="103"/>
                    <a:pt x="276" y="82"/>
                  </a:cubicBezTo>
                  <a:cubicBezTo>
                    <a:pt x="273" y="61"/>
                    <a:pt x="283" y="6"/>
                    <a:pt x="335" y="3"/>
                  </a:cubicBezTo>
                  <a:cubicBezTo>
                    <a:pt x="387" y="0"/>
                    <a:pt x="414" y="15"/>
                    <a:pt x="414" y="15"/>
                  </a:cubicBezTo>
                  <a:cubicBezTo>
                    <a:pt x="414" y="15"/>
                    <a:pt x="427" y="20"/>
                    <a:pt x="437" y="147"/>
                  </a:cubicBezTo>
                  <a:cubicBezTo>
                    <a:pt x="446" y="274"/>
                    <a:pt x="448" y="463"/>
                    <a:pt x="434" y="478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0" name="ExtraShape10">
              <a:extLst>
                <a:ext uri="{FF2B5EF4-FFF2-40B4-BE49-F238E27FC236}">
                  <a16:creationId xmlns:a16="http://schemas.microsoft.com/office/drawing/2014/main" id="{87EE7031-D75A-427E-9B6E-8C5B4A4132A3}"/>
                </a:ext>
              </a:extLst>
            </p:cNvPr>
            <p:cNvSpPr/>
            <p:nvPr/>
          </p:nvSpPr>
          <p:spPr bwMode="auto">
            <a:xfrm>
              <a:off x="7204836" y="2314654"/>
              <a:ext cx="36612" cy="155234"/>
            </a:xfrm>
            <a:custGeom>
              <a:avLst/>
              <a:gdLst>
                <a:gd name="T0" fmla="*/ 53 w 53"/>
                <a:gd name="T1" fmla="*/ 153 h 227"/>
                <a:gd name="T2" fmla="*/ 53 w 53"/>
                <a:gd name="T3" fmla="*/ 153 h 227"/>
                <a:gd name="T4" fmla="*/ 52 w 53"/>
                <a:gd name="T5" fmla="*/ 227 h 227"/>
                <a:gd name="T6" fmla="*/ 30 w 53"/>
                <a:gd name="T7" fmla="*/ 0 h 227"/>
                <a:gd name="T8" fmla="*/ 53 w 53"/>
                <a:gd name="T9" fmla="*/ 15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27">
                  <a:moveTo>
                    <a:pt x="53" y="153"/>
                  </a:moveTo>
                  <a:cubicBezTo>
                    <a:pt x="53" y="153"/>
                    <a:pt x="53" y="153"/>
                    <a:pt x="53" y="153"/>
                  </a:cubicBezTo>
                  <a:cubicBezTo>
                    <a:pt x="53" y="171"/>
                    <a:pt x="52" y="198"/>
                    <a:pt x="52" y="227"/>
                  </a:cubicBezTo>
                  <a:cubicBezTo>
                    <a:pt x="0" y="101"/>
                    <a:pt x="30" y="2"/>
                    <a:pt x="30" y="0"/>
                  </a:cubicBezTo>
                  <a:cubicBezTo>
                    <a:pt x="25" y="34"/>
                    <a:pt x="53" y="151"/>
                    <a:pt x="53" y="153"/>
                  </a:cubicBezTo>
                  <a:close/>
                </a:path>
              </a:pathLst>
            </a:custGeom>
            <a:solidFill>
              <a:srgbClr val="9C9C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1" name="ExtraShape11">
              <a:extLst>
                <a:ext uri="{FF2B5EF4-FFF2-40B4-BE49-F238E27FC236}">
                  <a16:creationId xmlns:a16="http://schemas.microsoft.com/office/drawing/2014/main" id="{06EA5ED3-4645-403F-A675-E2512880289E}"/>
                </a:ext>
              </a:extLst>
            </p:cNvPr>
            <p:cNvSpPr/>
            <p:nvPr/>
          </p:nvSpPr>
          <p:spPr bwMode="auto">
            <a:xfrm>
              <a:off x="6948554" y="2357124"/>
              <a:ext cx="23431" cy="131802"/>
            </a:xfrm>
            <a:custGeom>
              <a:avLst/>
              <a:gdLst>
                <a:gd name="T0" fmla="*/ 34 w 34"/>
                <a:gd name="T1" fmla="*/ 128 h 192"/>
                <a:gd name="T2" fmla="*/ 34 w 34"/>
                <a:gd name="T3" fmla="*/ 128 h 192"/>
                <a:gd name="T4" fmla="*/ 18 w 34"/>
                <a:gd name="T5" fmla="*/ 192 h 192"/>
                <a:gd name="T6" fmla="*/ 16 w 34"/>
                <a:gd name="T7" fmla="*/ 0 h 192"/>
                <a:gd name="T8" fmla="*/ 34 w 34"/>
                <a:gd name="T9" fmla="*/ 12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2">
                  <a:moveTo>
                    <a:pt x="34" y="128"/>
                  </a:moveTo>
                  <a:cubicBezTo>
                    <a:pt x="34" y="128"/>
                    <a:pt x="34" y="128"/>
                    <a:pt x="34" y="128"/>
                  </a:cubicBezTo>
                  <a:cubicBezTo>
                    <a:pt x="27" y="159"/>
                    <a:pt x="21" y="184"/>
                    <a:pt x="18" y="192"/>
                  </a:cubicBezTo>
                  <a:cubicBezTo>
                    <a:pt x="0" y="108"/>
                    <a:pt x="16" y="0"/>
                    <a:pt x="16" y="0"/>
                  </a:cubicBezTo>
                  <a:cubicBezTo>
                    <a:pt x="18" y="51"/>
                    <a:pt x="34" y="128"/>
                    <a:pt x="34" y="128"/>
                  </a:cubicBezTo>
                  <a:close/>
                </a:path>
              </a:pathLst>
            </a:custGeom>
            <a:solidFill>
              <a:srgbClr val="9C9C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2" name="ExtraShape12">
              <a:extLst>
                <a:ext uri="{FF2B5EF4-FFF2-40B4-BE49-F238E27FC236}">
                  <a16:creationId xmlns:a16="http://schemas.microsoft.com/office/drawing/2014/main" id="{0FE7C42F-9395-4761-8ED6-0AE3D480618A}"/>
                </a:ext>
              </a:extLst>
            </p:cNvPr>
            <p:cNvSpPr/>
            <p:nvPr/>
          </p:nvSpPr>
          <p:spPr bwMode="auto">
            <a:xfrm>
              <a:off x="7033493" y="2537253"/>
              <a:ext cx="185988" cy="128873"/>
            </a:xfrm>
            <a:custGeom>
              <a:avLst/>
              <a:gdLst>
                <a:gd name="T0" fmla="*/ 272 w 272"/>
                <a:gd name="T1" fmla="*/ 102 h 188"/>
                <a:gd name="T2" fmla="*/ 272 w 272"/>
                <a:gd name="T3" fmla="*/ 102 h 188"/>
                <a:gd name="T4" fmla="*/ 25 w 272"/>
                <a:gd name="T5" fmla="*/ 188 h 188"/>
                <a:gd name="T6" fmla="*/ 0 w 272"/>
                <a:gd name="T7" fmla="*/ 124 h 188"/>
                <a:gd name="T8" fmla="*/ 225 w 272"/>
                <a:gd name="T9" fmla="*/ 0 h 188"/>
                <a:gd name="T10" fmla="*/ 272 w 272"/>
                <a:gd name="T11" fmla="*/ 102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2" h="188">
                  <a:moveTo>
                    <a:pt x="272" y="102"/>
                  </a:moveTo>
                  <a:cubicBezTo>
                    <a:pt x="272" y="102"/>
                    <a:pt x="272" y="102"/>
                    <a:pt x="272" y="102"/>
                  </a:cubicBezTo>
                  <a:cubicBezTo>
                    <a:pt x="158" y="146"/>
                    <a:pt x="25" y="188"/>
                    <a:pt x="25" y="188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134" y="51"/>
                    <a:pt x="225" y="0"/>
                  </a:cubicBezTo>
                  <a:cubicBezTo>
                    <a:pt x="225" y="0"/>
                    <a:pt x="258" y="16"/>
                    <a:pt x="272" y="102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3" name="ExtraShape13">
              <a:extLst>
                <a:ext uri="{FF2B5EF4-FFF2-40B4-BE49-F238E27FC236}">
                  <a16:creationId xmlns:a16="http://schemas.microsoft.com/office/drawing/2014/main" id="{15A504E8-422D-406B-916A-1792A9BDBDA3}"/>
                </a:ext>
              </a:extLst>
            </p:cNvPr>
            <p:cNvSpPr/>
            <p:nvPr/>
          </p:nvSpPr>
          <p:spPr bwMode="auto">
            <a:xfrm>
              <a:off x="6660054" y="2663198"/>
              <a:ext cx="367582" cy="93726"/>
            </a:xfrm>
            <a:custGeom>
              <a:avLst/>
              <a:gdLst>
                <a:gd name="T0" fmla="*/ 251 w 251"/>
                <a:gd name="T1" fmla="*/ 4 h 64"/>
                <a:gd name="T2" fmla="*/ 0 w 251"/>
                <a:gd name="T3" fmla="*/ 0 h 64"/>
                <a:gd name="T4" fmla="*/ 127 w 251"/>
                <a:gd name="T5" fmla="*/ 64 h 64"/>
                <a:gd name="T6" fmla="*/ 251 w 251"/>
                <a:gd name="T7" fmla="*/ 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1" h="64">
                  <a:moveTo>
                    <a:pt x="251" y="4"/>
                  </a:moveTo>
                  <a:lnTo>
                    <a:pt x="0" y="0"/>
                  </a:lnTo>
                  <a:lnTo>
                    <a:pt x="127" y="64"/>
                  </a:lnTo>
                  <a:lnTo>
                    <a:pt x="251" y="4"/>
                  </a:lnTo>
                  <a:close/>
                </a:path>
              </a:pathLst>
            </a:custGeom>
            <a:solidFill>
              <a:srgbClr val="C99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4" name="ExtraShape1">
              <a:extLst>
                <a:ext uri="{FF2B5EF4-FFF2-40B4-BE49-F238E27FC236}">
                  <a16:creationId xmlns:a16="http://schemas.microsoft.com/office/drawing/2014/main" id="{8EDF766A-72F0-4D02-8886-FF29BF031E47}"/>
                </a:ext>
              </a:extLst>
            </p:cNvPr>
            <p:cNvSpPr/>
            <p:nvPr/>
          </p:nvSpPr>
          <p:spPr bwMode="auto">
            <a:xfrm>
              <a:off x="6831396" y="2669055"/>
              <a:ext cx="196239" cy="87868"/>
            </a:xfrm>
            <a:custGeom>
              <a:avLst/>
              <a:gdLst>
                <a:gd name="T0" fmla="*/ 10 w 134"/>
                <a:gd name="T1" fmla="*/ 60 h 60"/>
                <a:gd name="T2" fmla="*/ 134 w 134"/>
                <a:gd name="T3" fmla="*/ 12 h 60"/>
                <a:gd name="T4" fmla="*/ 134 w 134"/>
                <a:gd name="T5" fmla="*/ 0 h 60"/>
                <a:gd name="T6" fmla="*/ 0 w 134"/>
                <a:gd name="T7" fmla="*/ 48 h 60"/>
                <a:gd name="T8" fmla="*/ 10 w 134"/>
                <a:gd name="T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60">
                  <a:moveTo>
                    <a:pt x="10" y="60"/>
                  </a:moveTo>
                  <a:lnTo>
                    <a:pt x="134" y="12"/>
                  </a:lnTo>
                  <a:lnTo>
                    <a:pt x="134" y="0"/>
                  </a:lnTo>
                  <a:lnTo>
                    <a:pt x="0" y="48"/>
                  </a:lnTo>
                  <a:lnTo>
                    <a:pt x="10" y="60"/>
                  </a:lnTo>
                  <a:close/>
                </a:path>
              </a:pathLst>
            </a:custGeom>
            <a:solidFill>
              <a:srgbClr val="FFC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5" name="ExtraShape2">
              <a:extLst>
                <a:ext uri="{FF2B5EF4-FFF2-40B4-BE49-F238E27FC236}">
                  <a16:creationId xmlns:a16="http://schemas.microsoft.com/office/drawing/2014/main" id="{47D55E5E-AB6F-4092-8C28-6319E5A4ECEE}"/>
                </a:ext>
              </a:extLst>
            </p:cNvPr>
            <p:cNvSpPr/>
            <p:nvPr/>
          </p:nvSpPr>
          <p:spPr bwMode="auto">
            <a:xfrm>
              <a:off x="6887046" y="2622192"/>
              <a:ext cx="147912" cy="108371"/>
            </a:xfrm>
            <a:custGeom>
              <a:avLst/>
              <a:gdLst>
                <a:gd name="T0" fmla="*/ 191 w 216"/>
                <a:gd name="T1" fmla="*/ 14 h 158"/>
                <a:gd name="T2" fmla="*/ 134 w 216"/>
                <a:gd name="T3" fmla="*/ 4 h 158"/>
                <a:gd name="T4" fmla="*/ 61 w 216"/>
                <a:gd name="T5" fmla="*/ 17 h 158"/>
                <a:gd name="T6" fmla="*/ 7 w 216"/>
                <a:gd name="T7" fmla="*/ 113 h 158"/>
                <a:gd name="T8" fmla="*/ 22 w 216"/>
                <a:gd name="T9" fmla="*/ 124 h 158"/>
                <a:gd name="T10" fmla="*/ 60 w 216"/>
                <a:gd name="T11" fmla="*/ 145 h 158"/>
                <a:gd name="T12" fmla="*/ 120 w 216"/>
                <a:gd name="T13" fmla="*/ 99 h 158"/>
                <a:gd name="T14" fmla="*/ 216 w 216"/>
                <a:gd name="T15" fmla="*/ 68 h 158"/>
                <a:gd name="T16" fmla="*/ 191 w 216"/>
                <a:gd name="T17" fmla="*/ 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158">
                  <a:moveTo>
                    <a:pt x="191" y="14"/>
                  </a:moveTo>
                  <a:cubicBezTo>
                    <a:pt x="191" y="14"/>
                    <a:pt x="157" y="9"/>
                    <a:pt x="134" y="4"/>
                  </a:cubicBezTo>
                  <a:cubicBezTo>
                    <a:pt x="116" y="0"/>
                    <a:pt x="72" y="5"/>
                    <a:pt x="61" y="17"/>
                  </a:cubicBezTo>
                  <a:cubicBezTo>
                    <a:pt x="49" y="28"/>
                    <a:pt x="13" y="108"/>
                    <a:pt x="7" y="113"/>
                  </a:cubicBezTo>
                  <a:cubicBezTo>
                    <a:pt x="0" y="118"/>
                    <a:pt x="10" y="129"/>
                    <a:pt x="22" y="124"/>
                  </a:cubicBezTo>
                  <a:cubicBezTo>
                    <a:pt x="22" y="124"/>
                    <a:pt x="33" y="158"/>
                    <a:pt x="60" y="145"/>
                  </a:cubicBezTo>
                  <a:cubicBezTo>
                    <a:pt x="87" y="132"/>
                    <a:pt x="105" y="104"/>
                    <a:pt x="120" y="99"/>
                  </a:cubicBezTo>
                  <a:cubicBezTo>
                    <a:pt x="134" y="94"/>
                    <a:pt x="216" y="68"/>
                    <a:pt x="216" y="68"/>
                  </a:cubicBezTo>
                  <a:cubicBezTo>
                    <a:pt x="216" y="68"/>
                    <a:pt x="212" y="6"/>
                    <a:pt x="191" y="14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6" name="ExtraShape3">
              <a:extLst>
                <a:ext uri="{FF2B5EF4-FFF2-40B4-BE49-F238E27FC236}">
                  <a16:creationId xmlns:a16="http://schemas.microsoft.com/office/drawing/2014/main" id="{5C5C0683-7DD7-4BC2-ABF5-EE0560EE474A}"/>
                </a:ext>
              </a:extLst>
            </p:cNvPr>
            <p:cNvSpPr/>
            <p:nvPr/>
          </p:nvSpPr>
          <p:spPr bwMode="auto">
            <a:xfrm>
              <a:off x="6888511" y="2630979"/>
              <a:ext cx="65902" cy="38076"/>
            </a:xfrm>
            <a:custGeom>
              <a:avLst/>
              <a:gdLst>
                <a:gd name="T0" fmla="*/ 66 w 94"/>
                <a:gd name="T1" fmla="*/ 0 h 56"/>
                <a:gd name="T2" fmla="*/ 39 w 94"/>
                <a:gd name="T3" fmla="*/ 15 h 56"/>
                <a:gd name="T4" fmla="*/ 5 w 94"/>
                <a:gd name="T5" fmla="*/ 40 h 56"/>
                <a:gd name="T6" fmla="*/ 54 w 94"/>
                <a:gd name="T7" fmla="*/ 38 h 56"/>
                <a:gd name="T8" fmla="*/ 66 w 94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56">
                  <a:moveTo>
                    <a:pt x="66" y="0"/>
                  </a:moveTo>
                  <a:cubicBezTo>
                    <a:pt x="66" y="0"/>
                    <a:pt x="44" y="10"/>
                    <a:pt x="39" y="15"/>
                  </a:cubicBezTo>
                  <a:cubicBezTo>
                    <a:pt x="33" y="19"/>
                    <a:pt x="11" y="36"/>
                    <a:pt x="5" y="40"/>
                  </a:cubicBezTo>
                  <a:cubicBezTo>
                    <a:pt x="0" y="44"/>
                    <a:pt x="13" y="56"/>
                    <a:pt x="54" y="38"/>
                  </a:cubicBezTo>
                  <a:cubicBezTo>
                    <a:pt x="94" y="20"/>
                    <a:pt x="66" y="0"/>
                    <a:pt x="66" y="0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7" name="ExtraShape4">
              <a:extLst>
                <a:ext uri="{FF2B5EF4-FFF2-40B4-BE49-F238E27FC236}">
                  <a16:creationId xmlns:a16="http://schemas.microsoft.com/office/drawing/2014/main" id="{1F110F84-0B60-4D5B-819A-02C598D3E307}"/>
                </a:ext>
              </a:extLst>
            </p:cNvPr>
            <p:cNvSpPr/>
            <p:nvPr/>
          </p:nvSpPr>
          <p:spPr bwMode="auto">
            <a:xfrm>
              <a:off x="6386198" y="2459637"/>
              <a:ext cx="459843" cy="297288"/>
            </a:xfrm>
            <a:custGeom>
              <a:avLst/>
              <a:gdLst>
                <a:gd name="T0" fmla="*/ 314 w 314"/>
                <a:gd name="T1" fmla="*/ 203 h 203"/>
                <a:gd name="T2" fmla="*/ 239 w 314"/>
                <a:gd name="T3" fmla="*/ 0 h 203"/>
                <a:gd name="T4" fmla="*/ 0 w 314"/>
                <a:gd name="T5" fmla="*/ 4 h 203"/>
                <a:gd name="T6" fmla="*/ 70 w 314"/>
                <a:gd name="T7" fmla="*/ 191 h 203"/>
                <a:gd name="T8" fmla="*/ 314 w 314"/>
                <a:gd name="T9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03">
                  <a:moveTo>
                    <a:pt x="314" y="203"/>
                  </a:moveTo>
                  <a:lnTo>
                    <a:pt x="239" y="0"/>
                  </a:lnTo>
                  <a:lnTo>
                    <a:pt x="0" y="4"/>
                  </a:lnTo>
                  <a:lnTo>
                    <a:pt x="70" y="191"/>
                  </a:lnTo>
                  <a:lnTo>
                    <a:pt x="314" y="203"/>
                  </a:lnTo>
                  <a:close/>
                </a:path>
              </a:pathLst>
            </a:custGeom>
            <a:solidFill>
              <a:srgbClr val="FFC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8" name="ExtraShape5">
              <a:extLst>
                <a:ext uri="{FF2B5EF4-FFF2-40B4-BE49-F238E27FC236}">
                  <a16:creationId xmlns:a16="http://schemas.microsoft.com/office/drawing/2014/main" id="{03DF66F4-73B9-46AF-B747-808C90E27E64}"/>
                </a:ext>
              </a:extLst>
            </p:cNvPr>
            <p:cNvSpPr/>
            <p:nvPr/>
          </p:nvSpPr>
          <p:spPr bwMode="auto">
            <a:xfrm>
              <a:off x="7149186" y="1983684"/>
              <a:ext cx="27825" cy="61508"/>
            </a:xfrm>
            <a:custGeom>
              <a:avLst/>
              <a:gdLst>
                <a:gd name="T0" fmla="*/ 3 w 41"/>
                <a:gd name="T1" fmla="*/ 22 h 90"/>
                <a:gd name="T2" fmla="*/ 39 w 41"/>
                <a:gd name="T3" fmla="*/ 24 h 90"/>
                <a:gd name="T4" fmla="*/ 12 w 41"/>
                <a:gd name="T5" fmla="*/ 86 h 90"/>
                <a:gd name="T6" fmla="*/ 3 w 41"/>
                <a:gd name="T7" fmla="*/ 2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90">
                  <a:moveTo>
                    <a:pt x="3" y="22"/>
                  </a:moveTo>
                  <a:cubicBezTo>
                    <a:pt x="5" y="6"/>
                    <a:pt x="36" y="0"/>
                    <a:pt x="39" y="24"/>
                  </a:cubicBezTo>
                  <a:cubicBezTo>
                    <a:pt x="41" y="48"/>
                    <a:pt x="24" y="90"/>
                    <a:pt x="12" y="86"/>
                  </a:cubicBezTo>
                  <a:cubicBezTo>
                    <a:pt x="0" y="82"/>
                    <a:pt x="0" y="44"/>
                    <a:pt x="3" y="22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9" name="BackShape">
              <a:extLst>
                <a:ext uri="{FF2B5EF4-FFF2-40B4-BE49-F238E27FC236}">
                  <a16:creationId xmlns:a16="http://schemas.microsoft.com/office/drawing/2014/main" id="{E4135F1A-3708-40D0-AC26-A39F0E66FDBB}"/>
                </a:ext>
              </a:extLst>
            </p:cNvPr>
            <p:cNvSpPr/>
            <p:nvPr/>
          </p:nvSpPr>
          <p:spPr bwMode="auto">
            <a:xfrm rot="6300000" flipH="1">
              <a:off x="8098482" y="1329900"/>
              <a:ext cx="1383969" cy="1430580"/>
            </a:xfrm>
            <a:custGeom>
              <a:avLst/>
              <a:gdLst>
                <a:gd name="T0" fmla="*/ 534 w 534"/>
                <a:gd name="T1" fmla="*/ 283 h 551"/>
                <a:gd name="T2" fmla="*/ 283 w 534"/>
                <a:gd name="T3" fmla="*/ 534 h 551"/>
                <a:gd name="T4" fmla="*/ 156 w 534"/>
                <a:gd name="T5" fmla="*/ 500 h 551"/>
                <a:gd name="T6" fmla="*/ 167 w 534"/>
                <a:gd name="T7" fmla="*/ 509 h 551"/>
                <a:gd name="T8" fmla="*/ 43 w 534"/>
                <a:gd name="T9" fmla="*/ 551 h 551"/>
                <a:gd name="T10" fmla="*/ 85 w 534"/>
                <a:gd name="T11" fmla="*/ 437 h 551"/>
                <a:gd name="T12" fmla="*/ 129 w 534"/>
                <a:gd name="T13" fmla="*/ 85 h 551"/>
                <a:gd name="T14" fmla="*/ 481 w 534"/>
                <a:gd name="T15" fmla="*/ 129 h 551"/>
                <a:gd name="T16" fmla="*/ 534 w 534"/>
                <a:gd name="T17" fmla="*/ 283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4" h="551">
                  <a:moveTo>
                    <a:pt x="534" y="283"/>
                  </a:moveTo>
                  <a:cubicBezTo>
                    <a:pt x="534" y="421"/>
                    <a:pt x="421" y="534"/>
                    <a:pt x="283" y="534"/>
                  </a:cubicBezTo>
                  <a:cubicBezTo>
                    <a:pt x="238" y="534"/>
                    <a:pt x="195" y="522"/>
                    <a:pt x="156" y="500"/>
                  </a:cubicBezTo>
                  <a:cubicBezTo>
                    <a:pt x="167" y="509"/>
                    <a:pt x="167" y="509"/>
                    <a:pt x="167" y="509"/>
                  </a:cubicBezTo>
                  <a:cubicBezTo>
                    <a:pt x="43" y="551"/>
                    <a:pt x="43" y="551"/>
                    <a:pt x="43" y="551"/>
                  </a:cubicBezTo>
                  <a:cubicBezTo>
                    <a:pt x="85" y="437"/>
                    <a:pt x="85" y="437"/>
                    <a:pt x="85" y="437"/>
                  </a:cubicBezTo>
                  <a:cubicBezTo>
                    <a:pt x="0" y="328"/>
                    <a:pt x="19" y="170"/>
                    <a:pt x="129" y="85"/>
                  </a:cubicBezTo>
                  <a:cubicBezTo>
                    <a:pt x="238" y="0"/>
                    <a:pt x="395" y="19"/>
                    <a:pt x="481" y="129"/>
                  </a:cubicBezTo>
                  <a:cubicBezTo>
                    <a:pt x="515" y="173"/>
                    <a:pt x="534" y="227"/>
                    <a:pt x="534" y="283"/>
                  </a:cubicBezTo>
                  <a:close/>
                </a:path>
              </a:pathLst>
            </a:custGeom>
            <a:solidFill>
              <a:srgbClr val="FFBF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0" name="ValueText1">
              <a:extLst>
                <a:ext uri="{FF2B5EF4-FFF2-40B4-BE49-F238E27FC236}">
                  <a16:creationId xmlns:a16="http://schemas.microsoft.com/office/drawing/2014/main" id="{6F7DF237-E9CC-47D3-A787-FF3DC2FAD7A2}"/>
                </a:ext>
              </a:extLst>
            </p:cNvPr>
            <p:cNvSpPr/>
            <p:nvPr/>
          </p:nvSpPr>
          <p:spPr>
            <a:xfrm>
              <a:off x="8388419" y="1796262"/>
              <a:ext cx="810038" cy="420523"/>
            </a:xfrm>
            <a:prstGeom prst="rect">
              <a:avLst/>
            </a:prstGeom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6000">
                  <a:solidFill>
                    <a:schemeClr val="bg1"/>
                  </a:solidFill>
                  <a:latin typeface="+mj-lt"/>
                </a:rPr>
                <a:t>56%</a:t>
              </a:r>
              <a:endParaRPr lang="en-US" altLang="zh-CN" sz="6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1" name="CustomText">
              <a:extLst>
                <a:ext uri="{FF2B5EF4-FFF2-40B4-BE49-F238E27FC236}">
                  <a16:creationId xmlns:a16="http://schemas.microsoft.com/office/drawing/2014/main" id="{4659EDC1-9E54-4562-873D-528A5EDE776A}"/>
                </a:ext>
              </a:extLst>
            </p:cNvPr>
            <p:cNvSpPr/>
            <p:nvPr/>
          </p:nvSpPr>
          <p:spPr>
            <a:xfrm>
              <a:off x="3381361" y="4816438"/>
              <a:ext cx="2385783" cy="688356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32" name="CustomText">
              <a:extLst>
                <a:ext uri="{FF2B5EF4-FFF2-40B4-BE49-F238E27FC236}">
                  <a16:creationId xmlns:a16="http://schemas.microsoft.com/office/drawing/2014/main" id="{B918B418-AA8C-4CB0-A07D-0B6DF290B097}"/>
                </a:ext>
              </a:extLst>
            </p:cNvPr>
            <p:cNvSpPr/>
            <p:nvPr/>
          </p:nvSpPr>
          <p:spPr>
            <a:xfrm>
              <a:off x="5844320" y="4894513"/>
              <a:ext cx="2385783" cy="556537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85000" lnSpcReduction="20000"/>
            </a:bodyPr>
            <a:lstStyle/>
            <a:p>
              <a:pPr lvl="0">
                <a:defRPr/>
              </a:pPr>
              <a:endParaRPr lang="en-US" altLang="zh-CN" sz="2000" dirty="0">
                <a:solidFill>
                  <a:srgbClr val="44546A"/>
                </a:solidFill>
                <a:latin typeface="+mj-lt"/>
              </a:endParaRPr>
            </a:p>
            <a:p>
              <a:pPr lvl="0">
                <a:defRPr/>
              </a:pPr>
              <a:r>
                <a:rPr lang="en-US" altLang="zh-CN" sz="2000" dirty="0">
                  <a:solidFill>
                    <a:srgbClr val="44546A"/>
                  </a:solidFill>
                  <a:latin typeface="+mj-lt"/>
                </a:rPr>
                <a:t>DESCRIPTION HERE</a:t>
              </a:r>
              <a:endParaRPr kumimoji="0" lang="en-US" altLang="zh-CN" sz="200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3" name="ExtraShape1">
              <a:extLst>
                <a:ext uri="{FF2B5EF4-FFF2-40B4-BE49-F238E27FC236}">
                  <a16:creationId xmlns:a16="http://schemas.microsoft.com/office/drawing/2014/main" id="{7CF32D79-EB9E-458B-8362-9DA59AB8CD86}"/>
                </a:ext>
              </a:extLst>
            </p:cNvPr>
            <p:cNvSpPr/>
            <p:nvPr/>
          </p:nvSpPr>
          <p:spPr bwMode="auto">
            <a:xfrm>
              <a:off x="3287928" y="2755973"/>
              <a:ext cx="595739" cy="1954729"/>
            </a:xfrm>
            <a:custGeom>
              <a:avLst/>
              <a:gdLst>
                <a:gd name="connsiteX0" fmla="*/ 47911 w 595739"/>
                <a:gd name="connsiteY0" fmla="*/ 1661004 h 1954729"/>
                <a:gd name="connsiteX1" fmla="*/ 32638 w 595739"/>
                <a:gd name="connsiteY1" fmla="*/ 1815873 h 1954729"/>
                <a:gd name="connsiteX2" fmla="*/ 392952 w 595739"/>
                <a:gd name="connsiteY2" fmla="*/ 1850133 h 1954729"/>
                <a:gd name="connsiteX3" fmla="*/ 408110 w 595739"/>
                <a:gd name="connsiteY3" fmla="*/ 1696433 h 1954729"/>
                <a:gd name="connsiteX4" fmla="*/ 65426 w 595739"/>
                <a:gd name="connsiteY4" fmla="*/ 1483405 h 1954729"/>
                <a:gd name="connsiteX5" fmla="*/ 50153 w 595739"/>
                <a:gd name="connsiteY5" fmla="*/ 1638273 h 1954729"/>
                <a:gd name="connsiteX6" fmla="*/ 410467 w 595739"/>
                <a:gd name="connsiteY6" fmla="*/ 1672533 h 1954729"/>
                <a:gd name="connsiteX7" fmla="*/ 425624 w 595739"/>
                <a:gd name="connsiteY7" fmla="*/ 1518834 h 1954729"/>
                <a:gd name="connsiteX8" fmla="*/ 83064 w 595739"/>
                <a:gd name="connsiteY8" fmla="*/ 1304560 h 1954729"/>
                <a:gd name="connsiteX9" fmla="*/ 67791 w 595739"/>
                <a:gd name="connsiteY9" fmla="*/ 1459427 h 1954729"/>
                <a:gd name="connsiteX10" fmla="*/ 428105 w 595739"/>
                <a:gd name="connsiteY10" fmla="*/ 1493686 h 1954729"/>
                <a:gd name="connsiteX11" fmla="*/ 443251 w 595739"/>
                <a:gd name="connsiteY11" fmla="*/ 1340105 h 1954729"/>
                <a:gd name="connsiteX12" fmla="*/ 100567 w 595739"/>
                <a:gd name="connsiteY12" fmla="*/ 1127080 h 1954729"/>
                <a:gd name="connsiteX13" fmla="*/ 85305 w 595739"/>
                <a:gd name="connsiteY13" fmla="*/ 1281830 h 1954729"/>
                <a:gd name="connsiteX14" fmla="*/ 445608 w 595739"/>
                <a:gd name="connsiteY14" fmla="*/ 1316201 h 1954729"/>
                <a:gd name="connsiteX15" fmla="*/ 460765 w 595739"/>
                <a:gd name="connsiteY15" fmla="*/ 1162509 h 1954729"/>
                <a:gd name="connsiteX16" fmla="*/ 118204 w 595739"/>
                <a:gd name="connsiteY16" fmla="*/ 948233 h 1954729"/>
                <a:gd name="connsiteX17" fmla="*/ 102932 w 595739"/>
                <a:gd name="connsiteY17" fmla="*/ 1103099 h 1954729"/>
                <a:gd name="connsiteX18" fmla="*/ 463245 w 595739"/>
                <a:gd name="connsiteY18" fmla="*/ 1137358 h 1954729"/>
                <a:gd name="connsiteX19" fmla="*/ 478403 w 595739"/>
                <a:gd name="connsiteY19" fmla="*/ 983663 h 1954729"/>
                <a:gd name="connsiteX20" fmla="*/ 135723 w 595739"/>
                <a:gd name="connsiteY20" fmla="*/ 770597 h 1954729"/>
                <a:gd name="connsiteX21" fmla="*/ 120446 w 595739"/>
                <a:gd name="connsiteY21" fmla="*/ 925499 h 1954729"/>
                <a:gd name="connsiteX22" fmla="*/ 480760 w 595739"/>
                <a:gd name="connsiteY22" fmla="*/ 959759 h 1954729"/>
                <a:gd name="connsiteX23" fmla="*/ 496036 w 595739"/>
                <a:gd name="connsiteY23" fmla="*/ 804857 h 1954729"/>
                <a:gd name="connsiteX24" fmla="*/ 153357 w 595739"/>
                <a:gd name="connsiteY24" fmla="*/ 591786 h 1954729"/>
                <a:gd name="connsiteX25" fmla="*/ 138084 w 595739"/>
                <a:gd name="connsiteY25" fmla="*/ 746652 h 1954729"/>
                <a:gd name="connsiteX26" fmla="*/ 498398 w 595739"/>
                <a:gd name="connsiteY26" fmla="*/ 780912 h 1954729"/>
                <a:gd name="connsiteX27" fmla="*/ 513555 w 595739"/>
                <a:gd name="connsiteY27" fmla="*/ 627216 h 1954729"/>
                <a:gd name="connsiteX28" fmla="*/ 170875 w 595739"/>
                <a:gd name="connsiteY28" fmla="*/ 414154 h 1954729"/>
                <a:gd name="connsiteX29" fmla="*/ 155599 w 595739"/>
                <a:gd name="connsiteY29" fmla="*/ 569053 h 1954729"/>
                <a:gd name="connsiteX30" fmla="*/ 515913 w 595739"/>
                <a:gd name="connsiteY30" fmla="*/ 603312 h 1954729"/>
                <a:gd name="connsiteX31" fmla="*/ 531178 w 595739"/>
                <a:gd name="connsiteY31" fmla="*/ 448525 h 1954729"/>
                <a:gd name="connsiteX32" fmla="*/ 188497 w 595739"/>
                <a:gd name="connsiteY32" fmla="*/ 235462 h 1954729"/>
                <a:gd name="connsiteX33" fmla="*/ 173236 w 595739"/>
                <a:gd name="connsiteY33" fmla="*/ 390208 h 1954729"/>
                <a:gd name="connsiteX34" fmla="*/ 533539 w 595739"/>
                <a:gd name="connsiteY34" fmla="*/ 424580 h 1954729"/>
                <a:gd name="connsiteX35" fmla="*/ 548696 w 595739"/>
                <a:gd name="connsiteY35" fmla="*/ 270891 h 1954729"/>
                <a:gd name="connsiteX36" fmla="*/ 206016 w 595739"/>
                <a:gd name="connsiteY36" fmla="*/ 57823 h 1954729"/>
                <a:gd name="connsiteX37" fmla="*/ 190740 w 595739"/>
                <a:gd name="connsiteY37" fmla="*/ 212725 h 1954729"/>
                <a:gd name="connsiteX38" fmla="*/ 551053 w 595739"/>
                <a:gd name="connsiteY38" fmla="*/ 246984 h 1954729"/>
                <a:gd name="connsiteX39" fmla="*/ 566330 w 595739"/>
                <a:gd name="connsiteY39" fmla="*/ 92083 h 1954729"/>
                <a:gd name="connsiteX40" fmla="*/ 187664 w 595739"/>
                <a:gd name="connsiteY40" fmla="*/ 0 h 1954729"/>
                <a:gd name="connsiteX41" fmla="*/ 211594 w 595739"/>
                <a:gd name="connsiteY41" fmla="*/ 1259 h 1954729"/>
                <a:gd name="connsiteX42" fmla="*/ 208377 w 595739"/>
                <a:gd name="connsiteY42" fmla="*/ 33878 h 1954729"/>
                <a:gd name="connsiteX43" fmla="*/ 568691 w 595739"/>
                <a:gd name="connsiteY43" fmla="*/ 68138 h 1954729"/>
                <a:gd name="connsiteX44" fmla="*/ 571809 w 595739"/>
                <a:gd name="connsiteY44" fmla="*/ 36525 h 1954729"/>
                <a:gd name="connsiteX45" fmla="*/ 595739 w 595739"/>
                <a:gd name="connsiteY45" fmla="*/ 39044 h 1954729"/>
                <a:gd name="connsiteX46" fmla="*/ 406815 w 595739"/>
                <a:gd name="connsiteY46" fmla="*/ 1954729 h 1954729"/>
                <a:gd name="connsiteX47" fmla="*/ 382885 w 595739"/>
                <a:gd name="connsiteY47" fmla="*/ 1952210 h 1954729"/>
                <a:gd name="connsiteX48" fmla="*/ 390591 w 595739"/>
                <a:gd name="connsiteY48" fmla="*/ 1874074 h 1954729"/>
                <a:gd name="connsiteX49" fmla="*/ 30288 w 595739"/>
                <a:gd name="connsiteY49" fmla="*/ 1839702 h 1954729"/>
                <a:gd name="connsiteX50" fmla="*/ 22671 w 595739"/>
                <a:gd name="connsiteY50" fmla="*/ 1916944 h 1954729"/>
                <a:gd name="connsiteX51" fmla="*/ 0 w 595739"/>
                <a:gd name="connsiteY51" fmla="*/ 1914425 h 1954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95739" h="1954729">
                  <a:moveTo>
                    <a:pt x="47911" y="1661004"/>
                  </a:moveTo>
                  <a:lnTo>
                    <a:pt x="32638" y="1815873"/>
                  </a:lnTo>
                  <a:lnTo>
                    <a:pt x="392952" y="1850133"/>
                  </a:lnTo>
                  <a:lnTo>
                    <a:pt x="408110" y="1696433"/>
                  </a:lnTo>
                  <a:close/>
                  <a:moveTo>
                    <a:pt x="65426" y="1483405"/>
                  </a:moveTo>
                  <a:lnTo>
                    <a:pt x="50153" y="1638273"/>
                  </a:lnTo>
                  <a:lnTo>
                    <a:pt x="410467" y="1672533"/>
                  </a:lnTo>
                  <a:lnTo>
                    <a:pt x="425624" y="1518834"/>
                  </a:lnTo>
                  <a:close/>
                  <a:moveTo>
                    <a:pt x="83064" y="1304560"/>
                  </a:moveTo>
                  <a:lnTo>
                    <a:pt x="67791" y="1459427"/>
                  </a:lnTo>
                  <a:lnTo>
                    <a:pt x="428105" y="1493686"/>
                  </a:lnTo>
                  <a:lnTo>
                    <a:pt x="443251" y="1340105"/>
                  </a:lnTo>
                  <a:close/>
                  <a:moveTo>
                    <a:pt x="100567" y="1127080"/>
                  </a:moveTo>
                  <a:lnTo>
                    <a:pt x="85305" y="1281830"/>
                  </a:lnTo>
                  <a:lnTo>
                    <a:pt x="445608" y="1316201"/>
                  </a:lnTo>
                  <a:lnTo>
                    <a:pt x="460765" y="1162509"/>
                  </a:lnTo>
                  <a:close/>
                  <a:moveTo>
                    <a:pt x="118204" y="948233"/>
                  </a:moveTo>
                  <a:lnTo>
                    <a:pt x="102932" y="1103099"/>
                  </a:lnTo>
                  <a:lnTo>
                    <a:pt x="463245" y="1137358"/>
                  </a:lnTo>
                  <a:lnTo>
                    <a:pt x="478403" y="983663"/>
                  </a:lnTo>
                  <a:close/>
                  <a:moveTo>
                    <a:pt x="135723" y="770597"/>
                  </a:moveTo>
                  <a:lnTo>
                    <a:pt x="120446" y="925499"/>
                  </a:lnTo>
                  <a:lnTo>
                    <a:pt x="480760" y="959759"/>
                  </a:lnTo>
                  <a:lnTo>
                    <a:pt x="496036" y="804857"/>
                  </a:lnTo>
                  <a:close/>
                  <a:moveTo>
                    <a:pt x="153357" y="591786"/>
                  </a:moveTo>
                  <a:lnTo>
                    <a:pt x="138084" y="746652"/>
                  </a:lnTo>
                  <a:lnTo>
                    <a:pt x="498398" y="780912"/>
                  </a:lnTo>
                  <a:lnTo>
                    <a:pt x="513555" y="627216"/>
                  </a:lnTo>
                  <a:close/>
                  <a:moveTo>
                    <a:pt x="170875" y="414154"/>
                  </a:moveTo>
                  <a:lnTo>
                    <a:pt x="155599" y="569053"/>
                  </a:lnTo>
                  <a:lnTo>
                    <a:pt x="515913" y="603312"/>
                  </a:lnTo>
                  <a:lnTo>
                    <a:pt x="531178" y="448525"/>
                  </a:lnTo>
                  <a:close/>
                  <a:moveTo>
                    <a:pt x="188497" y="235462"/>
                  </a:moveTo>
                  <a:lnTo>
                    <a:pt x="173236" y="390208"/>
                  </a:lnTo>
                  <a:lnTo>
                    <a:pt x="533539" y="424580"/>
                  </a:lnTo>
                  <a:lnTo>
                    <a:pt x="548696" y="270891"/>
                  </a:lnTo>
                  <a:close/>
                  <a:moveTo>
                    <a:pt x="206016" y="57823"/>
                  </a:moveTo>
                  <a:lnTo>
                    <a:pt x="190740" y="212725"/>
                  </a:lnTo>
                  <a:lnTo>
                    <a:pt x="551053" y="246984"/>
                  </a:lnTo>
                  <a:lnTo>
                    <a:pt x="566330" y="92083"/>
                  </a:lnTo>
                  <a:close/>
                  <a:moveTo>
                    <a:pt x="187664" y="0"/>
                  </a:moveTo>
                  <a:lnTo>
                    <a:pt x="211594" y="1259"/>
                  </a:lnTo>
                  <a:lnTo>
                    <a:pt x="208377" y="33878"/>
                  </a:lnTo>
                  <a:lnTo>
                    <a:pt x="568691" y="68138"/>
                  </a:lnTo>
                  <a:lnTo>
                    <a:pt x="571809" y="36525"/>
                  </a:lnTo>
                  <a:lnTo>
                    <a:pt x="595739" y="39044"/>
                  </a:lnTo>
                  <a:lnTo>
                    <a:pt x="406815" y="1954729"/>
                  </a:lnTo>
                  <a:lnTo>
                    <a:pt x="382885" y="1952210"/>
                  </a:lnTo>
                  <a:lnTo>
                    <a:pt x="390591" y="1874074"/>
                  </a:lnTo>
                  <a:lnTo>
                    <a:pt x="30288" y="1839702"/>
                  </a:lnTo>
                  <a:lnTo>
                    <a:pt x="22671" y="1916944"/>
                  </a:lnTo>
                  <a:lnTo>
                    <a:pt x="0" y="1914425"/>
                  </a:lnTo>
                  <a:close/>
                </a:path>
              </a:pathLst>
            </a:custGeom>
            <a:solidFill>
              <a:srgbClr val="E3F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4" name="ExtraShape1">
              <a:extLst>
                <a:ext uri="{FF2B5EF4-FFF2-40B4-BE49-F238E27FC236}">
                  <a16:creationId xmlns:a16="http://schemas.microsoft.com/office/drawing/2014/main" id="{D3AABC33-83AB-4F8B-AD21-03774D423936}"/>
                </a:ext>
              </a:extLst>
            </p:cNvPr>
            <p:cNvSpPr/>
            <p:nvPr/>
          </p:nvSpPr>
          <p:spPr bwMode="auto">
            <a:xfrm>
              <a:off x="3620434" y="3757267"/>
              <a:ext cx="64234" cy="54158"/>
            </a:xfrm>
            <a:custGeom>
              <a:avLst/>
              <a:gdLst>
                <a:gd name="T0" fmla="*/ 107 w 107"/>
                <a:gd name="T1" fmla="*/ 19 h 92"/>
                <a:gd name="T2" fmla="*/ 90 w 107"/>
                <a:gd name="T3" fmla="*/ 84 h 92"/>
                <a:gd name="T4" fmla="*/ 0 w 107"/>
                <a:gd name="T5" fmla="*/ 69 h 92"/>
                <a:gd name="T6" fmla="*/ 0 w 107"/>
                <a:gd name="T7" fmla="*/ 0 h 92"/>
                <a:gd name="T8" fmla="*/ 107 w 107"/>
                <a:gd name="T9" fmla="*/ 1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92">
                  <a:moveTo>
                    <a:pt x="107" y="19"/>
                  </a:moveTo>
                  <a:cubicBezTo>
                    <a:pt x="107" y="19"/>
                    <a:pt x="92" y="76"/>
                    <a:pt x="90" y="84"/>
                  </a:cubicBezTo>
                  <a:cubicBezTo>
                    <a:pt x="88" y="92"/>
                    <a:pt x="0" y="69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96" y="10"/>
                    <a:pt x="107" y="19"/>
                  </a:cubicBezTo>
                  <a:close/>
                </a:path>
              </a:pathLst>
            </a:custGeom>
            <a:solidFill>
              <a:srgbClr val="5C54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5" name="ExtraShape2">
              <a:extLst>
                <a:ext uri="{FF2B5EF4-FFF2-40B4-BE49-F238E27FC236}">
                  <a16:creationId xmlns:a16="http://schemas.microsoft.com/office/drawing/2014/main" id="{FC9F2873-B0F9-4AAF-9702-5937F8473B8E}"/>
                </a:ext>
              </a:extLst>
            </p:cNvPr>
            <p:cNvSpPr/>
            <p:nvPr/>
          </p:nvSpPr>
          <p:spPr bwMode="auto">
            <a:xfrm>
              <a:off x="3596504" y="3793793"/>
              <a:ext cx="206556" cy="110835"/>
            </a:xfrm>
            <a:custGeom>
              <a:avLst/>
              <a:gdLst>
                <a:gd name="T0" fmla="*/ 134 w 350"/>
                <a:gd name="T1" fmla="*/ 14 h 187"/>
                <a:gd name="T2" fmla="*/ 185 w 350"/>
                <a:gd name="T3" fmla="*/ 69 h 187"/>
                <a:gd name="T4" fmla="*/ 324 w 350"/>
                <a:gd name="T5" fmla="*/ 128 h 187"/>
                <a:gd name="T6" fmla="*/ 190 w 350"/>
                <a:gd name="T7" fmla="*/ 166 h 187"/>
                <a:gd name="T8" fmla="*/ 10 w 350"/>
                <a:gd name="T9" fmla="*/ 134 h 187"/>
                <a:gd name="T10" fmla="*/ 42 w 350"/>
                <a:gd name="T11" fmla="*/ 0 h 187"/>
                <a:gd name="T12" fmla="*/ 134 w 350"/>
                <a:gd name="T13" fmla="*/ 14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0" h="187">
                  <a:moveTo>
                    <a:pt x="134" y="14"/>
                  </a:moveTo>
                  <a:cubicBezTo>
                    <a:pt x="134" y="14"/>
                    <a:pt x="159" y="51"/>
                    <a:pt x="185" y="69"/>
                  </a:cubicBezTo>
                  <a:cubicBezTo>
                    <a:pt x="210" y="87"/>
                    <a:pt x="310" y="110"/>
                    <a:pt x="324" y="128"/>
                  </a:cubicBezTo>
                  <a:cubicBezTo>
                    <a:pt x="335" y="140"/>
                    <a:pt x="350" y="187"/>
                    <a:pt x="190" y="166"/>
                  </a:cubicBezTo>
                  <a:cubicBezTo>
                    <a:pt x="76" y="150"/>
                    <a:pt x="20" y="154"/>
                    <a:pt x="10" y="134"/>
                  </a:cubicBezTo>
                  <a:cubicBezTo>
                    <a:pt x="0" y="115"/>
                    <a:pt x="42" y="0"/>
                    <a:pt x="42" y="0"/>
                  </a:cubicBezTo>
                  <a:cubicBezTo>
                    <a:pt x="42" y="0"/>
                    <a:pt x="67" y="13"/>
                    <a:pt x="134" y="14"/>
                  </a:cubicBezTo>
                  <a:close/>
                </a:path>
              </a:pathLst>
            </a:custGeom>
            <a:solidFill>
              <a:srgbClr val="3C4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6" name="ExtraShape3">
              <a:extLst>
                <a:ext uri="{FF2B5EF4-FFF2-40B4-BE49-F238E27FC236}">
                  <a16:creationId xmlns:a16="http://schemas.microsoft.com/office/drawing/2014/main" id="{07C7ACC1-A887-483F-B359-FE297E56C4D5}"/>
                </a:ext>
              </a:extLst>
            </p:cNvPr>
            <p:cNvSpPr/>
            <p:nvPr/>
          </p:nvSpPr>
          <p:spPr bwMode="auto">
            <a:xfrm>
              <a:off x="3465517" y="3026763"/>
              <a:ext cx="361474" cy="767030"/>
            </a:xfrm>
            <a:custGeom>
              <a:avLst/>
              <a:gdLst>
                <a:gd name="T0" fmla="*/ 478 w 612"/>
                <a:gd name="T1" fmla="*/ 76 h 1301"/>
                <a:gd name="T2" fmla="*/ 559 w 612"/>
                <a:gd name="T3" fmla="*/ 399 h 1301"/>
                <a:gd name="T4" fmla="*/ 608 w 612"/>
                <a:gd name="T5" fmla="*/ 717 h 1301"/>
                <a:gd name="T6" fmla="*/ 398 w 612"/>
                <a:gd name="T7" fmla="*/ 1301 h 1301"/>
                <a:gd name="T8" fmla="*/ 222 w 612"/>
                <a:gd name="T9" fmla="*/ 1272 h 1301"/>
                <a:gd name="T10" fmla="*/ 360 w 612"/>
                <a:gd name="T11" fmla="*/ 694 h 1301"/>
                <a:gd name="T12" fmla="*/ 221 w 612"/>
                <a:gd name="T13" fmla="*/ 414 h 1301"/>
                <a:gd name="T14" fmla="*/ 0 w 612"/>
                <a:gd name="T15" fmla="*/ 44 h 1301"/>
                <a:gd name="T16" fmla="*/ 478 w 612"/>
                <a:gd name="T17" fmla="*/ 76 h 1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2" h="1301">
                  <a:moveTo>
                    <a:pt x="478" y="76"/>
                  </a:moveTo>
                  <a:cubicBezTo>
                    <a:pt x="478" y="76"/>
                    <a:pt x="542" y="314"/>
                    <a:pt x="559" y="399"/>
                  </a:cubicBezTo>
                  <a:cubicBezTo>
                    <a:pt x="574" y="473"/>
                    <a:pt x="603" y="670"/>
                    <a:pt x="608" y="717"/>
                  </a:cubicBezTo>
                  <a:cubicBezTo>
                    <a:pt x="612" y="764"/>
                    <a:pt x="419" y="1218"/>
                    <a:pt x="398" y="1301"/>
                  </a:cubicBezTo>
                  <a:cubicBezTo>
                    <a:pt x="222" y="1272"/>
                    <a:pt x="222" y="1272"/>
                    <a:pt x="222" y="1272"/>
                  </a:cubicBezTo>
                  <a:cubicBezTo>
                    <a:pt x="222" y="1272"/>
                    <a:pt x="408" y="800"/>
                    <a:pt x="360" y="694"/>
                  </a:cubicBezTo>
                  <a:cubicBezTo>
                    <a:pt x="288" y="538"/>
                    <a:pt x="278" y="543"/>
                    <a:pt x="221" y="414"/>
                  </a:cubicBezTo>
                  <a:cubicBezTo>
                    <a:pt x="165" y="286"/>
                    <a:pt x="34" y="282"/>
                    <a:pt x="0" y="44"/>
                  </a:cubicBezTo>
                  <a:cubicBezTo>
                    <a:pt x="0" y="44"/>
                    <a:pt x="431" y="0"/>
                    <a:pt x="478" y="76"/>
                  </a:cubicBezTo>
                  <a:close/>
                </a:path>
              </a:pathLst>
            </a:custGeom>
            <a:solidFill>
              <a:srgbClr val="3C4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7" name="ExtraShape2">
              <a:extLst>
                <a:ext uri="{FF2B5EF4-FFF2-40B4-BE49-F238E27FC236}">
                  <a16:creationId xmlns:a16="http://schemas.microsoft.com/office/drawing/2014/main" id="{D0BC468C-0FA8-4CBB-9C35-CB4F7E1F3925}"/>
                </a:ext>
              </a:extLst>
            </p:cNvPr>
            <p:cNvSpPr/>
            <p:nvPr/>
          </p:nvSpPr>
          <p:spPr bwMode="auto">
            <a:xfrm>
              <a:off x="3519539" y="2383880"/>
              <a:ext cx="166732" cy="236068"/>
            </a:xfrm>
            <a:custGeom>
              <a:avLst/>
              <a:gdLst>
                <a:gd name="connsiteX0" fmla="*/ 81898 w 166732"/>
                <a:gd name="connsiteY0" fmla="*/ 0 h 236068"/>
                <a:gd name="connsiteX1" fmla="*/ 144498 w 166732"/>
                <a:gd name="connsiteY1" fmla="*/ 33075 h 236068"/>
                <a:gd name="connsiteX2" fmla="*/ 138578 w 166732"/>
                <a:gd name="connsiteY2" fmla="*/ 204152 h 236068"/>
                <a:gd name="connsiteX3" fmla="*/ 126725 w 166732"/>
                <a:gd name="connsiteY3" fmla="*/ 204953 h 236068"/>
                <a:gd name="connsiteX4" fmla="*/ 126245 w 166732"/>
                <a:gd name="connsiteY4" fmla="*/ 210460 h 236068"/>
                <a:gd name="connsiteX5" fmla="*/ 128908 w 166732"/>
                <a:gd name="connsiteY5" fmla="*/ 227263 h 236068"/>
                <a:gd name="connsiteX6" fmla="*/ 41932 w 166732"/>
                <a:gd name="connsiteY6" fmla="*/ 236068 h 236068"/>
                <a:gd name="connsiteX7" fmla="*/ 20041 w 166732"/>
                <a:gd name="connsiteY7" fmla="*/ 147430 h 236068"/>
                <a:gd name="connsiteX8" fmla="*/ 20122 w 166732"/>
                <a:gd name="connsiteY8" fmla="*/ 146310 h 236068"/>
                <a:gd name="connsiteX9" fmla="*/ 9531 w 166732"/>
                <a:gd name="connsiteY9" fmla="*/ 121056 h 236068"/>
                <a:gd name="connsiteX10" fmla="*/ 59 w 166732"/>
                <a:gd name="connsiteY10" fmla="*/ 65041 h 236068"/>
                <a:gd name="connsiteX11" fmla="*/ 43272 w 166732"/>
                <a:gd name="connsiteY11" fmla="*/ 6437 h 236068"/>
                <a:gd name="connsiteX12" fmla="*/ 81898 w 166732"/>
                <a:gd name="connsiteY12" fmla="*/ 0 h 236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6732" h="236068">
                  <a:moveTo>
                    <a:pt x="81898" y="0"/>
                  </a:moveTo>
                  <a:cubicBezTo>
                    <a:pt x="103209" y="74"/>
                    <a:pt x="128515" y="6733"/>
                    <a:pt x="144498" y="33075"/>
                  </a:cubicBezTo>
                  <a:cubicBezTo>
                    <a:pt x="176464" y="85760"/>
                    <a:pt x="173504" y="191721"/>
                    <a:pt x="138578" y="204152"/>
                  </a:cubicBezTo>
                  <a:lnTo>
                    <a:pt x="126725" y="204953"/>
                  </a:lnTo>
                  <a:lnTo>
                    <a:pt x="126245" y="210460"/>
                  </a:lnTo>
                  <a:cubicBezTo>
                    <a:pt x="126097" y="216110"/>
                    <a:pt x="126541" y="222860"/>
                    <a:pt x="128908" y="227263"/>
                  </a:cubicBezTo>
                  <a:cubicBezTo>
                    <a:pt x="133641" y="236068"/>
                    <a:pt x="41932" y="236068"/>
                    <a:pt x="41932" y="236068"/>
                  </a:cubicBezTo>
                  <a:cubicBezTo>
                    <a:pt x="41932" y="236068"/>
                    <a:pt x="34241" y="187934"/>
                    <a:pt x="20041" y="147430"/>
                  </a:cubicBezTo>
                  <a:lnTo>
                    <a:pt x="20122" y="146310"/>
                  </a:lnTo>
                  <a:lnTo>
                    <a:pt x="9531" y="121056"/>
                  </a:lnTo>
                  <a:cubicBezTo>
                    <a:pt x="3315" y="101003"/>
                    <a:pt x="-533" y="81024"/>
                    <a:pt x="59" y="65041"/>
                  </a:cubicBezTo>
                  <a:cubicBezTo>
                    <a:pt x="651" y="33075"/>
                    <a:pt x="24922" y="15317"/>
                    <a:pt x="43272" y="6437"/>
                  </a:cubicBezTo>
                  <a:cubicBezTo>
                    <a:pt x="43272" y="6437"/>
                    <a:pt x="60587" y="-74"/>
                    <a:pt x="81898" y="0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8" name="ExtraShape6">
              <a:extLst>
                <a:ext uri="{FF2B5EF4-FFF2-40B4-BE49-F238E27FC236}">
                  <a16:creationId xmlns:a16="http://schemas.microsoft.com/office/drawing/2014/main" id="{C8BFD3B8-A602-4753-8A0C-A1F1D1CCD781}"/>
                </a:ext>
              </a:extLst>
            </p:cNvPr>
            <p:cNvSpPr/>
            <p:nvPr/>
          </p:nvSpPr>
          <p:spPr bwMode="auto">
            <a:xfrm>
              <a:off x="3512117" y="2354195"/>
              <a:ext cx="177589" cy="187664"/>
            </a:xfrm>
            <a:custGeom>
              <a:avLst/>
              <a:gdLst>
                <a:gd name="T0" fmla="*/ 47 w 302"/>
                <a:gd name="T1" fmla="*/ 301 h 318"/>
                <a:gd name="T2" fmla="*/ 102 w 302"/>
                <a:gd name="T3" fmla="*/ 312 h 318"/>
                <a:gd name="T4" fmla="*/ 217 w 302"/>
                <a:gd name="T5" fmla="*/ 240 h 318"/>
                <a:gd name="T6" fmla="*/ 235 w 302"/>
                <a:gd name="T7" fmla="*/ 223 h 318"/>
                <a:gd name="T8" fmla="*/ 247 w 302"/>
                <a:gd name="T9" fmla="*/ 240 h 318"/>
                <a:gd name="T10" fmla="*/ 266 w 302"/>
                <a:gd name="T11" fmla="*/ 241 h 318"/>
                <a:gd name="T12" fmla="*/ 275 w 302"/>
                <a:gd name="T13" fmla="*/ 168 h 318"/>
                <a:gd name="T14" fmla="*/ 107 w 302"/>
                <a:gd name="T15" fmla="*/ 49 h 318"/>
                <a:gd name="T16" fmla="*/ 4 w 302"/>
                <a:gd name="T17" fmla="*/ 139 h 318"/>
                <a:gd name="T18" fmla="*/ 47 w 302"/>
                <a:gd name="T19" fmla="*/ 301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2" h="318">
                  <a:moveTo>
                    <a:pt x="47" y="301"/>
                  </a:moveTo>
                  <a:cubicBezTo>
                    <a:pt x="47" y="301"/>
                    <a:pt x="58" y="318"/>
                    <a:pt x="102" y="312"/>
                  </a:cubicBezTo>
                  <a:cubicBezTo>
                    <a:pt x="145" y="305"/>
                    <a:pt x="199" y="247"/>
                    <a:pt x="217" y="240"/>
                  </a:cubicBezTo>
                  <a:cubicBezTo>
                    <a:pt x="235" y="234"/>
                    <a:pt x="235" y="223"/>
                    <a:pt x="235" y="223"/>
                  </a:cubicBezTo>
                  <a:cubicBezTo>
                    <a:pt x="247" y="240"/>
                    <a:pt x="247" y="240"/>
                    <a:pt x="247" y="240"/>
                  </a:cubicBezTo>
                  <a:cubicBezTo>
                    <a:pt x="266" y="241"/>
                    <a:pt x="266" y="241"/>
                    <a:pt x="266" y="241"/>
                  </a:cubicBezTo>
                  <a:cubicBezTo>
                    <a:pt x="266" y="241"/>
                    <a:pt x="248" y="189"/>
                    <a:pt x="275" y="168"/>
                  </a:cubicBezTo>
                  <a:cubicBezTo>
                    <a:pt x="302" y="147"/>
                    <a:pt x="247" y="0"/>
                    <a:pt x="107" y="49"/>
                  </a:cubicBezTo>
                  <a:cubicBezTo>
                    <a:pt x="107" y="49"/>
                    <a:pt x="0" y="78"/>
                    <a:pt x="4" y="139"/>
                  </a:cubicBezTo>
                  <a:cubicBezTo>
                    <a:pt x="8" y="201"/>
                    <a:pt x="23" y="270"/>
                    <a:pt x="47" y="301"/>
                  </a:cubicBezTo>
                  <a:close/>
                </a:path>
              </a:pathLst>
            </a:custGeom>
            <a:solidFill>
              <a:srgbClr val="3A3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9" name="ExtraShape1">
              <a:extLst>
                <a:ext uri="{FF2B5EF4-FFF2-40B4-BE49-F238E27FC236}">
                  <a16:creationId xmlns:a16="http://schemas.microsoft.com/office/drawing/2014/main" id="{69137D8A-7D9A-4062-A5E1-E32B5ADD3D33}"/>
                </a:ext>
              </a:extLst>
            </p:cNvPr>
            <p:cNvSpPr/>
            <p:nvPr/>
          </p:nvSpPr>
          <p:spPr bwMode="auto">
            <a:xfrm>
              <a:off x="3378611" y="2641359"/>
              <a:ext cx="170032" cy="238044"/>
            </a:xfrm>
            <a:custGeom>
              <a:avLst/>
              <a:gdLst>
                <a:gd name="T0" fmla="*/ 11 w 288"/>
                <a:gd name="T1" fmla="*/ 350 h 404"/>
                <a:gd name="T2" fmla="*/ 42 w 288"/>
                <a:gd name="T3" fmla="*/ 390 h 404"/>
                <a:gd name="T4" fmla="*/ 69 w 288"/>
                <a:gd name="T5" fmla="*/ 399 h 404"/>
                <a:gd name="T6" fmla="*/ 76 w 288"/>
                <a:gd name="T7" fmla="*/ 399 h 404"/>
                <a:gd name="T8" fmla="*/ 76 w 288"/>
                <a:gd name="T9" fmla="*/ 399 h 404"/>
                <a:gd name="T10" fmla="*/ 197 w 288"/>
                <a:gd name="T11" fmla="*/ 404 h 404"/>
                <a:gd name="T12" fmla="*/ 118 w 288"/>
                <a:gd name="T13" fmla="*/ 0 h 404"/>
                <a:gd name="T14" fmla="*/ 11 w 288"/>
                <a:gd name="T15" fmla="*/ 35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8" h="404">
                  <a:moveTo>
                    <a:pt x="11" y="350"/>
                  </a:moveTo>
                  <a:cubicBezTo>
                    <a:pt x="13" y="366"/>
                    <a:pt x="30" y="382"/>
                    <a:pt x="42" y="390"/>
                  </a:cubicBezTo>
                  <a:cubicBezTo>
                    <a:pt x="50" y="396"/>
                    <a:pt x="59" y="399"/>
                    <a:pt x="69" y="399"/>
                  </a:cubicBezTo>
                  <a:cubicBezTo>
                    <a:pt x="76" y="399"/>
                    <a:pt x="76" y="399"/>
                    <a:pt x="76" y="399"/>
                  </a:cubicBezTo>
                  <a:cubicBezTo>
                    <a:pt x="76" y="399"/>
                    <a:pt x="76" y="399"/>
                    <a:pt x="76" y="399"/>
                  </a:cubicBezTo>
                  <a:cubicBezTo>
                    <a:pt x="197" y="404"/>
                    <a:pt x="197" y="404"/>
                    <a:pt x="197" y="404"/>
                  </a:cubicBezTo>
                  <a:cubicBezTo>
                    <a:pt x="197" y="404"/>
                    <a:pt x="288" y="111"/>
                    <a:pt x="118" y="0"/>
                  </a:cubicBezTo>
                  <a:cubicBezTo>
                    <a:pt x="113" y="1"/>
                    <a:pt x="0" y="209"/>
                    <a:pt x="11" y="350"/>
                  </a:cubicBezTo>
                  <a:close/>
                </a:path>
              </a:pathLst>
            </a:custGeom>
            <a:solidFill>
              <a:srgbClr val="FFC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0" name="ExtraShape2">
              <a:extLst>
                <a:ext uri="{FF2B5EF4-FFF2-40B4-BE49-F238E27FC236}">
                  <a16:creationId xmlns:a16="http://schemas.microsoft.com/office/drawing/2014/main" id="{AD638261-8D46-4648-BFB8-AB7D2CE997E4}"/>
                </a:ext>
              </a:extLst>
            </p:cNvPr>
            <p:cNvSpPr/>
            <p:nvPr/>
          </p:nvSpPr>
          <p:spPr bwMode="auto">
            <a:xfrm>
              <a:off x="3596504" y="3793793"/>
              <a:ext cx="159956" cy="100759"/>
            </a:xfrm>
            <a:custGeom>
              <a:avLst/>
              <a:gdLst>
                <a:gd name="T0" fmla="*/ 10 w 271"/>
                <a:gd name="T1" fmla="*/ 134 h 171"/>
                <a:gd name="T2" fmla="*/ 190 w 271"/>
                <a:gd name="T3" fmla="*/ 166 h 171"/>
                <a:gd name="T4" fmla="*/ 264 w 271"/>
                <a:gd name="T5" fmla="*/ 171 h 171"/>
                <a:gd name="T6" fmla="*/ 271 w 271"/>
                <a:gd name="T7" fmla="*/ 103 h 171"/>
                <a:gd name="T8" fmla="*/ 185 w 271"/>
                <a:gd name="T9" fmla="*/ 69 h 171"/>
                <a:gd name="T10" fmla="*/ 134 w 271"/>
                <a:gd name="T11" fmla="*/ 14 h 171"/>
                <a:gd name="T12" fmla="*/ 42 w 271"/>
                <a:gd name="T13" fmla="*/ 0 h 171"/>
                <a:gd name="T14" fmla="*/ 10 w 271"/>
                <a:gd name="T15" fmla="*/ 13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171">
                  <a:moveTo>
                    <a:pt x="10" y="134"/>
                  </a:moveTo>
                  <a:cubicBezTo>
                    <a:pt x="20" y="154"/>
                    <a:pt x="76" y="150"/>
                    <a:pt x="190" y="166"/>
                  </a:cubicBezTo>
                  <a:cubicBezTo>
                    <a:pt x="221" y="170"/>
                    <a:pt x="245" y="171"/>
                    <a:pt x="264" y="171"/>
                  </a:cubicBezTo>
                  <a:cubicBezTo>
                    <a:pt x="271" y="103"/>
                    <a:pt x="271" y="103"/>
                    <a:pt x="271" y="103"/>
                  </a:cubicBezTo>
                  <a:cubicBezTo>
                    <a:pt x="238" y="91"/>
                    <a:pt x="199" y="79"/>
                    <a:pt x="185" y="69"/>
                  </a:cubicBezTo>
                  <a:cubicBezTo>
                    <a:pt x="159" y="51"/>
                    <a:pt x="134" y="14"/>
                    <a:pt x="134" y="14"/>
                  </a:cubicBezTo>
                  <a:cubicBezTo>
                    <a:pt x="67" y="13"/>
                    <a:pt x="42" y="0"/>
                    <a:pt x="42" y="0"/>
                  </a:cubicBezTo>
                  <a:cubicBezTo>
                    <a:pt x="42" y="0"/>
                    <a:pt x="0" y="115"/>
                    <a:pt x="10" y="134"/>
                  </a:cubicBezTo>
                  <a:close/>
                </a:path>
              </a:pathLst>
            </a:custGeom>
            <a:solidFill>
              <a:srgbClr val="3C4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1" name="ExtraShape3">
              <a:extLst>
                <a:ext uri="{FF2B5EF4-FFF2-40B4-BE49-F238E27FC236}">
                  <a16:creationId xmlns:a16="http://schemas.microsoft.com/office/drawing/2014/main" id="{2A99DB98-1227-4871-A4BC-4E7ABF32AE3E}"/>
                </a:ext>
              </a:extLst>
            </p:cNvPr>
            <p:cNvSpPr/>
            <p:nvPr/>
          </p:nvSpPr>
          <p:spPr bwMode="auto">
            <a:xfrm>
              <a:off x="3543605" y="2593498"/>
              <a:ext cx="129728" cy="39045"/>
            </a:xfrm>
            <a:custGeom>
              <a:avLst/>
              <a:gdLst>
                <a:gd name="T0" fmla="*/ 174 w 220"/>
                <a:gd name="T1" fmla="*/ 22 h 67"/>
                <a:gd name="T2" fmla="*/ 25 w 220"/>
                <a:gd name="T3" fmla="*/ 18 h 67"/>
                <a:gd name="T4" fmla="*/ 17 w 220"/>
                <a:gd name="T5" fmla="*/ 25 h 67"/>
                <a:gd name="T6" fmla="*/ 62 w 220"/>
                <a:gd name="T7" fmla="*/ 59 h 67"/>
                <a:gd name="T8" fmla="*/ 174 w 220"/>
                <a:gd name="T9" fmla="*/ 2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0" h="67">
                  <a:moveTo>
                    <a:pt x="174" y="22"/>
                  </a:moveTo>
                  <a:cubicBezTo>
                    <a:pt x="174" y="22"/>
                    <a:pt x="79" y="0"/>
                    <a:pt x="25" y="18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0" y="57"/>
                    <a:pt x="62" y="59"/>
                  </a:cubicBezTo>
                  <a:cubicBezTo>
                    <a:pt x="123" y="62"/>
                    <a:pt x="220" y="67"/>
                    <a:pt x="174" y="22"/>
                  </a:cubicBezTo>
                  <a:close/>
                </a:path>
              </a:pathLst>
            </a:custGeom>
            <a:solidFill>
              <a:srgbClr val="FFC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2" name="ExtraShape4">
              <a:extLst>
                <a:ext uri="{FF2B5EF4-FFF2-40B4-BE49-F238E27FC236}">
                  <a16:creationId xmlns:a16="http://schemas.microsoft.com/office/drawing/2014/main" id="{093B4C71-A9C0-4EF4-AF7F-9105539561B8}"/>
                </a:ext>
              </a:extLst>
            </p:cNvPr>
            <p:cNvSpPr/>
            <p:nvPr/>
          </p:nvSpPr>
          <p:spPr bwMode="auto">
            <a:xfrm>
              <a:off x="3363497" y="3912185"/>
              <a:ext cx="62975" cy="54158"/>
            </a:xfrm>
            <a:custGeom>
              <a:avLst/>
              <a:gdLst>
                <a:gd name="T0" fmla="*/ 106 w 106"/>
                <a:gd name="T1" fmla="*/ 19 h 92"/>
                <a:gd name="T2" fmla="*/ 90 w 106"/>
                <a:gd name="T3" fmla="*/ 84 h 92"/>
                <a:gd name="T4" fmla="*/ 0 w 106"/>
                <a:gd name="T5" fmla="*/ 69 h 92"/>
                <a:gd name="T6" fmla="*/ 0 w 106"/>
                <a:gd name="T7" fmla="*/ 0 h 92"/>
                <a:gd name="T8" fmla="*/ 106 w 106"/>
                <a:gd name="T9" fmla="*/ 1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92">
                  <a:moveTo>
                    <a:pt x="106" y="19"/>
                  </a:moveTo>
                  <a:cubicBezTo>
                    <a:pt x="106" y="19"/>
                    <a:pt x="92" y="75"/>
                    <a:pt x="90" y="84"/>
                  </a:cubicBezTo>
                  <a:cubicBezTo>
                    <a:pt x="88" y="92"/>
                    <a:pt x="0" y="69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96" y="10"/>
                    <a:pt x="106" y="19"/>
                  </a:cubicBezTo>
                  <a:close/>
                </a:path>
              </a:pathLst>
            </a:custGeom>
            <a:solidFill>
              <a:srgbClr val="5C54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3" name="ExtraShape5">
              <a:extLst>
                <a:ext uri="{FF2B5EF4-FFF2-40B4-BE49-F238E27FC236}">
                  <a16:creationId xmlns:a16="http://schemas.microsoft.com/office/drawing/2014/main" id="{A728E51B-2826-4D7B-972A-A0DA6EABF74B}"/>
                </a:ext>
              </a:extLst>
            </p:cNvPr>
            <p:cNvSpPr/>
            <p:nvPr/>
          </p:nvSpPr>
          <p:spPr bwMode="auto">
            <a:xfrm>
              <a:off x="3345865" y="3053213"/>
              <a:ext cx="269531" cy="900536"/>
            </a:xfrm>
            <a:custGeom>
              <a:avLst/>
              <a:gdLst>
                <a:gd name="T0" fmla="*/ 203 w 456"/>
                <a:gd name="T1" fmla="*/ 0 h 1529"/>
                <a:gd name="T2" fmla="*/ 161 w 456"/>
                <a:gd name="T3" fmla="*/ 265 h 1529"/>
                <a:gd name="T4" fmla="*/ 123 w 456"/>
                <a:gd name="T5" fmla="*/ 650 h 1529"/>
                <a:gd name="T6" fmla="*/ 67 w 456"/>
                <a:gd name="T7" fmla="*/ 1100 h 1529"/>
                <a:gd name="T8" fmla="*/ 0 w 456"/>
                <a:gd name="T9" fmla="*/ 1510 h 1529"/>
                <a:gd name="T10" fmla="*/ 165 w 456"/>
                <a:gd name="T11" fmla="*/ 1529 h 1529"/>
                <a:gd name="T12" fmla="*/ 297 w 456"/>
                <a:gd name="T13" fmla="*/ 879 h 1529"/>
                <a:gd name="T14" fmla="*/ 452 w 456"/>
                <a:gd name="T15" fmla="*/ 340 h 1529"/>
                <a:gd name="T16" fmla="*/ 203 w 456"/>
                <a:gd name="T17" fmla="*/ 0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6" h="1529">
                  <a:moveTo>
                    <a:pt x="203" y="0"/>
                  </a:moveTo>
                  <a:cubicBezTo>
                    <a:pt x="203" y="0"/>
                    <a:pt x="170" y="132"/>
                    <a:pt x="161" y="265"/>
                  </a:cubicBezTo>
                  <a:cubicBezTo>
                    <a:pt x="152" y="387"/>
                    <a:pt x="136" y="522"/>
                    <a:pt x="123" y="650"/>
                  </a:cubicBezTo>
                  <a:cubicBezTo>
                    <a:pt x="109" y="793"/>
                    <a:pt x="69" y="1024"/>
                    <a:pt x="67" y="1100"/>
                  </a:cubicBezTo>
                  <a:cubicBezTo>
                    <a:pt x="65" y="1176"/>
                    <a:pt x="0" y="1510"/>
                    <a:pt x="0" y="1510"/>
                  </a:cubicBezTo>
                  <a:cubicBezTo>
                    <a:pt x="165" y="1529"/>
                    <a:pt x="165" y="1529"/>
                    <a:pt x="165" y="1529"/>
                  </a:cubicBezTo>
                  <a:cubicBezTo>
                    <a:pt x="165" y="1529"/>
                    <a:pt x="272" y="939"/>
                    <a:pt x="297" y="879"/>
                  </a:cubicBezTo>
                  <a:cubicBezTo>
                    <a:pt x="322" y="818"/>
                    <a:pt x="447" y="388"/>
                    <a:pt x="452" y="340"/>
                  </a:cubicBezTo>
                  <a:cubicBezTo>
                    <a:pt x="456" y="292"/>
                    <a:pt x="203" y="0"/>
                    <a:pt x="203" y="0"/>
                  </a:cubicBezTo>
                  <a:close/>
                </a:path>
              </a:pathLst>
            </a:custGeom>
            <a:solidFill>
              <a:srgbClr val="3C4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4" name="ExtraShape6">
              <a:extLst>
                <a:ext uri="{FF2B5EF4-FFF2-40B4-BE49-F238E27FC236}">
                  <a16:creationId xmlns:a16="http://schemas.microsoft.com/office/drawing/2014/main" id="{3BEED12D-5B44-4543-9C08-2EDE63BFA376}"/>
                </a:ext>
              </a:extLst>
            </p:cNvPr>
            <p:cNvSpPr/>
            <p:nvPr/>
          </p:nvSpPr>
          <p:spPr bwMode="auto">
            <a:xfrm>
              <a:off x="3338308" y="3948710"/>
              <a:ext cx="206556" cy="110835"/>
            </a:xfrm>
            <a:custGeom>
              <a:avLst/>
              <a:gdLst>
                <a:gd name="T0" fmla="*/ 135 w 350"/>
                <a:gd name="T1" fmla="*/ 13 h 187"/>
                <a:gd name="T2" fmla="*/ 185 w 350"/>
                <a:gd name="T3" fmla="*/ 69 h 187"/>
                <a:gd name="T4" fmla="*/ 325 w 350"/>
                <a:gd name="T5" fmla="*/ 127 h 187"/>
                <a:gd name="T6" fmla="*/ 191 w 350"/>
                <a:gd name="T7" fmla="*/ 165 h 187"/>
                <a:gd name="T8" fmla="*/ 11 w 350"/>
                <a:gd name="T9" fmla="*/ 134 h 187"/>
                <a:gd name="T10" fmla="*/ 43 w 350"/>
                <a:gd name="T11" fmla="*/ 0 h 187"/>
                <a:gd name="T12" fmla="*/ 135 w 350"/>
                <a:gd name="T13" fmla="*/ 1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0" h="187">
                  <a:moveTo>
                    <a:pt x="135" y="13"/>
                  </a:moveTo>
                  <a:cubicBezTo>
                    <a:pt x="135" y="13"/>
                    <a:pt x="159" y="51"/>
                    <a:pt x="185" y="69"/>
                  </a:cubicBezTo>
                  <a:cubicBezTo>
                    <a:pt x="211" y="87"/>
                    <a:pt x="311" y="110"/>
                    <a:pt x="325" y="127"/>
                  </a:cubicBezTo>
                  <a:cubicBezTo>
                    <a:pt x="336" y="140"/>
                    <a:pt x="350" y="187"/>
                    <a:pt x="191" y="165"/>
                  </a:cubicBezTo>
                  <a:cubicBezTo>
                    <a:pt x="77" y="150"/>
                    <a:pt x="21" y="154"/>
                    <a:pt x="11" y="134"/>
                  </a:cubicBezTo>
                  <a:cubicBezTo>
                    <a:pt x="0" y="114"/>
                    <a:pt x="43" y="0"/>
                    <a:pt x="43" y="0"/>
                  </a:cubicBezTo>
                  <a:cubicBezTo>
                    <a:pt x="43" y="0"/>
                    <a:pt x="67" y="13"/>
                    <a:pt x="135" y="13"/>
                  </a:cubicBezTo>
                  <a:close/>
                </a:path>
              </a:pathLst>
            </a:custGeom>
            <a:solidFill>
              <a:srgbClr val="3C4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5" name="ExtraShape7">
              <a:extLst>
                <a:ext uri="{FF2B5EF4-FFF2-40B4-BE49-F238E27FC236}">
                  <a16:creationId xmlns:a16="http://schemas.microsoft.com/office/drawing/2014/main" id="{A13512B7-CDC6-43FE-8972-9DB9363A88E1}"/>
                </a:ext>
              </a:extLst>
            </p:cNvPr>
            <p:cNvSpPr/>
            <p:nvPr/>
          </p:nvSpPr>
          <p:spPr bwMode="auto">
            <a:xfrm>
              <a:off x="3430251" y="2606093"/>
              <a:ext cx="394221" cy="687682"/>
            </a:xfrm>
            <a:custGeom>
              <a:avLst/>
              <a:gdLst>
                <a:gd name="T0" fmla="*/ 572 w 669"/>
                <a:gd name="T1" fmla="*/ 1087 h 1166"/>
                <a:gd name="T2" fmla="*/ 541 w 669"/>
                <a:gd name="T3" fmla="*/ 641 h 1166"/>
                <a:gd name="T4" fmla="*/ 542 w 669"/>
                <a:gd name="T5" fmla="*/ 403 h 1166"/>
                <a:gd name="T6" fmla="*/ 558 w 669"/>
                <a:gd name="T7" fmla="*/ 318 h 1166"/>
                <a:gd name="T8" fmla="*/ 591 w 669"/>
                <a:gd name="T9" fmla="*/ 296 h 1166"/>
                <a:gd name="T10" fmla="*/ 669 w 669"/>
                <a:gd name="T11" fmla="*/ 255 h 1166"/>
                <a:gd name="T12" fmla="*/ 662 w 669"/>
                <a:gd name="T13" fmla="*/ 210 h 1166"/>
                <a:gd name="T14" fmla="*/ 575 w 669"/>
                <a:gd name="T15" fmla="*/ 78 h 1166"/>
                <a:gd name="T16" fmla="*/ 556 w 669"/>
                <a:gd name="T17" fmla="*/ 68 h 1166"/>
                <a:gd name="T18" fmla="*/ 524 w 669"/>
                <a:gd name="T19" fmla="*/ 55 h 1166"/>
                <a:gd name="T20" fmla="*/ 367 w 669"/>
                <a:gd name="T21" fmla="*/ 0 h 1166"/>
                <a:gd name="T22" fmla="*/ 226 w 669"/>
                <a:gd name="T23" fmla="*/ 0 h 1166"/>
                <a:gd name="T24" fmla="*/ 55 w 669"/>
                <a:gd name="T25" fmla="*/ 47 h 1166"/>
                <a:gd name="T26" fmla="*/ 32 w 669"/>
                <a:gd name="T27" fmla="*/ 60 h 1166"/>
                <a:gd name="T28" fmla="*/ 51 w 669"/>
                <a:gd name="T29" fmla="*/ 461 h 1166"/>
                <a:gd name="T30" fmla="*/ 51 w 669"/>
                <a:gd name="T31" fmla="*/ 462 h 1166"/>
                <a:gd name="T32" fmla="*/ 51 w 669"/>
                <a:gd name="T33" fmla="*/ 462 h 1166"/>
                <a:gd name="T34" fmla="*/ 72 w 669"/>
                <a:gd name="T35" fmla="*/ 632 h 1166"/>
                <a:gd name="T36" fmla="*/ 40 w 669"/>
                <a:gd name="T37" fmla="*/ 848 h 1166"/>
                <a:gd name="T38" fmla="*/ 0 w 669"/>
                <a:gd name="T39" fmla="*/ 1072 h 1166"/>
                <a:gd name="T40" fmla="*/ 572 w 669"/>
                <a:gd name="T41" fmla="*/ 1087 h 1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9" h="1166">
                  <a:moveTo>
                    <a:pt x="572" y="1087"/>
                  </a:moveTo>
                  <a:cubicBezTo>
                    <a:pt x="586" y="1085"/>
                    <a:pt x="538" y="667"/>
                    <a:pt x="541" y="641"/>
                  </a:cubicBezTo>
                  <a:cubicBezTo>
                    <a:pt x="544" y="624"/>
                    <a:pt x="543" y="488"/>
                    <a:pt x="542" y="403"/>
                  </a:cubicBezTo>
                  <a:cubicBezTo>
                    <a:pt x="558" y="318"/>
                    <a:pt x="558" y="318"/>
                    <a:pt x="558" y="318"/>
                  </a:cubicBezTo>
                  <a:cubicBezTo>
                    <a:pt x="566" y="311"/>
                    <a:pt x="578" y="304"/>
                    <a:pt x="591" y="296"/>
                  </a:cubicBezTo>
                  <a:cubicBezTo>
                    <a:pt x="612" y="284"/>
                    <a:pt x="639" y="270"/>
                    <a:pt x="669" y="255"/>
                  </a:cubicBezTo>
                  <a:cubicBezTo>
                    <a:pt x="665" y="235"/>
                    <a:pt x="663" y="219"/>
                    <a:pt x="662" y="210"/>
                  </a:cubicBezTo>
                  <a:cubicBezTo>
                    <a:pt x="655" y="135"/>
                    <a:pt x="604" y="95"/>
                    <a:pt x="575" y="78"/>
                  </a:cubicBezTo>
                  <a:cubicBezTo>
                    <a:pt x="564" y="71"/>
                    <a:pt x="556" y="68"/>
                    <a:pt x="556" y="68"/>
                  </a:cubicBezTo>
                  <a:cubicBezTo>
                    <a:pt x="545" y="64"/>
                    <a:pt x="534" y="59"/>
                    <a:pt x="524" y="55"/>
                  </a:cubicBezTo>
                  <a:cubicBezTo>
                    <a:pt x="455" y="27"/>
                    <a:pt x="367" y="0"/>
                    <a:pt x="367" y="0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119" y="21"/>
                    <a:pt x="55" y="47"/>
                  </a:cubicBezTo>
                  <a:cubicBezTo>
                    <a:pt x="47" y="51"/>
                    <a:pt x="39" y="55"/>
                    <a:pt x="32" y="60"/>
                  </a:cubicBezTo>
                  <a:cubicBezTo>
                    <a:pt x="51" y="461"/>
                    <a:pt x="51" y="461"/>
                    <a:pt x="51" y="461"/>
                  </a:cubicBezTo>
                  <a:cubicBezTo>
                    <a:pt x="51" y="462"/>
                    <a:pt x="51" y="462"/>
                    <a:pt x="51" y="462"/>
                  </a:cubicBezTo>
                  <a:cubicBezTo>
                    <a:pt x="51" y="462"/>
                    <a:pt x="51" y="462"/>
                    <a:pt x="51" y="462"/>
                  </a:cubicBezTo>
                  <a:cubicBezTo>
                    <a:pt x="60" y="519"/>
                    <a:pt x="69" y="585"/>
                    <a:pt x="72" y="632"/>
                  </a:cubicBezTo>
                  <a:cubicBezTo>
                    <a:pt x="73" y="651"/>
                    <a:pt x="52" y="754"/>
                    <a:pt x="40" y="848"/>
                  </a:cubicBezTo>
                  <a:cubicBezTo>
                    <a:pt x="0" y="1072"/>
                    <a:pt x="0" y="1072"/>
                    <a:pt x="0" y="1072"/>
                  </a:cubicBezTo>
                  <a:cubicBezTo>
                    <a:pt x="0" y="1072"/>
                    <a:pt x="23" y="1166"/>
                    <a:pt x="572" y="1087"/>
                  </a:cubicBezTo>
                  <a:close/>
                </a:path>
              </a:pathLst>
            </a:custGeom>
            <a:solidFill>
              <a:srgbClr val="FFC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6" name="ExtraShape8">
              <a:extLst>
                <a:ext uri="{FF2B5EF4-FFF2-40B4-BE49-F238E27FC236}">
                  <a16:creationId xmlns:a16="http://schemas.microsoft.com/office/drawing/2014/main" id="{C8BFC03D-9535-49F6-922D-1FBFBCE6D1E8}"/>
                </a:ext>
              </a:extLst>
            </p:cNvPr>
            <p:cNvSpPr/>
            <p:nvPr/>
          </p:nvSpPr>
          <p:spPr bwMode="auto">
            <a:xfrm>
              <a:off x="4085186" y="2417170"/>
              <a:ext cx="109576" cy="98240"/>
            </a:xfrm>
            <a:custGeom>
              <a:avLst/>
              <a:gdLst>
                <a:gd name="T0" fmla="*/ 180 w 185"/>
                <a:gd name="T1" fmla="*/ 107 h 167"/>
                <a:gd name="T2" fmla="*/ 166 w 185"/>
                <a:gd name="T3" fmla="*/ 120 h 167"/>
                <a:gd name="T4" fmla="*/ 147 w 185"/>
                <a:gd name="T5" fmla="*/ 128 h 167"/>
                <a:gd name="T6" fmla="*/ 142 w 185"/>
                <a:gd name="T7" fmla="*/ 131 h 167"/>
                <a:gd name="T8" fmla="*/ 111 w 185"/>
                <a:gd name="T9" fmla="*/ 147 h 167"/>
                <a:gd name="T10" fmla="*/ 28 w 185"/>
                <a:gd name="T11" fmla="*/ 167 h 167"/>
                <a:gd name="T12" fmla="*/ 12 w 185"/>
                <a:gd name="T13" fmla="*/ 127 h 167"/>
                <a:gd name="T14" fmla="*/ 0 w 185"/>
                <a:gd name="T15" fmla="*/ 94 h 167"/>
                <a:gd name="T16" fmla="*/ 77 w 185"/>
                <a:gd name="T17" fmla="*/ 7 h 167"/>
                <a:gd name="T18" fmla="*/ 81 w 185"/>
                <a:gd name="T19" fmla="*/ 6 h 167"/>
                <a:gd name="T20" fmla="*/ 110 w 185"/>
                <a:gd name="T21" fmla="*/ 3 h 167"/>
                <a:gd name="T22" fmla="*/ 141 w 185"/>
                <a:gd name="T23" fmla="*/ 5 h 167"/>
                <a:gd name="T24" fmla="*/ 149 w 185"/>
                <a:gd name="T25" fmla="*/ 26 h 167"/>
                <a:gd name="T26" fmla="*/ 164 w 185"/>
                <a:gd name="T27" fmla="*/ 54 h 167"/>
                <a:gd name="T28" fmla="*/ 173 w 185"/>
                <a:gd name="T29" fmla="*/ 83 h 167"/>
                <a:gd name="T30" fmla="*/ 180 w 185"/>
                <a:gd name="T31" fmla="*/ 10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5" h="167">
                  <a:moveTo>
                    <a:pt x="180" y="107"/>
                  </a:moveTo>
                  <a:cubicBezTo>
                    <a:pt x="180" y="107"/>
                    <a:pt x="172" y="118"/>
                    <a:pt x="166" y="120"/>
                  </a:cubicBezTo>
                  <a:cubicBezTo>
                    <a:pt x="166" y="120"/>
                    <a:pt x="155" y="125"/>
                    <a:pt x="147" y="128"/>
                  </a:cubicBezTo>
                  <a:cubicBezTo>
                    <a:pt x="145" y="129"/>
                    <a:pt x="143" y="130"/>
                    <a:pt x="142" y="131"/>
                  </a:cubicBezTo>
                  <a:cubicBezTo>
                    <a:pt x="136" y="134"/>
                    <a:pt x="126" y="143"/>
                    <a:pt x="111" y="147"/>
                  </a:cubicBezTo>
                  <a:cubicBezTo>
                    <a:pt x="96" y="152"/>
                    <a:pt x="28" y="167"/>
                    <a:pt x="28" y="167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63" y="13"/>
                    <a:pt x="77" y="7"/>
                  </a:cubicBezTo>
                  <a:cubicBezTo>
                    <a:pt x="78" y="6"/>
                    <a:pt x="80" y="6"/>
                    <a:pt x="81" y="6"/>
                  </a:cubicBezTo>
                  <a:cubicBezTo>
                    <a:pt x="93" y="2"/>
                    <a:pt x="103" y="4"/>
                    <a:pt x="110" y="3"/>
                  </a:cubicBezTo>
                  <a:cubicBezTo>
                    <a:pt x="112" y="2"/>
                    <a:pt x="136" y="0"/>
                    <a:pt x="141" y="5"/>
                  </a:cubicBezTo>
                  <a:cubicBezTo>
                    <a:pt x="148" y="12"/>
                    <a:pt x="151" y="19"/>
                    <a:pt x="149" y="26"/>
                  </a:cubicBezTo>
                  <a:cubicBezTo>
                    <a:pt x="149" y="26"/>
                    <a:pt x="163" y="40"/>
                    <a:pt x="164" y="54"/>
                  </a:cubicBezTo>
                  <a:cubicBezTo>
                    <a:pt x="164" y="54"/>
                    <a:pt x="177" y="66"/>
                    <a:pt x="173" y="83"/>
                  </a:cubicBezTo>
                  <a:cubicBezTo>
                    <a:pt x="173" y="83"/>
                    <a:pt x="185" y="97"/>
                    <a:pt x="180" y="107"/>
                  </a:cubicBezTo>
                  <a:close/>
                </a:path>
              </a:pathLst>
            </a:custGeom>
            <a:solidFill>
              <a:srgbClr val="EEA8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7" name="ExtraShape9">
              <a:extLst>
                <a:ext uri="{FF2B5EF4-FFF2-40B4-BE49-F238E27FC236}">
                  <a16:creationId xmlns:a16="http://schemas.microsoft.com/office/drawing/2014/main" id="{2C5BB5FC-78AF-4C84-A0AD-79066EC3E969}"/>
                </a:ext>
              </a:extLst>
            </p:cNvPr>
            <p:cNvSpPr/>
            <p:nvPr/>
          </p:nvSpPr>
          <p:spPr bwMode="auto">
            <a:xfrm>
              <a:off x="3694744" y="2466290"/>
              <a:ext cx="437044" cy="337543"/>
            </a:xfrm>
            <a:custGeom>
              <a:avLst/>
              <a:gdLst>
                <a:gd name="T0" fmla="*/ 114 w 741"/>
                <a:gd name="T1" fmla="*/ 552 h 574"/>
                <a:gd name="T2" fmla="*/ 221 w 741"/>
                <a:gd name="T3" fmla="*/ 493 h 574"/>
                <a:gd name="T4" fmla="*/ 544 w 741"/>
                <a:gd name="T5" fmla="*/ 292 h 574"/>
                <a:gd name="T6" fmla="*/ 741 w 741"/>
                <a:gd name="T7" fmla="*/ 83 h 574"/>
                <a:gd name="T8" fmla="*/ 662 w 741"/>
                <a:gd name="T9" fmla="*/ 0 h 574"/>
                <a:gd name="T10" fmla="*/ 386 w 741"/>
                <a:gd name="T11" fmla="*/ 241 h 574"/>
                <a:gd name="T12" fmla="*/ 76 w 741"/>
                <a:gd name="T13" fmla="*/ 293 h 574"/>
                <a:gd name="T14" fmla="*/ 61 w 741"/>
                <a:gd name="T15" fmla="*/ 294 h 574"/>
                <a:gd name="T16" fmla="*/ 114 w 741"/>
                <a:gd name="T17" fmla="*/ 552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1" h="574">
                  <a:moveTo>
                    <a:pt x="114" y="552"/>
                  </a:moveTo>
                  <a:cubicBezTo>
                    <a:pt x="130" y="542"/>
                    <a:pt x="150" y="529"/>
                    <a:pt x="221" y="493"/>
                  </a:cubicBezTo>
                  <a:cubicBezTo>
                    <a:pt x="352" y="428"/>
                    <a:pt x="513" y="309"/>
                    <a:pt x="544" y="292"/>
                  </a:cubicBezTo>
                  <a:cubicBezTo>
                    <a:pt x="591" y="266"/>
                    <a:pt x="741" y="83"/>
                    <a:pt x="741" y="83"/>
                  </a:cubicBezTo>
                  <a:cubicBezTo>
                    <a:pt x="733" y="56"/>
                    <a:pt x="662" y="0"/>
                    <a:pt x="662" y="0"/>
                  </a:cubicBezTo>
                  <a:cubicBezTo>
                    <a:pt x="662" y="0"/>
                    <a:pt x="436" y="215"/>
                    <a:pt x="386" y="241"/>
                  </a:cubicBezTo>
                  <a:cubicBezTo>
                    <a:pt x="344" y="264"/>
                    <a:pt x="134" y="287"/>
                    <a:pt x="76" y="293"/>
                  </a:cubicBezTo>
                  <a:cubicBezTo>
                    <a:pt x="66" y="294"/>
                    <a:pt x="61" y="294"/>
                    <a:pt x="61" y="294"/>
                  </a:cubicBezTo>
                  <a:cubicBezTo>
                    <a:pt x="0" y="377"/>
                    <a:pt x="80" y="574"/>
                    <a:pt x="114" y="552"/>
                  </a:cubicBezTo>
                  <a:close/>
                </a:path>
              </a:pathLst>
            </a:custGeom>
            <a:solidFill>
              <a:srgbClr val="FFC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</p:grpSp>
      <p:sp>
        <p:nvSpPr>
          <p:cNvPr id="48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51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2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426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f8142913-5010-4c28-b89f-fa067c3fde19" descr="5yoAAB+LCAAAAAAABADdWV1z0zoQ/S8G3krHli1/5C0h5N77AHRoh4Fh+mASNRHXsTu2wlAY/juy5TQr1xKywTTOS6aWtcrZPbt7tM136yldWRPLsc6sp+zulvC/L7dxzuY0Xufx9lW2Igl/d5FntyRnlBTW5OP32ggBo3dxsiP1rju+/oqmdLvbVsvWxD63+VL8FSw5drU4J0u6jZM5XVPGz+Yr/xUXJF+SlNUbWb4jZ1b9EFZG/+TZ7rZC/eNsD8YFYF5kSZYDMLXxfqsHtr65uaFLcrUhW1JZ8VdXNGXTdHW5iVd76LOcrjcsJUVRL7z59JksGTCbYG5YHVlt3xUbfviTxQLNUTQtcbaCxjDsLKfp+iFqy35mtVv7wHqWZQmJ04fmInxt5sHfpw/7kD4EwITm9EVD0Be00+dNcTifQvogaMfuzJ9k7nQnULJ/hAIMMGTQhWg6VKAzSAlG7RwuFrOFbUMOJdjda1Ay71GEkv0jVKEfnkeuHfgREp8oOmDzILYORekMUpVhO6NTb+YsZpBRCBt1r0rJvEdVSvaPIYvhuec72A3FpxuiAzYMsXWoUTRIjTp2O6V+MH25mENKJdzdi1Qy71Gk3P6aI6Tpin+ZdOuBFXuRFZTRLK33HW5Kd1Ugc3JT92zrIubXKcJIXlRvGvbg7Zn1b5bTb1nK4mSa0HW65aQLtwlbbkq85U1sKb+dZYxlW6vMkzrHLuk38pYUJP9COOybOCn2+cIpuyWv+fftE7RaKNP+LUliRr9IO6S16ibTvAzee3kNQg57x/6I341W8xwpajxFC8Le7zOvevogPb2vK2h2J/lU7sH3Fuo9LeccomdNnreeIu1wzpGKglm8/F/FAOTINPzRyYUf/3b4qx3t4b8iX5k2/IIfw+i7UIHKow8RbzSvQ9wxONyQjwpkIbFwj7tEB127NoXuNBVCmy2uGp2QFwhO9H1rQZNypJwuS4oEYbUa7NXjfrFMHqgz0osWX+siUTvrys6iMTsrUtLYV7erbAWjkC1kIltIXbmBHCWvb9/UROvEZUvFAOTINPz45MI/uGxpwy/4MY2+3122HFuhWxpCzHULadpbA3vQqZWHx9XK6ypROxvKzj4YzMfkrMhJY1+jrrrljGPeck2Ey1XXriNf3Dy7b+vUxevEpUvFAWTJmADn9AgYXLy0BAiGjOOPeqiXaurSUWIuX66myzXRP/jPnD5ljmwWqWtF4648jXjeqN0VmWnuLe6sYeMYvjwTDfM0JSxf4jy/dws92vv/4Bqm4gCyZExAcHoEDK5hWgIEQ8bxD7trGFJNYDpKzDXM07W5BvqoW1M/srmkrhWNu/Jkgu1Ruysy09xbp6uGoXHMYdhEw7C6hJF8kcOobwvVxevENUzFAWTJmAD39AgYXMO0BAiGjOPv9dAw5a9ff2QOw7qfvxrocaemjo5sMKlrReOuPJlgf9Tuisz8lbfXP34CoCERQucqAAA=">
            <a:extLst>
              <a:ext uri="{FF2B5EF4-FFF2-40B4-BE49-F238E27FC236}">
                <a16:creationId xmlns:a16="http://schemas.microsoft.com/office/drawing/2014/main" id="{A90D788E-6981-4C3F-86DE-156DFDDBF9B2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0"/>
            <a:ext cx="12192000" cy="6858000"/>
            <a:chOff x="0" y="1"/>
            <a:chExt cx="12192000" cy="6858000"/>
          </a:xfrm>
        </p:grpSpPr>
        <p:sp>
          <p:nvSpPr>
            <p:cNvPr id="3" name="AreaShape">
              <a:extLst>
                <a:ext uri="{FF2B5EF4-FFF2-40B4-BE49-F238E27FC236}">
                  <a16:creationId xmlns:a16="http://schemas.microsoft.com/office/drawing/2014/main" id="{71B45F2A-533A-4DF7-9E8C-C1446130F34E}"/>
                </a:ext>
              </a:extLst>
            </p:cNvPr>
            <p:cNvSpPr/>
            <p:nvPr/>
          </p:nvSpPr>
          <p:spPr>
            <a:xfrm>
              <a:off x="0" y="1"/>
              <a:ext cx="12192000" cy="685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4" name="ExtraShape">
              <a:extLst>
                <a:ext uri="{FF2B5EF4-FFF2-40B4-BE49-F238E27FC236}">
                  <a16:creationId xmlns:a16="http://schemas.microsoft.com/office/drawing/2014/main" id="{B172E052-21A0-4EB0-87D5-2E20DDFBF4E4}"/>
                </a:ext>
              </a:extLst>
            </p:cNvPr>
            <p:cNvSpPr/>
            <p:nvPr/>
          </p:nvSpPr>
          <p:spPr bwMode="auto">
            <a:xfrm>
              <a:off x="25400" y="4087596"/>
              <a:ext cx="12166600" cy="2770404"/>
            </a:xfrm>
            <a:custGeom>
              <a:avLst/>
              <a:gdLst>
                <a:gd name="connsiteX0" fmla="*/ 11392949 w 12166600"/>
                <a:gd name="connsiteY0" fmla="*/ 2704548 h 2770404"/>
                <a:gd name="connsiteX1" fmla="*/ 11378488 w 12166600"/>
                <a:gd name="connsiteY1" fmla="*/ 2719089 h 2770404"/>
                <a:gd name="connsiteX2" fmla="*/ 11385719 w 12166600"/>
                <a:gd name="connsiteY2" fmla="*/ 2719089 h 2770404"/>
                <a:gd name="connsiteX3" fmla="*/ 11400180 w 12166600"/>
                <a:gd name="connsiteY3" fmla="*/ 2719089 h 2770404"/>
                <a:gd name="connsiteX4" fmla="*/ 11400180 w 12166600"/>
                <a:gd name="connsiteY4" fmla="*/ 2711819 h 2770404"/>
                <a:gd name="connsiteX5" fmla="*/ 11392949 w 12166600"/>
                <a:gd name="connsiteY5" fmla="*/ 2704548 h 2770404"/>
                <a:gd name="connsiteX6" fmla="*/ 11342336 w 12166600"/>
                <a:gd name="connsiteY6" fmla="*/ 2704548 h 2770404"/>
                <a:gd name="connsiteX7" fmla="*/ 11327876 w 12166600"/>
                <a:gd name="connsiteY7" fmla="*/ 2719089 h 2770404"/>
                <a:gd name="connsiteX8" fmla="*/ 11320645 w 12166600"/>
                <a:gd name="connsiteY8" fmla="*/ 2719089 h 2770404"/>
                <a:gd name="connsiteX9" fmla="*/ 11320645 w 12166600"/>
                <a:gd name="connsiteY9" fmla="*/ 2726359 h 2770404"/>
                <a:gd name="connsiteX10" fmla="*/ 11327876 w 12166600"/>
                <a:gd name="connsiteY10" fmla="*/ 2726359 h 2770404"/>
                <a:gd name="connsiteX11" fmla="*/ 11335106 w 12166600"/>
                <a:gd name="connsiteY11" fmla="*/ 2726359 h 2770404"/>
                <a:gd name="connsiteX12" fmla="*/ 11349567 w 12166600"/>
                <a:gd name="connsiteY12" fmla="*/ 2726359 h 2770404"/>
                <a:gd name="connsiteX13" fmla="*/ 11342336 w 12166600"/>
                <a:gd name="connsiteY13" fmla="*/ 2704548 h 2770404"/>
                <a:gd name="connsiteX14" fmla="*/ 11284493 w 12166600"/>
                <a:gd name="connsiteY14" fmla="*/ 2704548 h 2770404"/>
                <a:gd name="connsiteX15" fmla="*/ 11277263 w 12166600"/>
                <a:gd name="connsiteY15" fmla="*/ 2711819 h 2770404"/>
                <a:gd name="connsiteX16" fmla="*/ 11270033 w 12166600"/>
                <a:gd name="connsiteY16" fmla="*/ 2711819 h 2770404"/>
                <a:gd name="connsiteX17" fmla="*/ 11270033 w 12166600"/>
                <a:gd name="connsiteY17" fmla="*/ 2719089 h 2770404"/>
                <a:gd name="connsiteX18" fmla="*/ 11255572 w 12166600"/>
                <a:gd name="connsiteY18" fmla="*/ 2726359 h 2770404"/>
                <a:gd name="connsiteX19" fmla="*/ 11277263 w 12166600"/>
                <a:gd name="connsiteY19" fmla="*/ 2726359 h 2770404"/>
                <a:gd name="connsiteX20" fmla="*/ 11284493 w 12166600"/>
                <a:gd name="connsiteY20" fmla="*/ 2726359 h 2770404"/>
                <a:gd name="connsiteX21" fmla="*/ 11291724 w 12166600"/>
                <a:gd name="connsiteY21" fmla="*/ 2726359 h 2770404"/>
                <a:gd name="connsiteX22" fmla="*/ 11291724 w 12166600"/>
                <a:gd name="connsiteY22" fmla="*/ 2719089 h 2770404"/>
                <a:gd name="connsiteX23" fmla="*/ 11284493 w 12166600"/>
                <a:gd name="connsiteY23" fmla="*/ 2704548 h 2770404"/>
                <a:gd name="connsiteX24" fmla="*/ 11450792 w 12166600"/>
                <a:gd name="connsiteY24" fmla="*/ 2697278 h 2770404"/>
                <a:gd name="connsiteX25" fmla="*/ 11443562 w 12166600"/>
                <a:gd name="connsiteY25" fmla="*/ 2711819 h 2770404"/>
                <a:gd name="connsiteX26" fmla="*/ 11436331 w 12166600"/>
                <a:gd name="connsiteY26" fmla="*/ 2719089 h 2770404"/>
                <a:gd name="connsiteX27" fmla="*/ 11450792 w 12166600"/>
                <a:gd name="connsiteY27" fmla="*/ 2719089 h 2770404"/>
                <a:gd name="connsiteX28" fmla="*/ 11458023 w 12166600"/>
                <a:gd name="connsiteY28" fmla="*/ 2719089 h 2770404"/>
                <a:gd name="connsiteX29" fmla="*/ 11450792 w 12166600"/>
                <a:gd name="connsiteY29" fmla="*/ 2697278 h 2770404"/>
                <a:gd name="connsiteX30" fmla="*/ 12036453 w 12166600"/>
                <a:gd name="connsiteY30" fmla="*/ 2690008 h 2770404"/>
                <a:gd name="connsiteX31" fmla="*/ 12036453 w 12166600"/>
                <a:gd name="connsiteY31" fmla="*/ 2704548 h 2770404"/>
                <a:gd name="connsiteX32" fmla="*/ 12036453 w 12166600"/>
                <a:gd name="connsiteY32" fmla="*/ 2711819 h 2770404"/>
                <a:gd name="connsiteX33" fmla="*/ 12043683 w 12166600"/>
                <a:gd name="connsiteY33" fmla="*/ 2711819 h 2770404"/>
                <a:gd name="connsiteX34" fmla="*/ 12058144 w 12166600"/>
                <a:gd name="connsiteY34" fmla="*/ 2711819 h 2770404"/>
                <a:gd name="connsiteX35" fmla="*/ 12065375 w 12166600"/>
                <a:gd name="connsiteY35" fmla="*/ 2711819 h 2770404"/>
                <a:gd name="connsiteX36" fmla="*/ 12043683 w 12166600"/>
                <a:gd name="connsiteY36" fmla="*/ 2697278 h 2770404"/>
                <a:gd name="connsiteX37" fmla="*/ 12036453 w 12166600"/>
                <a:gd name="connsiteY37" fmla="*/ 2690008 h 2770404"/>
                <a:gd name="connsiteX38" fmla="*/ 11927997 w 12166600"/>
                <a:gd name="connsiteY38" fmla="*/ 2690008 h 2770404"/>
                <a:gd name="connsiteX39" fmla="*/ 11927997 w 12166600"/>
                <a:gd name="connsiteY39" fmla="*/ 2704548 h 2770404"/>
                <a:gd name="connsiteX40" fmla="*/ 11920767 w 12166600"/>
                <a:gd name="connsiteY40" fmla="*/ 2704548 h 2770404"/>
                <a:gd name="connsiteX41" fmla="*/ 11920767 w 12166600"/>
                <a:gd name="connsiteY41" fmla="*/ 2711819 h 2770404"/>
                <a:gd name="connsiteX42" fmla="*/ 11927997 w 12166600"/>
                <a:gd name="connsiteY42" fmla="*/ 2711819 h 2770404"/>
                <a:gd name="connsiteX43" fmla="*/ 11935228 w 12166600"/>
                <a:gd name="connsiteY43" fmla="*/ 2711819 h 2770404"/>
                <a:gd name="connsiteX44" fmla="*/ 11949689 w 12166600"/>
                <a:gd name="connsiteY44" fmla="*/ 2711819 h 2770404"/>
                <a:gd name="connsiteX45" fmla="*/ 11956919 w 12166600"/>
                <a:gd name="connsiteY45" fmla="*/ 2711819 h 2770404"/>
                <a:gd name="connsiteX46" fmla="*/ 11935228 w 12166600"/>
                <a:gd name="connsiteY46" fmla="*/ 2697278 h 2770404"/>
                <a:gd name="connsiteX47" fmla="*/ 11927997 w 12166600"/>
                <a:gd name="connsiteY47" fmla="*/ 2690008 h 2770404"/>
                <a:gd name="connsiteX48" fmla="*/ 11870154 w 12166600"/>
                <a:gd name="connsiteY48" fmla="*/ 2690008 h 2770404"/>
                <a:gd name="connsiteX49" fmla="*/ 11862924 w 12166600"/>
                <a:gd name="connsiteY49" fmla="*/ 2697278 h 2770404"/>
                <a:gd name="connsiteX50" fmla="*/ 11862924 w 12166600"/>
                <a:gd name="connsiteY50" fmla="*/ 2704548 h 2770404"/>
                <a:gd name="connsiteX51" fmla="*/ 11862924 w 12166600"/>
                <a:gd name="connsiteY51" fmla="*/ 2711819 h 2770404"/>
                <a:gd name="connsiteX52" fmla="*/ 11870154 w 12166600"/>
                <a:gd name="connsiteY52" fmla="*/ 2711819 h 2770404"/>
                <a:gd name="connsiteX53" fmla="*/ 11884615 w 12166600"/>
                <a:gd name="connsiteY53" fmla="*/ 2711819 h 2770404"/>
                <a:gd name="connsiteX54" fmla="*/ 11899076 w 12166600"/>
                <a:gd name="connsiteY54" fmla="*/ 2711819 h 2770404"/>
                <a:gd name="connsiteX55" fmla="*/ 11870154 w 12166600"/>
                <a:gd name="connsiteY55" fmla="*/ 2690008 h 2770404"/>
                <a:gd name="connsiteX56" fmla="*/ 11812311 w 12166600"/>
                <a:gd name="connsiteY56" fmla="*/ 2690008 h 2770404"/>
                <a:gd name="connsiteX57" fmla="*/ 11805081 w 12166600"/>
                <a:gd name="connsiteY57" fmla="*/ 2697278 h 2770404"/>
                <a:gd name="connsiteX58" fmla="*/ 11805081 w 12166600"/>
                <a:gd name="connsiteY58" fmla="*/ 2704548 h 2770404"/>
                <a:gd name="connsiteX59" fmla="*/ 11797851 w 12166600"/>
                <a:gd name="connsiteY59" fmla="*/ 2711819 h 2770404"/>
                <a:gd name="connsiteX60" fmla="*/ 11797851 w 12166600"/>
                <a:gd name="connsiteY60" fmla="*/ 2719089 h 2770404"/>
                <a:gd name="connsiteX61" fmla="*/ 11812311 w 12166600"/>
                <a:gd name="connsiteY61" fmla="*/ 2719089 h 2770404"/>
                <a:gd name="connsiteX62" fmla="*/ 11819542 w 12166600"/>
                <a:gd name="connsiteY62" fmla="*/ 2719089 h 2770404"/>
                <a:gd name="connsiteX63" fmla="*/ 11826772 w 12166600"/>
                <a:gd name="connsiteY63" fmla="*/ 2711819 h 2770404"/>
                <a:gd name="connsiteX64" fmla="*/ 11834002 w 12166600"/>
                <a:gd name="connsiteY64" fmla="*/ 2711819 h 2770404"/>
                <a:gd name="connsiteX65" fmla="*/ 11812311 w 12166600"/>
                <a:gd name="connsiteY65" fmla="*/ 2690008 h 2770404"/>
                <a:gd name="connsiteX66" fmla="*/ 11747238 w 12166600"/>
                <a:gd name="connsiteY66" fmla="*/ 2690008 h 2770404"/>
                <a:gd name="connsiteX67" fmla="*/ 11747238 w 12166600"/>
                <a:gd name="connsiteY67" fmla="*/ 2697278 h 2770404"/>
                <a:gd name="connsiteX68" fmla="*/ 11740007 w 12166600"/>
                <a:gd name="connsiteY68" fmla="*/ 2704548 h 2770404"/>
                <a:gd name="connsiteX69" fmla="*/ 11740007 w 12166600"/>
                <a:gd name="connsiteY69" fmla="*/ 2711819 h 2770404"/>
                <a:gd name="connsiteX70" fmla="*/ 11732777 w 12166600"/>
                <a:gd name="connsiteY70" fmla="*/ 2719089 h 2770404"/>
                <a:gd name="connsiteX71" fmla="*/ 11740007 w 12166600"/>
                <a:gd name="connsiteY71" fmla="*/ 2719089 h 2770404"/>
                <a:gd name="connsiteX72" fmla="*/ 11754468 w 12166600"/>
                <a:gd name="connsiteY72" fmla="*/ 2719089 h 2770404"/>
                <a:gd name="connsiteX73" fmla="*/ 11761699 w 12166600"/>
                <a:gd name="connsiteY73" fmla="*/ 2719089 h 2770404"/>
                <a:gd name="connsiteX74" fmla="*/ 11768929 w 12166600"/>
                <a:gd name="connsiteY74" fmla="*/ 2719089 h 2770404"/>
                <a:gd name="connsiteX75" fmla="*/ 11747238 w 12166600"/>
                <a:gd name="connsiteY75" fmla="*/ 2690008 h 2770404"/>
                <a:gd name="connsiteX76" fmla="*/ 11689395 w 12166600"/>
                <a:gd name="connsiteY76" fmla="*/ 2690008 h 2770404"/>
                <a:gd name="connsiteX77" fmla="*/ 11689395 w 12166600"/>
                <a:gd name="connsiteY77" fmla="*/ 2697278 h 2770404"/>
                <a:gd name="connsiteX78" fmla="*/ 11682164 w 12166600"/>
                <a:gd name="connsiteY78" fmla="*/ 2704548 h 2770404"/>
                <a:gd name="connsiteX79" fmla="*/ 11674934 w 12166600"/>
                <a:gd name="connsiteY79" fmla="*/ 2719089 h 2770404"/>
                <a:gd name="connsiteX80" fmla="*/ 11689395 w 12166600"/>
                <a:gd name="connsiteY80" fmla="*/ 2719089 h 2770404"/>
                <a:gd name="connsiteX81" fmla="*/ 11696625 w 12166600"/>
                <a:gd name="connsiteY81" fmla="*/ 2719089 h 2770404"/>
                <a:gd name="connsiteX82" fmla="*/ 11703856 w 12166600"/>
                <a:gd name="connsiteY82" fmla="*/ 2719089 h 2770404"/>
                <a:gd name="connsiteX83" fmla="*/ 11711086 w 12166600"/>
                <a:gd name="connsiteY83" fmla="*/ 2719089 h 2770404"/>
                <a:gd name="connsiteX84" fmla="*/ 11703856 w 12166600"/>
                <a:gd name="connsiteY84" fmla="*/ 2711819 h 2770404"/>
                <a:gd name="connsiteX85" fmla="*/ 11689395 w 12166600"/>
                <a:gd name="connsiteY85" fmla="*/ 2690008 h 2770404"/>
                <a:gd name="connsiteX86" fmla="*/ 11653243 w 12166600"/>
                <a:gd name="connsiteY86" fmla="*/ 2675467 h 2770404"/>
                <a:gd name="connsiteX87" fmla="*/ 11638782 w 12166600"/>
                <a:gd name="connsiteY87" fmla="*/ 2682738 h 2770404"/>
                <a:gd name="connsiteX88" fmla="*/ 11653243 w 12166600"/>
                <a:gd name="connsiteY88" fmla="*/ 2704548 h 2770404"/>
                <a:gd name="connsiteX89" fmla="*/ 11653243 w 12166600"/>
                <a:gd name="connsiteY89" fmla="*/ 2675467 h 2770404"/>
                <a:gd name="connsiteX90" fmla="*/ 11429101 w 12166600"/>
                <a:gd name="connsiteY90" fmla="*/ 2675467 h 2770404"/>
                <a:gd name="connsiteX91" fmla="*/ 11414640 w 12166600"/>
                <a:gd name="connsiteY91" fmla="*/ 2690008 h 2770404"/>
                <a:gd name="connsiteX92" fmla="*/ 11407410 w 12166600"/>
                <a:gd name="connsiteY92" fmla="*/ 2690008 h 2770404"/>
                <a:gd name="connsiteX93" fmla="*/ 11414640 w 12166600"/>
                <a:gd name="connsiteY93" fmla="*/ 2704548 h 2770404"/>
                <a:gd name="connsiteX94" fmla="*/ 11414640 w 12166600"/>
                <a:gd name="connsiteY94" fmla="*/ 2697278 h 2770404"/>
                <a:gd name="connsiteX95" fmla="*/ 11421871 w 12166600"/>
                <a:gd name="connsiteY95" fmla="*/ 2690008 h 2770404"/>
                <a:gd name="connsiteX96" fmla="*/ 11335106 w 12166600"/>
                <a:gd name="connsiteY96" fmla="*/ 2675467 h 2770404"/>
                <a:gd name="connsiteX97" fmla="*/ 11327876 w 12166600"/>
                <a:gd name="connsiteY97" fmla="*/ 2690008 h 2770404"/>
                <a:gd name="connsiteX98" fmla="*/ 11320645 w 12166600"/>
                <a:gd name="connsiteY98" fmla="*/ 2704548 h 2770404"/>
                <a:gd name="connsiteX99" fmla="*/ 11335106 w 12166600"/>
                <a:gd name="connsiteY99" fmla="*/ 2690008 h 2770404"/>
                <a:gd name="connsiteX100" fmla="*/ 11342336 w 12166600"/>
                <a:gd name="connsiteY100" fmla="*/ 2690008 h 2770404"/>
                <a:gd name="connsiteX101" fmla="*/ 11335106 w 12166600"/>
                <a:gd name="connsiteY101" fmla="*/ 2682738 h 2770404"/>
                <a:gd name="connsiteX102" fmla="*/ 11335106 w 12166600"/>
                <a:gd name="connsiteY102" fmla="*/ 2675467 h 2770404"/>
                <a:gd name="connsiteX103" fmla="*/ 12007532 w 12166600"/>
                <a:gd name="connsiteY103" fmla="*/ 2668197 h 2770404"/>
                <a:gd name="connsiteX104" fmla="*/ 12021992 w 12166600"/>
                <a:gd name="connsiteY104" fmla="*/ 2690008 h 2770404"/>
                <a:gd name="connsiteX105" fmla="*/ 12021992 w 12166600"/>
                <a:gd name="connsiteY105" fmla="*/ 2697278 h 2770404"/>
                <a:gd name="connsiteX106" fmla="*/ 12029223 w 12166600"/>
                <a:gd name="connsiteY106" fmla="*/ 2682738 h 2770404"/>
                <a:gd name="connsiteX107" fmla="*/ 12007532 w 12166600"/>
                <a:gd name="connsiteY107" fmla="*/ 2668197 h 2770404"/>
                <a:gd name="connsiteX108" fmla="*/ 11935228 w 12166600"/>
                <a:gd name="connsiteY108" fmla="*/ 2668197 h 2770404"/>
                <a:gd name="connsiteX109" fmla="*/ 11927997 w 12166600"/>
                <a:gd name="connsiteY109" fmla="*/ 2675467 h 2770404"/>
                <a:gd name="connsiteX110" fmla="*/ 11949689 w 12166600"/>
                <a:gd name="connsiteY110" fmla="*/ 2697278 h 2770404"/>
                <a:gd name="connsiteX111" fmla="*/ 11942458 w 12166600"/>
                <a:gd name="connsiteY111" fmla="*/ 2682738 h 2770404"/>
                <a:gd name="connsiteX112" fmla="*/ 11899076 w 12166600"/>
                <a:gd name="connsiteY112" fmla="*/ 2668197 h 2770404"/>
                <a:gd name="connsiteX113" fmla="*/ 11906306 w 12166600"/>
                <a:gd name="connsiteY113" fmla="*/ 2682738 h 2770404"/>
                <a:gd name="connsiteX114" fmla="*/ 11906306 w 12166600"/>
                <a:gd name="connsiteY114" fmla="*/ 2690008 h 2770404"/>
                <a:gd name="connsiteX115" fmla="*/ 11913537 w 12166600"/>
                <a:gd name="connsiteY115" fmla="*/ 2697278 h 2770404"/>
                <a:gd name="connsiteX116" fmla="*/ 11913537 w 12166600"/>
                <a:gd name="connsiteY116" fmla="*/ 2690008 h 2770404"/>
                <a:gd name="connsiteX117" fmla="*/ 11913537 w 12166600"/>
                <a:gd name="connsiteY117" fmla="*/ 2682738 h 2770404"/>
                <a:gd name="connsiteX118" fmla="*/ 11899076 w 12166600"/>
                <a:gd name="connsiteY118" fmla="*/ 2668197 h 2770404"/>
                <a:gd name="connsiteX119" fmla="*/ 11841233 w 12166600"/>
                <a:gd name="connsiteY119" fmla="*/ 2668197 h 2770404"/>
                <a:gd name="connsiteX120" fmla="*/ 11841233 w 12166600"/>
                <a:gd name="connsiteY120" fmla="*/ 2675467 h 2770404"/>
                <a:gd name="connsiteX121" fmla="*/ 11848463 w 12166600"/>
                <a:gd name="connsiteY121" fmla="*/ 2690008 h 2770404"/>
                <a:gd name="connsiteX122" fmla="*/ 11848463 w 12166600"/>
                <a:gd name="connsiteY122" fmla="*/ 2704548 h 2770404"/>
                <a:gd name="connsiteX123" fmla="*/ 11855694 w 12166600"/>
                <a:gd name="connsiteY123" fmla="*/ 2697278 h 2770404"/>
                <a:gd name="connsiteX124" fmla="*/ 11855694 w 12166600"/>
                <a:gd name="connsiteY124" fmla="*/ 2690008 h 2770404"/>
                <a:gd name="connsiteX125" fmla="*/ 11855694 w 12166600"/>
                <a:gd name="connsiteY125" fmla="*/ 2682738 h 2770404"/>
                <a:gd name="connsiteX126" fmla="*/ 11841233 w 12166600"/>
                <a:gd name="connsiteY126" fmla="*/ 2668197 h 2770404"/>
                <a:gd name="connsiteX127" fmla="*/ 11783390 w 12166600"/>
                <a:gd name="connsiteY127" fmla="*/ 2668197 h 2770404"/>
                <a:gd name="connsiteX128" fmla="*/ 11783390 w 12166600"/>
                <a:gd name="connsiteY128" fmla="*/ 2675467 h 2770404"/>
                <a:gd name="connsiteX129" fmla="*/ 11783390 w 12166600"/>
                <a:gd name="connsiteY129" fmla="*/ 2682738 h 2770404"/>
                <a:gd name="connsiteX130" fmla="*/ 11790620 w 12166600"/>
                <a:gd name="connsiteY130" fmla="*/ 2690008 h 2770404"/>
                <a:gd name="connsiteX131" fmla="*/ 11797851 w 12166600"/>
                <a:gd name="connsiteY131" fmla="*/ 2682738 h 2770404"/>
                <a:gd name="connsiteX132" fmla="*/ 11783390 w 12166600"/>
                <a:gd name="connsiteY132" fmla="*/ 2668197 h 2770404"/>
                <a:gd name="connsiteX133" fmla="*/ 11761699 w 12166600"/>
                <a:gd name="connsiteY133" fmla="*/ 2668197 h 2770404"/>
                <a:gd name="connsiteX134" fmla="*/ 11761699 w 12166600"/>
                <a:gd name="connsiteY134" fmla="*/ 2675467 h 2770404"/>
                <a:gd name="connsiteX135" fmla="*/ 11754468 w 12166600"/>
                <a:gd name="connsiteY135" fmla="*/ 2682738 h 2770404"/>
                <a:gd name="connsiteX136" fmla="*/ 11776159 w 12166600"/>
                <a:gd name="connsiteY136" fmla="*/ 2697278 h 2770404"/>
                <a:gd name="connsiteX137" fmla="*/ 11776159 w 12166600"/>
                <a:gd name="connsiteY137" fmla="*/ 2690008 h 2770404"/>
                <a:gd name="connsiteX138" fmla="*/ 11768929 w 12166600"/>
                <a:gd name="connsiteY138" fmla="*/ 2675467 h 2770404"/>
                <a:gd name="connsiteX139" fmla="*/ 11768929 w 12166600"/>
                <a:gd name="connsiteY139" fmla="*/ 2668197 h 2770404"/>
                <a:gd name="connsiteX140" fmla="*/ 11761699 w 12166600"/>
                <a:gd name="connsiteY140" fmla="*/ 2668197 h 2770404"/>
                <a:gd name="connsiteX141" fmla="*/ 11703856 w 12166600"/>
                <a:gd name="connsiteY141" fmla="*/ 2668197 h 2770404"/>
                <a:gd name="connsiteX142" fmla="*/ 11703856 w 12166600"/>
                <a:gd name="connsiteY142" fmla="*/ 2682738 h 2770404"/>
                <a:gd name="connsiteX143" fmla="*/ 11696625 w 12166600"/>
                <a:gd name="connsiteY143" fmla="*/ 2682738 h 2770404"/>
                <a:gd name="connsiteX144" fmla="*/ 11711086 w 12166600"/>
                <a:gd name="connsiteY144" fmla="*/ 2704548 h 2770404"/>
                <a:gd name="connsiteX145" fmla="*/ 11711086 w 12166600"/>
                <a:gd name="connsiteY145" fmla="*/ 2690008 h 2770404"/>
                <a:gd name="connsiteX146" fmla="*/ 11711086 w 12166600"/>
                <a:gd name="connsiteY146" fmla="*/ 2675467 h 2770404"/>
                <a:gd name="connsiteX147" fmla="*/ 11711086 w 12166600"/>
                <a:gd name="connsiteY147" fmla="*/ 2668197 h 2770404"/>
                <a:gd name="connsiteX148" fmla="*/ 11703856 w 12166600"/>
                <a:gd name="connsiteY148" fmla="*/ 2668197 h 2770404"/>
                <a:gd name="connsiteX149" fmla="*/ 11667704 w 12166600"/>
                <a:gd name="connsiteY149" fmla="*/ 2668197 h 2770404"/>
                <a:gd name="connsiteX150" fmla="*/ 11667704 w 12166600"/>
                <a:gd name="connsiteY150" fmla="*/ 2675467 h 2770404"/>
                <a:gd name="connsiteX151" fmla="*/ 11667704 w 12166600"/>
                <a:gd name="connsiteY151" fmla="*/ 2682738 h 2770404"/>
                <a:gd name="connsiteX152" fmla="*/ 11667704 w 12166600"/>
                <a:gd name="connsiteY152" fmla="*/ 2690008 h 2770404"/>
                <a:gd name="connsiteX153" fmla="*/ 11667704 w 12166600"/>
                <a:gd name="connsiteY153" fmla="*/ 2704548 h 2770404"/>
                <a:gd name="connsiteX154" fmla="*/ 11674934 w 12166600"/>
                <a:gd name="connsiteY154" fmla="*/ 2697278 h 2770404"/>
                <a:gd name="connsiteX155" fmla="*/ 11674934 w 12166600"/>
                <a:gd name="connsiteY155" fmla="*/ 2690008 h 2770404"/>
                <a:gd name="connsiteX156" fmla="*/ 11682164 w 12166600"/>
                <a:gd name="connsiteY156" fmla="*/ 2682738 h 2770404"/>
                <a:gd name="connsiteX157" fmla="*/ 11682164 w 12166600"/>
                <a:gd name="connsiteY157" fmla="*/ 2675467 h 2770404"/>
                <a:gd name="connsiteX158" fmla="*/ 11667704 w 12166600"/>
                <a:gd name="connsiteY158" fmla="*/ 2668197 h 2770404"/>
                <a:gd name="connsiteX159" fmla="*/ 11559248 w 12166600"/>
                <a:gd name="connsiteY159" fmla="*/ 2668197 h 2770404"/>
                <a:gd name="connsiteX160" fmla="*/ 11552018 w 12166600"/>
                <a:gd name="connsiteY160" fmla="*/ 2675467 h 2770404"/>
                <a:gd name="connsiteX161" fmla="*/ 11552018 w 12166600"/>
                <a:gd name="connsiteY161" fmla="*/ 2682738 h 2770404"/>
                <a:gd name="connsiteX162" fmla="*/ 11552018 w 12166600"/>
                <a:gd name="connsiteY162" fmla="*/ 2690008 h 2770404"/>
                <a:gd name="connsiteX163" fmla="*/ 11552018 w 12166600"/>
                <a:gd name="connsiteY163" fmla="*/ 2697278 h 2770404"/>
                <a:gd name="connsiteX164" fmla="*/ 11544787 w 12166600"/>
                <a:gd name="connsiteY164" fmla="*/ 2704548 h 2770404"/>
                <a:gd name="connsiteX165" fmla="*/ 11552018 w 12166600"/>
                <a:gd name="connsiteY165" fmla="*/ 2697278 h 2770404"/>
                <a:gd name="connsiteX166" fmla="*/ 11559248 w 12166600"/>
                <a:gd name="connsiteY166" fmla="*/ 2690008 h 2770404"/>
                <a:gd name="connsiteX167" fmla="*/ 11566478 w 12166600"/>
                <a:gd name="connsiteY167" fmla="*/ 2682738 h 2770404"/>
                <a:gd name="connsiteX168" fmla="*/ 11559248 w 12166600"/>
                <a:gd name="connsiteY168" fmla="*/ 2668197 h 2770404"/>
                <a:gd name="connsiteX169" fmla="*/ 11392949 w 12166600"/>
                <a:gd name="connsiteY169" fmla="*/ 2668197 h 2770404"/>
                <a:gd name="connsiteX170" fmla="*/ 11385719 w 12166600"/>
                <a:gd name="connsiteY170" fmla="*/ 2675467 h 2770404"/>
                <a:gd name="connsiteX171" fmla="*/ 11378488 w 12166600"/>
                <a:gd name="connsiteY171" fmla="*/ 2690008 h 2770404"/>
                <a:gd name="connsiteX172" fmla="*/ 11378488 w 12166600"/>
                <a:gd name="connsiteY172" fmla="*/ 2697278 h 2770404"/>
                <a:gd name="connsiteX173" fmla="*/ 11371258 w 12166600"/>
                <a:gd name="connsiteY173" fmla="*/ 2704548 h 2770404"/>
                <a:gd name="connsiteX174" fmla="*/ 11378488 w 12166600"/>
                <a:gd name="connsiteY174" fmla="*/ 2697278 h 2770404"/>
                <a:gd name="connsiteX175" fmla="*/ 11385719 w 12166600"/>
                <a:gd name="connsiteY175" fmla="*/ 2690008 h 2770404"/>
                <a:gd name="connsiteX176" fmla="*/ 11392949 w 12166600"/>
                <a:gd name="connsiteY176" fmla="*/ 2690008 h 2770404"/>
                <a:gd name="connsiteX177" fmla="*/ 11392949 w 12166600"/>
                <a:gd name="connsiteY177" fmla="*/ 2675467 h 2770404"/>
                <a:gd name="connsiteX178" fmla="*/ 11392949 w 12166600"/>
                <a:gd name="connsiteY178" fmla="*/ 2668197 h 2770404"/>
                <a:gd name="connsiteX179" fmla="*/ 11993071 w 12166600"/>
                <a:gd name="connsiteY179" fmla="*/ 2660926 h 2770404"/>
                <a:gd name="connsiteX180" fmla="*/ 11985840 w 12166600"/>
                <a:gd name="connsiteY180" fmla="*/ 2668197 h 2770404"/>
                <a:gd name="connsiteX181" fmla="*/ 11985840 w 12166600"/>
                <a:gd name="connsiteY181" fmla="*/ 2675467 h 2770404"/>
                <a:gd name="connsiteX182" fmla="*/ 12007532 w 12166600"/>
                <a:gd name="connsiteY182" fmla="*/ 2697278 h 2770404"/>
                <a:gd name="connsiteX183" fmla="*/ 12000301 w 12166600"/>
                <a:gd name="connsiteY183" fmla="*/ 2682738 h 2770404"/>
                <a:gd name="connsiteX184" fmla="*/ 11993071 w 12166600"/>
                <a:gd name="connsiteY184" fmla="*/ 2668197 h 2770404"/>
                <a:gd name="connsiteX185" fmla="*/ 11993071 w 12166600"/>
                <a:gd name="connsiteY185" fmla="*/ 2660926 h 2770404"/>
                <a:gd name="connsiteX186" fmla="*/ 11877385 w 12166600"/>
                <a:gd name="connsiteY186" fmla="*/ 2660926 h 2770404"/>
                <a:gd name="connsiteX187" fmla="*/ 11877385 w 12166600"/>
                <a:gd name="connsiteY187" fmla="*/ 2668197 h 2770404"/>
                <a:gd name="connsiteX188" fmla="*/ 11870154 w 12166600"/>
                <a:gd name="connsiteY188" fmla="*/ 2675467 h 2770404"/>
                <a:gd name="connsiteX189" fmla="*/ 11891845 w 12166600"/>
                <a:gd name="connsiteY189" fmla="*/ 2697278 h 2770404"/>
                <a:gd name="connsiteX190" fmla="*/ 11884615 w 12166600"/>
                <a:gd name="connsiteY190" fmla="*/ 2682738 h 2770404"/>
                <a:gd name="connsiteX191" fmla="*/ 11884615 w 12166600"/>
                <a:gd name="connsiteY191" fmla="*/ 2668197 h 2770404"/>
                <a:gd name="connsiteX192" fmla="*/ 11877385 w 12166600"/>
                <a:gd name="connsiteY192" fmla="*/ 2660926 h 2770404"/>
                <a:gd name="connsiteX193" fmla="*/ 11826772 w 12166600"/>
                <a:gd name="connsiteY193" fmla="*/ 2660926 h 2770404"/>
                <a:gd name="connsiteX194" fmla="*/ 11819542 w 12166600"/>
                <a:gd name="connsiteY194" fmla="*/ 2668197 h 2770404"/>
                <a:gd name="connsiteX195" fmla="*/ 11812311 w 12166600"/>
                <a:gd name="connsiteY195" fmla="*/ 2675467 h 2770404"/>
                <a:gd name="connsiteX196" fmla="*/ 11834002 w 12166600"/>
                <a:gd name="connsiteY196" fmla="*/ 2697278 h 2770404"/>
                <a:gd name="connsiteX197" fmla="*/ 11826772 w 12166600"/>
                <a:gd name="connsiteY197" fmla="*/ 2682738 h 2770404"/>
                <a:gd name="connsiteX198" fmla="*/ 11826772 w 12166600"/>
                <a:gd name="connsiteY198" fmla="*/ 2668197 h 2770404"/>
                <a:gd name="connsiteX199" fmla="*/ 11826772 w 12166600"/>
                <a:gd name="connsiteY199" fmla="*/ 2660926 h 2770404"/>
                <a:gd name="connsiteX200" fmla="*/ 11291724 w 12166600"/>
                <a:gd name="connsiteY200" fmla="*/ 2660926 h 2770404"/>
                <a:gd name="connsiteX201" fmla="*/ 11298954 w 12166600"/>
                <a:gd name="connsiteY201" fmla="*/ 2675467 h 2770404"/>
                <a:gd name="connsiteX202" fmla="*/ 11306185 w 12166600"/>
                <a:gd name="connsiteY202" fmla="*/ 2668197 h 2770404"/>
                <a:gd name="connsiteX203" fmla="*/ 11320645 w 12166600"/>
                <a:gd name="connsiteY203" fmla="*/ 2660926 h 2770404"/>
                <a:gd name="connsiteX204" fmla="*/ 11313415 w 12166600"/>
                <a:gd name="connsiteY204" fmla="*/ 2660926 h 2770404"/>
                <a:gd name="connsiteX205" fmla="*/ 11298954 w 12166600"/>
                <a:gd name="connsiteY205" fmla="*/ 2660926 h 2770404"/>
                <a:gd name="connsiteX206" fmla="*/ 11291724 w 12166600"/>
                <a:gd name="connsiteY206" fmla="*/ 2660926 h 2770404"/>
                <a:gd name="connsiteX207" fmla="*/ 11790620 w 12166600"/>
                <a:gd name="connsiteY207" fmla="*/ 2653656 h 2770404"/>
                <a:gd name="connsiteX208" fmla="*/ 11805081 w 12166600"/>
                <a:gd name="connsiteY208" fmla="*/ 2668197 h 2770404"/>
                <a:gd name="connsiteX209" fmla="*/ 11805081 w 12166600"/>
                <a:gd name="connsiteY209" fmla="*/ 2660926 h 2770404"/>
                <a:gd name="connsiteX210" fmla="*/ 11812311 w 12166600"/>
                <a:gd name="connsiteY210" fmla="*/ 2653656 h 2770404"/>
                <a:gd name="connsiteX211" fmla="*/ 11805081 w 12166600"/>
                <a:gd name="connsiteY211" fmla="*/ 2653656 h 2770404"/>
                <a:gd name="connsiteX212" fmla="*/ 11797851 w 12166600"/>
                <a:gd name="connsiteY212" fmla="*/ 2653656 h 2770404"/>
                <a:gd name="connsiteX213" fmla="*/ 11674934 w 12166600"/>
                <a:gd name="connsiteY213" fmla="*/ 2653656 h 2770404"/>
                <a:gd name="connsiteX214" fmla="*/ 11689395 w 12166600"/>
                <a:gd name="connsiteY214" fmla="*/ 2668197 h 2770404"/>
                <a:gd name="connsiteX215" fmla="*/ 11696625 w 12166600"/>
                <a:gd name="connsiteY215" fmla="*/ 2660926 h 2770404"/>
                <a:gd name="connsiteX216" fmla="*/ 11703856 w 12166600"/>
                <a:gd name="connsiteY216" fmla="*/ 2653656 h 2770404"/>
                <a:gd name="connsiteX217" fmla="*/ 11696625 w 12166600"/>
                <a:gd name="connsiteY217" fmla="*/ 2653656 h 2770404"/>
                <a:gd name="connsiteX218" fmla="*/ 11689395 w 12166600"/>
                <a:gd name="connsiteY218" fmla="*/ 2653656 h 2770404"/>
                <a:gd name="connsiteX219" fmla="*/ 11624321 w 12166600"/>
                <a:gd name="connsiteY219" fmla="*/ 2653656 h 2770404"/>
                <a:gd name="connsiteX220" fmla="*/ 11631552 w 12166600"/>
                <a:gd name="connsiteY220" fmla="*/ 2668197 h 2770404"/>
                <a:gd name="connsiteX221" fmla="*/ 11638782 w 12166600"/>
                <a:gd name="connsiteY221" fmla="*/ 2660926 h 2770404"/>
                <a:gd name="connsiteX222" fmla="*/ 11646013 w 12166600"/>
                <a:gd name="connsiteY222" fmla="*/ 2660926 h 2770404"/>
                <a:gd name="connsiteX223" fmla="*/ 11646013 w 12166600"/>
                <a:gd name="connsiteY223" fmla="*/ 2653656 h 2770404"/>
                <a:gd name="connsiteX224" fmla="*/ 11638782 w 12166600"/>
                <a:gd name="connsiteY224" fmla="*/ 2653656 h 2770404"/>
                <a:gd name="connsiteX225" fmla="*/ 11631552 w 12166600"/>
                <a:gd name="connsiteY225" fmla="*/ 2653656 h 2770404"/>
                <a:gd name="connsiteX226" fmla="*/ 11624321 w 12166600"/>
                <a:gd name="connsiteY226" fmla="*/ 2653656 h 2770404"/>
                <a:gd name="connsiteX227" fmla="*/ 11566478 w 12166600"/>
                <a:gd name="connsiteY227" fmla="*/ 2653656 h 2770404"/>
                <a:gd name="connsiteX228" fmla="*/ 11573709 w 12166600"/>
                <a:gd name="connsiteY228" fmla="*/ 2660926 h 2770404"/>
                <a:gd name="connsiteX229" fmla="*/ 11573709 w 12166600"/>
                <a:gd name="connsiteY229" fmla="*/ 2675467 h 2770404"/>
                <a:gd name="connsiteX230" fmla="*/ 11580939 w 12166600"/>
                <a:gd name="connsiteY230" fmla="*/ 2668197 h 2770404"/>
                <a:gd name="connsiteX231" fmla="*/ 11580939 w 12166600"/>
                <a:gd name="connsiteY231" fmla="*/ 2660926 h 2770404"/>
                <a:gd name="connsiteX232" fmla="*/ 11588169 w 12166600"/>
                <a:gd name="connsiteY232" fmla="*/ 2653656 h 2770404"/>
                <a:gd name="connsiteX233" fmla="*/ 11573709 w 12166600"/>
                <a:gd name="connsiteY233" fmla="*/ 2653656 h 2770404"/>
                <a:gd name="connsiteX234" fmla="*/ 11566478 w 12166600"/>
                <a:gd name="connsiteY234" fmla="*/ 2653656 h 2770404"/>
                <a:gd name="connsiteX235" fmla="*/ 11421871 w 12166600"/>
                <a:gd name="connsiteY235" fmla="*/ 2653656 h 2770404"/>
                <a:gd name="connsiteX236" fmla="*/ 11400180 w 12166600"/>
                <a:gd name="connsiteY236" fmla="*/ 2660926 h 2770404"/>
                <a:gd name="connsiteX237" fmla="*/ 11407410 w 12166600"/>
                <a:gd name="connsiteY237" fmla="*/ 2675467 h 2770404"/>
                <a:gd name="connsiteX238" fmla="*/ 11421871 w 12166600"/>
                <a:gd name="connsiteY238" fmla="*/ 2660926 h 2770404"/>
                <a:gd name="connsiteX239" fmla="*/ 11429101 w 12166600"/>
                <a:gd name="connsiteY239" fmla="*/ 2653656 h 2770404"/>
                <a:gd name="connsiteX240" fmla="*/ 11421871 w 12166600"/>
                <a:gd name="connsiteY240" fmla="*/ 2653656 h 2770404"/>
                <a:gd name="connsiteX241" fmla="*/ 11580939 w 12166600"/>
                <a:gd name="connsiteY241" fmla="*/ 2624575 h 2770404"/>
                <a:gd name="connsiteX242" fmla="*/ 11573709 w 12166600"/>
                <a:gd name="connsiteY242" fmla="*/ 2631845 h 2770404"/>
                <a:gd name="connsiteX243" fmla="*/ 11573709 w 12166600"/>
                <a:gd name="connsiteY243" fmla="*/ 2639116 h 2770404"/>
                <a:gd name="connsiteX244" fmla="*/ 11580939 w 12166600"/>
                <a:gd name="connsiteY244" fmla="*/ 2639116 h 2770404"/>
                <a:gd name="connsiteX245" fmla="*/ 11588169 w 12166600"/>
                <a:gd name="connsiteY245" fmla="*/ 2639116 h 2770404"/>
                <a:gd name="connsiteX246" fmla="*/ 11595400 w 12166600"/>
                <a:gd name="connsiteY246" fmla="*/ 2639116 h 2770404"/>
                <a:gd name="connsiteX247" fmla="*/ 11580939 w 12166600"/>
                <a:gd name="connsiteY247" fmla="*/ 2624575 h 2770404"/>
                <a:gd name="connsiteX248" fmla="*/ 11472483 w 12166600"/>
                <a:gd name="connsiteY248" fmla="*/ 2624575 h 2770404"/>
                <a:gd name="connsiteX249" fmla="*/ 11465253 w 12166600"/>
                <a:gd name="connsiteY249" fmla="*/ 2631845 h 2770404"/>
                <a:gd name="connsiteX250" fmla="*/ 11465253 w 12166600"/>
                <a:gd name="connsiteY250" fmla="*/ 2639116 h 2770404"/>
                <a:gd name="connsiteX251" fmla="*/ 11458023 w 12166600"/>
                <a:gd name="connsiteY251" fmla="*/ 2639116 h 2770404"/>
                <a:gd name="connsiteX252" fmla="*/ 11458023 w 12166600"/>
                <a:gd name="connsiteY252" fmla="*/ 2646386 h 2770404"/>
                <a:gd name="connsiteX253" fmla="*/ 11465253 w 12166600"/>
                <a:gd name="connsiteY253" fmla="*/ 2646386 h 2770404"/>
                <a:gd name="connsiteX254" fmla="*/ 11479714 w 12166600"/>
                <a:gd name="connsiteY254" fmla="*/ 2639116 h 2770404"/>
                <a:gd name="connsiteX255" fmla="*/ 11486944 w 12166600"/>
                <a:gd name="connsiteY255" fmla="*/ 2639116 h 2770404"/>
                <a:gd name="connsiteX256" fmla="*/ 11479714 w 12166600"/>
                <a:gd name="connsiteY256" fmla="*/ 2624575 h 2770404"/>
                <a:gd name="connsiteX257" fmla="*/ 11472483 w 12166600"/>
                <a:gd name="connsiteY257" fmla="*/ 2624575 h 2770404"/>
                <a:gd name="connsiteX258" fmla="*/ 11364028 w 12166600"/>
                <a:gd name="connsiteY258" fmla="*/ 2624575 h 2770404"/>
                <a:gd name="connsiteX259" fmla="*/ 11356797 w 12166600"/>
                <a:gd name="connsiteY259" fmla="*/ 2631845 h 2770404"/>
                <a:gd name="connsiteX260" fmla="*/ 11356797 w 12166600"/>
                <a:gd name="connsiteY260" fmla="*/ 2639116 h 2770404"/>
                <a:gd name="connsiteX261" fmla="*/ 11349567 w 12166600"/>
                <a:gd name="connsiteY261" fmla="*/ 2646386 h 2770404"/>
                <a:gd name="connsiteX262" fmla="*/ 11356797 w 12166600"/>
                <a:gd name="connsiteY262" fmla="*/ 2646386 h 2770404"/>
                <a:gd name="connsiteX263" fmla="*/ 11371258 w 12166600"/>
                <a:gd name="connsiteY263" fmla="*/ 2646386 h 2770404"/>
                <a:gd name="connsiteX264" fmla="*/ 11378488 w 12166600"/>
                <a:gd name="connsiteY264" fmla="*/ 2646386 h 2770404"/>
                <a:gd name="connsiteX265" fmla="*/ 11364028 w 12166600"/>
                <a:gd name="connsiteY265" fmla="*/ 2624575 h 2770404"/>
                <a:gd name="connsiteX266" fmla="*/ 11313415 w 12166600"/>
                <a:gd name="connsiteY266" fmla="*/ 2624575 h 2770404"/>
                <a:gd name="connsiteX267" fmla="*/ 11306185 w 12166600"/>
                <a:gd name="connsiteY267" fmla="*/ 2631845 h 2770404"/>
                <a:gd name="connsiteX268" fmla="*/ 11298954 w 12166600"/>
                <a:gd name="connsiteY268" fmla="*/ 2646386 h 2770404"/>
                <a:gd name="connsiteX269" fmla="*/ 11320645 w 12166600"/>
                <a:gd name="connsiteY269" fmla="*/ 2646386 h 2770404"/>
                <a:gd name="connsiteX270" fmla="*/ 11327876 w 12166600"/>
                <a:gd name="connsiteY270" fmla="*/ 2646386 h 2770404"/>
                <a:gd name="connsiteX271" fmla="*/ 11313415 w 12166600"/>
                <a:gd name="connsiteY271" fmla="*/ 2624575 h 2770404"/>
                <a:gd name="connsiteX272" fmla="*/ 12014762 w 12166600"/>
                <a:gd name="connsiteY272" fmla="*/ 2617305 h 2770404"/>
                <a:gd name="connsiteX273" fmla="*/ 12007532 w 12166600"/>
                <a:gd name="connsiteY273" fmla="*/ 2624575 h 2770404"/>
                <a:gd name="connsiteX274" fmla="*/ 12000301 w 12166600"/>
                <a:gd name="connsiteY274" fmla="*/ 2631845 h 2770404"/>
                <a:gd name="connsiteX275" fmla="*/ 12007532 w 12166600"/>
                <a:gd name="connsiteY275" fmla="*/ 2631845 h 2770404"/>
                <a:gd name="connsiteX276" fmla="*/ 12014762 w 12166600"/>
                <a:gd name="connsiteY276" fmla="*/ 2631845 h 2770404"/>
                <a:gd name="connsiteX277" fmla="*/ 12029223 w 12166600"/>
                <a:gd name="connsiteY277" fmla="*/ 2631845 h 2770404"/>
                <a:gd name="connsiteX278" fmla="*/ 12014762 w 12166600"/>
                <a:gd name="connsiteY278" fmla="*/ 2617305 h 2770404"/>
                <a:gd name="connsiteX279" fmla="*/ 11848463 w 12166600"/>
                <a:gd name="connsiteY279" fmla="*/ 2617305 h 2770404"/>
                <a:gd name="connsiteX280" fmla="*/ 11841233 w 12166600"/>
                <a:gd name="connsiteY280" fmla="*/ 2624575 h 2770404"/>
                <a:gd name="connsiteX281" fmla="*/ 11841233 w 12166600"/>
                <a:gd name="connsiteY281" fmla="*/ 2631845 h 2770404"/>
                <a:gd name="connsiteX282" fmla="*/ 11841233 w 12166600"/>
                <a:gd name="connsiteY282" fmla="*/ 2639116 h 2770404"/>
                <a:gd name="connsiteX283" fmla="*/ 11848463 w 12166600"/>
                <a:gd name="connsiteY283" fmla="*/ 2639116 h 2770404"/>
                <a:gd name="connsiteX284" fmla="*/ 11855694 w 12166600"/>
                <a:gd name="connsiteY284" fmla="*/ 2639116 h 2770404"/>
                <a:gd name="connsiteX285" fmla="*/ 11862924 w 12166600"/>
                <a:gd name="connsiteY285" fmla="*/ 2639116 h 2770404"/>
                <a:gd name="connsiteX286" fmla="*/ 11855694 w 12166600"/>
                <a:gd name="connsiteY286" fmla="*/ 2624575 h 2770404"/>
                <a:gd name="connsiteX287" fmla="*/ 11848463 w 12166600"/>
                <a:gd name="connsiteY287" fmla="*/ 2617305 h 2770404"/>
                <a:gd name="connsiteX288" fmla="*/ 11638782 w 12166600"/>
                <a:gd name="connsiteY288" fmla="*/ 2617305 h 2770404"/>
                <a:gd name="connsiteX289" fmla="*/ 11631552 w 12166600"/>
                <a:gd name="connsiteY289" fmla="*/ 2624575 h 2770404"/>
                <a:gd name="connsiteX290" fmla="*/ 11631552 w 12166600"/>
                <a:gd name="connsiteY290" fmla="*/ 2631845 h 2770404"/>
                <a:gd name="connsiteX291" fmla="*/ 11624321 w 12166600"/>
                <a:gd name="connsiteY291" fmla="*/ 2639116 h 2770404"/>
                <a:gd name="connsiteX292" fmla="*/ 11638782 w 12166600"/>
                <a:gd name="connsiteY292" fmla="*/ 2639116 h 2770404"/>
                <a:gd name="connsiteX293" fmla="*/ 11653243 w 12166600"/>
                <a:gd name="connsiteY293" fmla="*/ 2639116 h 2770404"/>
                <a:gd name="connsiteX294" fmla="*/ 11537557 w 12166600"/>
                <a:gd name="connsiteY294" fmla="*/ 2602764 h 2770404"/>
                <a:gd name="connsiteX295" fmla="*/ 11537557 w 12166600"/>
                <a:gd name="connsiteY295" fmla="*/ 2610034 h 2770404"/>
                <a:gd name="connsiteX296" fmla="*/ 11544787 w 12166600"/>
                <a:gd name="connsiteY296" fmla="*/ 2624575 h 2770404"/>
                <a:gd name="connsiteX297" fmla="*/ 11544787 w 12166600"/>
                <a:gd name="connsiteY297" fmla="*/ 2617305 h 2770404"/>
                <a:gd name="connsiteX298" fmla="*/ 11544787 w 12166600"/>
                <a:gd name="connsiteY298" fmla="*/ 2610034 h 2770404"/>
                <a:gd name="connsiteX299" fmla="*/ 11544787 w 12166600"/>
                <a:gd name="connsiteY299" fmla="*/ 2602764 h 2770404"/>
                <a:gd name="connsiteX300" fmla="*/ 11537557 w 12166600"/>
                <a:gd name="connsiteY300" fmla="*/ 2602764 h 2770404"/>
                <a:gd name="connsiteX301" fmla="*/ 11559248 w 12166600"/>
                <a:gd name="connsiteY301" fmla="*/ 2595494 h 2770404"/>
                <a:gd name="connsiteX302" fmla="*/ 11559248 w 12166600"/>
                <a:gd name="connsiteY302" fmla="*/ 2617305 h 2770404"/>
                <a:gd name="connsiteX303" fmla="*/ 11559248 w 12166600"/>
                <a:gd name="connsiteY303" fmla="*/ 2624575 h 2770404"/>
                <a:gd name="connsiteX304" fmla="*/ 11566478 w 12166600"/>
                <a:gd name="connsiteY304" fmla="*/ 2624575 h 2770404"/>
                <a:gd name="connsiteX305" fmla="*/ 11573709 w 12166600"/>
                <a:gd name="connsiteY305" fmla="*/ 2610034 h 2770404"/>
                <a:gd name="connsiteX306" fmla="*/ 11559248 w 12166600"/>
                <a:gd name="connsiteY306" fmla="*/ 2595494 h 2770404"/>
                <a:gd name="connsiteX307" fmla="*/ 11508635 w 12166600"/>
                <a:gd name="connsiteY307" fmla="*/ 2595494 h 2770404"/>
                <a:gd name="connsiteX308" fmla="*/ 11508635 w 12166600"/>
                <a:gd name="connsiteY308" fmla="*/ 2602764 h 2770404"/>
                <a:gd name="connsiteX309" fmla="*/ 11508635 w 12166600"/>
                <a:gd name="connsiteY309" fmla="*/ 2610034 h 2770404"/>
                <a:gd name="connsiteX310" fmla="*/ 11508635 w 12166600"/>
                <a:gd name="connsiteY310" fmla="*/ 2617305 h 2770404"/>
                <a:gd name="connsiteX311" fmla="*/ 11508635 w 12166600"/>
                <a:gd name="connsiteY311" fmla="*/ 2624575 h 2770404"/>
                <a:gd name="connsiteX312" fmla="*/ 11515866 w 12166600"/>
                <a:gd name="connsiteY312" fmla="*/ 2617305 h 2770404"/>
                <a:gd name="connsiteX313" fmla="*/ 11515866 w 12166600"/>
                <a:gd name="connsiteY313" fmla="*/ 2610034 h 2770404"/>
                <a:gd name="connsiteX314" fmla="*/ 11508635 w 12166600"/>
                <a:gd name="connsiteY314" fmla="*/ 2595494 h 2770404"/>
                <a:gd name="connsiteX315" fmla="*/ 11436331 w 12166600"/>
                <a:gd name="connsiteY315" fmla="*/ 2595494 h 2770404"/>
                <a:gd name="connsiteX316" fmla="*/ 11436331 w 12166600"/>
                <a:gd name="connsiteY316" fmla="*/ 2602764 h 2770404"/>
                <a:gd name="connsiteX317" fmla="*/ 11429101 w 12166600"/>
                <a:gd name="connsiteY317" fmla="*/ 2610034 h 2770404"/>
                <a:gd name="connsiteX318" fmla="*/ 11429101 w 12166600"/>
                <a:gd name="connsiteY318" fmla="*/ 2617305 h 2770404"/>
                <a:gd name="connsiteX319" fmla="*/ 11443562 w 12166600"/>
                <a:gd name="connsiteY319" fmla="*/ 2631845 h 2770404"/>
                <a:gd name="connsiteX320" fmla="*/ 11443562 w 12166600"/>
                <a:gd name="connsiteY320" fmla="*/ 2624575 h 2770404"/>
                <a:gd name="connsiteX321" fmla="*/ 11443562 w 12166600"/>
                <a:gd name="connsiteY321" fmla="*/ 2617305 h 2770404"/>
                <a:gd name="connsiteX322" fmla="*/ 11443562 w 12166600"/>
                <a:gd name="connsiteY322" fmla="*/ 2610034 h 2770404"/>
                <a:gd name="connsiteX323" fmla="*/ 11436331 w 12166600"/>
                <a:gd name="connsiteY323" fmla="*/ 2595494 h 2770404"/>
                <a:gd name="connsiteX324" fmla="*/ 11400180 w 12166600"/>
                <a:gd name="connsiteY324" fmla="*/ 2595494 h 2770404"/>
                <a:gd name="connsiteX325" fmla="*/ 11400180 w 12166600"/>
                <a:gd name="connsiteY325" fmla="*/ 2602764 h 2770404"/>
                <a:gd name="connsiteX326" fmla="*/ 11400180 w 12166600"/>
                <a:gd name="connsiteY326" fmla="*/ 2617305 h 2770404"/>
                <a:gd name="connsiteX327" fmla="*/ 11400180 w 12166600"/>
                <a:gd name="connsiteY327" fmla="*/ 2631845 h 2770404"/>
                <a:gd name="connsiteX328" fmla="*/ 11407410 w 12166600"/>
                <a:gd name="connsiteY328" fmla="*/ 2624575 h 2770404"/>
                <a:gd name="connsiteX329" fmla="*/ 11407410 w 12166600"/>
                <a:gd name="connsiteY329" fmla="*/ 2617305 h 2770404"/>
                <a:gd name="connsiteX330" fmla="*/ 11407410 w 12166600"/>
                <a:gd name="connsiteY330" fmla="*/ 2610034 h 2770404"/>
                <a:gd name="connsiteX331" fmla="*/ 11414640 w 12166600"/>
                <a:gd name="connsiteY331" fmla="*/ 2610034 h 2770404"/>
                <a:gd name="connsiteX332" fmla="*/ 11407410 w 12166600"/>
                <a:gd name="connsiteY332" fmla="*/ 2602764 h 2770404"/>
                <a:gd name="connsiteX333" fmla="*/ 11400180 w 12166600"/>
                <a:gd name="connsiteY333" fmla="*/ 2595494 h 2770404"/>
                <a:gd name="connsiteX334" fmla="*/ 11342336 w 12166600"/>
                <a:gd name="connsiteY334" fmla="*/ 2595494 h 2770404"/>
                <a:gd name="connsiteX335" fmla="*/ 11349567 w 12166600"/>
                <a:gd name="connsiteY335" fmla="*/ 2624575 h 2770404"/>
                <a:gd name="connsiteX336" fmla="*/ 11356797 w 12166600"/>
                <a:gd name="connsiteY336" fmla="*/ 2610034 h 2770404"/>
                <a:gd name="connsiteX337" fmla="*/ 11342336 w 12166600"/>
                <a:gd name="connsiteY337" fmla="*/ 2595494 h 2770404"/>
                <a:gd name="connsiteX338" fmla="*/ 11335106 w 12166600"/>
                <a:gd name="connsiteY338" fmla="*/ 2595494 h 2770404"/>
                <a:gd name="connsiteX339" fmla="*/ 11327876 w 12166600"/>
                <a:gd name="connsiteY339" fmla="*/ 2602764 h 2770404"/>
                <a:gd name="connsiteX340" fmla="*/ 11320645 w 12166600"/>
                <a:gd name="connsiteY340" fmla="*/ 2610034 h 2770404"/>
                <a:gd name="connsiteX341" fmla="*/ 11335106 w 12166600"/>
                <a:gd name="connsiteY341" fmla="*/ 2631845 h 2770404"/>
                <a:gd name="connsiteX342" fmla="*/ 11335106 w 12166600"/>
                <a:gd name="connsiteY342" fmla="*/ 2624575 h 2770404"/>
                <a:gd name="connsiteX343" fmla="*/ 11335106 w 12166600"/>
                <a:gd name="connsiteY343" fmla="*/ 2610034 h 2770404"/>
                <a:gd name="connsiteX344" fmla="*/ 11291724 w 12166600"/>
                <a:gd name="connsiteY344" fmla="*/ 2595494 h 2770404"/>
                <a:gd name="connsiteX345" fmla="*/ 11291724 w 12166600"/>
                <a:gd name="connsiteY345" fmla="*/ 2602764 h 2770404"/>
                <a:gd name="connsiteX346" fmla="*/ 11291724 w 12166600"/>
                <a:gd name="connsiteY346" fmla="*/ 2617305 h 2770404"/>
                <a:gd name="connsiteX347" fmla="*/ 11291724 w 12166600"/>
                <a:gd name="connsiteY347" fmla="*/ 2631845 h 2770404"/>
                <a:gd name="connsiteX348" fmla="*/ 11298954 w 12166600"/>
                <a:gd name="connsiteY348" fmla="*/ 2617305 h 2770404"/>
                <a:gd name="connsiteX349" fmla="*/ 11306185 w 12166600"/>
                <a:gd name="connsiteY349" fmla="*/ 2617305 h 2770404"/>
                <a:gd name="connsiteX350" fmla="*/ 11306185 w 12166600"/>
                <a:gd name="connsiteY350" fmla="*/ 2610034 h 2770404"/>
                <a:gd name="connsiteX351" fmla="*/ 11291724 w 12166600"/>
                <a:gd name="connsiteY351" fmla="*/ 2595494 h 2770404"/>
                <a:gd name="connsiteX352" fmla="*/ 12087066 w 12166600"/>
                <a:gd name="connsiteY352" fmla="*/ 2588223 h 2770404"/>
                <a:gd name="connsiteX353" fmla="*/ 12079835 w 12166600"/>
                <a:gd name="connsiteY353" fmla="*/ 2595494 h 2770404"/>
                <a:gd name="connsiteX354" fmla="*/ 12072605 w 12166600"/>
                <a:gd name="connsiteY354" fmla="*/ 2602764 h 2770404"/>
                <a:gd name="connsiteX355" fmla="*/ 12087066 w 12166600"/>
                <a:gd name="connsiteY355" fmla="*/ 2617305 h 2770404"/>
                <a:gd name="connsiteX356" fmla="*/ 12087066 w 12166600"/>
                <a:gd name="connsiteY356" fmla="*/ 2610034 h 2770404"/>
                <a:gd name="connsiteX357" fmla="*/ 12087066 w 12166600"/>
                <a:gd name="connsiteY357" fmla="*/ 2595494 h 2770404"/>
                <a:gd name="connsiteX358" fmla="*/ 12087066 w 12166600"/>
                <a:gd name="connsiteY358" fmla="*/ 2593676 h 2770404"/>
                <a:gd name="connsiteX359" fmla="*/ 11978610 w 12166600"/>
                <a:gd name="connsiteY359" fmla="*/ 2588223 h 2770404"/>
                <a:gd name="connsiteX360" fmla="*/ 11971380 w 12166600"/>
                <a:gd name="connsiteY360" fmla="*/ 2595494 h 2770404"/>
                <a:gd name="connsiteX361" fmla="*/ 11971380 w 12166600"/>
                <a:gd name="connsiteY361" fmla="*/ 2602764 h 2770404"/>
                <a:gd name="connsiteX362" fmla="*/ 11964149 w 12166600"/>
                <a:gd name="connsiteY362" fmla="*/ 2602764 h 2770404"/>
                <a:gd name="connsiteX363" fmla="*/ 11971380 w 12166600"/>
                <a:gd name="connsiteY363" fmla="*/ 2610034 h 2770404"/>
                <a:gd name="connsiteX364" fmla="*/ 11978610 w 12166600"/>
                <a:gd name="connsiteY364" fmla="*/ 2617305 h 2770404"/>
                <a:gd name="connsiteX365" fmla="*/ 11978610 w 12166600"/>
                <a:gd name="connsiteY365" fmla="*/ 2610034 h 2770404"/>
                <a:gd name="connsiteX366" fmla="*/ 11978610 w 12166600"/>
                <a:gd name="connsiteY366" fmla="*/ 2602764 h 2770404"/>
                <a:gd name="connsiteX367" fmla="*/ 11978610 w 12166600"/>
                <a:gd name="connsiteY367" fmla="*/ 2595494 h 2770404"/>
                <a:gd name="connsiteX368" fmla="*/ 11978610 w 12166600"/>
                <a:gd name="connsiteY368" fmla="*/ 2588223 h 2770404"/>
                <a:gd name="connsiteX369" fmla="*/ 11935228 w 12166600"/>
                <a:gd name="connsiteY369" fmla="*/ 2588223 h 2770404"/>
                <a:gd name="connsiteX370" fmla="*/ 11935228 w 12166600"/>
                <a:gd name="connsiteY370" fmla="*/ 2595494 h 2770404"/>
                <a:gd name="connsiteX371" fmla="*/ 11942458 w 12166600"/>
                <a:gd name="connsiteY371" fmla="*/ 2610034 h 2770404"/>
                <a:gd name="connsiteX372" fmla="*/ 11942458 w 12166600"/>
                <a:gd name="connsiteY372" fmla="*/ 2617305 h 2770404"/>
                <a:gd name="connsiteX373" fmla="*/ 11949689 w 12166600"/>
                <a:gd name="connsiteY373" fmla="*/ 2610034 h 2770404"/>
                <a:gd name="connsiteX374" fmla="*/ 11949689 w 12166600"/>
                <a:gd name="connsiteY374" fmla="*/ 2602764 h 2770404"/>
                <a:gd name="connsiteX375" fmla="*/ 11927997 w 12166600"/>
                <a:gd name="connsiteY375" fmla="*/ 2588223 h 2770404"/>
                <a:gd name="connsiteX376" fmla="*/ 11920767 w 12166600"/>
                <a:gd name="connsiteY376" fmla="*/ 2595494 h 2770404"/>
                <a:gd name="connsiteX377" fmla="*/ 11913537 w 12166600"/>
                <a:gd name="connsiteY377" fmla="*/ 2602764 h 2770404"/>
                <a:gd name="connsiteX378" fmla="*/ 11927997 w 12166600"/>
                <a:gd name="connsiteY378" fmla="*/ 2624575 h 2770404"/>
                <a:gd name="connsiteX379" fmla="*/ 11927997 w 12166600"/>
                <a:gd name="connsiteY379" fmla="*/ 2610034 h 2770404"/>
                <a:gd name="connsiteX380" fmla="*/ 11927997 w 12166600"/>
                <a:gd name="connsiteY380" fmla="*/ 2602764 h 2770404"/>
                <a:gd name="connsiteX381" fmla="*/ 11927997 w 12166600"/>
                <a:gd name="connsiteY381" fmla="*/ 2588223 h 2770404"/>
                <a:gd name="connsiteX382" fmla="*/ 11870154 w 12166600"/>
                <a:gd name="connsiteY382" fmla="*/ 2588223 h 2770404"/>
                <a:gd name="connsiteX383" fmla="*/ 11862924 w 12166600"/>
                <a:gd name="connsiteY383" fmla="*/ 2595494 h 2770404"/>
                <a:gd name="connsiteX384" fmla="*/ 11862924 w 12166600"/>
                <a:gd name="connsiteY384" fmla="*/ 2602764 h 2770404"/>
                <a:gd name="connsiteX385" fmla="*/ 11870154 w 12166600"/>
                <a:gd name="connsiteY385" fmla="*/ 2624575 h 2770404"/>
                <a:gd name="connsiteX386" fmla="*/ 11870154 w 12166600"/>
                <a:gd name="connsiteY386" fmla="*/ 2610034 h 2770404"/>
                <a:gd name="connsiteX387" fmla="*/ 11870154 w 12166600"/>
                <a:gd name="connsiteY387" fmla="*/ 2602764 h 2770404"/>
                <a:gd name="connsiteX388" fmla="*/ 11870154 w 12166600"/>
                <a:gd name="connsiteY388" fmla="*/ 2595494 h 2770404"/>
                <a:gd name="connsiteX389" fmla="*/ 11870154 w 12166600"/>
                <a:gd name="connsiteY389" fmla="*/ 2588223 h 2770404"/>
                <a:gd name="connsiteX390" fmla="*/ 11834002 w 12166600"/>
                <a:gd name="connsiteY390" fmla="*/ 2588223 h 2770404"/>
                <a:gd name="connsiteX391" fmla="*/ 11834002 w 12166600"/>
                <a:gd name="connsiteY391" fmla="*/ 2602764 h 2770404"/>
                <a:gd name="connsiteX392" fmla="*/ 11834002 w 12166600"/>
                <a:gd name="connsiteY392" fmla="*/ 2617305 h 2770404"/>
                <a:gd name="connsiteX393" fmla="*/ 11841233 w 12166600"/>
                <a:gd name="connsiteY393" fmla="*/ 2610034 h 2770404"/>
                <a:gd name="connsiteX394" fmla="*/ 11841233 w 12166600"/>
                <a:gd name="connsiteY394" fmla="*/ 2602764 h 2770404"/>
                <a:gd name="connsiteX395" fmla="*/ 11834002 w 12166600"/>
                <a:gd name="connsiteY395" fmla="*/ 2588223 h 2770404"/>
                <a:gd name="connsiteX396" fmla="*/ 11819542 w 12166600"/>
                <a:gd name="connsiteY396" fmla="*/ 2588223 h 2770404"/>
                <a:gd name="connsiteX397" fmla="*/ 11812311 w 12166600"/>
                <a:gd name="connsiteY397" fmla="*/ 2595494 h 2770404"/>
                <a:gd name="connsiteX398" fmla="*/ 11812311 w 12166600"/>
                <a:gd name="connsiteY398" fmla="*/ 2602764 h 2770404"/>
                <a:gd name="connsiteX399" fmla="*/ 11805081 w 12166600"/>
                <a:gd name="connsiteY399" fmla="*/ 2602764 h 2770404"/>
                <a:gd name="connsiteX400" fmla="*/ 11819542 w 12166600"/>
                <a:gd name="connsiteY400" fmla="*/ 2624575 h 2770404"/>
                <a:gd name="connsiteX401" fmla="*/ 11819542 w 12166600"/>
                <a:gd name="connsiteY401" fmla="*/ 2617305 h 2770404"/>
                <a:gd name="connsiteX402" fmla="*/ 11819542 w 12166600"/>
                <a:gd name="connsiteY402" fmla="*/ 2610034 h 2770404"/>
                <a:gd name="connsiteX403" fmla="*/ 11819542 w 12166600"/>
                <a:gd name="connsiteY403" fmla="*/ 2602764 h 2770404"/>
                <a:gd name="connsiteX404" fmla="*/ 11819542 w 12166600"/>
                <a:gd name="connsiteY404" fmla="*/ 2588223 h 2770404"/>
                <a:gd name="connsiteX405" fmla="*/ 11776159 w 12166600"/>
                <a:gd name="connsiteY405" fmla="*/ 2588223 h 2770404"/>
                <a:gd name="connsiteX406" fmla="*/ 11776159 w 12166600"/>
                <a:gd name="connsiteY406" fmla="*/ 2602764 h 2770404"/>
                <a:gd name="connsiteX407" fmla="*/ 11776159 w 12166600"/>
                <a:gd name="connsiteY407" fmla="*/ 2617305 h 2770404"/>
                <a:gd name="connsiteX408" fmla="*/ 11776159 w 12166600"/>
                <a:gd name="connsiteY408" fmla="*/ 2624575 h 2770404"/>
                <a:gd name="connsiteX409" fmla="*/ 11783390 w 12166600"/>
                <a:gd name="connsiteY409" fmla="*/ 2617305 h 2770404"/>
                <a:gd name="connsiteX410" fmla="*/ 11783390 w 12166600"/>
                <a:gd name="connsiteY410" fmla="*/ 2610034 h 2770404"/>
                <a:gd name="connsiteX411" fmla="*/ 11790620 w 12166600"/>
                <a:gd name="connsiteY411" fmla="*/ 2602764 h 2770404"/>
                <a:gd name="connsiteX412" fmla="*/ 11776159 w 12166600"/>
                <a:gd name="connsiteY412" fmla="*/ 2588223 h 2770404"/>
                <a:gd name="connsiteX413" fmla="*/ 11761699 w 12166600"/>
                <a:gd name="connsiteY413" fmla="*/ 2588223 h 2770404"/>
                <a:gd name="connsiteX414" fmla="*/ 11754468 w 12166600"/>
                <a:gd name="connsiteY414" fmla="*/ 2595494 h 2770404"/>
                <a:gd name="connsiteX415" fmla="*/ 11754468 w 12166600"/>
                <a:gd name="connsiteY415" fmla="*/ 2602764 h 2770404"/>
                <a:gd name="connsiteX416" fmla="*/ 11754468 w 12166600"/>
                <a:gd name="connsiteY416" fmla="*/ 2610034 h 2770404"/>
                <a:gd name="connsiteX417" fmla="*/ 11761699 w 12166600"/>
                <a:gd name="connsiteY417" fmla="*/ 2624575 h 2770404"/>
                <a:gd name="connsiteX418" fmla="*/ 11761699 w 12166600"/>
                <a:gd name="connsiteY418" fmla="*/ 2617305 h 2770404"/>
                <a:gd name="connsiteX419" fmla="*/ 11761699 w 12166600"/>
                <a:gd name="connsiteY419" fmla="*/ 2610034 h 2770404"/>
                <a:gd name="connsiteX420" fmla="*/ 11761699 w 12166600"/>
                <a:gd name="connsiteY420" fmla="*/ 2602764 h 2770404"/>
                <a:gd name="connsiteX421" fmla="*/ 11761699 w 12166600"/>
                <a:gd name="connsiteY421" fmla="*/ 2588223 h 2770404"/>
                <a:gd name="connsiteX422" fmla="*/ 11725547 w 12166600"/>
                <a:gd name="connsiteY422" fmla="*/ 2588223 h 2770404"/>
                <a:gd name="connsiteX423" fmla="*/ 11725547 w 12166600"/>
                <a:gd name="connsiteY423" fmla="*/ 2602764 h 2770404"/>
                <a:gd name="connsiteX424" fmla="*/ 11725547 w 12166600"/>
                <a:gd name="connsiteY424" fmla="*/ 2610034 h 2770404"/>
                <a:gd name="connsiteX425" fmla="*/ 11725547 w 12166600"/>
                <a:gd name="connsiteY425" fmla="*/ 2617305 h 2770404"/>
                <a:gd name="connsiteX426" fmla="*/ 11732777 w 12166600"/>
                <a:gd name="connsiteY426" fmla="*/ 2610034 h 2770404"/>
                <a:gd name="connsiteX427" fmla="*/ 11725547 w 12166600"/>
                <a:gd name="connsiteY427" fmla="*/ 2588223 h 2770404"/>
                <a:gd name="connsiteX428" fmla="*/ 11617091 w 12166600"/>
                <a:gd name="connsiteY428" fmla="*/ 2588223 h 2770404"/>
                <a:gd name="connsiteX429" fmla="*/ 11617091 w 12166600"/>
                <a:gd name="connsiteY429" fmla="*/ 2602764 h 2770404"/>
                <a:gd name="connsiteX430" fmla="*/ 11617091 w 12166600"/>
                <a:gd name="connsiteY430" fmla="*/ 2610034 h 2770404"/>
                <a:gd name="connsiteX431" fmla="*/ 11617091 w 12166600"/>
                <a:gd name="connsiteY431" fmla="*/ 2617305 h 2770404"/>
                <a:gd name="connsiteX432" fmla="*/ 11617091 w 12166600"/>
                <a:gd name="connsiteY432" fmla="*/ 2624575 h 2770404"/>
                <a:gd name="connsiteX433" fmla="*/ 11624321 w 12166600"/>
                <a:gd name="connsiteY433" fmla="*/ 2617305 h 2770404"/>
                <a:gd name="connsiteX434" fmla="*/ 11624321 w 12166600"/>
                <a:gd name="connsiteY434" fmla="*/ 2610034 h 2770404"/>
                <a:gd name="connsiteX435" fmla="*/ 11617091 w 12166600"/>
                <a:gd name="connsiteY435" fmla="*/ 2588223 h 2770404"/>
                <a:gd name="connsiteX436" fmla="*/ 12043683 w 12166600"/>
                <a:gd name="connsiteY436" fmla="*/ 2580953 h 2770404"/>
                <a:gd name="connsiteX437" fmla="*/ 12043683 w 12166600"/>
                <a:gd name="connsiteY437" fmla="*/ 2595494 h 2770404"/>
                <a:gd name="connsiteX438" fmla="*/ 12043683 w 12166600"/>
                <a:gd name="connsiteY438" fmla="*/ 2610034 h 2770404"/>
                <a:gd name="connsiteX439" fmla="*/ 12043683 w 12166600"/>
                <a:gd name="connsiteY439" fmla="*/ 2617305 h 2770404"/>
                <a:gd name="connsiteX440" fmla="*/ 12050914 w 12166600"/>
                <a:gd name="connsiteY440" fmla="*/ 2617305 h 2770404"/>
                <a:gd name="connsiteX441" fmla="*/ 12058144 w 12166600"/>
                <a:gd name="connsiteY441" fmla="*/ 2602764 h 2770404"/>
                <a:gd name="connsiteX442" fmla="*/ 12043683 w 12166600"/>
                <a:gd name="connsiteY442" fmla="*/ 2580953 h 2770404"/>
                <a:gd name="connsiteX443" fmla="*/ 11515866 w 12166600"/>
                <a:gd name="connsiteY443" fmla="*/ 2580953 h 2770404"/>
                <a:gd name="connsiteX444" fmla="*/ 11530326 w 12166600"/>
                <a:gd name="connsiteY444" fmla="*/ 2595494 h 2770404"/>
                <a:gd name="connsiteX445" fmla="*/ 11530326 w 12166600"/>
                <a:gd name="connsiteY445" fmla="*/ 2588223 h 2770404"/>
                <a:gd name="connsiteX446" fmla="*/ 11537557 w 12166600"/>
                <a:gd name="connsiteY446" fmla="*/ 2580953 h 2770404"/>
                <a:gd name="connsiteX447" fmla="*/ 11530326 w 12166600"/>
                <a:gd name="connsiteY447" fmla="*/ 2580953 h 2770404"/>
                <a:gd name="connsiteX448" fmla="*/ 11515866 w 12166600"/>
                <a:gd name="connsiteY448" fmla="*/ 2580953 h 2770404"/>
                <a:gd name="connsiteX449" fmla="*/ 11458023 w 12166600"/>
                <a:gd name="connsiteY449" fmla="*/ 2580953 h 2770404"/>
                <a:gd name="connsiteX450" fmla="*/ 11472483 w 12166600"/>
                <a:gd name="connsiteY450" fmla="*/ 2595494 h 2770404"/>
                <a:gd name="connsiteX451" fmla="*/ 11479714 w 12166600"/>
                <a:gd name="connsiteY451" fmla="*/ 2595494 h 2770404"/>
                <a:gd name="connsiteX452" fmla="*/ 11479714 w 12166600"/>
                <a:gd name="connsiteY452" fmla="*/ 2588223 h 2770404"/>
                <a:gd name="connsiteX453" fmla="*/ 11486944 w 12166600"/>
                <a:gd name="connsiteY453" fmla="*/ 2580953 h 2770404"/>
                <a:gd name="connsiteX454" fmla="*/ 11479714 w 12166600"/>
                <a:gd name="connsiteY454" fmla="*/ 2580953 h 2770404"/>
                <a:gd name="connsiteX455" fmla="*/ 11472483 w 12166600"/>
                <a:gd name="connsiteY455" fmla="*/ 2580953 h 2770404"/>
                <a:gd name="connsiteX456" fmla="*/ 11465253 w 12166600"/>
                <a:gd name="connsiteY456" fmla="*/ 2580953 h 2770404"/>
                <a:gd name="connsiteX457" fmla="*/ 11458023 w 12166600"/>
                <a:gd name="connsiteY457" fmla="*/ 2580953 h 2770404"/>
                <a:gd name="connsiteX458" fmla="*/ 11349567 w 12166600"/>
                <a:gd name="connsiteY458" fmla="*/ 2580953 h 2770404"/>
                <a:gd name="connsiteX459" fmla="*/ 11364028 w 12166600"/>
                <a:gd name="connsiteY459" fmla="*/ 2595494 h 2770404"/>
                <a:gd name="connsiteX460" fmla="*/ 11364028 w 12166600"/>
                <a:gd name="connsiteY460" fmla="*/ 2602764 h 2770404"/>
                <a:gd name="connsiteX461" fmla="*/ 11371258 w 12166600"/>
                <a:gd name="connsiteY461" fmla="*/ 2588223 h 2770404"/>
                <a:gd name="connsiteX462" fmla="*/ 11378488 w 12166600"/>
                <a:gd name="connsiteY462" fmla="*/ 2580953 h 2770404"/>
                <a:gd name="connsiteX463" fmla="*/ 11371258 w 12166600"/>
                <a:gd name="connsiteY463" fmla="*/ 2580953 h 2770404"/>
                <a:gd name="connsiteX464" fmla="*/ 11364028 w 12166600"/>
                <a:gd name="connsiteY464" fmla="*/ 2580953 h 2770404"/>
                <a:gd name="connsiteX465" fmla="*/ 11298954 w 12166600"/>
                <a:gd name="connsiteY465" fmla="*/ 2580953 h 2770404"/>
                <a:gd name="connsiteX466" fmla="*/ 11313415 w 12166600"/>
                <a:gd name="connsiteY466" fmla="*/ 2602764 h 2770404"/>
                <a:gd name="connsiteX467" fmla="*/ 11313415 w 12166600"/>
                <a:gd name="connsiteY467" fmla="*/ 2595494 h 2770404"/>
                <a:gd name="connsiteX468" fmla="*/ 11327876 w 12166600"/>
                <a:gd name="connsiteY468" fmla="*/ 2580953 h 2770404"/>
                <a:gd name="connsiteX469" fmla="*/ 11306185 w 12166600"/>
                <a:gd name="connsiteY469" fmla="*/ 2580953 h 2770404"/>
                <a:gd name="connsiteX470" fmla="*/ 11298954 w 12166600"/>
                <a:gd name="connsiteY470" fmla="*/ 2580953 h 2770404"/>
                <a:gd name="connsiteX471" fmla="*/ 12000301 w 12166600"/>
                <a:gd name="connsiteY471" fmla="*/ 2573683 h 2770404"/>
                <a:gd name="connsiteX472" fmla="*/ 12014762 w 12166600"/>
                <a:gd name="connsiteY472" fmla="*/ 2588223 h 2770404"/>
                <a:gd name="connsiteX473" fmla="*/ 12014762 w 12166600"/>
                <a:gd name="connsiteY473" fmla="*/ 2580953 h 2770404"/>
                <a:gd name="connsiteX474" fmla="*/ 12021992 w 12166600"/>
                <a:gd name="connsiteY474" fmla="*/ 2573683 h 2770404"/>
                <a:gd name="connsiteX475" fmla="*/ 12007532 w 12166600"/>
                <a:gd name="connsiteY475" fmla="*/ 2573683 h 2770404"/>
                <a:gd name="connsiteX476" fmla="*/ 11783390 w 12166600"/>
                <a:gd name="connsiteY476" fmla="*/ 2573683 h 2770404"/>
                <a:gd name="connsiteX477" fmla="*/ 11797851 w 12166600"/>
                <a:gd name="connsiteY477" fmla="*/ 2595494 h 2770404"/>
                <a:gd name="connsiteX478" fmla="*/ 11797851 w 12166600"/>
                <a:gd name="connsiteY478" fmla="*/ 2588223 h 2770404"/>
                <a:gd name="connsiteX479" fmla="*/ 11805081 w 12166600"/>
                <a:gd name="connsiteY479" fmla="*/ 2588223 h 2770404"/>
                <a:gd name="connsiteX480" fmla="*/ 11805081 w 12166600"/>
                <a:gd name="connsiteY480" fmla="*/ 2580953 h 2770404"/>
                <a:gd name="connsiteX481" fmla="*/ 11812311 w 12166600"/>
                <a:gd name="connsiteY481" fmla="*/ 2573683 h 2770404"/>
                <a:gd name="connsiteX482" fmla="*/ 11805081 w 12166600"/>
                <a:gd name="connsiteY482" fmla="*/ 2573683 h 2770404"/>
                <a:gd name="connsiteX483" fmla="*/ 11624321 w 12166600"/>
                <a:gd name="connsiteY483" fmla="*/ 2573683 h 2770404"/>
                <a:gd name="connsiteX484" fmla="*/ 11631552 w 12166600"/>
                <a:gd name="connsiteY484" fmla="*/ 2595494 h 2770404"/>
                <a:gd name="connsiteX485" fmla="*/ 11638782 w 12166600"/>
                <a:gd name="connsiteY485" fmla="*/ 2595494 h 2770404"/>
                <a:gd name="connsiteX486" fmla="*/ 11638782 w 12166600"/>
                <a:gd name="connsiteY486" fmla="*/ 2588223 h 2770404"/>
                <a:gd name="connsiteX487" fmla="*/ 11646013 w 12166600"/>
                <a:gd name="connsiteY487" fmla="*/ 2588223 h 2770404"/>
                <a:gd name="connsiteX488" fmla="*/ 11646013 w 12166600"/>
                <a:gd name="connsiteY488" fmla="*/ 2580953 h 2770404"/>
                <a:gd name="connsiteX489" fmla="*/ 11646013 w 12166600"/>
                <a:gd name="connsiteY489" fmla="*/ 2573683 h 2770404"/>
                <a:gd name="connsiteX490" fmla="*/ 11638782 w 12166600"/>
                <a:gd name="connsiteY490" fmla="*/ 2573683 h 2770404"/>
                <a:gd name="connsiteX491" fmla="*/ 11631552 w 12166600"/>
                <a:gd name="connsiteY491" fmla="*/ 2573683 h 2770404"/>
                <a:gd name="connsiteX492" fmla="*/ 11624321 w 12166600"/>
                <a:gd name="connsiteY492" fmla="*/ 2573683 h 2770404"/>
                <a:gd name="connsiteX493" fmla="*/ 12065375 w 12166600"/>
                <a:gd name="connsiteY493" fmla="*/ 2566413 h 2770404"/>
                <a:gd name="connsiteX494" fmla="*/ 12050914 w 12166600"/>
                <a:gd name="connsiteY494" fmla="*/ 2573683 h 2770404"/>
                <a:gd name="connsiteX495" fmla="*/ 12065375 w 12166600"/>
                <a:gd name="connsiteY495" fmla="*/ 2588223 h 2770404"/>
                <a:gd name="connsiteX496" fmla="*/ 12072605 w 12166600"/>
                <a:gd name="connsiteY496" fmla="*/ 2580953 h 2770404"/>
                <a:gd name="connsiteX497" fmla="*/ 12079835 w 12166600"/>
                <a:gd name="connsiteY497" fmla="*/ 2573683 h 2770404"/>
                <a:gd name="connsiteX498" fmla="*/ 12079835 w 12166600"/>
                <a:gd name="connsiteY498" fmla="*/ 2566413 h 2770404"/>
                <a:gd name="connsiteX499" fmla="*/ 12072605 w 12166600"/>
                <a:gd name="connsiteY499" fmla="*/ 2566413 h 2770404"/>
                <a:gd name="connsiteX500" fmla="*/ 11682164 w 12166600"/>
                <a:gd name="connsiteY500" fmla="*/ 2544602 h 2770404"/>
                <a:gd name="connsiteX501" fmla="*/ 11674934 w 12166600"/>
                <a:gd name="connsiteY501" fmla="*/ 2559142 h 2770404"/>
                <a:gd name="connsiteX502" fmla="*/ 11682164 w 12166600"/>
                <a:gd name="connsiteY502" fmla="*/ 2559142 h 2770404"/>
                <a:gd name="connsiteX503" fmla="*/ 11703856 w 12166600"/>
                <a:gd name="connsiteY503" fmla="*/ 2559142 h 2770404"/>
                <a:gd name="connsiteX504" fmla="*/ 11689395 w 12166600"/>
                <a:gd name="connsiteY504" fmla="*/ 2544602 h 2770404"/>
                <a:gd name="connsiteX505" fmla="*/ 11682164 w 12166600"/>
                <a:gd name="connsiteY505" fmla="*/ 2544602 h 2770404"/>
                <a:gd name="connsiteX506" fmla="*/ 11631552 w 12166600"/>
                <a:gd name="connsiteY506" fmla="*/ 2544602 h 2770404"/>
                <a:gd name="connsiteX507" fmla="*/ 11624321 w 12166600"/>
                <a:gd name="connsiteY507" fmla="*/ 2551872 h 2770404"/>
                <a:gd name="connsiteX508" fmla="*/ 11624321 w 12166600"/>
                <a:gd name="connsiteY508" fmla="*/ 2559142 h 2770404"/>
                <a:gd name="connsiteX509" fmla="*/ 11624321 w 12166600"/>
                <a:gd name="connsiteY509" fmla="*/ 2566413 h 2770404"/>
                <a:gd name="connsiteX510" fmla="*/ 11638782 w 12166600"/>
                <a:gd name="connsiteY510" fmla="*/ 2566413 h 2770404"/>
                <a:gd name="connsiteX511" fmla="*/ 11646013 w 12166600"/>
                <a:gd name="connsiteY511" fmla="*/ 2559142 h 2770404"/>
                <a:gd name="connsiteX512" fmla="*/ 11631552 w 12166600"/>
                <a:gd name="connsiteY512" fmla="*/ 2544602 h 2770404"/>
                <a:gd name="connsiteX513" fmla="*/ 11472483 w 12166600"/>
                <a:gd name="connsiteY513" fmla="*/ 2544602 h 2770404"/>
                <a:gd name="connsiteX514" fmla="*/ 11465253 w 12166600"/>
                <a:gd name="connsiteY514" fmla="*/ 2551872 h 2770404"/>
                <a:gd name="connsiteX515" fmla="*/ 11465253 w 12166600"/>
                <a:gd name="connsiteY515" fmla="*/ 2559142 h 2770404"/>
                <a:gd name="connsiteX516" fmla="*/ 11458023 w 12166600"/>
                <a:gd name="connsiteY516" fmla="*/ 2566413 h 2770404"/>
                <a:gd name="connsiteX517" fmla="*/ 11465253 w 12166600"/>
                <a:gd name="connsiteY517" fmla="*/ 2566413 h 2770404"/>
                <a:gd name="connsiteX518" fmla="*/ 11479714 w 12166600"/>
                <a:gd name="connsiteY518" fmla="*/ 2566413 h 2770404"/>
                <a:gd name="connsiteX519" fmla="*/ 11486944 w 12166600"/>
                <a:gd name="connsiteY519" fmla="*/ 2566413 h 2770404"/>
                <a:gd name="connsiteX520" fmla="*/ 11479714 w 12166600"/>
                <a:gd name="connsiteY520" fmla="*/ 2551872 h 2770404"/>
                <a:gd name="connsiteX521" fmla="*/ 11472483 w 12166600"/>
                <a:gd name="connsiteY521" fmla="*/ 2544602 h 2770404"/>
                <a:gd name="connsiteX522" fmla="*/ 11797851 w 12166600"/>
                <a:gd name="connsiteY522" fmla="*/ 2537331 h 2770404"/>
                <a:gd name="connsiteX523" fmla="*/ 11790620 w 12166600"/>
                <a:gd name="connsiteY523" fmla="*/ 2544602 h 2770404"/>
                <a:gd name="connsiteX524" fmla="*/ 11783390 w 12166600"/>
                <a:gd name="connsiteY524" fmla="*/ 2559142 h 2770404"/>
                <a:gd name="connsiteX525" fmla="*/ 11790620 w 12166600"/>
                <a:gd name="connsiteY525" fmla="*/ 2559142 h 2770404"/>
                <a:gd name="connsiteX526" fmla="*/ 11805081 w 12166600"/>
                <a:gd name="connsiteY526" fmla="*/ 2559142 h 2770404"/>
                <a:gd name="connsiteX527" fmla="*/ 11812311 w 12166600"/>
                <a:gd name="connsiteY527" fmla="*/ 2559142 h 2770404"/>
                <a:gd name="connsiteX528" fmla="*/ 11797851 w 12166600"/>
                <a:gd name="connsiteY528" fmla="*/ 2544602 h 2770404"/>
                <a:gd name="connsiteX529" fmla="*/ 11797851 w 12166600"/>
                <a:gd name="connsiteY529" fmla="*/ 2537331 h 2770404"/>
                <a:gd name="connsiteX530" fmla="*/ 11385719 w 12166600"/>
                <a:gd name="connsiteY530" fmla="*/ 2530061 h 2770404"/>
                <a:gd name="connsiteX531" fmla="*/ 11378488 w 12166600"/>
                <a:gd name="connsiteY531" fmla="*/ 2537331 h 2770404"/>
                <a:gd name="connsiteX532" fmla="*/ 11371258 w 12166600"/>
                <a:gd name="connsiteY532" fmla="*/ 2537331 h 2770404"/>
                <a:gd name="connsiteX533" fmla="*/ 11385719 w 12166600"/>
                <a:gd name="connsiteY533" fmla="*/ 2551872 h 2770404"/>
                <a:gd name="connsiteX534" fmla="*/ 11385719 w 12166600"/>
                <a:gd name="connsiteY534" fmla="*/ 2537331 h 2770404"/>
                <a:gd name="connsiteX535" fmla="*/ 11385719 w 12166600"/>
                <a:gd name="connsiteY535" fmla="*/ 2530061 h 2770404"/>
                <a:gd name="connsiteX536" fmla="*/ 11320645 w 12166600"/>
                <a:gd name="connsiteY536" fmla="*/ 2530061 h 2770404"/>
                <a:gd name="connsiteX537" fmla="*/ 11320645 w 12166600"/>
                <a:gd name="connsiteY537" fmla="*/ 2537331 h 2770404"/>
                <a:gd name="connsiteX538" fmla="*/ 11327876 w 12166600"/>
                <a:gd name="connsiteY538" fmla="*/ 2544602 h 2770404"/>
                <a:gd name="connsiteX539" fmla="*/ 11327876 w 12166600"/>
                <a:gd name="connsiteY539" fmla="*/ 2537331 h 2770404"/>
                <a:gd name="connsiteX540" fmla="*/ 11327876 w 12166600"/>
                <a:gd name="connsiteY540" fmla="*/ 2530061 h 2770404"/>
                <a:gd name="connsiteX541" fmla="*/ 11320645 w 12166600"/>
                <a:gd name="connsiteY541" fmla="*/ 2530061 h 2770404"/>
                <a:gd name="connsiteX542" fmla="*/ 11993071 w 12166600"/>
                <a:gd name="connsiteY542" fmla="*/ 2522791 h 2770404"/>
                <a:gd name="connsiteX543" fmla="*/ 11993071 w 12166600"/>
                <a:gd name="connsiteY543" fmla="*/ 2530061 h 2770404"/>
                <a:gd name="connsiteX544" fmla="*/ 11993071 w 12166600"/>
                <a:gd name="connsiteY544" fmla="*/ 2544602 h 2770404"/>
                <a:gd name="connsiteX545" fmla="*/ 12000301 w 12166600"/>
                <a:gd name="connsiteY545" fmla="*/ 2537331 h 2770404"/>
                <a:gd name="connsiteX546" fmla="*/ 12000301 w 12166600"/>
                <a:gd name="connsiteY546" fmla="*/ 2530061 h 2770404"/>
                <a:gd name="connsiteX547" fmla="*/ 11993071 w 12166600"/>
                <a:gd name="connsiteY547" fmla="*/ 2522791 h 2770404"/>
                <a:gd name="connsiteX548" fmla="*/ 11913537 w 12166600"/>
                <a:gd name="connsiteY548" fmla="*/ 2522791 h 2770404"/>
                <a:gd name="connsiteX549" fmla="*/ 11913537 w 12166600"/>
                <a:gd name="connsiteY549" fmla="*/ 2530061 h 2770404"/>
                <a:gd name="connsiteX550" fmla="*/ 11920767 w 12166600"/>
                <a:gd name="connsiteY550" fmla="*/ 2544602 h 2770404"/>
                <a:gd name="connsiteX551" fmla="*/ 11920767 w 12166600"/>
                <a:gd name="connsiteY551" fmla="*/ 2530061 h 2770404"/>
                <a:gd name="connsiteX552" fmla="*/ 11920767 w 12166600"/>
                <a:gd name="connsiteY552" fmla="*/ 2528244 h 2770404"/>
                <a:gd name="connsiteX553" fmla="*/ 11920767 w 12166600"/>
                <a:gd name="connsiteY553" fmla="*/ 2522791 h 2770404"/>
                <a:gd name="connsiteX554" fmla="*/ 11913537 w 12166600"/>
                <a:gd name="connsiteY554" fmla="*/ 2522791 h 2770404"/>
                <a:gd name="connsiteX555" fmla="*/ 12029223 w 12166600"/>
                <a:gd name="connsiteY555" fmla="*/ 2515521 h 2770404"/>
                <a:gd name="connsiteX556" fmla="*/ 12021992 w 12166600"/>
                <a:gd name="connsiteY556" fmla="*/ 2522791 h 2770404"/>
                <a:gd name="connsiteX557" fmla="*/ 12029223 w 12166600"/>
                <a:gd name="connsiteY557" fmla="*/ 2530061 h 2770404"/>
                <a:gd name="connsiteX558" fmla="*/ 12029223 w 12166600"/>
                <a:gd name="connsiteY558" fmla="*/ 2515521 h 2770404"/>
                <a:gd name="connsiteX559" fmla="*/ 11971380 w 12166600"/>
                <a:gd name="connsiteY559" fmla="*/ 2515521 h 2770404"/>
                <a:gd name="connsiteX560" fmla="*/ 11971380 w 12166600"/>
                <a:gd name="connsiteY560" fmla="*/ 2522791 h 2770404"/>
                <a:gd name="connsiteX561" fmla="*/ 11964149 w 12166600"/>
                <a:gd name="connsiteY561" fmla="*/ 2522791 h 2770404"/>
                <a:gd name="connsiteX562" fmla="*/ 11978610 w 12166600"/>
                <a:gd name="connsiteY562" fmla="*/ 2544602 h 2770404"/>
                <a:gd name="connsiteX563" fmla="*/ 11978610 w 12166600"/>
                <a:gd name="connsiteY563" fmla="*/ 2530061 h 2770404"/>
                <a:gd name="connsiteX564" fmla="*/ 11978610 w 12166600"/>
                <a:gd name="connsiteY564" fmla="*/ 2515521 h 2770404"/>
                <a:gd name="connsiteX565" fmla="*/ 11971380 w 12166600"/>
                <a:gd name="connsiteY565" fmla="*/ 2515521 h 2770404"/>
                <a:gd name="connsiteX566" fmla="*/ 11761699 w 12166600"/>
                <a:gd name="connsiteY566" fmla="*/ 2515521 h 2770404"/>
                <a:gd name="connsiteX567" fmla="*/ 11754468 w 12166600"/>
                <a:gd name="connsiteY567" fmla="*/ 2522791 h 2770404"/>
                <a:gd name="connsiteX568" fmla="*/ 11747238 w 12166600"/>
                <a:gd name="connsiteY568" fmla="*/ 2530061 h 2770404"/>
                <a:gd name="connsiteX569" fmla="*/ 11761699 w 12166600"/>
                <a:gd name="connsiteY569" fmla="*/ 2544602 h 2770404"/>
                <a:gd name="connsiteX570" fmla="*/ 11761699 w 12166600"/>
                <a:gd name="connsiteY570" fmla="*/ 2537331 h 2770404"/>
                <a:gd name="connsiteX571" fmla="*/ 11761699 w 12166600"/>
                <a:gd name="connsiteY571" fmla="*/ 2522791 h 2770404"/>
                <a:gd name="connsiteX572" fmla="*/ 11761699 w 12166600"/>
                <a:gd name="connsiteY572" fmla="*/ 2515521 h 2770404"/>
                <a:gd name="connsiteX573" fmla="*/ 11703856 w 12166600"/>
                <a:gd name="connsiteY573" fmla="*/ 2515521 h 2770404"/>
                <a:gd name="connsiteX574" fmla="*/ 11696625 w 12166600"/>
                <a:gd name="connsiteY574" fmla="*/ 2530061 h 2770404"/>
                <a:gd name="connsiteX575" fmla="*/ 11711086 w 12166600"/>
                <a:gd name="connsiteY575" fmla="*/ 2544602 h 2770404"/>
                <a:gd name="connsiteX576" fmla="*/ 11711086 w 12166600"/>
                <a:gd name="connsiteY576" fmla="*/ 2537331 h 2770404"/>
                <a:gd name="connsiteX577" fmla="*/ 11711086 w 12166600"/>
                <a:gd name="connsiteY577" fmla="*/ 2522791 h 2770404"/>
                <a:gd name="connsiteX578" fmla="*/ 11711086 w 12166600"/>
                <a:gd name="connsiteY578" fmla="*/ 2515521 h 2770404"/>
                <a:gd name="connsiteX579" fmla="*/ 11703856 w 12166600"/>
                <a:gd name="connsiteY579" fmla="*/ 2515521 h 2770404"/>
                <a:gd name="connsiteX580" fmla="*/ 11667704 w 12166600"/>
                <a:gd name="connsiteY580" fmla="*/ 2515521 h 2770404"/>
                <a:gd name="connsiteX581" fmla="*/ 11667704 w 12166600"/>
                <a:gd name="connsiteY581" fmla="*/ 2522791 h 2770404"/>
                <a:gd name="connsiteX582" fmla="*/ 11667704 w 12166600"/>
                <a:gd name="connsiteY582" fmla="*/ 2530061 h 2770404"/>
                <a:gd name="connsiteX583" fmla="*/ 11667704 w 12166600"/>
                <a:gd name="connsiteY583" fmla="*/ 2544602 h 2770404"/>
                <a:gd name="connsiteX584" fmla="*/ 11674934 w 12166600"/>
                <a:gd name="connsiteY584" fmla="*/ 2537331 h 2770404"/>
                <a:gd name="connsiteX585" fmla="*/ 11682164 w 12166600"/>
                <a:gd name="connsiteY585" fmla="*/ 2530061 h 2770404"/>
                <a:gd name="connsiteX586" fmla="*/ 11667704 w 12166600"/>
                <a:gd name="connsiteY586" fmla="*/ 2515521 h 2770404"/>
                <a:gd name="connsiteX587" fmla="*/ 11559248 w 12166600"/>
                <a:gd name="connsiteY587" fmla="*/ 2515521 h 2770404"/>
                <a:gd name="connsiteX588" fmla="*/ 11559248 w 12166600"/>
                <a:gd name="connsiteY588" fmla="*/ 2522791 h 2770404"/>
                <a:gd name="connsiteX589" fmla="*/ 11559248 w 12166600"/>
                <a:gd name="connsiteY589" fmla="*/ 2537331 h 2770404"/>
                <a:gd name="connsiteX590" fmla="*/ 11559248 w 12166600"/>
                <a:gd name="connsiteY590" fmla="*/ 2551872 h 2770404"/>
                <a:gd name="connsiteX591" fmla="*/ 11566478 w 12166600"/>
                <a:gd name="connsiteY591" fmla="*/ 2537331 h 2770404"/>
                <a:gd name="connsiteX592" fmla="*/ 11573709 w 12166600"/>
                <a:gd name="connsiteY592" fmla="*/ 2537331 h 2770404"/>
                <a:gd name="connsiteX593" fmla="*/ 11573709 w 12166600"/>
                <a:gd name="connsiteY593" fmla="*/ 2530061 h 2770404"/>
                <a:gd name="connsiteX594" fmla="*/ 11559248 w 12166600"/>
                <a:gd name="connsiteY594" fmla="*/ 2515521 h 2770404"/>
                <a:gd name="connsiteX595" fmla="*/ 11494175 w 12166600"/>
                <a:gd name="connsiteY595" fmla="*/ 2515521 h 2770404"/>
                <a:gd name="connsiteX596" fmla="*/ 11486944 w 12166600"/>
                <a:gd name="connsiteY596" fmla="*/ 2522791 h 2770404"/>
                <a:gd name="connsiteX597" fmla="*/ 11486944 w 12166600"/>
                <a:gd name="connsiteY597" fmla="*/ 2530061 h 2770404"/>
                <a:gd name="connsiteX598" fmla="*/ 11494175 w 12166600"/>
                <a:gd name="connsiteY598" fmla="*/ 2537331 h 2770404"/>
                <a:gd name="connsiteX599" fmla="*/ 11494175 w 12166600"/>
                <a:gd name="connsiteY599" fmla="*/ 2522791 h 2770404"/>
                <a:gd name="connsiteX600" fmla="*/ 11494175 w 12166600"/>
                <a:gd name="connsiteY600" fmla="*/ 2515521 h 2770404"/>
                <a:gd name="connsiteX601" fmla="*/ 11342336 w 12166600"/>
                <a:gd name="connsiteY601" fmla="*/ 2515521 h 2770404"/>
                <a:gd name="connsiteX602" fmla="*/ 11342336 w 12166600"/>
                <a:gd name="connsiteY602" fmla="*/ 2530061 h 2770404"/>
                <a:gd name="connsiteX603" fmla="*/ 11342336 w 12166600"/>
                <a:gd name="connsiteY603" fmla="*/ 2537331 h 2770404"/>
                <a:gd name="connsiteX604" fmla="*/ 11349567 w 12166600"/>
                <a:gd name="connsiteY604" fmla="*/ 2537331 h 2770404"/>
                <a:gd name="connsiteX605" fmla="*/ 11349567 w 12166600"/>
                <a:gd name="connsiteY605" fmla="*/ 2530061 h 2770404"/>
                <a:gd name="connsiteX606" fmla="*/ 11356797 w 12166600"/>
                <a:gd name="connsiteY606" fmla="*/ 2530061 h 2770404"/>
                <a:gd name="connsiteX607" fmla="*/ 11342336 w 12166600"/>
                <a:gd name="connsiteY607" fmla="*/ 2515521 h 2770404"/>
                <a:gd name="connsiteX608" fmla="*/ 11291724 w 12166600"/>
                <a:gd name="connsiteY608" fmla="*/ 2515521 h 2770404"/>
                <a:gd name="connsiteX609" fmla="*/ 11291724 w 12166600"/>
                <a:gd name="connsiteY609" fmla="*/ 2530061 h 2770404"/>
                <a:gd name="connsiteX610" fmla="*/ 11291724 w 12166600"/>
                <a:gd name="connsiteY610" fmla="*/ 2531879 h 2770404"/>
                <a:gd name="connsiteX611" fmla="*/ 11291724 w 12166600"/>
                <a:gd name="connsiteY611" fmla="*/ 2537331 h 2770404"/>
                <a:gd name="connsiteX612" fmla="*/ 11298954 w 12166600"/>
                <a:gd name="connsiteY612" fmla="*/ 2530061 h 2770404"/>
                <a:gd name="connsiteX613" fmla="*/ 12087066 w 12166600"/>
                <a:gd name="connsiteY613" fmla="*/ 2508250 h 2770404"/>
                <a:gd name="connsiteX614" fmla="*/ 12079835 w 12166600"/>
                <a:gd name="connsiteY614" fmla="*/ 2515521 h 2770404"/>
                <a:gd name="connsiteX615" fmla="*/ 12087066 w 12166600"/>
                <a:gd name="connsiteY615" fmla="*/ 2537331 h 2770404"/>
                <a:gd name="connsiteX616" fmla="*/ 12087066 w 12166600"/>
                <a:gd name="connsiteY616" fmla="*/ 2522791 h 2770404"/>
                <a:gd name="connsiteX617" fmla="*/ 12087066 w 12166600"/>
                <a:gd name="connsiteY617" fmla="*/ 2508250 h 2770404"/>
                <a:gd name="connsiteX618" fmla="*/ 12043683 w 12166600"/>
                <a:gd name="connsiteY618" fmla="*/ 2508250 h 2770404"/>
                <a:gd name="connsiteX619" fmla="*/ 12043683 w 12166600"/>
                <a:gd name="connsiteY619" fmla="*/ 2515521 h 2770404"/>
                <a:gd name="connsiteX620" fmla="*/ 12043683 w 12166600"/>
                <a:gd name="connsiteY620" fmla="*/ 2522791 h 2770404"/>
                <a:gd name="connsiteX621" fmla="*/ 12043683 w 12166600"/>
                <a:gd name="connsiteY621" fmla="*/ 2530061 h 2770404"/>
                <a:gd name="connsiteX622" fmla="*/ 12050914 w 12166600"/>
                <a:gd name="connsiteY622" fmla="*/ 2537331 h 2770404"/>
                <a:gd name="connsiteX623" fmla="*/ 12058144 w 12166600"/>
                <a:gd name="connsiteY623" fmla="*/ 2530061 h 2770404"/>
                <a:gd name="connsiteX624" fmla="*/ 12058144 w 12166600"/>
                <a:gd name="connsiteY624" fmla="*/ 2522791 h 2770404"/>
                <a:gd name="connsiteX625" fmla="*/ 11935228 w 12166600"/>
                <a:gd name="connsiteY625" fmla="*/ 2508250 h 2770404"/>
                <a:gd name="connsiteX626" fmla="*/ 11935228 w 12166600"/>
                <a:gd name="connsiteY626" fmla="*/ 2522791 h 2770404"/>
                <a:gd name="connsiteX627" fmla="*/ 11935228 w 12166600"/>
                <a:gd name="connsiteY627" fmla="*/ 2530061 h 2770404"/>
                <a:gd name="connsiteX628" fmla="*/ 11935228 w 12166600"/>
                <a:gd name="connsiteY628" fmla="*/ 2537331 h 2770404"/>
                <a:gd name="connsiteX629" fmla="*/ 11935228 w 12166600"/>
                <a:gd name="connsiteY629" fmla="*/ 2544602 h 2770404"/>
                <a:gd name="connsiteX630" fmla="*/ 11942458 w 12166600"/>
                <a:gd name="connsiteY630" fmla="*/ 2544602 h 2770404"/>
                <a:gd name="connsiteX631" fmla="*/ 11942458 w 12166600"/>
                <a:gd name="connsiteY631" fmla="*/ 2537331 h 2770404"/>
                <a:gd name="connsiteX632" fmla="*/ 11942458 w 12166600"/>
                <a:gd name="connsiteY632" fmla="*/ 2530061 h 2770404"/>
                <a:gd name="connsiteX633" fmla="*/ 11949689 w 12166600"/>
                <a:gd name="connsiteY633" fmla="*/ 2522791 h 2770404"/>
                <a:gd name="connsiteX634" fmla="*/ 11935228 w 12166600"/>
                <a:gd name="connsiteY634" fmla="*/ 2508250 h 2770404"/>
                <a:gd name="connsiteX635" fmla="*/ 11458023 w 12166600"/>
                <a:gd name="connsiteY635" fmla="*/ 2500980 h 2770404"/>
                <a:gd name="connsiteX636" fmla="*/ 11472483 w 12166600"/>
                <a:gd name="connsiteY636" fmla="*/ 2522791 h 2770404"/>
                <a:gd name="connsiteX637" fmla="*/ 11479714 w 12166600"/>
                <a:gd name="connsiteY637" fmla="*/ 2508250 h 2770404"/>
                <a:gd name="connsiteX638" fmla="*/ 11486944 w 12166600"/>
                <a:gd name="connsiteY638" fmla="*/ 2508250 h 2770404"/>
                <a:gd name="connsiteX639" fmla="*/ 11486944 w 12166600"/>
                <a:gd name="connsiteY639" fmla="*/ 2500980 h 2770404"/>
                <a:gd name="connsiteX640" fmla="*/ 11479714 w 12166600"/>
                <a:gd name="connsiteY640" fmla="*/ 2500980 h 2770404"/>
                <a:gd name="connsiteX641" fmla="*/ 11472483 w 12166600"/>
                <a:gd name="connsiteY641" fmla="*/ 2500980 h 2770404"/>
                <a:gd name="connsiteX642" fmla="*/ 11465253 w 12166600"/>
                <a:gd name="connsiteY642" fmla="*/ 2500980 h 2770404"/>
                <a:gd name="connsiteX643" fmla="*/ 11458023 w 12166600"/>
                <a:gd name="connsiteY643" fmla="*/ 2500980 h 2770404"/>
                <a:gd name="connsiteX644" fmla="*/ 11291724 w 12166600"/>
                <a:gd name="connsiteY644" fmla="*/ 2500980 h 2770404"/>
                <a:gd name="connsiteX645" fmla="*/ 11298954 w 12166600"/>
                <a:gd name="connsiteY645" fmla="*/ 2508250 h 2770404"/>
                <a:gd name="connsiteX646" fmla="*/ 11306185 w 12166600"/>
                <a:gd name="connsiteY646" fmla="*/ 2515521 h 2770404"/>
                <a:gd name="connsiteX647" fmla="*/ 11306185 w 12166600"/>
                <a:gd name="connsiteY647" fmla="*/ 2508250 h 2770404"/>
                <a:gd name="connsiteX648" fmla="*/ 11313415 w 12166600"/>
                <a:gd name="connsiteY648" fmla="*/ 2500980 h 2770404"/>
                <a:gd name="connsiteX649" fmla="*/ 11298954 w 12166600"/>
                <a:gd name="connsiteY649" fmla="*/ 2500980 h 2770404"/>
                <a:gd name="connsiteX650" fmla="*/ 12065375 w 12166600"/>
                <a:gd name="connsiteY650" fmla="*/ 2493710 h 2770404"/>
                <a:gd name="connsiteX651" fmla="*/ 12072605 w 12166600"/>
                <a:gd name="connsiteY651" fmla="*/ 2508250 h 2770404"/>
                <a:gd name="connsiteX652" fmla="*/ 12072605 w 12166600"/>
                <a:gd name="connsiteY652" fmla="*/ 2500980 h 2770404"/>
                <a:gd name="connsiteX653" fmla="*/ 12079835 w 12166600"/>
                <a:gd name="connsiteY653" fmla="*/ 2493710 h 2770404"/>
                <a:gd name="connsiteX654" fmla="*/ 12065375 w 12166600"/>
                <a:gd name="connsiteY654" fmla="*/ 2493710 h 2770404"/>
                <a:gd name="connsiteX655" fmla="*/ 11349567 w 12166600"/>
                <a:gd name="connsiteY655" fmla="*/ 2450088 h 2770404"/>
                <a:gd name="connsiteX656" fmla="*/ 11349567 w 12166600"/>
                <a:gd name="connsiteY656" fmla="*/ 2457358 h 2770404"/>
                <a:gd name="connsiteX657" fmla="*/ 11349567 w 12166600"/>
                <a:gd name="connsiteY657" fmla="*/ 2464629 h 2770404"/>
                <a:gd name="connsiteX658" fmla="*/ 11342336 w 12166600"/>
                <a:gd name="connsiteY658" fmla="*/ 2464629 h 2770404"/>
                <a:gd name="connsiteX659" fmla="*/ 11342336 w 12166600"/>
                <a:gd name="connsiteY659" fmla="*/ 2471899 h 2770404"/>
                <a:gd name="connsiteX660" fmla="*/ 11335106 w 12166600"/>
                <a:gd name="connsiteY660" fmla="*/ 2479169 h 2770404"/>
                <a:gd name="connsiteX661" fmla="*/ 11335106 w 12166600"/>
                <a:gd name="connsiteY661" fmla="*/ 2486439 h 2770404"/>
                <a:gd name="connsiteX662" fmla="*/ 11342336 w 12166600"/>
                <a:gd name="connsiteY662" fmla="*/ 2486439 h 2770404"/>
                <a:gd name="connsiteX663" fmla="*/ 11349567 w 12166600"/>
                <a:gd name="connsiteY663" fmla="*/ 2486439 h 2770404"/>
                <a:gd name="connsiteX664" fmla="*/ 11356797 w 12166600"/>
                <a:gd name="connsiteY664" fmla="*/ 2486439 h 2770404"/>
                <a:gd name="connsiteX665" fmla="*/ 11371258 w 12166600"/>
                <a:gd name="connsiteY665" fmla="*/ 2486439 h 2770404"/>
                <a:gd name="connsiteX666" fmla="*/ 11378488 w 12166600"/>
                <a:gd name="connsiteY666" fmla="*/ 2486439 h 2770404"/>
                <a:gd name="connsiteX667" fmla="*/ 11385719 w 12166600"/>
                <a:gd name="connsiteY667" fmla="*/ 2486439 h 2770404"/>
                <a:gd name="connsiteX668" fmla="*/ 11392949 w 12166600"/>
                <a:gd name="connsiteY668" fmla="*/ 2486439 h 2770404"/>
                <a:gd name="connsiteX669" fmla="*/ 11400180 w 12166600"/>
                <a:gd name="connsiteY669" fmla="*/ 2486439 h 2770404"/>
                <a:gd name="connsiteX670" fmla="*/ 11407410 w 12166600"/>
                <a:gd name="connsiteY670" fmla="*/ 2486439 h 2770404"/>
                <a:gd name="connsiteX671" fmla="*/ 11378488 w 12166600"/>
                <a:gd name="connsiteY671" fmla="*/ 2471899 h 2770404"/>
                <a:gd name="connsiteX672" fmla="*/ 11349567 w 12166600"/>
                <a:gd name="connsiteY672" fmla="*/ 2450088 h 2770404"/>
                <a:gd name="connsiteX673" fmla="*/ 12014762 w 12166600"/>
                <a:gd name="connsiteY673" fmla="*/ 2442818 h 2770404"/>
                <a:gd name="connsiteX674" fmla="*/ 12007532 w 12166600"/>
                <a:gd name="connsiteY674" fmla="*/ 2450088 h 2770404"/>
                <a:gd name="connsiteX675" fmla="*/ 11993071 w 12166600"/>
                <a:gd name="connsiteY675" fmla="*/ 2457358 h 2770404"/>
                <a:gd name="connsiteX676" fmla="*/ 11993071 w 12166600"/>
                <a:gd name="connsiteY676" fmla="*/ 2464629 h 2770404"/>
                <a:gd name="connsiteX677" fmla="*/ 11985840 w 12166600"/>
                <a:gd name="connsiteY677" fmla="*/ 2464629 h 2770404"/>
                <a:gd name="connsiteX678" fmla="*/ 11985840 w 12166600"/>
                <a:gd name="connsiteY678" fmla="*/ 2471899 h 2770404"/>
                <a:gd name="connsiteX679" fmla="*/ 11971380 w 12166600"/>
                <a:gd name="connsiteY679" fmla="*/ 2479169 h 2770404"/>
                <a:gd name="connsiteX680" fmla="*/ 11978610 w 12166600"/>
                <a:gd name="connsiteY680" fmla="*/ 2479169 h 2770404"/>
                <a:gd name="connsiteX681" fmla="*/ 11985840 w 12166600"/>
                <a:gd name="connsiteY681" fmla="*/ 2479169 h 2770404"/>
                <a:gd name="connsiteX682" fmla="*/ 11993071 w 12166600"/>
                <a:gd name="connsiteY682" fmla="*/ 2479169 h 2770404"/>
                <a:gd name="connsiteX683" fmla="*/ 12000301 w 12166600"/>
                <a:gd name="connsiteY683" fmla="*/ 2479169 h 2770404"/>
                <a:gd name="connsiteX684" fmla="*/ 12007532 w 12166600"/>
                <a:gd name="connsiteY684" fmla="*/ 2479169 h 2770404"/>
                <a:gd name="connsiteX685" fmla="*/ 12014762 w 12166600"/>
                <a:gd name="connsiteY685" fmla="*/ 2479169 h 2770404"/>
                <a:gd name="connsiteX686" fmla="*/ 12036453 w 12166600"/>
                <a:gd name="connsiteY686" fmla="*/ 2479169 h 2770404"/>
                <a:gd name="connsiteX687" fmla="*/ 12043683 w 12166600"/>
                <a:gd name="connsiteY687" fmla="*/ 2479169 h 2770404"/>
                <a:gd name="connsiteX688" fmla="*/ 12029223 w 12166600"/>
                <a:gd name="connsiteY688" fmla="*/ 2457358 h 2770404"/>
                <a:gd name="connsiteX689" fmla="*/ 12021992 w 12166600"/>
                <a:gd name="connsiteY689" fmla="*/ 2442818 h 2770404"/>
                <a:gd name="connsiteX690" fmla="*/ 12014762 w 12166600"/>
                <a:gd name="connsiteY690" fmla="*/ 2442818 h 2770404"/>
                <a:gd name="connsiteX691" fmla="*/ 11819542 w 12166600"/>
                <a:gd name="connsiteY691" fmla="*/ 2442818 h 2770404"/>
                <a:gd name="connsiteX692" fmla="*/ 11819542 w 12166600"/>
                <a:gd name="connsiteY692" fmla="*/ 2450088 h 2770404"/>
                <a:gd name="connsiteX693" fmla="*/ 11826772 w 12166600"/>
                <a:gd name="connsiteY693" fmla="*/ 2457358 h 2770404"/>
                <a:gd name="connsiteX694" fmla="*/ 11826772 w 12166600"/>
                <a:gd name="connsiteY694" fmla="*/ 2464629 h 2770404"/>
                <a:gd name="connsiteX695" fmla="*/ 11826772 w 12166600"/>
                <a:gd name="connsiteY695" fmla="*/ 2471899 h 2770404"/>
                <a:gd name="connsiteX696" fmla="*/ 11826772 w 12166600"/>
                <a:gd name="connsiteY696" fmla="*/ 2479169 h 2770404"/>
                <a:gd name="connsiteX697" fmla="*/ 11834002 w 12166600"/>
                <a:gd name="connsiteY697" fmla="*/ 2479169 h 2770404"/>
                <a:gd name="connsiteX698" fmla="*/ 11841233 w 12166600"/>
                <a:gd name="connsiteY698" fmla="*/ 2479169 h 2770404"/>
                <a:gd name="connsiteX699" fmla="*/ 11848463 w 12166600"/>
                <a:gd name="connsiteY699" fmla="*/ 2479169 h 2770404"/>
                <a:gd name="connsiteX700" fmla="*/ 11855694 w 12166600"/>
                <a:gd name="connsiteY700" fmla="*/ 2479169 h 2770404"/>
                <a:gd name="connsiteX701" fmla="*/ 11870154 w 12166600"/>
                <a:gd name="connsiteY701" fmla="*/ 2479169 h 2770404"/>
                <a:gd name="connsiteX702" fmla="*/ 11877385 w 12166600"/>
                <a:gd name="connsiteY702" fmla="*/ 2479169 h 2770404"/>
                <a:gd name="connsiteX703" fmla="*/ 11884615 w 12166600"/>
                <a:gd name="connsiteY703" fmla="*/ 2479169 h 2770404"/>
                <a:gd name="connsiteX704" fmla="*/ 11891845 w 12166600"/>
                <a:gd name="connsiteY704" fmla="*/ 2479169 h 2770404"/>
                <a:gd name="connsiteX705" fmla="*/ 11899076 w 12166600"/>
                <a:gd name="connsiteY705" fmla="*/ 2479169 h 2770404"/>
                <a:gd name="connsiteX706" fmla="*/ 11884615 w 12166600"/>
                <a:gd name="connsiteY706" fmla="*/ 2471899 h 2770404"/>
                <a:gd name="connsiteX707" fmla="*/ 11877385 w 12166600"/>
                <a:gd name="connsiteY707" fmla="*/ 2471899 h 2770404"/>
                <a:gd name="connsiteX708" fmla="*/ 11855694 w 12166600"/>
                <a:gd name="connsiteY708" fmla="*/ 2457358 h 2770404"/>
                <a:gd name="connsiteX709" fmla="*/ 11841233 w 12166600"/>
                <a:gd name="connsiteY709" fmla="*/ 2457358 h 2770404"/>
                <a:gd name="connsiteX710" fmla="*/ 11819542 w 12166600"/>
                <a:gd name="connsiteY710" fmla="*/ 2442818 h 2770404"/>
                <a:gd name="connsiteX711" fmla="*/ 11429101 w 12166600"/>
                <a:gd name="connsiteY711" fmla="*/ 2442818 h 2770404"/>
                <a:gd name="connsiteX712" fmla="*/ 11421871 w 12166600"/>
                <a:gd name="connsiteY712" fmla="*/ 2450088 h 2770404"/>
                <a:gd name="connsiteX713" fmla="*/ 11414640 w 12166600"/>
                <a:gd name="connsiteY713" fmla="*/ 2450088 h 2770404"/>
                <a:gd name="connsiteX714" fmla="*/ 11407410 w 12166600"/>
                <a:gd name="connsiteY714" fmla="*/ 2450088 h 2770404"/>
                <a:gd name="connsiteX715" fmla="*/ 11378488 w 12166600"/>
                <a:gd name="connsiteY715" fmla="*/ 2450088 h 2770404"/>
                <a:gd name="connsiteX716" fmla="*/ 11407410 w 12166600"/>
                <a:gd name="connsiteY716" fmla="*/ 2471899 h 2770404"/>
                <a:gd name="connsiteX717" fmla="*/ 11429101 w 12166600"/>
                <a:gd name="connsiteY717" fmla="*/ 2486439 h 2770404"/>
                <a:gd name="connsiteX718" fmla="*/ 11443562 w 12166600"/>
                <a:gd name="connsiteY718" fmla="*/ 2486439 h 2770404"/>
                <a:gd name="connsiteX719" fmla="*/ 11450792 w 12166600"/>
                <a:gd name="connsiteY719" fmla="*/ 2486439 h 2770404"/>
                <a:gd name="connsiteX720" fmla="*/ 11458023 w 12166600"/>
                <a:gd name="connsiteY720" fmla="*/ 2479169 h 2770404"/>
                <a:gd name="connsiteX721" fmla="*/ 11465253 w 12166600"/>
                <a:gd name="connsiteY721" fmla="*/ 2479169 h 2770404"/>
                <a:gd name="connsiteX722" fmla="*/ 11472483 w 12166600"/>
                <a:gd name="connsiteY722" fmla="*/ 2479169 h 2770404"/>
                <a:gd name="connsiteX723" fmla="*/ 11479714 w 12166600"/>
                <a:gd name="connsiteY723" fmla="*/ 2471899 h 2770404"/>
                <a:gd name="connsiteX724" fmla="*/ 11486944 w 12166600"/>
                <a:gd name="connsiteY724" fmla="*/ 2464629 h 2770404"/>
                <a:gd name="connsiteX725" fmla="*/ 11494175 w 12166600"/>
                <a:gd name="connsiteY725" fmla="*/ 2464629 h 2770404"/>
                <a:gd name="connsiteX726" fmla="*/ 11501405 w 12166600"/>
                <a:gd name="connsiteY726" fmla="*/ 2457358 h 2770404"/>
                <a:gd name="connsiteX727" fmla="*/ 11508635 w 12166600"/>
                <a:gd name="connsiteY727" fmla="*/ 2457358 h 2770404"/>
                <a:gd name="connsiteX728" fmla="*/ 11515866 w 12166600"/>
                <a:gd name="connsiteY728" fmla="*/ 2450088 h 2770404"/>
                <a:gd name="connsiteX729" fmla="*/ 11523096 w 12166600"/>
                <a:gd name="connsiteY729" fmla="*/ 2450088 h 2770404"/>
                <a:gd name="connsiteX730" fmla="*/ 11530326 w 12166600"/>
                <a:gd name="connsiteY730" fmla="*/ 2442818 h 2770404"/>
                <a:gd name="connsiteX731" fmla="*/ 11523096 w 12166600"/>
                <a:gd name="connsiteY731" fmla="*/ 2442818 h 2770404"/>
                <a:gd name="connsiteX732" fmla="*/ 11508635 w 12166600"/>
                <a:gd name="connsiteY732" fmla="*/ 2442818 h 2770404"/>
                <a:gd name="connsiteX733" fmla="*/ 11501405 w 12166600"/>
                <a:gd name="connsiteY733" fmla="*/ 2442818 h 2770404"/>
                <a:gd name="connsiteX734" fmla="*/ 11494175 w 12166600"/>
                <a:gd name="connsiteY734" fmla="*/ 2442818 h 2770404"/>
                <a:gd name="connsiteX735" fmla="*/ 11486944 w 12166600"/>
                <a:gd name="connsiteY735" fmla="*/ 2442818 h 2770404"/>
                <a:gd name="connsiteX736" fmla="*/ 11472483 w 12166600"/>
                <a:gd name="connsiteY736" fmla="*/ 2442818 h 2770404"/>
                <a:gd name="connsiteX737" fmla="*/ 11465253 w 12166600"/>
                <a:gd name="connsiteY737" fmla="*/ 2442818 h 2770404"/>
                <a:gd name="connsiteX738" fmla="*/ 11450792 w 12166600"/>
                <a:gd name="connsiteY738" fmla="*/ 2442818 h 2770404"/>
                <a:gd name="connsiteX739" fmla="*/ 11436331 w 12166600"/>
                <a:gd name="connsiteY739" fmla="*/ 2442818 h 2770404"/>
                <a:gd name="connsiteX740" fmla="*/ 11429101 w 12166600"/>
                <a:gd name="connsiteY740" fmla="*/ 2442818 h 2770404"/>
                <a:gd name="connsiteX741" fmla="*/ 11465253 w 12166600"/>
                <a:gd name="connsiteY741" fmla="*/ 2384655 h 2770404"/>
                <a:gd name="connsiteX742" fmla="*/ 11465253 w 12166600"/>
                <a:gd name="connsiteY742" fmla="*/ 2391926 h 2770404"/>
                <a:gd name="connsiteX743" fmla="*/ 11450792 w 12166600"/>
                <a:gd name="connsiteY743" fmla="*/ 2391926 h 2770404"/>
                <a:gd name="connsiteX744" fmla="*/ 11450792 w 12166600"/>
                <a:gd name="connsiteY744" fmla="*/ 2399196 h 2770404"/>
                <a:gd name="connsiteX745" fmla="*/ 11443562 w 12166600"/>
                <a:gd name="connsiteY745" fmla="*/ 2399196 h 2770404"/>
                <a:gd name="connsiteX746" fmla="*/ 11436331 w 12166600"/>
                <a:gd name="connsiteY746" fmla="*/ 2399196 h 2770404"/>
                <a:gd name="connsiteX747" fmla="*/ 11429101 w 12166600"/>
                <a:gd name="connsiteY747" fmla="*/ 2406466 h 2770404"/>
                <a:gd name="connsiteX748" fmla="*/ 11414640 w 12166600"/>
                <a:gd name="connsiteY748" fmla="*/ 2413736 h 2770404"/>
                <a:gd name="connsiteX749" fmla="*/ 11407410 w 12166600"/>
                <a:gd name="connsiteY749" fmla="*/ 2421007 h 2770404"/>
                <a:gd name="connsiteX750" fmla="*/ 11400180 w 12166600"/>
                <a:gd name="connsiteY750" fmla="*/ 2421007 h 2770404"/>
                <a:gd name="connsiteX751" fmla="*/ 11392949 w 12166600"/>
                <a:gd name="connsiteY751" fmla="*/ 2421007 h 2770404"/>
                <a:gd name="connsiteX752" fmla="*/ 11392949 w 12166600"/>
                <a:gd name="connsiteY752" fmla="*/ 2428277 h 2770404"/>
                <a:gd name="connsiteX753" fmla="*/ 11385719 w 12166600"/>
                <a:gd name="connsiteY753" fmla="*/ 2428277 h 2770404"/>
                <a:gd name="connsiteX754" fmla="*/ 11378488 w 12166600"/>
                <a:gd name="connsiteY754" fmla="*/ 2435547 h 2770404"/>
                <a:gd name="connsiteX755" fmla="*/ 11392949 w 12166600"/>
                <a:gd name="connsiteY755" fmla="*/ 2435547 h 2770404"/>
                <a:gd name="connsiteX756" fmla="*/ 11400180 w 12166600"/>
                <a:gd name="connsiteY756" fmla="*/ 2435547 h 2770404"/>
                <a:gd name="connsiteX757" fmla="*/ 11407410 w 12166600"/>
                <a:gd name="connsiteY757" fmla="*/ 2435547 h 2770404"/>
                <a:gd name="connsiteX758" fmla="*/ 11414640 w 12166600"/>
                <a:gd name="connsiteY758" fmla="*/ 2435547 h 2770404"/>
                <a:gd name="connsiteX759" fmla="*/ 11421871 w 12166600"/>
                <a:gd name="connsiteY759" fmla="*/ 2435547 h 2770404"/>
                <a:gd name="connsiteX760" fmla="*/ 11436331 w 12166600"/>
                <a:gd name="connsiteY760" fmla="*/ 2435547 h 2770404"/>
                <a:gd name="connsiteX761" fmla="*/ 11450792 w 12166600"/>
                <a:gd name="connsiteY761" fmla="*/ 2435547 h 2770404"/>
                <a:gd name="connsiteX762" fmla="*/ 11458023 w 12166600"/>
                <a:gd name="connsiteY762" fmla="*/ 2435547 h 2770404"/>
                <a:gd name="connsiteX763" fmla="*/ 11472483 w 12166600"/>
                <a:gd name="connsiteY763" fmla="*/ 2435547 h 2770404"/>
                <a:gd name="connsiteX764" fmla="*/ 11479714 w 12166600"/>
                <a:gd name="connsiteY764" fmla="*/ 2435547 h 2770404"/>
                <a:gd name="connsiteX765" fmla="*/ 11486944 w 12166600"/>
                <a:gd name="connsiteY765" fmla="*/ 2428277 h 2770404"/>
                <a:gd name="connsiteX766" fmla="*/ 11494175 w 12166600"/>
                <a:gd name="connsiteY766" fmla="*/ 2428277 h 2770404"/>
                <a:gd name="connsiteX767" fmla="*/ 11508635 w 12166600"/>
                <a:gd name="connsiteY767" fmla="*/ 2428277 h 2770404"/>
                <a:gd name="connsiteX768" fmla="*/ 11515866 w 12166600"/>
                <a:gd name="connsiteY768" fmla="*/ 2428277 h 2770404"/>
                <a:gd name="connsiteX769" fmla="*/ 11523096 w 12166600"/>
                <a:gd name="connsiteY769" fmla="*/ 2428277 h 2770404"/>
                <a:gd name="connsiteX770" fmla="*/ 11537557 w 12166600"/>
                <a:gd name="connsiteY770" fmla="*/ 2428277 h 2770404"/>
                <a:gd name="connsiteX771" fmla="*/ 11515866 w 12166600"/>
                <a:gd name="connsiteY771" fmla="*/ 2413736 h 2770404"/>
                <a:gd name="connsiteX772" fmla="*/ 11472483 w 12166600"/>
                <a:gd name="connsiteY772" fmla="*/ 2384655 h 2770404"/>
                <a:gd name="connsiteX773" fmla="*/ 11465253 w 12166600"/>
                <a:gd name="connsiteY773" fmla="*/ 2384655 h 2770404"/>
                <a:gd name="connsiteX774" fmla="*/ 5943374 w 12166600"/>
                <a:gd name="connsiteY774" fmla="*/ 2362705 h 2770404"/>
                <a:gd name="connsiteX775" fmla="*/ 5784339 w 12166600"/>
                <a:gd name="connsiteY775" fmla="*/ 2369978 h 2770404"/>
                <a:gd name="connsiteX776" fmla="*/ 5762653 w 12166600"/>
                <a:gd name="connsiteY776" fmla="*/ 2369978 h 2770404"/>
                <a:gd name="connsiteX777" fmla="*/ 5668677 w 12166600"/>
                <a:gd name="connsiteY777" fmla="*/ 2464526 h 2770404"/>
                <a:gd name="connsiteX778" fmla="*/ 5668677 w 12166600"/>
                <a:gd name="connsiteY778" fmla="*/ 2602712 h 2770404"/>
                <a:gd name="connsiteX779" fmla="*/ 5769881 w 12166600"/>
                <a:gd name="connsiteY779" fmla="*/ 2697260 h 2770404"/>
                <a:gd name="connsiteX780" fmla="*/ 5936145 w 12166600"/>
                <a:gd name="connsiteY780" fmla="*/ 2697260 h 2770404"/>
                <a:gd name="connsiteX781" fmla="*/ 5950603 w 12166600"/>
                <a:gd name="connsiteY781" fmla="*/ 2697260 h 2770404"/>
                <a:gd name="connsiteX782" fmla="*/ 6044578 w 12166600"/>
                <a:gd name="connsiteY782" fmla="*/ 2595439 h 2770404"/>
                <a:gd name="connsiteX783" fmla="*/ 6044578 w 12166600"/>
                <a:gd name="connsiteY783" fmla="*/ 2457253 h 2770404"/>
                <a:gd name="connsiteX784" fmla="*/ 5943374 w 12166600"/>
                <a:gd name="connsiteY784" fmla="*/ 2362705 h 2770404"/>
                <a:gd name="connsiteX785" fmla="*/ 6449394 w 12166600"/>
                <a:gd name="connsiteY785" fmla="*/ 2355432 h 2770404"/>
                <a:gd name="connsiteX786" fmla="*/ 6283130 w 12166600"/>
                <a:gd name="connsiteY786" fmla="*/ 2362705 h 2770404"/>
                <a:gd name="connsiteX787" fmla="*/ 6268673 w 12166600"/>
                <a:gd name="connsiteY787" fmla="*/ 2362705 h 2770404"/>
                <a:gd name="connsiteX788" fmla="*/ 6167469 w 12166600"/>
                <a:gd name="connsiteY788" fmla="*/ 2457253 h 2770404"/>
                <a:gd name="connsiteX789" fmla="*/ 6174698 w 12166600"/>
                <a:gd name="connsiteY789" fmla="*/ 2595439 h 2770404"/>
                <a:gd name="connsiteX790" fmla="*/ 6268673 w 12166600"/>
                <a:gd name="connsiteY790" fmla="*/ 2689987 h 2770404"/>
                <a:gd name="connsiteX791" fmla="*/ 6434937 w 12166600"/>
                <a:gd name="connsiteY791" fmla="*/ 2689987 h 2770404"/>
                <a:gd name="connsiteX792" fmla="*/ 6449394 w 12166600"/>
                <a:gd name="connsiteY792" fmla="*/ 2682714 h 2770404"/>
                <a:gd name="connsiteX793" fmla="*/ 6550598 w 12166600"/>
                <a:gd name="connsiteY793" fmla="*/ 2588166 h 2770404"/>
                <a:gd name="connsiteX794" fmla="*/ 6543369 w 12166600"/>
                <a:gd name="connsiteY794" fmla="*/ 2449980 h 2770404"/>
                <a:gd name="connsiteX795" fmla="*/ 6449394 w 12166600"/>
                <a:gd name="connsiteY795" fmla="*/ 2355432 h 2770404"/>
                <a:gd name="connsiteX796" fmla="*/ 6948186 w 12166600"/>
                <a:gd name="connsiteY796" fmla="*/ 2348159 h 2770404"/>
                <a:gd name="connsiteX797" fmla="*/ 6767464 w 12166600"/>
                <a:gd name="connsiteY797" fmla="*/ 2355432 h 2770404"/>
                <a:gd name="connsiteX798" fmla="*/ 6673489 w 12166600"/>
                <a:gd name="connsiteY798" fmla="*/ 2449980 h 2770404"/>
                <a:gd name="connsiteX799" fmla="*/ 6673489 w 12166600"/>
                <a:gd name="connsiteY799" fmla="*/ 2588166 h 2770404"/>
                <a:gd name="connsiteX800" fmla="*/ 6767464 w 12166600"/>
                <a:gd name="connsiteY800" fmla="*/ 2682714 h 2770404"/>
                <a:gd name="connsiteX801" fmla="*/ 6955414 w 12166600"/>
                <a:gd name="connsiteY801" fmla="*/ 2675441 h 2770404"/>
                <a:gd name="connsiteX802" fmla="*/ 7049390 w 12166600"/>
                <a:gd name="connsiteY802" fmla="*/ 2580893 h 2770404"/>
                <a:gd name="connsiteX803" fmla="*/ 7042161 w 12166600"/>
                <a:gd name="connsiteY803" fmla="*/ 2471799 h 2770404"/>
                <a:gd name="connsiteX804" fmla="*/ 7042161 w 12166600"/>
                <a:gd name="connsiteY804" fmla="*/ 2442707 h 2770404"/>
                <a:gd name="connsiteX805" fmla="*/ 6991559 w 12166600"/>
                <a:gd name="connsiteY805" fmla="*/ 2362705 h 2770404"/>
                <a:gd name="connsiteX806" fmla="*/ 6948186 w 12166600"/>
                <a:gd name="connsiteY806" fmla="*/ 2348159 h 2770404"/>
                <a:gd name="connsiteX807" fmla="*/ 2054248 w 12166600"/>
                <a:gd name="connsiteY807" fmla="*/ 2348159 h 2770404"/>
                <a:gd name="connsiteX808" fmla="*/ 2039790 w 12166600"/>
                <a:gd name="connsiteY808" fmla="*/ 2428161 h 2770404"/>
                <a:gd name="connsiteX809" fmla="*/ 2032562 w 12166600"/>
                <a:gd name="connsiteY809" fmla="*/ 2471799 h 2770404"/>
                <a:gd name="connsiteX810" fmla="*/ 2054248 w 12166600"/>
                <a:gd name="connsiteY810" fmla="*/ 2471799 h 2770404"/>
                <a:gd name="connsiteX811" fmla="*/ 7439748 w 12166600"/>
                <a:gd name="connsiteY811" fmla="*/ 2340886 h 2770404"/>
                <a:gd name="connsiteX812" fmla="*/ 7280713 w 12166600"/>
                <a:gd name="connsiteY812" fmla="*/ 2348159 h 2770404"/>
                <a:gd name="connsiteX813" fmla="*/ 7266255 w 12166600"/>
                <a:gd name="connsiteY813" fmla="*/ 2348159 h 2770404"/>
                <a:gd name="connsiteX814" fmla="*/ 7172280 w 12166600"/>
                <a:gd name="connsiteY814" fmla="*/ 2442707 h 2770404"/>
                <a:gd name="connsiteX815" fmla="*/ 7172280 w 12166600"/>
                <a:gd name="connsiteY815" fmla="*/ 2580893 h 2770404"/>
                <a:gd name="connsiteX816" fmla="*/ 7273484 w 12166600"/>
                <a:gd name="connsiteY816" fmla="*/ 2675441 h 2770404"/>
                <a:gd name="connsiteX817" fmla="*/ 7432519 w 12166600"/>
                <a:gd name="connsiteY817" fmla="*/ 2668168 h 2770404"/>
                <a:gd name="connsiteX818" fmla="*/ 7454206 w 12166600"/>
                <a:gd name="connsiteY818" fmla="*/ 2668168 h 2770404"/>
                <a:gd name="connsiteX819" fmla="*/ 7548181 w 12166600"/>
                <a:gd name="connsiteY819" fmla="*/ 2573620 h 2770404"/>
                <a:gd name="connsiteX820" fmla="*/ 7439748 w 12166600"/>
                <a:gd name="connsiteY820" fmla="*/ 2340886 h 2770404"/>
                <a:gd name="connsiteX821" fmla="*/ 11566478 w 12166600"/>
                <a:gd name="connsiteY821" fmla="*/ 2333763 h 2770404"/>
                <a:gd name="connsiteX822" fmla="*/ 11544787 w 12166600"/>
                <a:gd name="connsiteY822" fmla="*/ 2348304 h 2770404"/>
                <a:gd name="connsiteX823" fmla="*/ 11537557 w 12166600"/>
                <a:gd name="connsiteY823" fmla="*/ 2348304 h 2770404"/>
                <a:gd name="connsiteX824" fmla="*/ 11530326 w 12166600"/>
                <a:gd name="connsiteY824" fmla="*/ 2355574 h 2770404"/>
                <a:gd name="connsiteX825" fmla="*/ 11523096 w 12166600"/>
                <a:gd name="connsiteY825" fmla="*/ 2355574 h 2770404"/>
                <a:gd name="connsiteX826" fmla="*/ 11508635 w 12166600"/>
                <a:gd name="connsiteY826" fmla="*/ 2362844 h 2770404"/>
                <a:gd name="connsiteX827" fmla="*/ 11501405 w 12166600"/>
                <a:gd name="connsiteY827" fmla="*/ 2370115 h 2770404"/>
                <a:gd name="connsiteX828" fmla="*/ 11494175 w 12166600"/>
                <a:gd name="connsiteY828" fmla="*/ 2370115 h 2770404"/>
                <a:gd name="connsiteX829" fmla="*/ 11486944 w 12166600"/>
                <a:gd name="connsiteY829" fmla="*/ 2377385 h 2770404"/>
                <a:gd name="connsiteX830" fmla="*/ 11552018 w 12166600"/>
                <a:gd name="connsiteY830" fmla="*/ 2421007 h 2770404"/>
                <a:gd name="connsiteX831" fmla="*/ 11559248 w 12166600"/>
                <a:gd name="connsiteY831" fmla="*/ 2428277 h 2770404"/>
                <a:gd name="connsiteX832" fmla="*/ 11559248 w 12166600"/>
                <a:gd name="connsiteY832" fmla="*/ 2421007 h 2770404"/>
                <a:gd name="connsiteX833" fmla="*/ 11559248 w 12166600"/>
                <a:gd name="connsiteY833" fmla="*/ 2413736 h 2770404"/>
                <a:gd name="connsiteX834" fmla="*/ 11566478 w 12166600"/>
                <a:gd name="connsiteY834" fmla="*/ 2399196 h 2770404"/>
                <a:gd name="connsiteX835" fmla="*/ 11566478 w 12166600"/>
                <a:gd name="connsiteY835" fmla="*/ 2391926 h 2770404"/>
                <a:gd name="connsiteX836" fmla="*/ 11566478 w 12166600"/>
                <a:gd name="connsiteY836" fmla="*/ 2377385 h 2770404"/>
                <a:gd name="connsiteX837" fmla="*/ 11566478 w 12166600"/>
                <a:gd name="connsiteY837" fmla="*/ 2370115 h 2770404"/>
                <a:gd name="connsiteX838" fmla="*/ 11573709 w 12166600"/>
                <a:gd name="connsiteY838" fmla="*/ 2355574 h 2770404"/>
                <a:gd name="connsiteX839" fmla="*/ 11573709 w 12166600"/>
                <a:gd name="connsiteY839" fmla="*/ 2341034 h 2770404"/>
                <a:gd name="connsiteX840" fmla="*/ 11573709 w 12166600"/>
                <a:gd name="connsiteY840" fmla="*/ 2333763 h 2770404"/>
                <a:gd name="connsiteX841" fmla="*/ 11566478 w 12166600"/>
                <a:gd name="connsiteY841" fmla="*/ 2333763 h 2770404"/>
                <a:gd name="connsiteX842" fmla="*/ 11400180 w 12166600"/>
                <a:gd name="connsiteY842" fmla="*/ 2333763 h 2770404"/>
                <a:gd name="connsiteX843" fmla="*/ 11400180 w 12166600"/>
                <a:gd name="connsiteY843" fmla="*/ 2341034 h 2770404"/>
                <a:gd name="connsiteX844" fmla="*/ 11400180 w 12166600"/>
                <a:gd name="connsiteY844" fmla="*/ 2348304 h 2770404"/>
                <a:gd name="connsiteX845" fmla="*/ 11392949 w 12166600"/>
                <a:gd name="connsiteY845" fmla="*/ 2355574 h 2770404"/>
                <a:gd name="connsiteX846" fmla="*/ 11392949 w 12166600"/>
                <a:gd name="connsiteY846" fmla="*/ 2362844 h 2770404"/>
                <a:gd name="connsiteX847" fmla="*/ 11385719 w 12166600"/>
                <a:gd name="connsiteY847" fmla="*/ 2370115 h 2770404"/>
                <a:gd name="connsiteX848" fmla="*/ 11385719 w 12166600"/>
                <a:gd name="connsiteY848" fmla="*/ 2384655 h 2770404"/>
                <a:gd name="connsiteX849" fmla="*/ 11378488 w 12166600"/>
                <a:gd name="connsiteY849" fmla="*/ 2391926 h 2770404"/>
                <a:gd name="connsiteX850" fmla="*/ 11371258 w 12166600"/>
                <a:gd name="connsiteY850" fmla="*/ 2399196 h 2770404"/>
                <a:gd name="connsiteX851" fmla="*/ 11371258 w 12166600"/>
                <a:gd name="connsiteY851" fmla="*/ 2406466 h 2770404"/>
                <a:gd name="connsiteX852" fmla="*/ 11364028 w 12166600"/>
                <a:gd name="connsiteY852" fmla="*/ 2428277 h 2770404"/>
                <a:gd name="connsiteX853" fmla="*/ 11378488 w 12166600"/>
                <a:gd name="connsiteY853" fmla="*/ 2421007 h 2770404"/>
                <a:gd name="connsiteX854" fmla="*/ 11385719 w 12166600"/>
                <a:gd name="connsiteY854" fmla="*/ 2413736 h 2770404"/>
                <a:gd name="connsiteX855" fmla="*/ 11392949 w 12166600"/>
                <a:gd name="connsiteY855" fmla="*/ 2406466 h 2770404"/>
                <a:gd name="connsiteX856" fmla="*/ 11400180 w 12166600"/>
                <a:gd name="connsiteY856" fmla="*/ 2406466 h 2770404"/>
                <a:gd name="connsiteX857" fmla="*/ 11407410 w 12166600"/>
                <a:gd name="connsiteY857" fmla="*/ 2406466 h 2770404"/>
                <a:gd name="connsiteX858" fmla="*/ 11414640 w 12166600"/>
                <a:gd name="connsiteY858" fmla="*/ 2399196 h 2770404"/>
                <a:gd name="connsiteX859" fmla="*/ 11421871 w 12166600"/>
                <a:gd name="connsiteY859" fmla="*/ 2391926 h 2770404"/>
                <a:gd name="connsiteX860" fmla="*/ 11429101 w 12166600"/>
                <a:gd name="connsiteY860" fmla="*/ 2391926 h 2770404"/>
                <a:gd name="connsiteX861" fmla="*/ 11436331 w 12166600"/>
                <a:gd name="connsiteY861" fmla="*/ 2391926 h 2770404"/>
                <a:gd name="connsiteX862" fmla="*/ 11436331 w 12166600"/>
                <a:gd name="connsiteY862" fmla="*/ 2384655 h 2770404"/>
                <a:gd name="connsiteX863" fmla="*/ 11443562 w 12166600"/>
                <a:gd name="connsiteY863" fmla="*/ 2384655 h 2770404"/>
                <a:gd name="connsiteX864" fmla="*/ 11450792 w 12166600"/>
                <a:gd name="connsiteY864" fmla="*/ 2377385 h 2770404"/>
                <a:gd name="connsiteX865" fmla="*/ 11458023 w 12166600"/>
                <a:gd name="connsiteY865" fmla="*/ 2377385 h 2770404"/>
                <a:gd name="connsiteX866" fmla="*/ 11465253 w 12166600"/>
                <a:gd name="connsiteY866" fmla="*/ 2370115 h 2770404"/>
                <a:gd name="connsiteX867" fmla="*/ 11429101 w 12166600"/>
                <a:gd name="connsiteY867" fmla="*/ 2348304 h 2770404"/>
                <a:gd name="connsiteX868" fmla="*/ 11400180 w 12166600"/>
                <a:gd name="connsiteY868" fmla="*/ 2333763 h 2770404"/>
                <a:gd name="connsiteX869" fmla="*/ 11790620 w 12166600"/>
                <a:gd name="connsiteY869" fmla="*/ 2326493 h 2770404"/>
                <a:gd name="connsiteX870" fmla="*/ 11797851 w 12166600"/>
                <a:gd name="connsiteY870" fmla="*/ 2333763 h 2770404"/>
                <a:gd name="connsiteX871" fmla="*/ 11797851 w 12166600"/>
                <a:gd name="connsiteY871" fmla="*/ 2348304 h 2770404"/>
                <a:gd name="connsiteX872" fmla="*/ 11805081 w 12166600"/>
                <a:gd name="connsiteY872" fmla="*/ 2370115 h 2770404"/>
                <a:gd name="connsiteX873" fmla="*/ 11805081 w 12166600"/>
                <a:gd name="connsiteY873" fmla="*/ 2384655 h 2770404"/>
                <a:gd name="connsiteX874" fmla="*/ 11812311 w 12166600"/>
                <a:gd name="connsiteY874" fmla="*/ 2406466 h 2770404"/>
                <a:gd name="connsiteX875" fmla="*/ 11812311 w 12166600"/>
                <a:gd name="connsiteY875" fmla="*/ 2413736 h 2770404"/>
                <a:gd name="connsiteX876" fmla="*/ 11812311 w 12166600"/>
                <a:gd name="connsiteY876" fmla="*/ 2421007 h 2770404"/>
                <a:gd name="connsiteX877" fmla="*/ 11819542 w 12166600"/>
                <a:gd name="connsiteY877" fmla="*/ 2421007 h 2770404"/>
                <a:gd name="connsiteX878" fmla="*/ 11819542 w 12166600"/>
                <a:gd name="connsiteY878" fmla="*/ 2413736 h 2770404"/>
                <a:gd name="connsiteX879" fmla="*/ 11834002 w 12166600"/>
                <a:gd name="connsiteY879" fmla="*/ 2406466 h 2770404"/>
                <a:gd name="connsiteX880" fmla="*/ 11841233 w 12166600"/>
                <a:gd name="connsiteY880" fmla="*/ 2399196 h 2770404"/>
                <a:gd name="connsiteX881" fmla="*/ 11848463 w 12166600"/>
                <a:gd name="connsiteY881" fmla="*/ 2399196 h 2770404"/>
                <a:gd name="connsiteX882" fmla="*/ 11855694 w 12166600"/>
                <a:gd name="connsiteY882" fmla="*/ 2391926 h 2770404"/>
                <a:gd name="connsiteX883" fmla="*/ 11862924 w 12166600"/>
                <a:gd name="connsiteY883" fmla="*/ 2384655 h 2770404"/>
                <a:gd name="connsiteX884" fmla="*/ 11870154 w 12166600"/>
                <a:gd name="connsiteY884" fmla="*/ 2377385 h 2770404"/>
                <a:gd name="connsiteX885" fmla="*/ 11877385 w 12166600"/>
                <a:gd name="connsiteY885" fmla="*/ 2370115 h 2770404"/>
                <a:gd name="connsiteX886" fmla="*/ 11884615 w 12166600"/>
                <a:gd name="connsiteY886" fmla="*/ 2370115 h 2770404"/>
                <a:gd name="connsiteX887" fmla="*/ 11870154 w 12166600"/>
                <a:gd name="connsiteY887" fmla="*/ 2362844 h 2770404"/>
                <a:gd name="connsiteX888" fmla="*/ 11834002 w 12166600"/>
                <a:gd name="connsiteY888" fmla="*/ 2341034 h 2770404"/>
                <a:gd name="connsiteX889" fmla="*/ 11812311 w 12166600"/>
                <a:gd name="connsiteY889" fmla="*/ 2333763 h 2770404"/>
                <a:gd name="connsiteX890" fmla="*/ 11790620 w 12166600"/>
                <a:gd name="connsiteY890" fmla="*/ 2326493 h 2770404"/>
                <a:gd name="connsiteX891" fmla="*/ 11421871 w 12166600"/>
                <a:gd name="connsiteY891" fmla="*/ 2326493 h 2770404"/>
                <a:gd name="connsiteX892" fmla="*/ 11436331 w 12166600"/>
                <a:gd name="connsiteY892" fmla="*/ 2341034 h 2770404"/>
                <a:gd name="connsiteX893" fmla="*/ 11465253 w 12166600"/>
                <a:gd name="connsiteY893" fmla="*/ 2355574 h 2770404"/>
                <a:gd name="connsiteX894" fmla="*/ 11472483 w 12166600"/>
                <a:gd name="connsiteY894" fmla="*/ 2370115 h 2770404"/>
                <a:gd name="connsiteX895" fmla="*/ 11486944 w 12166600"/>
                <a:gd name="connsiteY895" fmla="*/ 2362844 h 2770404"/>
                <a:gd name="connsiteX896" fmla="*/ 11494175 w 12166600"/>
                <a:gd name="connsiteY896" fmla="*/ 2355574 h 2770404"/>
                <a:gd name="connsiteX897" fmla="*/ 11501405 w 12166600"/>
                <a:gd name="connsiteY897" fmla="*/ 2355574 h 2770404"/>
                <a:gd name="connsiteX898" fmla="*/ 11508635 w 12166600"/>
                <a:gd name="connsiteY898" fmla="*/ 2348304 h 2770404"/>
                <a:gd name="connsiteX899" fmla="*/ 11515866 w 12166600"/>
                <a:gd name="connsiteY899" fmla="*/ 2348304 h 2770404"/>
                <a:gd name="connsiteX900" fmla="*/ 11523096 w 12166600"/>
                <a:gd name="connsiteY900" fmla="*/ 2341034 h 2770404"/>
                <a:gd name="connsiteX901" fmla="*/ 11530326 w 12166600"/>
                <a:gd name="connsiteY901" fmla="*/ 2341034 h 2770404"/>
                <a:gd name="connsiteX902" fmla="*/ 11537557 w 12166600"/>
                <a:gd name="connsiteY902" fmla="*/ 2333763 h 2770404"/>
                <a:gd name="connsiteX903" fmla="*/ 11544787 w 12166600"/>
                <a:gd name="connsiteY903" fmla="*/ 2333763 h 2770404"/>
                <a:gd name="connsiteX904" fmla="*/ 11552018 w 12166600"/>
                <a:gd name="connsiteY904" fmla="*/ 2326493 h 2770404"/>
                <a:gd name="connsiteX905" fmla="*/ 11537557 w 12166600"/>
                <a:gd name="connsiteY905" fmla="*/ 2326493 h 2770404"/>
                <a:gd name="connsiteX906" fmla="*/ 11523096 w 12166600"/>
                <a:gd name="connsiteY906" fmla="*/ 2326493 h 2770404"/>
                <a:gd name="connsiteX907" fmla="*/ 11515866 w 12166600"/>
                <a:gd name="connsiteY907" fmla="*/ 2326493 h 2770404"/>
                <a:gd name="connsiteX908" fmla="*/ 11508635 w 12166600"/>
                <a:gd name="connsiteY908" fmla="*/ 2326493 h 2770404"/>
                <a:gd name="connsiteX909" fmla="*/ 11494175 w 12166600"/>
                <a:gd name="connsiteY909" fmla="*/ 2326493 h 2770404"/>
                <a:gd name="connsiteX910" fmla="*/ 11486944 w 12166600"/>
                <a:gd name="connsiteY910" fmla="*/ 2326493 h 2770404"/>
                <a:gd name="connsiteX911" fmla="*/ 11465253 w 12166600"/>
                <a:gd name="connsiteY911" fmla="*/ 2326493 h 2770404"/>
                <a:gd name="connsiteX912" fmla="*/ 11458023 w 12166600"/>
                <a:gd name="connsiteY912" fmla="*/ 2326493 h 2770404"/>
                <a:gd name="connsiteX913" fmla="*/ 11450792 w 12166600"/>
                <a:gd name="connsiteY913" fmla="*/ 2326493 h 2770404"/>
                <a:gd name="connsiteX914" fmla="*/ 11429101 w 12166600"/>
                <a:gd name="connsiteY914" fmla="*/ 2326493 h 2770404"/>
                <a:gd name="connsiteX915" fmla="*/ 11421871 w 12166600"/>
                <a:gd name="connsiteY915" fmla="*/ 2326493 h 2770404"/>
                <a:gd name="connsiteX916" fmla="*/ 11964149 w 12166600"/>
                <a:gd name="connsiteY916" fmla="*/ 2319223 h 2770404"/>
                <a:gd name="connsiteX917" fmla="*/ 11956919 w 12166600"/>
                <a:gd name="connsiteY917" fmla="*/ 2326493 h 2770404"/>
                <a:gd name="connsiteX918" fmla="*/ 11949689 w 12166600"/>
                <a:gd name="connsiteY918" fmla="*/ 2333763 h 2770404"/>
                <a:gd name="connsiteX919" fmla="*/ 11942458 w 12166600"/>
                <a:gd name="connsiteY919" fmla="*/ 2341034 h 2770404"/>
                <a:gd name="connsiteX920" fmla="*/ 11935228 w 12166600"/>
                <a:gd name="connsiteY920" fmla="*/ 2341034 h 2770404"/>
                <a:gd name="connsiteX921" fmla="*/ 11920767 w 12166600"/>
                <a:gd name="connsiteY921" fmla="*/ 2355574 h 2770404"/>
                <a:gd name="connsiteX922" fmla="*/ 11913537 w 12166600"/>
                <a:gd name="connsiteY922" fmla="*/ 2362844 h 2770404"/>
                <a:gd name="connsiteX923" fmla="*/ 11906306 w 12166600"/>
                <a:gd name="connsiteY923" fmla="*/ 2370115 h 2770404"/>
                <a:gd name="connsiteX924" fmla="*/ 11927997 w 12166600"/>
                <a:gd name="connsiteY924" fmla="*/ 2377385 h 2770404"/>
                <a:gd name="connsiteX925" fmla="*/ 11964149 w 12166600"/>
                <a:gd name="connsiteY925" fmla="*/ 2391926 h 2770404"/>
                <a:gd name="connsiteX926" fmla="*/ 12007532 w 12166600"/>
                <a:gd name="connsiteY926" fmla="*/ 2413736 h 2770404"/>
                <a:gd name="connsiteX927" fmla="*/ 12007532 w 12166600"/>
                <a:gd name="connsiteY927" fmla="*/ 2406466 h 2770404"/>
                <a:gd name="connsiteX928" fmla="*/ 12000301 w 12166600"/>
                <a:gd name="connsiteY928" fmla="*/ 2391926 h 2770404"/>
                <a:gd name="connsiteX929" fmla="*/ 11985840 w 12166600"/>
                <a:gd name="connsiteY929" fmla="*/ 2370115 h 2770404"/>
                <a:gd name="connsiteX930" fmla="*/ 11978610 w 12166600"/>
                <a:gd name="connsiteY930" fmla="*/ 2341034 h 2770404"/>
                <a:gd name="connsiteX931" fmla="*/ 11964149 w 12166600"/>
                <a:gd name="connsiteY931" fmla="*/ 2319223 h 2770404"/>
                <a:gd name="connsiteX932" fmla="*/ 11812311 w 12166600"/>
                <a:gd name="connsiteY932" fmla="*/ 2319223 h 2770404"/>
                <a:gd name="connsiteX933" fmla="*/ 11834002 w 12166600"/>
                <a:gd name="connsiteY933" fmla="*/ 2326493 h 2770404"/>
                <a:gd name="connsiteX934" fmla="*/ 11848463 w 12166600"/>
                <a:gd name="connsiteY934" fmla="*/ 2341034 h 2770404"/>
                <a:gd name="connsiteX935" fmla="*/ 11862924 w 12166600"/>
                <a:gd name="connsiteY935" fmla="*/ 2341034 h 2770404"/>
                <a:gd name="connsiteX936" fmla="*/ 11884615 w 12166600"/>
                <a:gd name="connsiteY936" fmla="*/ 2355574 h 2770404"/>
                <a:gd name="connsiteX937" fmla="*/ 11899076 w 12166600"/>
                <a:gd name="connsiteY937" fmla="*/ 2362844 h 2770404"/>
                <a:gd name="connsiteX938" fmla="*/ 11906306 w 12166600"/>
                <a:gd name="connsiteY938" fmla="*/ 2355574 h 2770404"/>
                <a:gd name="connsiteX939" fmla="*/ 11913537 w 12166600"/>
                <a:gd name="connsiteY939" fmla="*/ 2348304 h 2770404"/>
                <a:gd name="connsiteX940" fmla="*/ 11927997 w 12166600"/>
                <a:gd name="connsiteY940" fmla="*/ 2333763 h 2770404"/>
                <a:gd name="connsiteX941" fmla="*/ 11935228 w 12166600"/>
                <a:gd name="connsiteY941" fmla="*/ 2333763 h 2770404"/>
                <a:gd name="connsiteX942" fmla="*/ 11942458 w 12166600"/>
                <a:gd name="connsiteY942" fmla="*/ 2326493 h 2770404"/>
                <a:gd name="connsiteX943" fmla="*/ 11949689 w 12166600"/>
                <a:gd name="connsiteY943" fmla="*/ 2319223 h 2770404"/>
                <a:gd name="connsiteX944" fmla="*/ 11935228 w 12166600"/>
                <a:gd name="connsiteY944" fmla="*/ 2319223 h 2770404"/>
                <a:gd name="connsiteX945" fmla="*/ 11920767 w 12166600"/>
                <a:gd name="connsiteY945" fmla="*/ 2319223 h 2770404"/>
                <a:gd name="connsiteX946" fmla="*/ 11913537 w 12166600"/>
                <a:gd name="connsiteY946" fmla="*/ 2319223 h 2770404"/>
                <a:gd name="connsiteX947" fmla="*/ 11884615 w 12166600"/>
                <a:gd name="connsiteY947" fmla="*/ 2319223 h 2770404"/>
                <a:gd name="connsiteX948" fmla="*/ 11870154 w 12166600"/>
                <a:gd name="connsiteY948" fmla="*/ 2319223 h 2770404"/>
                <a:gd name="connsiteX949" fmla="*/ 11848463 w 12166600"/>
                <a:gd name="connsiteY949" fmla="*/ 2319223 h 2770404"/>
                <a:gd name="connsiteX950" fmla="*/ 11834002 w 12166600"/>
                <a:gd name="connsiteY950" fmla="*/ 2319223 h 2770404"/>
                <a:gd name="connsiteX951" fmla="*/ 11819542 w 12166600"/>
                <a:gd name="connsiteY951" fmla="*/ 2319223 h 2770404"/>
                <a:gd name="connsiteX952" fmla="*/ 11812311 w 12166600"/>
                <a:gd name="connsiteY952" fmla="*/ 2319223 h 2770404"/>
                <a:gd name="connsiteX953" fmla="*/ 11501405 w 12166600"/>
                <a:gd name="connsiteY953" fmla="*/ 2261060 h 2770404"/>
                <a:gd name="connsiteX954" fmla="*/ 11494175 w 12166600"/>
                <a:gd name="connsiteY954" fmla="*/ 2268331 h 2770404"/>
                <a:gd name="connsiteX955" fmla="*/ 11486944 w 12166600"/>
                <a:gd name="connsiteY955" fmla="*/ 2275601 h 2770404"/>
                <a:gd name="connsiteX956" fmla="*/ 11472483 w 12166600"/>
                <a:gd name="connsiteY956" fmla="*/ 2282871 h 2770404"/>
                <a:gd name="connsiteX957" fmla="*/ 11465253 w 12166600"/>
                <a:gd name="connsiteY957" fmla="*/ 2282871 h 2770404"/>
                <a:gd name="connsiteX958" fmla="*/ 11458023 w 12166600"/>
                <a:gd name="connsiteY958" fmla="*/ 2290142 h 2770404"/>
                <a:gd name="connsiteX959" fmla="*/ 11450792 w 12166600"/>
                <a:gd name="connsiteY959" fmla="*/ 2297412 h 2770404"/>
                <a:gd name="connsiteX960" fmla="*/ 11443562 w 12166600"/>
                <a:gd name="connsiteY960" fmla="*/ 2304682 h 2770404"/>
                <a:gd name="connsiteX961" fmla="*/ 11436331 w 12166600"/>
                <a:gd name="connsiteY961" fmla="*/ 2304682 h 2770404"/>
                <a:gd name="connsiteX962" fmla="*/ 11429101 w 12166600"/>
                <a:gd name="connsiteY962" fmla="*/ 2304682 h 2770404"/>
                <a:gd name="connsiteX963" fmla="*/ 11421871 w 12166600"/>
                <a:gd name="connsiteY963" fmla="*/ 2311952 h 2770404"/>
                <a:gd name="connsiteX964" fmla="*/ 11436331 w 12166600"/>
                <a:gd name="connsiteY964" fmla="*/ 2311952 h 2770404"/>
                <a:gd name="connsiteX965" fmla="*/ 11443562 w 12166600"/>
                <a:gd name="connsiteY965" fmla="*/ 2311952 h 2770404"/>
                <a:gd name="connsiteX966" fmla="*/ 11450792 w 12166600"/>
                <a:gd name="connsiteY966" fmla="*/ 2311952 h 2770404"/>
                <a:gd name="connsiteX967" fmla="*/ 11472483 w 12166600"/>
                <a:gd name="connsiteY967" fmla="*/ 2311952 h 2770404"/>
                <a:gd name="connsiteX968" fmla="*/ 11479714 w 12166600"/>
                <a:gd name="connsiteY968" fmla="*/ 2311952 h 2770404"/>
                <a:gd name="connsiteX969" fmla="*/ 11494175 w 12166600"/>
                <a:gd name="connsiteY969" fmla="*/ 2311952 h 2770404"/>
                <a:gd name="connsiteX970" fmla="*/ 11501405 w 12166600"/>
                <a:gd name="connsiteY970" fmla="*/ 2311952 h 2770404"/>
                <a:gd name="connsiteX971" fmla="*/ 11508635 w 12166600"/>
                <a:gd name="connsiteY971" fmla="*/ 2311952 h 2770404"/>
                <a:gd name="connsiteX972" fmla="*/ 11523096 w 12166600"/>
                <a:gd name="connsiteY972" fmla="*/ 2311952 h 2770404"/>
                <a:gd name="connsiteX973" fmla="*/ 11537557 w 12166600"/>
                <a:gd name="connsiteY973" fmla="*/ 2311952 h 2770404"/>
                <a:gd name="connsiteX974" fmla="*/ 11552018 w 12166600"/>
                <a:gd name="connsiteY974" fmla="*/ 2311952 h 2770404"/>
                <a:gd name="connsiteX975" fmla="*/ 11559248 w 12166600"/>
                <a:gd name="connsiteY975" fmla="*/ 2311952 h 2770404"/>
                <a:gd name="connsiteX976" fmla="*/ 11566478 w 12166600"/>
                <a:gd name="connsiteY976" fmla="*/ 2311952 h 2770404"/>
                <a:gd name="connsiteX977" fmla="*/ 11508635 w 12166600"/>
                <a:gd name="connsiteY977" fmla="*/ 2261060 h 2770404"/>
                <a:gd name="connsiteX978" fmla="*/ 11862924 w 12166600"/>
                <a:gd name="connsiteY978" fmla="*/ 2253790 h 2770404"/>
                <a:gd name="connsiteX979" fmla="*/ 11855694 w 12166600"/>
                <a:gd name="connsiteY979" fmla="*/ 2261060 h 2770404"/>
                <a:gd name="connsiteX980" fmla="*/ 11848463 w 12166600"/>
                <a:gd name="connsiteY980" fmla="*/ 2261060 h 2770404"/>
                <a:gd name="connsiteX981" fmla="*/ 11834002 w 12166600"/>
                <a:gd name="connsiteY981" fmla="*/ 2275601 h 2770404"/>
                <a:gd name="connsiteX982" fmla="*/ 11826772 w 12166600"/>
                <a:gd name="connsiteY982" fmla="*/ 2282871 h 2770404"/>
                <a:gd name="connsiteX983" fmla="*/ 11819542 w 12166600"/>
                <a:gd name="connsiteY983" fmla="*/ 2290142 h 2770404"/>
                <a:gd name="connsiteX984" fmla="*/ 11812311 w 12166600"/>
                <a:gd name="connsiteY984" fmla="*/ 2297412 h 2770404"/>
                <a:gd name="connsiteX985" fmla="*/ 11805081 w 12166600"/>
                <a:gd name="connsiteY985" fmla="*/ 2304682 h 2770404"/>
                <a:gd name="connsiteX986" fmla="*/ 11812311 w 12166600"/>
                <a:gd name="connsiteY986" fmla="*/ 2304682 h 2770404"/>
                <a:gd name="connsiteX987" fmla="*/ 11819542 w 12166600"/>
                <a:gd name="connsiteY987" fmla="*/ 2304682 h 2770404"/>
                <a:gd name="connsiteX988" fmla="*/ 11834002 w 12166600"/>
                <a:gd name="connsiteY988" fmla="*/ 2304682 h 2770404"/>
                <a:gd name="connsiteX989" fmla="*/ 11855694 w 12166600"/>
                <a:gd name="connsiteY989" fmla="*/ 2304682 h 2770404"/>
                <a:gd name="connsiteX990" fmla="*/ 11870154 w 12166600"/>
                <a:gd name="connsiteY990" fmla="*/ 2304682 h 2770404"/>
                <a:gd name="connsiteX991" fmla="*/ 11899076 w 12166600"/>
                <a:gd name="connsiteY991" fmla="*/ 2304682 h 2770404"/>
                <a:gd name="connsiteX992" fmla="*/ 11906306 w 12166600"/>
                <a:gd name="connsiteY992" fmla="*/ 2304682 h 2770404"/>
                <a:gd name="connsiteX993" fmla="*/ 11920767 w 12166600"/>
                <a:gd name="connsiteY993" fmla="*/ 2304682 h 2770404"/>
                <a:gd name="connsiteX994" fmla="*/ 11935228 w 12166600"/>
                <a:gd name="connsiteY994" fmla="*/ 2304682 h 2770404"/>
                <a:gd name="connsiteX995" fmla="*/ 11942458 w 12166600"/>
                <a:gd name="connsiteY995" fmla="*/ 2304682 h 2770404"/>
                <a:gd name="connsiteX996" fmla="*/ 11913537 w 12166600"/>
                <a:gd name="connsiteY996" fmla="*/ 2290142 h 2770404"/>
                <a:gd name="connsiteX997" fmla="*/ 11877385 w 12166600"/>
                <a:gd name="connsiteY997" fmla="*/ 2261060 h 2770404"/>
                <a:gd name="connsiteX998" fmla="*/ 11862924 w 12166600"/>
                <a:gd name="connsiteY998" fmla="*/ 2253790 h 2770404"/>
                <a:gd name="connsiteX999" fmla="*/ 11443562 w 12166600"/>
                <a:gd name="connsiteY999" fmla="*/ 2210168 h 2770404"/>
                <a:gd name="connsiteX1000" fmla="*/ 11443562 w 12166600"/>
                <a:gd name="connsiteY1000" fmla="*/ 2217439 h 2770404"/>
                <a:gd name="connsiteX1001" fmla="*/ 11436331 w 12166600"/>
                <a:gd name="connsiteY1001" fmla="*/ 2231979 h 2770404"/>
                <a:gd name="connsiteX1002" fmla="*/ 11436331 w 12166600"/>
                <a:gd name="connsiteY1002" fmla="*/ 2239250 h 2770404"/>
                <a:gd name="connsiteX1003" fmla="*/ 11429101 w 12166600"/>
                <a:gd name="connsiteY1003" fmla="*/ 2246520 h 2770404"/>
                <a:gd name="connsiteX1004" fmla="*/ 11429101 w 12166600"/>
                <a:gd name="connsiteY1004" fmla="*/ 2253790 h 2770404"/>
                <a:gd name="connsiteX1005" fmla="*/ 11429101 w 12166600"/>
                <a:gd name="connsiteY1005" fmla="*/ 2261060 h 2770404"/>
                <a:gd name="connsiteX1006" fmla="*/ 11421871 w 12166600"/>
                <a:gd name="connsiteY1006" fmla="*/ 2268331 h 2770404"/>
                <a:gd name="connsiteX1007" fmla="*/ 11421871 w 12166600"/>
                <a:gd name="connsiteY1007" fmla="*/ 2282871 h 2770404"/>
                <a:gd name="connsiteX1008" fmla="*/ 11421871 w 12166600"/>
                <a:gd name="connsiteY1008" fmla="*/ 2290142 h 2770404"/>
                <a:gd name="connsiteX1009" fmla="*/ 11414640 w 12166600"/>
                <a:gd name="connsiteY1009" fmla="*/ 2297412 h 2770404"/>
                <a:gd name="connsiteX1010" fmla="*/ 11414640 w 12166600"/>
                <a:gd name="connsiteY1010" fmla="*/ 2304682 h 2770404"/>
                <a:gd name="connsiteX1011" fmla="*/ 11421871 w 12166600"/>
                <a:gd name="connsiteY1011" fmla="*/ 2297412 h 2770404"/>
                <a:gd name="connsiteX1012" fmla="*/ 11429101 w 12166600"/>
                <a:gd name="connsiteY1012" fmla="*/ 2297412 h 2770404"/>
                <a:gd name="connsiteX1013" fmla="*/ 11429101 w 12166600"/>
                <a:gd name="connsiteY1013" fmla="*/ 2290142 h 2770404"/>
                <a:gd name="connsiteX1014" fmla="*/ 11443562 w 12166600"/>
                <a:gd name="connsiteY1014" fmla="*/ 2282871 h 2770404"/>
                <a:gd name="connsiteX1015" fmla="*/ 11450792 w 12166600"/>
                <a:gd name="connsiteY1015" fmla="*/ 2282871 h 2770404"/>
                <a:gd name="connsiteX1016" fmla="*/ 11458023 w 12166600"/>
                <a:gd name="connsiteY1016" fmla="*/ 2275601 h 2770404"/>
                <a:gd name="connsiteX1017" fmla="*/ 11465253 w 12166600"/>
                <a:gd name="connsiteY1017" fmla="*/ 2268331 h 2770404"/>
                <a:gd name="connsiteX1018" fmla="*/ 11472483 w 12166600"/>
                <a:gd name="connsiteY1018" fmla="*/ 2268331 h 2770404"/>
                <a:gd name="connsiteX1019" fmla="*/ 11486944 w 12166600"/>
                <a:gd name="connsiteY1019" fmla="*/ 2261060 h 2770404"/>
                <a:gd name="connsiteX1020" fmla="*/ 11494175 w 12166600"/>
                <a:gd name="connsiteY1020" fmla="*/ 2253790 h 2770404"/>
                <a:gd name="connsiteX1021" fmla="*/ 11472483 w 12166600"/>
                <a:gd name="connsiteY1021" fmla="*/ 2231979 h 2770404"/>
                <a:gd name="connsiteX1022" fmla="*/ 11443562 w 12166600"/>
                <a:gd name="connsiteY1022" fmla="*/ 2210168 h 2770404"/>
                <a:gd name="connsiteX1023" fmla="*/ 11920767 w 12166600"/>
                <a:gd name="connsiteY1023" fmla="*/ 2202898 h 2770404"/>
                <a:gd name="connsiteX1024" fmla="*/ 11913537 w 12166600"/>
                <a:gd name="connsiteY1024" fmla="*/ 2210168 h 2770404"/>
                <a:gd name="connsiteX1025" fmla="*/ 11906306 w 12166600"/>
                <a:gd name="connsiteY1025" fmla="*/ 2210168 h 2770404"/>
                <a:gd name="connsiteX1026" fmla="*/ 11899076 w 12166600"/>
                <a:gd name="connsiteY1026" fmla="*/ 2217439 h 2770404"/>
                <a:gd name="connsiteX1027" fmla="*/ 11891845 w 12166600"/>
                <a:gd name="connsiteY1027" fmla="*/ 2224709 h 2770404"/>
                <a:gd name="connsiteX1028" fmla="*/ 11877385 w 12166600"/>
                <a:gd name="connsiteY1028" fmla="*/ 2239250 h 2770404"/>
                <a:gd name="connsiteX1029" fmla="*/ 11870154 w 12166600"/>
                <a:gd name="connsiteY1029" fmla="*/ 2246520 h 2770404"/>
                <a:gd name="connsiteX1030" fmla="*/ 11913537 w 12166600"/>
                <a:gd name="connsiteY1030" fmla="*/ 2268331 h 2770404"/>
                <a:gd name="connsiteX1031" fmla="*/ 11956919 w 12166600"/>
                <a:gd name="connsiteY1031" fmla="*/ 2297412 h 2770404"/>
                <a:gd name="connsiteX1032" fmla="*/ 11949689 w 12166600"/>
                <a:gd name="connsiteY1032" fmla="*/ 2282871 h 2770404"/>
                <a:gd name="connsiteX1033" fmla="*/ 11942458 w 12166600"/>
                <a:gd name="connsiteY1033" fmla="*/ 2261060 h 2770404"/>
                <a:gd name="connsiteX1034" fmla="*/ 11935228 w 12166600"/>
                <a:gd name="connsiteY1034" fmla="*/ 2239250 h 2770404"/>
                <a:gd name="connsiteX1035" fmla="*/ 11935228 w 12166600"/>
                <a:gd name="connsiteY1035" fmla="*/ 2231979 h 2770404"/>
                <a:gd name="connsiteX1036" fmla="*/ 11927997 w 12166600"/>
                <a:gd name="connsiteY1036" fmla="*/ 2224709 h 2770404"/>
                <a:gd name="connsiteX1037" fmla="*/ 11920767 w 12166600"/>
                <a:gd name="connsiteY1037" fmla="*/ 2202898 h 2770404"/>
                <a:gd name="connsiteX1038" fmla="*/ 11776159 w 12166600"/>
                <a:gd name="connsiteY1038" fmla="*/ 2202898 h 2770404"/>
                <a:gd name="connsiteX1039" fmla="*/ 11776159 w 12166600"/>
                <a:gd name="connsiteY1039" fmla="*/ 2217439 h 2770404"/>
                <a:gd name="connsiteX1040" fmla="*/ 11776159 w 12166600"/>
                <a:gd name="connsiteY1040" fmla="*/ 2231979 h 2770404"/>
                <a:gd name="connsiteX1041" fmla="*/ 11783390 w 12166600"/>
                <a:gd name="connsiteY1041" fmla="*/ 2261060 h 2770404"/>
                <a:gd name="connsiteX1042" fmla="*/ 11783390 w 12166600"/>
                <a:gd name="connsiteY1042" fmla="*/ 2268331 h 2770404"/>
                <a:gd name="connsiteX1043" fmla="*/ 11783390 w 12166600"/>
                <a:gd name="connsiteY1043" fmla="*/ 2275601 h 2770404"/>
                <a:gd name="connsiteX1044" fmla="*/ 11783390 w 12166600"/>
                <a:gd name="connsiteY1044" fmla="*/ 2282871 h 2770404"/>
                <a:gd name="connsiteX1045" fmla="*/ 11790620 w 12166600"/>
                <a:gd name="connsiteY1045" fmla="*/ 2297412 h 2770404"/>
                <a:gd name="connsiteX1046" fmla="*/ 11797851 w 12166600"/>
                <a:gd name="connsiteY1046" fmla="*/ 2297412 h 2770404"/>
                <a:gd name="connsiteX1047" fmla="*/ 11797851 w 12166600"/>
                <a:gd name="connsiteY1047" fmla="*/ 2290142 h 2770404"/>
                <a:gd name="connsiteX1048" fmla="*/ 11805081 w 12166600"/>
                <a:gd name="connsiteY1048" fmla="*/ 2290142 h 2770404"/>
                <a:gd name="connsiteX1049" fmla="*/ 11805081 w 12166600"/>
                <a:gd name="connsiteY1049" fmla="*/ 2282871 h 2770404"/>
                <a:gd name="connsiteX1050" fmla="*/ 11819542 w 12166600"/>
                <a:gd name="connsiteY1050" fmla="*/ 2275601 h 2770404"/>
                <a:gd name="connsiteX1051" fmla="*/ 11826772 w 12166600"/>
                <a:gd name="connsiteY1051" fmla="*/ 2268331 h 2770404"/>
                <a:gd name="connsiteX1052" fmla="*/ 11841233 w 12166600"/>
                <a:gd name="connsiteY1052" fmla="*/ 2253790 h 2770404"/>
                <a:gd name="connsiteX1053" fmla="*/ 11848463 w 12166600"/>
                <a:gd name="connsiteY1053" fmla="*/ 2246520 h 2770404"/>
                <a:gd name="connsiteX1054" fmla="*/ 11834002 w 12166600"/>
                <a:gd name="connsiteY1054" fmla="*/ 2239250 h 2770404"/>
                <a:gd name="connsiteX1055" fmla="*/ 11812311 w 12166600"/>
                <a:gd name="connsiteY1055" fmla="*/ 2224709 h 2770404"/>
                <a:gd name="connsiteX1056" fmla="*/ 11776159 w 12166600"/>
                <a:gd name="connsiteY1056" fmla="*/ 2202898 h 2770404"/>
                <a:gd name="connsiteX1057" fmla="*/ 11595400 w 12166600"/>
                <a:gd name="connsiteY1057" fmla="*/ 2202898 h 2770404"/>
                <a:gd name="connsiteX1058" fmla="*/ 11588169 w 12166600"/>
                <a:gd name="connsiteY1058" fmla="*/ 2210168 h 2770404"/>
                <a:gd name="connsiteX1059" fmla="*/ 11580939 w 12166600"/>
                <a:gd name="connsiteY1059" fmla="*/ 2210168 h 2770404"/>
                <a:gd name="connsiteX1060" fmla="*/ 11573709 w 12166600"/>
                <a:gd name="connsiteY1060" fmla="*/ 2217439 h 2770404"/>
                <a:gd name="connsiteX1061" fmla="*/ 11566478 w 12166600"/>
                <a:gd name="connsiteY1061" fmla="*/ 2224709 h 2770404"/>
                <a:gd name="connsiteX1062" fmla="*/ 11559248 w 12166600"/>
                <a:gd name="connsiteY1062" fmla="*/ 2224709 h 2770404"/>
                <a:gd name="connsiteX1063" fmla="*/ 11552018 w 12166600"/>
                <a:gd name="connsiteY1063" fmla="*/ 2231979 h 2770404"/>
                <a:gd name="connsiteX1064" fmla="*/ 11537557 w 12166600"/>
                <a:gd name="connsiteY1064" fmla="*/ 2239250 h 2770404"/>
                <a:gd name="connsiteX1065" fmla="*/ 11530326 w 12166600"/>
                <a:gd name="connsiteY1065" fmla="*/ 2246520 h 2770404"/>
                <a:gd name="connsiteX1066" fmla="*/ 11523096 w 12166600"/>
                <a:gd name="connsiteY1066" fmla="*/ 2246520 h 2770404"/>
                <a:gd name="connsiteX1067" fmla="*/ 11523096 w 12166600"/>
                <a:gd name="connsiteY1067" fmla="*/ 2253790 h 2770404"/>
                <a:gd name="connsiteX1068" fmla="*/ 11559248 w 12166600"/>
                <a:gd name="connsiteY1068" fmla="*/ 2290142 h 2770404"/>
                <a:gd name="connsiteX1069" fmla="*/ 11580939 w 12166600"/>
                <a:gd name="connsiteY1069" fmla="*/ 2304682 h 2770404"/>
                <a:gd name="connsiteX1070" fmla="*/ 11580939 w 12166600"/>
                <a:gd name="connsiteY1070" fmla="*/ 2297412 h 2770404"/>
                <a:gd name="connsiteX1071" fmla="*/ 11580939 w 12166600"/>
                <a:gd name="connsiteY1071" fmla="*/ 2290142 h 2770404"/>
                <a:gd name="connsiteX1072" fmla="*/ 11580939 w 12166600"/>
                <a:gd name="connsiteY1072" fmla="*/ 2282871 h 2770404"/>
                <a:gd name="connsiteX1073" fmla="*/ 11588169 w 12166600"/>
                <a:gd name="connsiteY1073" fmla="*/ 2268331 h 2770404"/>
                <a:gd name="connsiteX1074" fmla="*/ 11588169 w 12166600"/>
                <a:gd name="connsiteY1074" fmla="*/ 2253790 h 2770404"/>
                <a:gd name="connsiteX1075" fmla="*/ 11588169 w 12166600"/>
                <a:gd name="connsiteY1075" fmla="*/ 2246520 h 2770404"/>
                <a:gd name="connsiteX1076" fmla="*/ 11588169 w 12166600"/>
                <a:gd name="connsiteY1076" fmla="*/ 2239250 h 2770404"/>
                <a:gd name="connsiteX1077" fmla="*/ 11588169 w 12166600"/>
                <a:gd name="connsiteY1077" fmla="*/ 2231979 h 2770404"/>
                <a:gd name="connsiteX1078" fmla="*/ 11595400 w 12166600"/>
                <a:gd name="connsiteY1078" fmla="*/ 2224709 h 2770404"/>
                <a:gd name="connsiteX1079" fmla="*/ 11595400 w 12166600"/>
                <a:gd name="connsiteY1079" fmla="*/ 2217439 h 2770404"/>
                <a:gd name="connsiteX1080" fmla="*/ 11595400 w 12166600"/>
                <a:gd name="connsiteY1080" fmla="*/ 2210168 h 2770404"/>
                <a:gd name="connsiteX1081" fmla="*/ 11595400 w 12166600"/>
                <a:gd name="connsiteY1081" fmla="*/ 2202898 h 2770404"/>
                <a:gd name="connsiteX1082" fmla="*/ 11458023 w 12166600"/>
                <a:gd name="connsiteY1082" fmla="*/ 2202898 h 2770404"/>
                <a:gd name="connsiteX1083" fmla="*/ 11472483 w 12166600"/>
                <a:gd name="connsiteY1083" fmla="*/ 2210168 h 2770404"/>
                <a:gd name="connsiteX1084" fmla="*/ 11508635 w 12166600"/>
                <a:gd name="connsiteY1084" fmla="*/ 2246520 h 2770404"/>
                <a:gd name="connsiteX1085" fmla="*/ 11508635 w 12166600"/>
                <a:gd name="connsiteY1085" fmla="*/ 2239250 h 2770404"/>
                <a:gd name="connsiteX1086" fmla="*/ 11515866 w 12166600"/>
                <a:gd name="connsiteY1086" fmla="*/ 2239250 h 2770404"/>
                <a:gd name="connsiteX1087" fmla="*/ 11523096 w 12166600"/>
                <a:gd name="connsiteY1087" fmla="*/ 2231979 h 2770404"/>
                <a:gd name="connsiteX1088" fmla="*/ 11530326 w 12166600"/>
                <a:gd name="connsiteY1088" fmla="*/ 2231979 h 2770404"/>
                <a:gd name="connsiteX1089" fmla="*/ 11537557 w 12166600"/>
                <a:gd name="connsiteY1089" fmla="*/ 2224709 h 2770404"/>
                <a:gd name="connsiteX1090" fmla="*/ 11552018 w 12166600"/>
                <a:gd name="connsiteY1090" fmla="*/ 2217439 h 2770404"/>
                <a:gd name="connsiteX1091" fmla="*/ 11559248 w 12166600"/>
                <a:gd name="connsiteY1091" fmla="*/ 2210168 h 2770404"/>
                <a:gd name="connsiteX1092" fmla="*/ 11573709 w 12166600"/>
                <a:gd name="connsiteY1092" fmla="*/ 2202898 h 2770404"/>
                <a:gd name="connsiteX1093" fmla="*/ 11566478 w 12166600"/>
                <a:gd name="connsiteY1093" fmla="*/ 2202898 h 2770404"/>
                <a:gd name="connsiteX1094" fmla="*/ 11552018 w 12166600"/>
                <a:gd name="connsiteY1094" fmla="*/ 2202898 h 2770404"/>
                <a:gd name="connsiteX1095" fmla="*/ 11544787 w 12166600"/>
                <a:gd name="connsiteY1095" fmla="*/ 2202898 h 2770404"/>
                <a:gd name="connsiteX1096" fmla="*/ 11537557 w 12166600"/>
                <a:gd name="connsiteY1096" fmla="*/ 2202898 h 2770404"/>
                <a:gd name="connsiteX1097" fmla="*/ 11530326 w 12166600"/>
                <a:gd name="connsiteY1097" fmla="*/ 2202898 h 2770404"/>
                <a:gd name="connsiteX1098" fmla="*/ 11515866 w 12166600"/>
                <a:gd name="connsiteY1098" fmla="*/ 2202898 h 2770404"/>
                <a:gd name="connsiteX1099" fmla="*/ 11501405 w 12166600"/>
                <a:gd name="connsiteY1099" fmla="*/ 2202898 h 2770404"/>
                <a:gd name="connsiteX1100" fmla="*/ 11494175 w 12166600"/>
                <a:gd name="connsiteY1100" fmla="*/ 2202898 h 2770404"/>
                <a:gd name="connsiteX1101" fmla="*/ 11486944 w 12166600"/>
                <a:gd name="connsiteY1101" fmla="*/ 2202898 h 2770404"/>
                <a:gd name="connsiteX1102" fmla="*/ 11479714 w 12166600"/>
                <a:gd name="connsiteY1102" fmla="*/ 2202898 h 2770404"/>
                <a:gd name="connsiteX1103" fmla="*/ 11465253 w 12166600"/>
                <a:gd name="connsiteY1103" fmla="*/ 2202898 h 2770404"/>
                <a:gd name="connsiteX1104" fmla="*/ 11458023 w 12166600"/>
                <a:gd name="connsiteY1104" fmla="*/ 2202898 h 2770404"/>
                <a:gd name="connsiteX1105" fmla="*/ 11790620 w 12166600"/>
                <a:gd name="connsiteY1105" fmla="*/ 2195628 h 2770404"/>
                <a:gd name="connsiteX1106" fmla="*/ 11826772 w 12166600"/>
                <a:gd name="connsiteY1106" fmla="*/ 2217439 h 2770404"/>
                <a:gd name="connsiteX1107" fmla="*/ 11855694 w 12166600"/>
                <a:gd name="connsiteY1107" fmla="*/ 2239250 h 2770404"/>
                <a:gd name="connsiteX1108" fmla="*/ 11862924 w 12166600"/>
                <a:gd name="connsiteY1108" fmla="*/ 2239250 h 2770404"/>
                <a:gd name="connsiteX1109" fmla="*/ 11870154 w 12166600"/>
                <a:gd name="connsiteY1109" fmla="*/ 2231979 h 2770404"/>
                <a:gd name="connsiteX1110" fmla="*/ 11877385 w 12166600"/>
                <a:gd name="connsiteY1110" fmla="*/ 2217439 h 2770404"/>
                <a:gd name="connsiteX1111" fmla="*/ 11891845 w 12166600"/>
                <a:gd name="connsiteY1111" fmla="*/ 2210168 h 2770404"/>
                <a:gd name="connsiteX1112" fmla="*/ 11899076 w 12166600"/>
                <a:gd name="connsiteY1112" fmla="*/ 2202898 h 2770404"/>
                <a:gd name="connsiteX1113" fmla="*/ 11899076 w 12166600"/>
                <a:gd name="connsiteY1113" fmla="*/ 2195628 h 2770404"/>
                <a:gd name="connsiteX1114" fmla="*/ 11891845 w 12166600"/>
                <a:gd name="connsiteY1114" fmla="*/ 2195628 h 2770404"/>
                <a:gd name="connsiteX1115" fmla="*/ 11884615 w 12166600"/>
                <a:gd name="connsiteY1115" fmla="*/ 2195628 h 2770404"/>
                <a:gd name="connsiteX1116" fmla="*/ 11877385 w 12166600"/>
                <a:gd name="connsiteY1116" fmla="*/ 2195628 h 2770404"/>
                <a:gd name="connsiteX1117" fmla="*/ 11855694 w 12166600"/>
                <a:gd name="connsiteY1117" fmla="*/ 2195628 h 2770404"/>
                <a:gd name="connsiteX1118" fmla="*/ 11834002 w 12166600"/>
                <a:gd name="connsiteY1118" fmla="*/ 2195628 h 2770404"/>
                <a:gd name="connsiteX1119" fmla="*/ 11819542 w 12166600"/>
                <a:gd name="connsiteY1119" fmla="*/ 2195628 h 2770404"/>
                <a:gd name="connsiteX1120" fmla="*/ 11805081 w 12166600"/>
                <a:gd name="connsiteY1120" fmla="*/ 2195628 h 2770404"/>
                <a:gd name="connsiteX1121" fmla="*/ 11790620 w 12166600"/>
                <a:gd name="connsiteY1121" fmla="*/ 2195628 h 2770404"/>
                <a:gd name="connsiteX1122" fmla="*/ 7208424 w 12166600"/>
                <a:gd name="connsiteY1122" fmla="*/ 2188155 h 2770404"/>
                <a:gd name="connsiteX1123" fmla="*/ 6919270 w 12166600"/>
                <a:gd name="connsiteY1123" fmla="*/ 2195428 h 2770404"/>
                <a:gd name="connsiteX1124" fmla="*/ 6463852 w 12166600"/>
                <a:gd name="connsiteY1124" fmla="*/ 2202701 h 2770404"/>
                <a:gd name="connsiteX1125" fmla="*/ 6210842 w 12166600"/>
                <a:gd name="connsiteY1125" fmla="*/ 2202701 h 2770404"/>
                <a:gd name="connsiteX1126" fmla="*/ 5965061 w 12166600"/>
                <a:gd name="connsiteY1126" fmla="*/ 2209973 h 2770404"/>
                <a:gd name="connsiteX1127" fmla="*/ 5712051 w 12166600"/>
                <a:gd name="connsiteY1127" fmla="*/ 2209973 h 2770404"/>
                <a:gd name="connsiteX1128" fmla="*/ 5444583 w 12166600"/>
                <a:gd name="connsiteY1128" fmla="*/ 2217246 h 2770404"/>
                <a:gd name="connsiteX1129" fmla="*/ 5162657 w 12166600"/>
                <a:gd name="connsiteY1129" fmla="*/ 2224519 h 2770404"/>
                <a:gd name="connsiteX1130" fmla="*/ 5169886 w 12166600"/>
                <a:gd name="connsiteY1130" fmla="*/ 2289976 h 2770404"/>
                <a:gd name="connsiteX1131" fmla="*/ 5473498 w 12166600"/>
                <a:gd name="connsiteY1131" fmla="*/ 2289976 h 2770404"/>
                <a:gd name="connsiteX1132" fmla="*/ 5740966 w 12166600"/>
                <a:gd name="connsiteY1132" fmla="*/ 2282703 h 2770404"/>
                <a:gd name="connsiteX1133" fmla="*/ 6001205 w 12166600"/>
                <a:gd name="connsiteY1133" fmla="*/ 2282703 h 2770404"/>
                <a:gd name="connsiteX1134" fmla="*/ 6239757 w 12166600"/>
                <a:gd name="connsiteY1134" fmla="*/ 2275430 h 2770404"/>
                <a:gd name="connsiteX1135" fmla="*/ 6499996 w 12166600"/>
                <a:gd name="connsiteY1135" fmla="*/ 2275430 h 2770404"/>
                <a:gd name="connsiteX1136" fmla="*/ 6948186 w 12166600"/>
                <a:gd name="connsiteY1136" fmla="*/ 2268157 h 2770404"/>
                <a:gd name="connsiteX1137" fmla="*/ 7244569 w 12166600"/>
                <a:gd name="connsiteY1137" fmla="*/ 2260884 h 2770404"/>
                <a:gd name="connsiteX1138" fmla="*/ 7396375 w 12166600"/>
                <a:gd name="connsiteY1138" fmla="*/ 2260884 h 2770404"/>
                <a:gd name="connsiteX1139" fmla="*/ 7367459 w 12166600"/>
                <a:gd name="connsiteY1139" fmla="*/ 2188155 h 2770404"/>
                <a:gd name="connsiteX1140" fmla="*/ 7208424 w 12166600"/>
                <a:gd name="connsiteY1140" fmla="*/ 2188155 h 2770404"/>
                <a:gd name="connsiteX1141" fmla="*/ 2036176 w 12166600"/>
                <a:gd name="connsiteY1141" fmla="*/ 2185427 h 2770404"/>
                <a:gd name="connsiteX1142" fmla="*/ 2018103 w 12166600"/>
                <a:gd name="connsiteY1142" fmla="*/ 2209973 h 2770404"/>
                <a:gd name="connsiteX1143" fmla="*/ 2010875 w 12166600"/>
                <a:gd name="connsiteY1143" fmla="*/ 2239065 h 2770404"/>
                <a:gd name="connsiteX1144" fmla="*/ 2003646 w 12166600"/>
                <a:gd name="connsiteY1144" fmla="*/ 2268157 h 2770404"/>
                <a:gd name="connsiteX1145" fmla="*/ 2003646 w 12166600"/>
                <a:gd name="connsiteY1145" fmla="*/ 2304522 h 2770404"/>
                <a:gd name="connsiteX1146" fmla="*/ 1996418 w 12166600"/>
                <a:gd name="connsiteY1146" fmla="*/ 2333613 h 2770404"/>
                <a:gd name="connsiteX1147" fmla="*/ 1974730 w 12166600"/>
                <a:gd name="connsiteY1147" fmla="*/ 2449980 h 2770404"/>
                <a:gd name="connsiteX1148" fmla="*/ 1996418 w 12166600"/>
                <a:gd name="connsiteY1148" fmla="*/ 2457253 h 2770404"/>
                <a:gd name="connsiteX1149" fmla="*/ 2010875 w 12166600"/>
                <a:gd name="connsiteY1149" fmla="*/ 2464526 h 2770404"/>
                <a:gd name="connsiteX1150" fmla="*/ 2010875 w 12166600"/>
                <a:gd name="connsiteY1150" fmla="*/ 2449980 h 2770404"/>
                <a:gd name="connsiteX1151" fmla="*/ 2032562 w 12166600"/>
                <a:gd name="connsiteY1151" fmla="*/ 2348159 h 2770404"/>
                <a:gd name="connsiteX1152" fmla="*/ 2039790 w 12166600"/>
                <a:gd name="connsiteY1152" fmla="*/ 2275430 h 2770404"/>
                <a:gd name="connsiteX1153" fmla="*/ 2047019 w 12166600"/>
                <a:gd name="connsiteY1153" fmla="*/ 2246338 h 2770404"/>
                <a:gd name="connsiteX1154" fmla="*/ 2047019 w 12166600"/>
                <a:gd name="connsiteY1154" fmla="*/ 2224519 h 2770404"/>
                <a:gd name="connsiteX1155" fmla="*/ 2054248 w 12166600"/>
                <a:gd name="connsiteY1155" fmla="*/ 2209973 h 2770404"/>
                <a:gd name="connsiteX1156" fmla="*/ 2036176 w 12166600"/>
                <a:gd name="connsiteY1156" fmla="*/ 2185427 h 2770404"/>
                <a:gd name="connsiteX1157" fmla="*/ 1981056 w 12166600"/>
                <a:gd name="connsiteY1157" fmla="*/ 2139971 h 2770404"/>
                <a:gd name="connsiteX1158" fmla="*/ 1953044 w 12166600"/>
                <a:gd name="connsiteY1158" fmla="*/ 2173609 h 2770404"/>
                <a:gd name="connsiteX1159" fmla="*/ 1953044 w 12166600"/>
                <a:gd name="connsiteY1159" fmla="*/ 2195428 h 2770404"/>
                <a:gd name="connsiteX1160" fmla="*/ 1931357 w 12166600"/>
                <a:gd name="connsiteY1160" fmla="*/ 2282703 h 2770404"/>
                <a:gd name="connsiteX1161" fmla="*/ 1931357 w 12166600"/>
                <a:gd name="connsiteY1161" fmla="*/ 2304522 h 2770404"/>
                <a:gd name="connsiteX1162" fmla="*/ 1931357 w 12166600"/>
                <a:gd name="connsiteY1162" fmla="*/ 2319067 h 2770404"/>
                <a:gd name="connsiteX1163" fmla="*/ 1924128 w 12166600"/>
                <a:gd name="connsiteY1163" fmla="*/ 2355432 h 2770404"/>
                <a:gd name="connsiteX1164" fmla="*/ 1909671 w 12166600"/>
                <a:gd name="connsiteY1164" fmla="*/ 2435434 h 2770404"/>
                <a:gd name="connsiteX1165" fmla="*/ 1953044 w 12166600"/>
                <a:gd name="connsiteY1165" fmla="*/ 2449980 h 2770404"/>
                <a:gd name="connsiteX1166" fmla="*/ 1974730 w 12166600"/>
                <a:gd name="connsiteY1166" fmla="*/ 2319067 h 2770404"/>
                <a:gd name="connsiteX1167" fmla="*/ 1981959 w 12166600"/>
                <a:gd name="connsiteY1167" fmla="*/ 2282703 h 2770404"/>
                <a:gd name="connsiteX1168" fmla="*/ 1989188 w 12166600"/>
                <a:gd name="connsiteY1168" fmla="*/ 2253611 h 2770404"/>
                <a:gd name="connsiteX1169" fmla="*/ 2003646 w 12166600"/>
                <a:gd name="connsiteY1169" fmla="*/ 2188155 h 2770404"/>
                <a:gd name="connsiteX1170" fmla="*/ 2003646 w 12166600"/>
                <a:gd name="connsiteY1170" fmla="*/ 2166336 h 2770404"/>
                <a:gd name="connsiteX1171" fmla="*/ 1981056 w 12166600"/>
                <a:gd name="connsiteY1171" fmla="*/ 2139971 h 2770404"/>
                <a:gd name="connsiteX1172" fmla="*/ 11667704 w 12166600"/>
                <a:gd name="connsiteY1172" fmla="*/ 2130195 h 2770404"/>
                <a:gd name="connsiteX1173" fmla="*/ 11646013 w 12166600"/>
                <a:gd name="connsiteY1173" fmla="*/ 2137465 h 2770404"/>
                <a:gd name="connsiteX1174" fmla="*/ 11638782 w 12166600"/>
                <a:gd name="connsiteY1174" fmla="*/ 2137465 h 2770404"/>
                <a:gd name="connsiteX1175" fmla="*/ 11631552 w 12166600"/>
                <a:gd name="connsiteY1175" fmla="*/ 2137465 h 2770404"/>
                <a:gd name="connsiteX1176" fmla="*/ 11624321 w 12166600"/>
                <a:gd name="connsiteY1176" fmla="*/ 2137465 h 2770404"/>
                <a:gd name="connsiteX1177" fmla="*/ 11617091 w 12166600"/>
                <a:gd name="connsiteY1177" fmla="*/ 2137465 h 2770404"/>
                <a:gd name="connsiteX1178" fmla="*/ 11617091 w 12166600"/>
                <a:gd name="connsiteY1178" fmla="*/ 2152006 h 2770404"/>
                <a:gd name="connsiteX1179" fmla="*/ 11624321 w 12166600"/>
                <a:gd name="connsiteY1179" fmla="*/ 2152006 h 2770404"/>
                <a:gd name="connsiteX1180" fmla="*/ 11638782 w 12166600"/>
                <a:gd name="connsiteY1180" fmla="*/ 2152006 h 2770404"/>
                <a:gd name="connsiteX1181" fmla="*/ 11653243 w 12166600"/>
                <a:gd name="connsiteY1181" fmla="*/ 2152006 h 2770404"/>
                <a:gd name="connsiteX1182" fmla="*/ 11667704 w 12166600"/>
                <a:gd name="connsiteY1182" fmla="*/ 2152006 h 2770404"/>
                <a:gd name="connsiteX1183" fmla="*/ 11689395 w 12166600"/>
                <a:gd name="connsiteY1183" fmla="*/ 2152006 h 2770404"/>
                <a:gd name="connsiteX1184" fmla="*/ 11703856 w 12166600"/>
                <a:gd name="connsiteY1184" fmla="*/ 2152006 h 2770404"/>
                <a:gd name="connsiteX1185" fmla="*/ 11732777 w 12166600"/>
                <a:gd name="connsiteY1185" fmla="*/ 2152006 h 2770404"/>
                <a:gd name="connsiteX1186" fmla="*/ 11740007 w 12166600"/>
                <a:gd name="connsiteY1186" fmla="*/ 2152006 h 2770404"/>
                <a:gd name="connsiteX1187" fmla="*/ 11754468 w 12166600"/>
                <a:gd name="connsiteY1187" fmla="*/ 2152006 h 2770404"/>
                <a:gd name="connsiteX1188" fmla="*/ 11754468 w 12166600"/>
                <a:gd name="connsiteY1188" fmla="*/ 2144736 h 2770404"/>
                <a:gd name="connsiteX1189" fmla="*/ 11747238 w 12166600"/>
                <a:gd name="connsiteY1189" fmla="*/ 2130195 h 2770404"/>
                <a:gd name="connsiteX1190" fmla="*/ 11732777 w 12166600"/>
                <a:gd name="connsiteY1190" fmla="*/ 2130195 h 2770404"/>
                <a:gd name="connsiteX1191" fmla="*/ 11718316 w 12166600"/>
                <a:gd name="connsiteY1191" fmla="*/ 2130195 h 2770404"/>
                <a:gd name="connsiteX1192" fmla="*/ 11711086 w 12166600"/>
                <a:gd name="connsiteY1192" fmla="*/ 2130195 h 2770404"/>
                <a:gd name="connsiteX1193" fmla="*/ 11689395 w 12166600"/>
                <a:gd name="connsiteY1193" fmla="*/ 2130195 h 2770404"/>
                <a:gd name="connsiteX1194" fmla="*/ 11667704 w 12166600"/>
                <a:gd name="connsiteY1194" fmla="*/ 2130195 h 2770404"/>
                <a:gd name="connsiteX1195" fmla="*/ 1924128 w 12166600"/>
                <a:gd name="connsiteY1195" fmla="*/ 2115425 h 2770404"/>
                <a:gd name="connsiteX1196" fmla="*/ 1880755 w 12166600"/>
                <a:gd name="connsiteY1196" fmla="*/ 2144517 h 2770404"/>
                <a:gd name="connsiteX1197" fmla="*/ 1880755 w 12166600"/>
                <a:gd name="connsiteY1197" fmla="*/ 2151790 h 2770404"/>
                <a:gd name="connsiteX1198" fmla="*/ 1859069 w 12166600"/>
                <a:gd name="connsiteY1198" fmla="*/ 2260884 h 2770404"/>
                <a:gd name="connsiteX1199" fmla="*/ 1851840 w 12166600"/>
                <a:gd name="connsiteY1199" fmla="*/ 2282703 h 2770404"/>
                <a:gd name="connsiteX1200" fmla="*/ 1844611 w 12166600"/>
                <a:gd name="connsiteY1200" fmla="*/ 2348159 h 2770404"/>
                <a:gd name="connsiteX1201" fmla="*/ 1837382 w 12166600"/>
                <a:gd name="connsiteY1201" fmla="*/ 2377251 h 2770404"/>
                <a:gd name="connsiteX1202" fmla="*/ 1830153 w 12166600"/>
                <a:gd name="connsiteY1202" fmla="*/ 2413615 h 2770404"/>
                <a:gd name="connsiteX1203" fmla="*/ 1830153 w 12166600"/>
                <a:gd name="connsiteY1203" fmla="*/ 2420888 h 2770404"/>
                <a:gd name="connsiteX1204" fmla="*/ 1887984 w 12166600"/>
                <a:gd name="connsiteY1204" fmla="*/ 2435434 h 2770404"/>
                <a:gd name="connsiteX1205" fmla="*/ 1902442 w 12166600"/>
                <a:gd name="connsiteY1205" fmla="*/ 2369978 h 2770404"/>
                <a:gd name="connsiteX1206" fmla="*/ 1902442 w 12166600"/>
                <a:gd name="connsiteY1206" fmla="*/ 2333613 h 2770404"/>
                <a:gd name="connsiteX1207" fmla="*/ 1909671 w 12166600"/>
                <a:gd name="connsiteY1207" fmla="*/ 2304522 h 2770404"/>
                <a:gd name="connsiteX1208" fmla="*/ 1931357 w 12166600"/>
                <a:gd name="connsiteY1208" fmla="*/ 2209973 h 2770404"/>
                <a:gd name="connsiteX1209" fmla="*/ 1938586 w 12166600"/>
                <a:gd name="connsiteY1209" fmla="*/ 2173609 h 2770404"/>
                <a:gd name="connsiteX1210" fmla="*/ 1924128 w 12166600"/>
                <a:gd name="connsiteY1210" fmla="*/ 2115425 h 2770404"/>
                <a:gd name="connsiteX1211" fmla="*/ 11595400 w 12166600"/>
                <a:gd name="connsiteY1211" fmla="*/ 2101114 h 2770404"/>
                <a:gd name="connsiteX1212" fmla="*/ 11580939 w 12166600"/>
                <a:gd name="connsiteY1212" fmla="*/ 2108384 h 2770404"/>
                <a:gd name="connsiteX1213" fmla="*/ 11573709 w 12166600"/>
                <a:gd name="connsiteY1213" fmla="*/ 2115655 h 2770404"/>
                <a:gd name="connsiteX1214" fmla="*/ 11566478 w 12166600"/>
                <a:gd name="connsiteY1214" fmla="*/ 2122925 h 2770404"/>
                <a:gd name="connsiteX1215" fmla="*/ 11559248 w 12166600"/>
                <a:gd name="connsiteY1215" fmla="*/ 2122925 h 2770404"/>
                <a:gd name="connsiteX1216" fmla="*/ 11552018 w 12166600"/>
                <a:gd name="connsiteY1216" fmla="*/ 2130195 h 2770404"/>
                <a:gd name="connsiteX1217" fmla="*/ 11544787 w 12166600"/>
                <a:gd name="connsiteY1217" fmla="*/ 2137465 h 2770404"/>
                <a:gd name="connsiteX1218" fmla="*/ 11595400 w 12166600"/>
                <a:gd name="connsiteY1218" fmla="*/ 2181087 h 2770404"/>
                <a:gd name="connsiteX1219" fmla="*/ 11595400 w 12166600"/>
                <a:gd name="connsiteY1219" fmla="*/ 2173817 h 2770404"/>
                <a:gd name="connsiteX1220" fmla="*/ 11595400 w 12166600"/>
                <a:gd name="connsiteY1220" fmla="*/ 2159276 h 2770404"/>
                <a:gd name="connsiteX1221" fmla="*/ 11602630 w 12166600"/>
                <a:gd name="connsiteY1221" fmla="*/ 2159276 h 2770404"/>
                <a:gd name="connsiteX1222" fmla="*/ 11602630 w 12166600"/>
                <a:gd name="connsiteY1222" fmla="*/ 2152006 h 2770404"/>
                <a:gd name="connsiteX1223" fmla="*/ 11602630 w 12166600"/>
                <a:gd name="connsiteY1223" fmla="*/ 2137465 h 2770404"/>
                <a:gd name="connsiteX1224" fmla="*/ 11602630 w 12166600"/>
                <a:gd name="connsiteY1224" fmla="*/ 2130195 h 2770404"/>
                <a:gd name="connsiteX1225" fmla="*/ 11602630 w 12166600"/>
                <a:gd name="connsiteY1225" fmla="*/ 2115655 h 2770404"/>
                <a:gd name="connsiteX1226" fmla="*/ 11602630 w 12166600"/>
                <a:gd name="connsiteY1226" fmla="*/ 2108384 h 2770404"/>
                <a:gd name="connsiteX1227" fmla="*/ 11602630 w 12166600"/>
                <a:gd name="connsiteY1227" fmla="*/ 2101114 h 2770404"/>
                <a:gd name="connsiteX1228" fmla="*/ 11595400 w 12166600"/>
                <a:gd name="connsiteY1228" fmla="*/ 2101114 h 2770404"/>
                <a:gd name="connsiteX1229" fmla="*/ 11472483 w 12166600"/>
                <a:gd name="connsiteY1229" fmla="*/ 2101114 h 2770404"/>
                <a:gd name="connsiteX1230" fmla="*/ 11472483 w 12166600"/>
                <a:gd name="connsiteY1230" fmla="*/ 2108384 h 2770404"/>
                <a:gd name="connsiteX1231" fmla="*/ 11465253 w 12166600"/>
                <a:gd name="connsiteY1231" fmla="*/ 2122925 h 2770404"/>
                <a:gd name="connsiteX1232" fmla="*/ 11465253 w 12166600"/>
                <a:gd name="connsiteY1232" fmla="*/ 2130195 h 2770404"/>
                <a:gd name="connsiteX1233" fmla="*/ 11465253 w 12166600"/>
                <a:gd name="connsiteY1233" fmla="*/ 2137465 h 2770404"/>
                <a:gd name="connsiteX1234" fmla="*/ 11458023 w 12166600"/>
                <a:gd name="connsiteY1234" fmla="*/ 2152006 h 2770404"/>
                <a:gd name="connsiteX1235" fmla="*/ 11458023 w 12166600"/>
                <a:gd name="connsiteY1235" fmla="*/ 2159276 h 2770404"/>
                <a:gd name="connsiteX1236" fmla="*/ 11458023 w 12166600"/>
                <a:gd name="connsiteY1236" fmla="*/ 2166547 h 2770404"/>
                <a:gd name="connsiteX1237" fmla="*/ 11458023 w 12166600"/>
                <a:gd name="connsiteY1237" fmla="*/ 2173817 h 2770404"/>
                <a:gd name="connsiteX1238" fmla="*/ 11450792 w 12166600"/>
                <a:gd name="connsiteY1238" fmla="*/ 2181087 h 2770404"/>
                <a:gd name="connsiteX1239" fmla="*/ 11458023 w 12166600"/>
                <a:gd name="connsiteY1239" fmla="*/ 2173817 h 2770404"/>
                <a:gd name="connsiteX1240" fmla="*/ 11465253 w 12166600"/>
                <a:gd name="connsiteY1240" fmla="*/ 2173817 h 2770404"/>
                <a:gd name="connsiteX1241" fmla="*/ 11472483 w 12166600"/>
                <a:gd name="connsiteY1241" fmla="*/ 2166547 h 2770404"/>
                <a:gd name="connsiteX1242" fmla="*/ 11486944 w 12166600"/>
                <a:gd name="connsiteY1242" fmla="*/ 2159276 h 2770404"/>
                <a:gd name="connsiteX1243" fmla="*/ 11494175 w 12166600"/>
                <a:gd name="connsiteY1243" fmla="*/ 2152006 h 2770404"/>
                <a:gd name="connsiteX1244" fmla="*/ 11501405 w 12166600"/>
                <a:gd name="connsiteY1244" fmla="*/ 2152006 h 2770404"/>
                <a:gd name="connsiteX1245" fmla="*/ 11508635 w 12166600"/>
                <a:gd name="connsiteY1245" fmla="*/ 2144736 h 2770404"/>
                <a:gd name="connsiteX1246" fmla="*/ 11508635 w 12166600"/>
                <a:gd name="connsiteY1246" fmla="*/ 2137465 h 2770404"/>
                <a:gd name="connsiteX1247" fmla="*/ 11515866 w 12166600"/>
                <a:gd name="connsiteY1247" fmla="*/ 2137465 h 2770404"/>
                <a:gd name="connsiteX1248" fmla="*/ 11523096 w 12166600"/>
                <a:gd name="connsiteY1248" fmla="*/ 2137465 h 2770404"/>
                <a:gd name="connsiteX1249" fmla="*/ 11494175 w 12166600"/>
                <a:gd name="connsiteY1249" fmla="*/ 2115655 h 2770404"/>
                <a:gd name="connsiteX1250" fmla="*/ 11472483 w 12166600"/>
                <a:gd name="connsiteY1250" fmla="*/ 2101114 h 2770404"/>
                <a:gd name="connsiteX1251" fmla="*/ 11891845 w 12166600"/>
                <a:gd name="connsiteY1251" fmla="*/ 2093844 h 2770404"/>
                <a:gd name="connsiteX1252" fmla="*/ 11870154 w 12166600"/>
                <a:gd name="connsiteY1252" fmla="*/ 2108384 h 2770404"/>
                <a:gd name="connsiteX1253" fmla="*/ 11841233 w 12166600"/>
                <a:gd name="connsiteY1253" fmla="*/ 2130195 h 2770404"/>
                <a:gd name="connsiteX1254" fmla="*/ 11848463 w 12166600"/>
                <a:gd name="connsiteY1254" fmla="*/ 2130195 h 2770404"/>
                <a:gd name="connsiteX1255" fmla="*/ 11913537 w 12166600"/>
                <a:gd name="connsiteY1255" fmla="*/ 2173817 h 2770404"/>
                <a:gd name="connsiteX1256" fmla="*/ 11906306 w 12166600"/>
                <a:gd name="connsiteY1256" fmla="*/ 2144736 h 2770404"/>
                <a:gd name="connsiteX1257" fmla="*/ 11891845 w 12166600"/>
                <a:gd name="connsiteY1257" fmla="*/ 2093844 h 2770404"/>
                <a:gd name="connsiteX1258" fmla="*/ 11761699 w 12166600"/>
                <a:gd name="connsiteY1258" fmla="*/ 2093844 h 2770404"/>
                <a:gd name="connsiteX1259" fmla="*/ 11761699 w 12166600"/>
                <a:gd name="connsiteY1259" fmla="*/ 2108384 h 2770404"/>
                <a:gd name="connsiteX1260" fmla="*/ 11761699 w 12166600"/>
                <a:gd name="connsiteY1260" fmla="*/ 2122925 h 2770404"/>
                <a:gd name="connsiteX1261" fmla="*/ 11761699 w 12166600"/>
                <a:gd name="connsiteY1261" fmla="*/ 2130195 h 2770404"/>
                <a:gd name="connsiteX1262" fmla="*/ 11761699 w 12166600"/>
                <a:gd name="connsiteY1262" fmla="*/ 2144736 h 2770404"/>
                <a:gd name="connsiteX1263" fmla="*/ 11768929 w 12166600"/>
                <a:gd name="connsiteY1263" fmla="*/ 2152006 h 2770404"/>
                <a:gd name="connsiteX1264" fmla="*/ 11768929 w 12166600"/>
                <a:gd name="connsiteY1264" fmla="*/ 2159276 h 2770404"/>
                <a:gd name="connsiteX1265" fmla="*/ 11768929 w 12166600"/>
                <a:gd name="connsiteY1265" fmla="*/ 2173817 h 2770404"/>
                <a:gd name="connsiteX1266" fmla="*/ 11776159 w 12166600"/>
                <a:gd name="connsiteY1266" fmla="*/ 2173817 h 2770404"/>
                <a:gd name="connsiteX1267" fmla="*/ 11783390 w 12166600"/>
                <a:gd name="connsiteY1267" fmla="*/ 2166547 h 2770404"/>
                <a:gd name="connsiteX1268" fmla="*/ 11790620 w 12166600"/>
                <a:gd name="connsiteY1268" fmla="*/ 2159276 h 2770404"/>
                <a:gd name="connsiteX1269" fmla="*/ 11805081 w 12166600"/>
                <a:gd name="connsiteY1269" fmla="*/ 2144736 h 2770404"/>
                <a:gd name="connsiteX1270" fmla="*/ 11812311 w 12166600"/>
                <a:gd name="connsiteY1270" fmla="*/ 2137465 h 2770404"/>
                <a:gd name="connsiteX1271" fmla="*/ 11819542 w 12166600"/>
                <a:gd name="connsiteY1271" fmla="*/ 2130195 h 2770404"/>
                <a:gd name="connsiteX1272" fmla="*/ 11783390 w 12166600"/>
                <a:gd name="connsiteY1272" fmla="*/ 2108384 h 2770404"/>
                <a:gd name="connsiteX1273" fmla="*/ 11761699 w 12166600"/>
                <a:gd name="connsiteY1273" fmla="*/ 2093844 h 2770404"/>
                <a:gd name="connsiteX1274" fmla="*/ 11486944 w 12166600"/>
                <a:gd name="connsiteY1274" fmla="*/ 2093844 h 2770404"/>
                <a:gd name="connsiteX1275" fmla="*/ 11523096 w 12166600"/>
                <a:gd name="connsiteY1275" fmla="*/ 2115655 h 2770404"/>
                <a:gd name="connsiteX1276" fmla="*/ 11530326 w 12166600"/>
                <a:gd name="connsiteY1276" fmla="*/ 2130195 h 2770404"/>
                <a:gd name="connsiteX1277" fmla="*/ 11537557 w 12166600"/>
                <a:gd name="connsiteY1277" fmla="*/ 2122925 h 2770404"/>
                <a:gd name="connsiteX1278" fmla="*/ 11552018 w 12166600"/>
                <a:gd name="connsiteY1278" fmla="*/ 2115655 h 2770404"/>
                <a:gd name="connsiteX1279" fmla="*/ 11559248 w 12166600"/>
                <a:gd name="connsiteY1279" fmla="*/ 2108384 h 2770404"/>
                <a:gd name="connsiteX1280" fmla="*/ 11566478 w 12166600"/>
                <a:gd name="connsiteY1280" fmla="*/ 2108384 h 2770404"/>
                <a:gd name="connsiteX1281" fmla="*/ 11573709 w 12166600"/>
                <a:gd name="connsiteY1281" fmla="*/ 2101114 h 2770404"/>
                <a:gd name="connsiteX1282" fmla="*/ 11580939 w 12166600"/>
                <a:gd name="connsiteY1282" fmla="*/ 2093844 h 2770404"/>
                <a:gd name="connsiteX1283" fmla="*/ 11559248 w 12166600"/>
                <a:gd name="connsiteY1283" fmla="*/ 2093844 h 2770404"/>
                <a:gd name="connsiteX1284" fmla="*/ 11552018 w 12166600"/>
                <a:gd name="connsiteY1284" fmla="*/ 2093844 h 2770404"/>
                <a:gd name="connsiteX1285" fmla="*/ 11537557 w 12166600"/>
                <a:gd name="connsiteY1285" fmla="*/ 2093844 h 2770404"/>
                <a:gd name="connsiteX1286" fmla="*/ 11523096 w 12166600"/>
                <a:gd name="connsiteY1286" fmla="*/ 2093844 h 2770404"/>
                <a:gd name="connsiteX1287" fmla="*/ 11508635 w 12166600"/>
                <a:gd name="connsiteY1287" fmla="*/ 2093844 h 2770404"/>
                <a:gd name="connsiteX1288" fmla="*/ 11494175 w 12166600"/>
                <a:gd name="connsiteY1288" fmla="*/ 2093844 h 2770404"/>
                <a:gd name="connsiteX1289" fmla="*/ 11486944 w 12166600"/>
                <a:gd name="connsiteY1289" fmla="*/ 2093844 h 2770404"/>
                <a:gd name="connsiteX1290" fmla="*/ 11776159 w 12166600"/>
                <a:gd name="connsiteY1290" fmla="*/ 2086573 h 2770404"/>
                <a:gd name="connsiteX1291" fmla="*/ 11783390 w 12166600"/>
                <a:gd name="connsiteY1291" fmla="*/ 2093844 h 2770404"/>
                <a:gd name="connsiteX1292" fmla="*/ 11805081 w 12166600"/>
                <a:gd name="connsiteY1292" fmla="*/ 2108384 h 2770404"/>
                <a:gd name="connsiteX1293" fmla="*/ 11834002 w 12166600"/>
                <a:gd name="connsiteY1293" fmla="*/ 2122925 h 2770404"/>
                <a:gd name="connsiteX1294" fmla="*/ 11855694 w 12166600"/>
                <a:gd name="connsiteY1294" fmla="*/ 2101114 h 2770404"/>
                <a:gd name="connsiteX1295" fmla="*/ 11877385 w 12166600"/>
                <a:gd name="connsiteY1295" fmla="*/ 2086573 h 2770404"/>
                <a:gd name="connsiteX1296" fmla="*/ 11841233 w 12166600"/>
                <a:gd name="connsiteY1296" fmla="*/ 2086573 h 2770404"/>
                <a:gd name="connsiteX1297" fmla="*/ 11797851 w 12166600"/>
                <a:gd name="connsiteY1297" fmla="*/ 2086573 h 2770404"/>
                <a:gd name="connsiteX1298" fmla="*/ 11783390 w 12166600"/>
                <a:gd name="connsiteY1298" fmla="*/ 2086573 h 2770404"/>
                <a:gd name="connsiteX1299" fmla="*/ 11776159 w 12166600"/>
                <a:gd name="connsiteY1299" fmla="*/ 2086573 h 2770404"/>
                <a:gd name="connsiteX1300" fmla="*/ 1837382 w 12166600"/>
                <a:gd name="connsiteY1300" fmla="*/ 2086334 h 2770404"/>
                <a:gd name="connsiteX1301" fmla="*/ 1794009 w 12166600"/>
                <a:gd name="connsiteY1301" fmla="*/ 2115425 h 2770404"/>
                <a:gd name="connsiteX1302" fmla="*/ 1794009 w 12166600"/>
                <a:gd name="connsiteY1302" fmla="*/ 2122698 h 2770404"/>
                <a:gd name="connsiteX1303" fmla="*/ 1779551 w 12166600"/>
                <a:gd name="connsiteY1303" fmla="*/ 2166336 h 2770404"/>
                <a:gd name="connsiteX1304" fmla="*/ 1772322 w 12166600"/>
                <a:gd name="connsiteY1304" fmla="*/ 2217246 h 2770404"/>
                <a:gd name="connsiteX1305" fmla="*/ 1765093 w 12166600"/>
                <a:gd name="connsiteY1305" fmla="*/ 2260884 h 2770404"/>
                <a:gd name="connsiteX1306" fmla="*/ 1743407 w 12166600"/>
                <a:gd name="connsiteY1306" fmla="*/ 2333613 h 2770404"/>
                <a:gd name="connsiteX1307" fmla="*/ 1736178 w 12166600"/>
                <a:gd name="connsiteY1307" fmla="*/ 2399070 h 2770404"/>
                <a:gd name="connsiteX1308" fmla="*/ 1757864 w 12166600"/>
                <a:gd name="connsiteY1308" fmla="*/ 2399070 h 2770404"/>
                <a:gd name="connsiteX1309" fmla="*/ 1794009 w 12166600"/>
                <a:gd name="connsiteY1309" fmla="*/ 2406342 h 2770404"/>
                <a:gd name="connsiteX1310" fmla="*/ 1801238 w 12166600"/>
                <a:gd name="connsiteY1310" fmla="*/ 2413615 h 2770404"/>
                <a:gd name="connsiteX1311" fmla="*/ 1808468 w 12166600"/>
                <a:gd name="connsiteY1311" fmla="*/ 2399070 h 2770404"/>
                <a:gd name="connsiteX1312" fmla="*/ 1815695 w 12166600"/>
                <a:gd name="connsiteY1312" fmla="*/ 2362705 h 2770404"/>
                <a:gd name="connsiteX1313" fmla="*/ 1830153 w 12166600"/>
                <a:gd name="connsiteY1313" fmla="*/ 2275430 h 2770404"/>
                <a:gd name="connsiteX1314" fmla="*/ 1851840 w 12166600"/>
                <a:gd name="connsiteY1314" fmla="*/ 2159063 h 2770404"/>
                <a:gd name="connsiteX1315" fmla="*/ 1859069 w 12166600"/>
                <a:gd name="connsiteY1315" fmla="*/ 2144517 h 2770404"/>
                <a:gd name="connsiteX1316" fmla="*/ 1859069 w 12166600"/>
                <a:gd name="connsiteY1316" fmla="*/ 2115425 h 2770404"/>
                <a:gd name="connsiteX1317" fmla="*/ 1837382 w 12166600"/>
                <a:gd name="connsiteY1317" fmla="*/ 2086334 h 2770404"/>
                <a:gd name="connsiteX1318" fmla="*/ 1713589 w 12166600"/>
                <a:gd name="connsiteY1318" fmla="*/ 2055424 h 2770404"/>
                <a:gd name="connsiteX1319" fmla="*/ 1671118 w 12166600"/>
                <a:gd name="connsiteY1319" fmla="*/ 2100880 h 2770404"/>
                <a:gd name="connsiteX1320" fmla="*/ 1663889 w 12166600"/>
                <a:gd name="connsiteY1320" fmla="*/ 2144517 h 2770404"/>
                <a:gd name="connsiteX1321" fmla="*/ 1649432 w 12166600"/>
                <a:gd name="connsiteY1321" fmla="*/ 2209973 h 2770404"/>
                <a:gd name="connsiteX1322" fmla="*/ 1642203 w 12166600"/>
                <a:gd name="connsiteY1322" fmla="*/ 2231792 h 2770404"/>
                <a:gd name="connsiteX1323" fmla="*/ 1634974 w 12166600"/>
                <a:gd name="connsiteY1323" fmla="*/ 2260884 h 2770404"/>
                <a:gd name="connsiteX1324" fmla="*/ 1627745 w 12166600"/>
                <a:gd name="connsiteY1324" fmla="*/ 2311794 h 2770404"/>
                <a:gd name="connsiteX1325" fmla="*/ 1613287 w 12166600"/>
                <a:gd name="connsiteY1325" fmla="*/ 2369978 h 2770404"/>
                <a:gd name="connsiteX1326" fmla="*/ 1671118 w 12166600"/>
                <a:gd name="connsiteY1326" fmla="*/ 2384524 h 2770404"/>
                <a:gd name="connsiteX1327" fmla="*/ 1692805 w 12166600"/>
                <a:gd name="connsiteY1327" fmla="*/ 2384524 h 2770404"/>
                <a:gd name="connsiteX1328" fmla="*/ 1700034 w 12166600"/>
                <a:gd name="connsiteY1328" fmla="*/ 2362705 h 2770404"/>
                <a:gd name="connsiteX1329" fmla="*/ 1721721 w 12166600"/>
                <a:gd name="connsiteY1329" fmla="*/ 2253611 h 2770404"/>
                <a:gd name="connsiteX1330" fmla="*/ 1721721 w 12166600"/>
                <a:gd name="connsiteY1330" fmla="*/ 2246338 h 2770404"/>
                <a:gd name="connsiteX1331" fmla="*/ 1736178 w 12166600"/>
                <a:gd name="connsiteY1331" fmla="*/ 2195428 h 2770404"/>
                <a:gd name="connsiteX1332" fmla="*/ 1743407 w 12166600"/>
                <a:gd name="connsiteY1332" fmla="*/ 2144517 h 2770404"/>
                <a:gd name="connsiteX1333" fmla="*/ 1750636 w 12166600"/>
                <a:gd name="connsiteY1333" fmla="*/ 2115425 h 2770404"/>
                <a:gd name="connsiteX1334" fmla="*/ 1750636 w 12166600"/>
                <a:gd name="connsiteY1334" fmla="*/ 2086334 h 2770404"/>
                <a:gd name="connsiteX1335" fmla="*/ 1713589 w 12166600"/>
                <a:gd name="connsiteY1335" fmla="*/ 2055424 h 2770404"/>
                <a:gd name="connsiteX1336" fmla="*/ 11754468 w 12166600"/>
                <a:gd name="connsiteY1336" fmla="*/ 2050222 h 2770404"/>
                <a:gd name="connsiteX1337" fmla="*/ 11754468 w 12166600"/>
                <a:gd name="connsiteY1337" fmla="*/ 2057492 h 2770404"/>
                <a:gd name="connsiteX1338" fmla="*/ 11754468 w 12166600"/>
                <a:gd name="connsiteY1338" fmla="*/ 2064762 h 2770404"/>
                <a:gd name="connsiteX1339" fmla="*/ 11754468 w 12166600"/>
                <a:gd name="connsiteY1339" fmla="*/ 2072033 h 2770404"/>
                <a:gd name="connsiteX1340" fmla="*/ 11761699 w 12166600"/>
                <a:gd name="connsiteY1340" fmla="*/ 2072033 h 2770404"/>
                <a:gd name="connsiteX1341" fmla="*/ 11768929 w 12166600"/>
                <a:gd name="connsiteY1341" fmla="*/ 2072033 h 2770404"/>
                <a:gd name="connsiteX1342" fmla="*/ 11783390 w 12166600"/>
                <a:gd name="connsiteY1342" fmla="*/ 2072033 h 2770404"/>
                <a:gd name="connsiteX1343" fmla="*/ 11826772 w 12166600"/>
                <a:gd name="connsiteY1343" fmla="*/ 2072033 h 2770404"/>
                <a:gd name="connsiteX1344" fmla="*/ 11877385 w 12166600"/>
                <a:gd name="connsiteY1344" fmla="*/ 2072033 h 2770404"/>
                <a:gd name="connsiteX1345" fmla="*/ 11884615 w 12166600"/>
                <a:gd name="connsiteY1345" fmla="*/ 2072033 h 2770404"/>
                <a:gd name="connsiteX1346" fmla="*/ 11877385 w 12166600"/>
                <a:gd name="connsiteY1346" fmla="*/ 2050222 h 2770404"/>
                <a:gd name="connsiteX1347" fmla="*/ 11855694 w 12166600"/>
                <a:gd name="connsiteY1347" fmla="*/ 2050222 h 2770404"/>
                <a:gd name="connsiteX1348" fmla="*/ 11805081 w 12166600"/>
                <a:gd name="connsiteY1348" fmla="*/ 2050222 h 2770404"/>
                <a:gd name="connsiteX1349" fmla="*/ 11761699 w 12166600"/>
                <a:gd name="connsiteY1349" fmla="*/ 2050222 h 2770404"/>
                <a:gd name="connsiteX1350" fmla="*/ 11754468 w 12166600"/>
                <a:gd name="connsiteY1350" fmla="*/ 2050222 h 2770404"/>
                <a:gd name="connsiteX1351" fmla="*/ 11631552 w 12166600"/>
                <a:gd name="connsiteY1351" fmla="*/ 2050222 h 2770404"/>
                <a:gd name="connsiteX1352" fmla="*/ 11624321 w 12166600"/>
                <a:gd name="connsiteY1352" fmla="*/ 2057492 h 2770404"/>
                <a:gd name="connsiteX1353" fmla="*/ 11624321 w 12166600"/>
                <a:gd name="connsiteY1353" fmla="*/ 2072033 h 2770404"/>
                <a:gd name="connsiteX1354" fmla="*/ 11617091 w 12166600"/>
                <a:gd name="connsiteY1354" fmla="*/ 2079303 h 2770404"/>
                <a:gd name="connsiteX1355" fmla="*/ 11624321 w 12166600"/>
                <a:gd name="connsiteY1355" fmla="*/ 2079303 h 2770404"/>
                <a:gd name="connsiteX1356" fmla="*/ 11653243 w 12166600"/>
                <a:gd name="connsiteY1356" fmla="*/ 2079303 h 2770404"/>
                <a:gd name="connsiteX1357" fmla="*/ 11660473 w 12166600"/>
                <a:gd name="connsiteY1357" fmla="*/ 2079303 h 2770404"/>
                <a:gd name="connsiteX1358" fmla="*/ 11674934 w 12166600"/>
                <a:gd name="connsiteY1358" fmla="*/ 2072033 h 2770404"/>
                <a:gd name="connsiteX1359" fmla="*/ 11689395 w 12166600"/>
                <a:gd name="connsiteY1359" fmla="*/ 2072033 h 2770404"/>
                <a:gd name="connsiteX1360" fmla="*/ 11703856 w 12166600"/>
                <a:gd name="connsiteY1360" fmla="*/ 2072033 h 2770404"/>
                <a:gd name="connsiteX1361" fmla="*/ 11725547 w 12166600"/>
                <a:gd name="connsiteY1361" fmla="*/ 2072033 h 2770404"/>
                <a:gd name="connsiteX1362" fmla="*/ 11740007 w 12166600"/>
                <a:gd name="connsiteY1362" fmla="*/ 2072033 h 2770404"/>
                <a:gd name="connsiteX1363" fmla="*/ 11740007 w 12166600"/>
                <a:gd name="connsiteY1363" fmla="*/ 2057492 h 2770404"/>
                <a:gd name="connsiteX1364" fmla="*/ 11740007 w 12166600"/>
                <a:gd name="connsiteY1364" fmla="*/ 2050222 h 2770404"/>
                <a:gd name="connsiteX1365" fmla="*/ 11732777 w 12166600"/>
                <a:gd name="connsiteY1365" fmla="*/ 2050222 h 2770404"/>
                <a:gd name="connsiteX1366" fmla="*/ 11725547 w 12166600"/>
                <a:gd name="connsiteY1366" fmla="*/ 2050222 h 2770404"/>
                <a:gd name="connsiteX1367" fmla="*/ 11703856 w 12166600"/>
                <a:gd name="connsiteY1367" fmla="*/ 2050222 h 2770404"/>
                <a:gd name="connsiteX1368" fmla="*/ 11682164 w 12166600"/>
                <a:gd name="connsiteY1368" fmla="*/ 2050222 h 2770404"/>
                <a:gd name="connsiteX1369" fmla="*/ 11667704 w 12166600"/>
                <a:gd name="connsiteY1369" fmla="*/ 2050222 h 2770404"/>
                <a:gd name="connsiteX1370" fmla="*/ 11653243 w 12166600"/>
                <a:gd name="connsiteY1370" fmla="*/ 2050222 h 2770404"/>
                <a:gd name="connsiteX1371" fmla="*/ 11638782 w 12166600"/>
                <a:gd name="connsiteY1371" fmla="*/ 2050222 h 2770404"/>
                <a:gd name="connsiteX1372" fmla="*/ 11631552 w 12166600"/>
                <a:gd name="connsiteY1372" fmla="*/ 2050222 h 2770404"/>
                <a:gd name="connsiteX1373" fmla="*/ 1324133 w 12166600"/>
                <a:gd name="connsiteY1373" fmla="*/ 2039969 h 2770404"/>
                <a:gd name="connsiteX1374" fmla="*/ 1309675 w 12166600"/>
                <a:gd name="connsiteY1374" fmla="*/ 2064515 h 2770404"/>
                <a:gd name="connsiteX1375" fmla="*/ 1309675 w 12166600"/>
                <a:gd name="connsiteY1375" fmla="*/ 2071788 h 2770404"/>
                <a:gd name="connsiteX1376" fmla="*/ 1302446 w 12166600"/>
                <a:gd name="connsiteY1376" fmla="*/ 2093607 h 2770404"/>
                <a:gd name="connsiteX1377" fmla="*/ 1295218 w 12166600"/>
                <a:gd name="connsiteY1377" fmla="*/ 2122698 h 2770404"/>
                <a:gd name="connsiteX1378" fmla="*/ 1273531 w 12166600"/>
                <a:gd name="connsiteY1378" fmla="*/ 2180882 h 2770404"/>
                <a:gd name="connsiteX1379" fmla="*/ 1259073 w 12166600"/>
                <a:gd name="connsiteY1379" fmla="*/ 2231792 h 2770404"/>
                <a:gd name="connsiteX1380" fmla="*/ 1244616 w 12166600"/>
                <a:gd name="connsiteY1380" fmla="*/ 2289976 h 2770404"/>
                <a:gd name="connsiteX1381" fmla="*/ 1266302 w 12166600"/>
                <a:gd name="connsiteY1381" fmla="*/ 2297249 h 2770404"/>
                <a:gd name="connsiteX1382" fmla="*/ 1273531 w 12166600"/>
                <a:gd name="connsiteY1382" fmla="*/ 2268157 h 2770404"/>
                <a:gd name="connsiteX1383" fmla="*/ 1295218 w 12166600"/>
                <a:gd name="connsiteY1383" fmla="*/ 2209973 h 2770404"/>
                <a:gd name="connsiteX1384" fmla="*/ 1302446 w 12166600"/>
                <a:gd name="connsiteY1384" fmla="*/ 2180882 h 2770404"/>
                <a:gd name="connsiteX1385" fmla="*/ 1324133 w 12166600"/>
                <a:gd name="connsiteY1385" fmla="*/ 2100880 h 2770404"/>
                <a:gd name="connsiteX1386" fmla="*/ 1331362 w 12166600"/>
                <a:gd name="connsiteY1386" fmla="*/ 2079061 h 2770404"/>
                <a:gd name="connsiteX1387" fmla="*/ 1331362 w 12166600"/>
                <a:gd name="connsiteY1387" fmla="*/ 2064515 h 2770404"/>
                <a:gd name="connsiteX1388" fmla="*/ 1338591 w 12166600"/>
                <a:gd name="connsiteY1388" fmla="*/ 2042696 h 2770404"/>
                <a:gd name="connsiteX1389" fmla="*/ 1324133 w 12166600"/>
                <a:gd name="connsiteY1389" fmla="*/ 2039969 h 2770404"/>
                <a:gd name="connsiteX1390" fmla="*/ 1610577 w 12166600"/>
                <a:gd name="connsiteY1390" fmla="*/ 2036105 h 2770404"/>
                <a:gd name="connsiteX1391" fmla="*/ 1569914 w 12166600"/>
                <a:gd name="connsiteY1391" fmla="*/ 2079061 h 2770404"/>
                <a:gd name="connsiteX1392" fmla="*/ 1562685 w 12166600"/>
                <a:gd name="connsiteY1392" fmla="*/ 2108152 h 2770404"/>
                <a:gd name="connsiteX1393" fmla="*/ 1548228 w 12166600"/>
                <a:gd name="connsiteY1393" fmla="*/ 2144517 h 2770404"/>
                <a:gd name="connsiteX1394" fmla="*/ 1533770 w 12166600"/>
                <a:gd name="connsiteY1394" fmla="*/ 2209973 h 2770404"/>
                <a:gd name="connsiteX1395" fmla="*/ 1526541 w 12166600"/>
                <a:gd name="connsiteY1395" fmla="*/ 2231792 h 2770404"/>
                <a:gd name="connsiteX1396" fmla="*/ 1512083 w 12166600"/>
                <a:gd name="connsiteY1396" fmla="*/ 2297249 h 2770404"/>
                <a:gd name="connsiteX1397" fmla="*/ 1497627 w 12166600"/>
                <a:gd name="connsiteY1397" fmla="*/ 2340886 h 2770404"/>
                <a:gd name="connsiteX1398" fmla="*/ 1504854 w 12166600"/>
                <a:gd name="connsiteY1398" fmla="*/ 2340886 h 2770404"/>
                <a:gd name="connsiteX1399" fmla="*/ 1555456 w 12166600"/>
                <a:gd name="connsiteY1399" fmla="*/ 2355432 h 2770404"/>
                <a:gd name="connsiteX1400" fmla="*/ 1569914 w 12166600"/>
                <a:gd name="connsiteY1400" fmla="*/ 2355432 h 2770404"/>
                <a:gd name="connsiteX1401" fmla="*/ 1577143 w 12166600"/>
                <a:gd name="connsiteY1401" fmla="*/ 2340886 h 2770404"/>
                <a:gd name="connsiteX1402" fmla="*/ 1584372 w 12166600"/>
                <a:gd name="connsiteY1402" fmla="*/ 2289976 h 2770404"/>
                <a:gd name="connsiteX1403" fmla="*/ 1598830 w 12166600"/>
                <a:gd name="connsiteY1403" fmla="*/ 2239065 h 2770404"/>
                <a:gd name="connsiteX1404" fmla="*/ 1606058 w 12166600"/>
                <a:gd name="connsiteY1404" fmla="*/ 2224519 h 2770404"/>
                <a:gd name="connsiteX1405" fmla="*/ 1613287 w 12166600"/>
                <a:gd name="connsiteY1405" fmla="*/ 2180882 h 2770404"/>
                <a:gd name="connsiteX1406" fmla="*/ 1634974 w 12166600"/>
                <a:gd name="connsiteY1406" fmla="*/ 2093607 h 2770404"/>
                <a:gd name="connsiteX1407" fmla="*/ 1634974 w 12166600"/>
                <a:gd name="connsiteY1407" fmla="*/ 2086334 h 2770404"/>
                <a:gd name="connsiteX1408" fmla="*/ 1634974 w 12166600"/>
                <a:gd name="connsiteY1408" fmla="*/ 2057242 h 2770404"/>
                <a:gd name="connsiteX1409" fmla="*/ 1627745 w 12166600"/>
                <a:gd name="connsiteY1409" fmla="*/ 2042696 h 2770404"/>
                <a:gd name="connsiteX1410" fmla="*/ 1610577 w 12166600"/>
                <a:gd name="connsiteY1410" fmla="*/ 2036105 h 2770404"/>
                <a:gd name="connsiteX1411" fmla="*/ 1378349 w 12166600"/>
                <a:gd name="connsiteY1411" fmla="*/ 2035423 h 2770404"/>
                <a:gd name="connsiteX1412" fmla="*/ 1360277 w 12166600"/>
                <a:gd name="connsiteY1412" fmla="*/ 2057242 h 2770404"/>
                <a:gd name="connsiteX1413" fmla="*/ 1360277 w 12166600"/>
                <a:gd name="connsiteY1413" fmla="*/ 2064515 h 2770404"/>
                <a:gd name="connsiteX1414" fmla="*/ 1353048 w 12166600"/>
                <a:gd name="connsiteY1414" fmla="*/ 2086334 h 2770404"/>
                <a:gd name="connsiteX1415" fmla="*/ 1324133 w 12166600"/>
                <a:gd name="connsiteY1415" fmla="*/ 2180882 h 2770404"/>
                <a:gd name="connsiteX1416" fmla="*/ 1324133 w 12166600"/>
                <a:gd name="connsiteY1416" fmla="*/ 2188155 h 2770404"/>
                <a:gd name="connsiteX1417" fmla="*/ 1309675 w 12166600"/>
                <a:gd name="connsiteY1417" fmla="*/ 2246338 h 2770404"/>
                <a:gd name="connsiteX1418" fmla="*/ 1295218 w 12166600"/>
                <a:gd name="connsiteY1418" fmla="*/ 2275430 h 2770404"/>
                <a:gd name="connsiteX1419" fmla="*/ 1295218 w 12166600"/>
                <a:gd name="connsiteY1419" fmla="*/ 2297249 h 2770404"/>
                <a:gd name="connsiteX1420" fmla="*/ 1309675 w 12166600"/>
                <a:gd name="connsiteY1420" fmla="*/ 2304522 h 2770404"/>
                <a:gd name="connsiteX1421" fmla="*/ 1331362 w 12166600"/>
                <a:gd name="connsiteY1421" fmla="*/ 2304522 h 2770404"/>
                <a:gd name="connsiteX1422" fmla="*/ 1331362 w 12166600"/>
                <a:gd name="connsiteY1422" fmla="*/ 2282703 h 2770404"/>
                <a:gd name="connsiteX1423" fmla="*/ 1345820 w 12166600"/>
                <a:gd name="connsiteY1423" fmla="*/ 2246338 h 2770404"/>
                <a:gd name="connsiteX1424" fmla="*/ 1353048 w 12166600"/>
                <a:gd name="connsiteY1424" fmla="*/ 2217246 h 2770404"/>
                <a:gd name="connsiteX1425" fmla="*/ 1360277 w 12166600"/>
                <a:gd name="connsiteY1425" fmla="*/ 2188155 h 2770404"/>
                <a:gd name="connsiteX1426" fmla="*/ 1367507 w 12166600"/>
                <a:gd name="connsiteY1426" fmla="*/ 2159063 h 2770404"/>
                <a:gd name="connsiteX1427" fmla="*/ 1396422 w 12166600"/>
                <a:gd name="connsiteY1427" fmla="*/ 2064515 h 2770404"/>
                <a:gd name="connsiteX1428" fmla="*/ 1396422 w 12166600"/>
                <a:gd name="connsiteY1428" fmla="*/ 2057242 h 2770404"/>
                <a:gd name="connsiteX1429" fmla="*/ 1396422 w 12166600"/>
                <a:gd name="connsiteY1429" fmla="*/ 2035423 h 2770404"/>
                <a:gd name="connsiteX1430" fmla="*/ 1378349 w 12166600"/>
                <a:gd name="connsiteY1430" fmla="*/ 2035423 h 2770404"/>
                <a:gd name="connsiteX1431" fmla="*/ 1514794 w 12166600"/>
                <a:gd name="connsiteY1431" fmla="*/ 2030877 h 2770404"/>
                <a:gd name="connsiteX1432" fmla="*/ 1483168 w 12166600"/>
                <a:gd name="connsiteY1432" fmla="*/ 2071788 h 2770404"/>
                <a:gd name="connsiteX1433" fmla="*/ 1475939 w 12166600"/>
                <a:gd name="connsiteY1433" fmla="*/ 2093607 h 2770404"/>
                <a:gd name="connsiteX1434" fmla="*/ 1461481 w 12166600"/>
                <a:gd name="connsiteY1434" fmla="*/ 2144517 h 2770404"/>
                <a:gd name="connsiteX1435" fmla="*/ 1454252 w 12166600"/>
                <a:gd name="connsiteY1435" fmla="*/ 2173609 h 2770404"/>
                <a:gd name="connsiteX1436" fmla="*/ 1447024 w 12166600"/>
                <a:gd name="connsiteY1436" fmla="*/ 2195428 h 2770404"/>
                <a:gd name="connsiteX1437" fmla="*/ 1447024 w 12166600"/>
                <a:gd name="connsiteY1437" fmla="*/ 2209973 h 2770404"/>
                <a:gd name="connsiteX1438" fmla="*/ 1425337 w 12166600"/>
                <a:gd name="connsiteY1438" fmla="*/ 2304522 h 2770404"/>
                <a:gd name="connsiteX1439" fmla="*/ 1418108 w 12166600"/>
                <a:gd name="connsiteY1439" fmla="*/ 2326340 h 2770404"/>
                <a:gd name="connsiteX1440" fmla="*/ 1454252 w 12166600"/>
                <a:gd name="connsiteY1440" fmla="*/ 2333613 h 2770404"/>
                <a:gd name="connsiteX1441" fmla="*/ 1475939 w 12166600"/>
                <a:gd name="connsiteY1441" fmla="*/ 2340886 h 2770404"/>
                <a:gd name="connsiteX1442" fmla="*/ 1483168 w 12166600"/>
                <a:gd name="connsiteY1442" fmla="*/ 2319067 h 2770404"/>
                <a:gd name="connsiteX1443" fmla="*/ 1497627 w 12166600"/>
                <a:gd name="connsiteY1443" fmla="*/ 2253611 h 2770404"/>
                <a:gd name="connsiteX1444" fmla="*/ 1512083 w 12166600"/>
                <a:gd name="connsiteY1444" fmla="*/ 2202701 h 2770404"/>
                <a:gd name="connsiteX1445" fmla="*/ 1519312 w 12166600"/>
                <a:gd name="connsiteY1445" fmla="*/ 2166336 h 2770404"/>
                <a:gd name="connsiteX1446" fmla="*/ 1526541 w 12166600"/>
                <a:gd name="connsiteY1446" fmla="*/ 2129971 h 2770404"/>
                <a:gd name="connsiteX1447" fmla="*/ 1533770 w 12166600"/>
                <a:gd name="connsiteY1447" fmla="*/ 2100880 h 2770404"/>
                <a:gd name="connsiteX1448" fmla="*/ 1540999 w 12166600"/>
                <a:gd name="connsiteY1448" fmla="*/ 2071788 h 2770404"/>
                <a:gd name="connsiteX1449" fmla="*/ 1540999 w 12166600"/>
                <a:gd name="connsiteY1449" fmla="*/ 2049969 h 2770404"/>
                <a:gd name="connsiteX1450" fmla="*/ 1514794 w 12166600"/>
                <a:gd name="connsiteY1450" fmla="*/ 2030877 h 2770404"/>
                <a:gd name="connsiteX1451" fmla="*/ 1450638 w 12166600"/>
                <a:gd name="connsiteY1451" fmla="*/ 2026332 h 2770404"/>
                <a:gd name="connsiteX1452" fmla="*/ 1418108 w 12166600"/>
                <a:gd name="connsiteY1452" fmla="*/ 2064515 h 2770404"/>
                <a:gd name="connsiteX1453" fmla="*/ 1396422 w 12166600"/>
                <a:gd name="connsiteY1453" fmla="*/ 2144517 h 2770404"/>
                <a:gd name="connsiteX1454" fmla="*/ 1381964 w 12166600"/>
                <a:gd name="connsiteY1454" fmla="*/ 2188155 h 2770404"/>
                <a:gd name="connsiteX1455" fmla="*/ 1381964 w 12166600"/>
                <a:gd name="connsiteY1455" fmla="*/ 2202701 h 2770404"/>
                <a:gd name="connsiteX1456" fmla="*/ 1367507 w 12166600"/>
                <a:gd name="connsiteY1456" fmla="*/ 2231792 h 2770404"/>
                <a:gd name="connsiteX1457" fmla="*/ 1360277 w 12166600"/>
                <a:gd name="connsiteY1457" fmla="*/ 2268157 h 2770404"/>
                <a:gd name="connsiteX1458" fmla="*/ 1345820 w 12166600"/>
                <a:gd name="connsiteY1458" fmla="*/ 2311794 h 2770404"/>
                <a:gd name="connsiteX1459" fmla="*/ 1396422 w 12166600"/>
                <a:gd name="connsiteY1459" fmla="*/ 2319067 h 2770404"/>
                <a:gd name="connsiteX1460" fmla="*/ 1418108 w 12166600"/>
                <a:gd name="connsiteY1460" fmla="*/ 2231792 h 2770404"/>
                <a:gd name="connsiteX1461" fmla="*/ 1432566 w 12166600"/>
                <a:gd name="connsiteY1461" fmla="*/ 2195428 h 2770404"/>
                <a:gd name="connsiteX1462" fmla="*/ 1439795 w 12166600"/>
                <a:gd name="connsiteY1462" fmla="*/ 2159063 h 2770404"/>
                <a:gd name="connsiteX1463" fmla="*/ 1454252 w 12166600"/>
                <a:gd name="connsiteY1463" fmla="*/ 2108152 h 2770404"/>
                <a:gd name="connsiteX1464" fmla="*/ 1461481 w 12166600"/>
                <a:gd name="connsiteY1464" fmla="*/ 2064515 h 2770404"/>
                <a:gd name="connsiteX1465" fmla="*/ 1450638 w 12166600"/>
                <a:gd name="connsiteY1465" fmla="*/ 2026332 h 2770404"/>
                <a:gd name="connsiteX1466" fmla="*/ 11711086 w 12166600"/>
                <a:gd name="connsiteY1466" fmla="*/ 2013870 h 2770404"/>
                <a:gd name="connsiteX1467" fmla="*/ 11703856 w 12166600"/>
                <a:gd name="connsiteY1467" fmla="*/ 2021141 h 2770404"/>
                <a:gd name="connsiteX1468" fmla="*/ 11696625 w 12166600"/>
                <a:gd name="connsiteY1468" fmla="*/ 2028411 h 2770404"/>
                <a:gd name="connsiteX1469" fmla="*/ 11696625 w 12166600"/>
                <a:gd name="connsiteY1469" fmla="*/ 2035681 h 2770404"/>
                <a:gd name="connsiteX1470" fmla="*/ 11711086 w 12166600"/>
                <a:gd name="connsiteY1470" fmla="*/ 2035681 h 2770404"/>
                <a:gd name="connsiteX1471" fmla="*/ 11718316 w 12166600"/>
                <a:gd name="connsiteY1471" fmla="*/ 2035681 h 2770404"/>
                <a:gd name="connsiteX1472" fmla="*/ 11725547 w 12166600"/>
                <a:gd name="connsiteY1472" fmla="*/ 2035681 h 2770404"/>
                <a:gd name="connsiteX1473" fmla="*/ 11732777 w 12166600"/>
                <a:gd name="connsiteY1473" fmla="*/ 2035681 h 2770404"/>
                <a:gd name="connsiteX1474" fmla="*/ 11711086 w 12166600"/>
                <a:gd name="connsiteY1474" fmla="*/ 2013870 h 2770404"/>
                <a:gd name="connsiteX1475" fmla="*/ 11646013 w 12166600"/>
                <a:gd name="connsiteY1475" fmla="*/ 2013870 h 2770404"/>
                <a:gd name="connsiteX1476" fmla="*/ 11646013 w 12166600"/>
                <a:gd name="connsiteY1476" fmla="*/ 2021141 h 2770404"/>
                <a:gd name="connsiteX1477" fmla="*/ 11638782 w 12166600"/>
                <a:gd name="connsiteY1477" fmla="*/ 2028411 h 2770404"/>
                <a:gd name="connsiteX1478" fmla="*/ 11631552 w 12166600"/>
                <a:gd name="connsiteY1478" fmla="*/ 2035681 h 2770404"/>
                <a:gd name="connsiteX1479" fmla="*/ 11631552 w 12166600"/>
                <a:gd name="connsiteY1479" fmla="*/ 2042952 h 2770404"/>
                <a:gd name="connsiteX1480" fmla="*/ 11638782 w 12166600"/>
                <a:gd name="connsiteY1480" fmla="*/ 2042952 h 2770404"/>
                <a:gd name="connsiteX1481" fmla="*/ 11653243 w 12166600"/>
                <a:gd name="connsiteY1481" fmla="*/ 2042952 h 2770404"/>
                <a:gd name="connsiteX1482" fmla="*/ 11667704 w 12166600"/>
                <a:gd name="connsiteY1482" fmla="*/ 2042952 h 2770404"/>
                <a:gd name="connsiteX1483" fmla="*/ 11646013 w 12166600"/>
                <a:gd name="connsiteY1483" fmla="*/ 2013870 h 2770404"/>
                <a:gd name="connsiteX1484" fmla="*/ 11580939 w 12166600"/>
                <a:gd name="connsiteY1484" fmla="*/ 2013870 h 2770404"/>
                <a:gd name="connsiteX1485" fmla="*/ 11573709 w 12166600"/>
                <a:gd name="connsiteY1485" fmla="*/ 2028411 h 2770404"/>
                <a:gd name="connsiteX1486" fmla="*/ 11566478 w 12166600"/>
                <a:gd name="connsiteY1486" fmla="*/ 2035681 h 2770404"/>
                <a:gd name="connsiteX1487" fmla="*/ 11559248 w 12166600"/>
                <a:gd name="connsiteY1487" fmla="*/ 2042952 h 2770404"/>
                <a:gd name="connsiteX1488" fmla="*/ 11573709 w 12166600"/>
                <a:gd name="connsiteY1488" fmla="*/ 2042952 h 2770404"/>
                <a:gd name="connsiteX1489" fmla="*/ 11588169 w 12166600"/>
                <a:gd name="connsiteY1489" fmla="*/ 2042952 h 2770404"/>
                <a:gd name="connsiteX1490" fmla="*/ 11602630 w 12166600"/>
                <a:gd name="connsiteY1490" fmla="*/ 2042952 h 2770404"/>
                <a:gd name="connsiteX1491" fmla="*/ 11841233 w 12166600"/>
                <a:gd name="connsiteY1491" fmla="*/ 2006600 h 2770404"/>
                <a:gd name="connsiteX1492" fmla="*/ 11834002 w 12166600"/>
                <a:gd name="connsiteY1492" fmla="*/ 2028411 h 2770404"/>
                <a:gd name="connsiteX1493" fmla="*/ 11834002 w 12166600"/>
                <a:gd name="connsiteY1493" fmla="*/ 2035681 h 2770404"/>
                <a:gd name="connsiteX1494" fmla="*/ 11841233 w 12166600"/>
                <a:gd name="connsiteY1494" fmla="*/ 2035681 h 2770404"/>
                <a:gd name="connsiteX1495" fmla="*/ 11870154 w 12166600"/>
                <a:gd name="connsiteY1495" fmla="*/ 2035681 h 2770404"/>
                <a:gd name="connsiteX1496" fmla="*/ 11841233 w 12166600"/>
                <a:gd name="connsiteY1496" fmla="*/ 2006600 h 2770404"/>
                <a:gd name="connsiteX1497" fmla="*/ 11776159 w 12166600"/>
                <a:gd name="connsiteY1497" fmla="*/ 2006600 h 2770404"/>
                <a:gd name="connsiteX1498" fmla="*/ 11768929 w 12166600"/>
                <a:gd name="connsiteY1498" fmla="*/ 2021141 h 2770404"/>
                <a:gd name="connsiteX1499" fmla="*/ 11761699 w 12166600"/>
                <a:gd name="connsiteY1499" fmla="*/ 2035681 h 2770404"/>
                <a:gd name="connsiteX1500" fmla="*/ 11790620 w 12166600"/>
                <a:gd name="connsiteY1500" fmla="*/ 2035681 h 2770404"/>
                <a:gd name="connsiteX1501" fmla="*/ 11805081 w 12166600"/>
                <a:gd name="connsiteY1501" fmla="*/ 2035681 h 2770404"/>
                <a:gd name="connsiteX1502" fmla="*/ 11776159 w 12166600"/>
                <a:gd name="connsiteY1502" fmla="*/ 2006600 h 2770404"/>
                <a:gd name="connsiteX1503" fmla="*/ 11862924 w 12166600"/>
                <a:gd name="connsiteY1503" fmla="*/ 1977519 h 2770404"/>
                <a:gd name="connsiteX1504" fmla="*/ 11855694 w 12166600"/>
                <a:gd name="connsiteY1504" fmla="*/ 1984789 h 2770404"/>
                <a:gd name="connsiteX1505" fmla="*/ 11848463 w 12166600"/>
                <a:gd name="connsiteY1505" fmla="*/ 1999330 h 2770404"/>
                <a:gd name="connsiteX1506" fmla="*/ 11870154 w 12166600"/>
                <a:gd name="connsiteY1506" fmla="*/ 2021141 h 2770404"/>
                <a:gd name="connsiteX1507" fmla="*/ 11870154 w 12166600"/>
                <a:gd name="connsiteY1507" fmla="*/ 1999330 h 2770404"/>
                <a:gd name="connsiteX1508" fmla="*/ 11862924 w 12166600"/>
                <a:gd name="connsiteY1508" fmla="*/ 1977519 h 2770404"/>
                <a:gd name="connsiteX1509" fmla="*/ 11747238 w 12166600"/>
                <a:gd name="connsiteY1509" fmla="*/ 1977519 h 2770404"/>
                <a:gd name="connsiteX1510" fmla="*/ 11747238 w 12166600"/>
                <a:gd name="connsiteY1510" fmla="*/ 1999330 h 2770404"/>
                <a:gd name="connsiteX1511" fmla="*/ 11747238 w 12166600"/>
                <a:gd name="connsiteY1511" fmla="*/ 2028411 h 2770404"/>
                <a:gd name="connsiteX1512" fmla="*/ 11761699 w 12166600"/>
                <a:gd name="connsiteY1512" fmla="*/ 2013870 h 2770404"/>
                <a:gd name="connsiteX1513" fmla="*/ 11768929 w 12166600"/>
                <a:gd name="connsiteY1513" fmla="*/ 1999330 h 2770404"/>
                <a:gd name="connsiteX1514" fmla="*/ 11732777 w 12166600"/>
                <a:gd name="connsiteY1514" fmla="*/ 1977519 h 2770404"/>
                <a:gd name="connsiteX1515" fmla="*/ 11725547 w 12166600"/>
                <a:gd name="connsiteY1515" fmla="*/ 1984789 h 2770404"/>
                <a:gd name="connsiteX1516" fmla="*/ 11718316 w 12166600"/>
                <a:gd name="connsiteY1516" fmla="*/ 1999330 h 2770404"/>
                <a:gd name="connsiteX1517" fmla="*/ 11740007 w 12166600"/>
                <a:gd name="connsiteY1517" fmla="*/ 2021141 h 2770404"/>
                <a:gd name="connsiteX1518" fmla="*/ 11732777 w 12166600"/>
                <a:gd name="connsiteY1518" fmla="*/ 1984789 h 2770404"/>
                <a:gd name="connsiteX1519" fmla="*/ 11732777 w 12166600"/>
                <a:gd name="connsiteY1519" fmla="*/ 1977519 h 2770404"/>
                <a:gd name="connsiteX1520" fmla="*/ 11617091 w 12166600"/>
                <a:gd name="connsiteY1520" fmla="*/ 1977519 h 2770404"/>
                <a:gd name="connsiteX1521" fmla="*/ 11609861 w 12166600"/>
                <a:gd name="connsiteY1521" fmla="*/ 1984789 h 2770404"/>
                <a:gd name="connsiteX1522" fmla="*/ 11602630 w 12166600"/>
                <a:gd name="connsiteY1522" fmla="*/ 1992060 h 2770404"/>
                <a:gd name="connsiteX1523" fmla="*/ 11595400 w 12166600"/>
                <a:gd name="connsiteY1523" fmla="*/ 1999330 h 2770404"/>
                <a:gd name="connsiteX1524" fmla="*/ 11609861 w 12166600"/>
                <a:gd name="connsiteY1524" fmla="*/ 2028411 h 2770404"/>
                <a:gd name="connsiteX1525" fmla="*/ 11609861 w 12166600"/>
                <a:gd name="connsiteY1525" fmla="*/ 2013870 h 2770404"/>
                <a:gd name="connsiteX1526" fmla="*/ 11609861 w 12166600"/>
                <a:gd name="connsiteY1526" fmla="*/ 1999330 h 2770404"/>
                <a:gd name="connsiteX1527" fmla="*/ 11609861 w 12166600"/>
                <a:gd name="connsiteY1527" fmla="*/ 1992060 h 2770404"/>
                <a:gd name="connsiteX1528" fmla="*/ 11617091 w 12166600"/>
                <a:gd name="connsiteY1528" fmla="*/ 1977519 h 2770404"/>
                <a:gd name="connsiteX1529" fmla="*/ 11494175 w 12166600"/>
                <a:gd name="connsiteY1529" fmla="*/ 1977519 h 2770404"/>
                <a:gd name="connsiteX1530" fmla="*/ 11494175 w 12166600"/>
                <a:gd name="connsiteY1530" fmla="*/ 1992060 h 2770404"/>
                <a:gd name="connsiteX1531" fmla="*/ 11494175 w 12166600"/>
                <a:gd name="connsiteY1531" fmla="*/ 1999330 h 2770404"/>
                <a:gd name="connsiteX1532" fmla="*/ 11494175 w 12166600"/>
                <a:gd name="connsiteY1532" fmla="*/ 2006600 h 2770404"/>
                <a:gd name="connsiteX1533" fmla="*/ 11494175 w 12166600"/>
                <a:gd name="connsiteY1533" fmla="*/ 2013870 h 2770404"/>
                <a:gd name="connsiteX1534" fmla="*/ 11489644 w 12166600"/>
                <a:gd name="connsiteY1534" fmla="*/ 2018426 h 2770404"/>
                <a:gd name="connsiteX1535" fmla="*/ 11486944 w 12166600"/>
                <a:gd name="connsiteY1535" fmla="*/ 2021141 h 2770404"/>
                <a:gd name="connsiteX1536" fmla="*/ 11487848 w 12166600"/>
                <a:gd name="connsiteY1536" fmla="*/ 2020232 h 2770404"/>
                <a:gd name="connsiteX1537" fmla="*/ 11489644 w 12166600"/>
                <a:gd name="connsiteY1537" fmla="*/ 2018426 h 2770404"/>
                <a:gd name="connsiteX1538" fmla="*/ 11490560 w 12166600"/>
                <a:gd name="connsiteY1538" fmla="*/ 2017506 h 2770404"/>
                <a:gd name="connsiteX1539" fmla="*/ 11494175 w 12166600"/>
                <a:gd name="connsiteY1539" fmla="*/ 2013870 h 2770404"/>
                <a:gd name="connsiteX1540" fmla="*/ 11501405 w 12166600"/>
                <a:gd name="connsiteY1540" fmla="*/ 2013870 h 2770404"/>
                <a:gd name="connsiteX1541" fmla="*/ 11501405 w 12166600"/>
                <a:gd name="connsiteY1541" fmla="*/ 2006600 h 2770404"/>
                <a:gd name="connsiteX1542" fmla="*/ 11508635 w 12166600"/>
                <a:gd name="connsiteY1542" fmla="*/ 2006600 h 2770404"/>
                <a:gd name="connsiteX1543" fmla="*/ 11508635 w 12166600"/>
                <a:gd name="connsiteY1543" fmla="*/ 1999330 h 2770404"/>
                <a:gd name="connsiteX1544" fmla="*/ 11494175 w 12166600"/>
                <a:gd name="connsiteY1544" fmla="*/ 1977519 h 2770404"/>
                <a:gd name="connsiteX1545" fmla="*/ 11674934 w 12166600"/>
                <a:gd name="connsiteY1545" fmla="*/ 1970249 h 2770404"/>
                <a:gd name="connsiteX1546" fmla="*/ 11667704 w 12166600"/>
                <a:gd name="connsiteY1546" fmla="*/ 1977519 h 2770404"/>
                <a:gd name="connsiteX1547" fmla="*/ 11667704 w 12166600"/>
                <a:gd name="connsiteY1547" fmla="*/ 1984789 h 2770404"/>
                <a:gd name="connsiteX1548" fmla="*/ 11660473 w 12166600"/>
                <a:gd name="connsiteY1548" fmla="*/ 1992060 h 2770404"/>
                <a:gd name="connsiteX1549" fmla="*/ 11660473 w 12166600"/>
                <a:gd name="connsiteY1549" fmla="*/ 1999330 h 2770404"/>
                <a:gd name="connsiteX1550" fmla="*/ 11674934 w 12166600"/>
                <a:gd name="connsiteY1550" fmla="*/ 2028411 h 2770404"/>
                <a:gd name="connsiteX1551" fmla="*/ 11682164 w 12166600"/>
                <a:gd name="connsiteY1551" fmla="*/ 2035681 h 2770404"/>
                <a:gd name="connsiteX1552" fmla="*/ 11689395 w 12166600"/>
                <a:gd name="connsiteY1552" fmla="*/ 2021141 h 2770404"/>
                <a:gd name="connsiteX1553" fmla="*/ 11689395 w 12166600"/>
                <a:gd name="connsiteY1553" fmla="*/ 2013870 h 2770404"/>
                <a:gd name="connsiteX1554" fmla="*/ 11696625 w 12166600"/>
                <a:gd name="connsiteY1554" fmla="*/ 2013870 h 2770404"/>
                <a:gd name="connsiteX1555" fmla="*/ 11696625 w 12166600"/>
                <a:gd name="connsiteY1555" fmla="*/ 2006600 h 2770404"/>
                <a:gd name="connsiteX1556" fmla="*/ 11703856 w 12166600"/>
                <a:gd name="connsiteY1556" fmla="*/ 1999330 h 2770404"/>
                <a:gd name="connsiteX1557" fmla="*/ 11696625 w 12166600"/>
                <a:gd name="connsiteY1557" fmla="*/ 1992060 h 2770404"/>
                <a:gd name="connsiteX1558" fmla="*/ 11682164 w 12166600"/>
                <a:gd name="connsiteY1558" fmla="*/ 1970249 h 2770404"/>
                <a:gd name="connsiteX1559" fmla="*/ 11674934 w 12166600"/>
                <a:gd name="connsiteY1559" fmla="*/ 1970249 h 2770404"/>
                <a:gd name="connsiteX1560" fmla="*/ 11552018 w 12166600"/>
                <a:gd name="connsiteY1560" fmla="*/ 1970249 h 2770404"/>
                <a:gd name="connsiteX1561" fmla="*/ 11544787 w 12166600"/>
                <a:gd name="connsiteY1561" fmla="*/ 1977519 h 2770404"/>
                <a:gd name="connsiteX1562" fmla="*/ 11537557 w 12166600"/>
                <a:gd name="connsiteY1562" fmla="*/ 1992060 h 2770404"/>
                <a:gd name="connsiteX1563" fmla="*/ 11530326 w 12166600"/>
                <a:gd name="connsiteY1563" fmla="*/ 1999330 h 2770404"/>
                <a:gd name="connsiteX1564" fmla="*/ 11523096 w 12166600"/>
                <a:gd name="connsiteY1564" fmla="*/ 2006600 h 2770404"/>
                <a:gd name="connsiteX1565" fmla="*/ 11544787 w 12166600"/>
                <a:gd name="connsiteY1565" fmla="*/ 2035681 h 2770404"/>
                <a:gd name="connsiteX1566" fmla="*/ 11552018 w 12166600"/>
                <a:gd name="connsiteY1566" fmla="*/ 2021141 h 2770404"/>
                <a:gd name="connsiteX1567" fmla="*/ 11559248 w 12166600"/>
                <a:gd name="connsiteY1567" fmla="*/ 2013870 h 2770404"/>
                <a:gd name="connsiteX1568" fmla="*/ 11573709 w 12166600"/>
                <a:gd name="connsiteY1568" fmla="*/ 1999330 h 2770404"/>
                <a:gd name="connsiteX1569" fmla="*/ 11566478 w 12166600"/>
                <a:gd name="connsiteY1569" fmla="*/ 1992060 h 2770404"/>
                <a:gd name="connsiteX1570" fmla="*/ 11819542 w 12166600"/>
                <a:gd name="connsiteY1570" fmla="*/ 1962978 h 2770404"/>
                <a:gd name="connsiteX1571" fmla="*/ 11841233 w 12166600"/>
                <a:gd name="connsiteY1571" fmla="*/ 1984789 h 2770404"/>
                <a:gd name="connsiteX1572" fmla="*/ 11848463 w 12166600"/>
                <a:gd name="connsiteY1572" fmla="*/ 1977519 h 2770404"/>
                <a:gd name="connsiteX1573" fmla="*/ 11848463 w 12166600"/>
                <a:gd name="connsiteY1573" fmla="*/ 1962978 h 2770404"/>
                <a:gd name="connsiteX1574" fmla="*/ 11826772 w 12166600"/>
                <a:gd name="connsiteY1574" fmla="*/ 1962978 h 2770404"/>
                <a:gd name="connsiteX1575" fmla="*/ 11819542 w 12166600"/>
                <a:gd name="connsiteY1575" fmla="*/ 1962978 h 2770404"/>
                <a:gd name="connsiteX1576" fmla="*/ 11805081 w 12166600"/>
                <a:gd name="connsiteY1576" fmla="*/ 1962978 h 2770404"/>
                <a:gd name="connsiteX1577" fmla="*/ 11790620 w 12166600"/>
                <a:gd name="connsiteY1577" fmla="*/ 1992060 h 2770404"/>
                <a:gd name="connsiteX1578" fmla="*/ 11783390 w 12166600"/>
                <a:gd name="connsiteY1578" fmla="*/ 1999330 h 2770404"/>
                <a:gd name="connsiteX1579" fmla="*/ 11819542 w 12166600"/>
                <a:gd name="connsiteY1579" fmla="*/ 2035681 h 2770404"/>
                <a:gd name="connsiteX1580" fmla="*/ 11826772 w 12166600"/>
                <a:gd name="connsiteY1580" fmla="*/ 2021141 h 2770404"/>
                <a:gd name="connsiteX1581" fmla="*/ 11834002 w 12166600"/>
                <a:gd name="connsiteY1581" fmla="*/ 1999330 h 2770404"/>
                <a:gd name="connsiteX1582" fmla="*/ 11754468 w 12166600"/>
                <a:gd name="connsiteY1582" fmla="*/ 1962978 h 2770404"/>
                <a:gd name="connsiteX1583" fmla="*/ 11776159 w 12166600"/>
                <a:gd name="connsiteY1583" fmla="*/ 1984789 h 2770404"/>
                <a:gd name="connsiteX1584" fmla="*/ 11783390 w 12166600"/>
                <a:gd name="connsiteY1584" fmla="*/ 1977519 h 2770404"/>
                <a:gd name="connsiteX1585" fmla="*/ 11790620 w 12166600"/>
                <a:gd name="connsiteY1585" fmla="*/ 1962978 h 2770404"/>
                <a:gd name="connsiteX1586" fmla="*/ 11761699 w 12166600"/>
                <a:gd name="connsiteY1586" fmla="*/ 1962978 h 2770404"/>
                <a:gd name="connsiteX1587" fmla="*/ 11754468 w 12166600"/>
                <a:gd name="connsiteY1587" fmla="*/ 1962978 h 2770404"/>
                <a:gd name="connsiteX1588" fmla="*/ 11696625 w 12166600"/>
                <a:gd name="connsiteY1588" fmla="*/ 1962978 h 2770404"/>
                <a:gd name="connsiteX1589" fmla="*/ 11711086 w 12166600"/>
                <a:gd name="connsiteY1589" fmla="*/ 1984789 h 2770404"/>
                <a:gd name="connsiteX1590" fmla="*/ 11718316 w 12166600"/>
                <a:gd name="connsiteY1590" fmla="*/ 1970249 h 2770404"/>
                <a:gd name="connsiteX1591" fmla="*/ 11725547 w 12166600"/>
                <a:gd name="connsiteY1591" fmla="*/ 1962978 h 2770404"/>
                <a:gd name="connsiteX1592" fmla="*/ 11711086 w 12166600"/>
                <a:gd name="connsiteY1592" fmla="*/ 1962978 h 2770404"/>
                <a:gd name="connsiteX1593" fmla="*/ 11696625 w 12166600"/>
                <a:gd name="connsiteY1593" fmla="*/ 1962978 h 2770404"/>
                <a:gd name="connsiteX1594" fmla="*/ 11631552 w 12166600"/>
                <a:gd name="connsiteY1594" fmla="*/ 1962978 h 2770404"/>
                <a:gd name="connsiteX1595" fmla="*/ 11646013 w 12166600"/>
                <a:gd name="connsiteY1595" fmla="*/ 1977519 h 2770404"/>
                <a:gd name="connsiteX1596" fmla="*/ 11653243 w 12166600"/>
                <a:gd name="connsiteY1596" fmla="*/ 1984789 h 2770404"/>
                <a:gd name="connsiteX1597" fmla="*/ 11653243 w 12166600"/>
                <a:gd name="connsiteY1597" fmla="*/ 1977519 h 2770404"/>
                <a:gd name="connsiteX1598" fmla="*/ 11660473 w 12166600"/>
                <a:gd name="connsiteY1598" fmla="*/ 1977519 h 2770404"/>
                <a:gd name="connsiteX1599" fmla="*/ 11660473 w 12166600"/>
                <a:gd name="connsiteY1599" fmla="*/ 1970249 h 2770404"/>
                <a:gd name="connsiteX1600" fmla="*/ 11667704 w 12166600"/>
                <a:gd name="connsiteY1600" fmla="*/ 1962978 h 2770404"/>
                <a:gd name="connsiteX1601" fmla="*/ 11653243 w 12166600"/>
                <a:gd name="connsiteY1601" fmla="*/ 1962978 h 2770404"/>
                <a:gd name="connsiteX1602" fmla="*/ 11646013 w 12166600"/>
                <a:gd name="connsiteY1602" fmla="*/ 1962978 h 2770404"/>
                <a:gd name="connsiteX1603" fmla="*/ 11638782 w 12166600"/>
                <a:gd name="connsiteY1603" fmla="*/ 1962978 h 2770404"/>
                <a:gd name="connsiteX1604" fmla="*/ 11631552 w 12166600"/>
                <a:gd name="connsiteY1604" fmla="*/ 1962978 h 2770404"/>
                <a:gd name="connsiteX1605" fmla="*/ 11566478 w 12166600"/>
                <a:gd name="connsiteY1605" fmla="*/ 1962978 h 2770404"/>
                <a:gd name="connsiteX1606" fmla="*/ 11580939 w 12166600"/>
                <a:gd name="connsiteY1606" fmla="*/ 1992060 h 2770404"/>
                <a:gd name="connsiteX1607" fmla="*/ 11588169 w 12166600"/>
                <a:gd name="connsiteY1607" fmla="*/ 1984789 h 2770404"/>
                <a:gd name="connsiteX1608" fmla="*/ 11595400 w 12166600"/>
                <a:gd name="connsiteY1608" fmla="*/ 1977519 h 2770404"/>
                <a:gd name="connsiteX1609" fmla="*/ 11609861 w 12166600"/>
                <a:gd name="connsiteY1609" fmla="*/ 1962978 h 2770404"/>
                <a:gd name="connsiteX1610" fmla="*/ 11588169 w 12166600"/>
                <a:gd name="connsiteY1610" fmla="*/ 1962978 h 2770404"/>
                <a:gd name="connsiteX1611" fmla="*/ 11573709 w 12166600"/>
                <a:gd name="connsiteY1611" fmla="*/ 1962978 h 2770404"/>
                <a:gd name="connsiteX1612" fmla="*/ 11566478 w 12166600"/>
                <a:gd name="connsiteY1612" fmla="*/ 1962978 h 2770404"/>
                <a:gd name="connsiteX1613" fmla="*/ 11508635 w 12166600"/>
                <a:gd name="connsiteY1613" fmla="*/ 1962978 h 2770404"/>
                <a:gd name="connsiteX1614" fmla="*/ 11515866 w 12166600"/>
                <a:gd name="connsiteY1614" fmla="*/ 1992060 h 2770404"/>
                <a:gd name="connsiteX1615" fmla="*/ 11523096 w 12166600"/>
                <a:gd name="connsiteY1615" fmla="*/ 1984789 h 2770404"/>
                <a:gd name="connsiteX1616" fmla="*/ 11537557 w 12166600"/>
                <a:gd name="connsiteY1616" fmla="*/ 1970249 h 2770404"/>
                <a:gd name="connsiteX1617" fmla="*/ 11537557 w 12166600"/>
                <a:gd name="connsiteY1617" fmla="*/ 1962978 h 2770404"/>
                <a:gd name="connsiteX1618" fmla="*/ 11508635 w 12166600"/>
                <a:gd name="connsiteY1618" fmla="*/ 1962978 h 2770404"/>
                <a:gd name="connsiteX1619" fmla="*/ 11458023 w 12166600"/>
                <a:gd name="connsiteY1619" fmla="*/ 1926627 h 2770404"/>
                <a:gd name="connsiteX1620" fmla="*/ 11465253 w 12166600"/>
                <a:gd name="connsiteY1620" fmla="*/ 1941168 h 2770404"/>
                <a:gd name="connsiteX1621" fmla="*/ 11472483 w 12166600"/>
                <a:gd name="connsiteY1621" fmla="*/ 1970249 h 2770404"/>
                <a:gd name="connsiteX1622" fmla="*/ 11472483 w 12166600"/>
                <a:gd name="connsiteY1622" fmla="*/ 1984789 h 2770404"/>
                <a:gd name="connsiteX1623" fmla="*/ 11479714 w 12166600"/>
                <a:gd name="connsiteY1623" fmla="*/ 1984789 h 2770404"/>
                <a:gd name="connsiteX1624" fmla="*/ 11479714 w 12166600"/>
                <a:gd name="connsiteY1624" fmla="*/ 1986607 h 2770404"/>
                <a:gd name="connsiteX1625" fmla="*/ 11479714 w 12166600"/>
                <a:gd name="connsiteY1625" fmla="*/ 1992060 h 2770404"/>
                <a:gd name="connsiteX1626" fmla="*/ 11486944 w 12166600"/>
                <a:gd name="connsiteY1626" fmla="*/ 1977519 h 2770404"/>
                <a:gd name="connsiteX1627" fmla="*/ 11486944 w 12166600"/>
                <a:gd name="connsiteY1627" fmla="*/ 1962978 h 2770404"/>
                <a:gd name="connsiteX1628" fmla="*/ 11486944 w 12166600"/>
                <a:gd name="connsiteY1628" fmla="*/ 1955708 h 2770404"/>
                <a:gd name="connsiteX1629" fmla="*/ 11486944 w 12166600"/>
                <a:gd name="connsiteY1629" fmla="*/ 1948438 h 2770404"/>
                <a:gd name="connsiteX1630" fmla="*/ 11494175 w 12166600"/>
                <a:gd name="connsiteY1630" fmla="*/ 1926627 h 2770404"/>
                <a:gd name="connsiteX1631" fmla="*/ 11486944 w 12166600"/>
                <a:gd name="connsiteY1631" fmla="*/ 1926627 h 2770404"/>
                <a:gd name="connsiteX1632" fmla="*/ 11465253 w 12166600"/>
                <a:gd name="connsiteY1632" fmla="*/ 1926627 h 2770404"/>
                <a:gd name="connsiteX1633" fmla="*/ 11458023 w 12166600"/>
                <a:gd name="connsiteY1633" fmla="*/ 1926627 h 2770404"/>
                <a:gd name="connsiteX1634" fmla="*/ 11862924 w 12166600"/>
                <a:gd name="connsiteY1634" fmla="*/ 1919357 h 2770404"/>
                <a:gd name="connsiteX1635" fmla="*/ 11870154 w 12166600"/>
                <a:gd name="connsiteY1635" fmla="*/ 1933897 h 2770404"/>
                <a:gd name="connsiteX1636" fmla="*/ 11870154 w 12166600"/>
                <a:gd name="connsiteY1636" fmla="*/ 1948438 h 2770404"/>
                <a:gd name="connsiteX1637" fmla="*/ 11870154 w 12166600"/>
                <a:gd name="connsiteY1637" fmla="*/ 1955708 h 2770404"/>
                <a:gd name="connsiteX1638" fmla="*/ 11877385 w 12166600"/>
                <a:gd name="connsiteY1638" fmla="*/ 1992060 h 2770404"/>
                <a:gd name="connsiteX1639" fmla="*/ 11891845 w 12166600"/>
                <a:gd name="connsiteY1639" fmla="*/ 1955708 h 2770404"/>
                <a:gd name="connsiteX1640" fmla="*/ 11899076 w 12166600"/>
                <a:gd name="connsiteY1640" fmla="*/ 1926627 h 2770404"/>
                <a:gd name="connsiteX1641" fmla="*/ 11899076 w 12166600"/>
                <a:gd name="connsiteY1641" fmla="*/ 1919357 h 2770404"/>
                <a:gd name="connsiteX1642" fmla="*/ 11884615 w 12166600"/>
                <a:gd name="connsiteY1642" fmla="*/ 1919357 h 2770404"/>
                <a:gd name="connsiteX1643" fmla="*/ 11740007 w 12166600"/>
                <a:gd name="connsiteY1643" fmla="*/ 1919357 h 2770404"/>
                <a:gd name="connsiteX1644" fmla="*/ 11740007 w 12166600"/>
                <a:gd name="connsiteY1644" fmla="*/ 1948438 h 2770404"/>
                <a:gd name="connsiteX1645" fmla="*/ 11747238 w 12166600"/>
                <a:gd name="connsiteY1645" fmla="*/ 1948438 h 2770404"/>
                <a:gd name="connsiteX1646" fmla="*/ 11812311 w 12166600"/>
                <a:gd name="connsiteY1646" fmla="*/ 1948438 h 2770404"/>
                <a:gd name="connsiteX1647" fmla="*/ 11834002 w 12166600"/>
                <a:gd name="connsiteY1647" fmla="*/ 1948438 h 2770404"/>
                <a:gd name="connsiteX1648" fmla="*/ 11855694 w 12166600"/>
                <a:gd name="connsiteY1648" fmla="*/ 1948438 h 2770404"/>
                <a:gd name="connsiteX1649" fmla="*/ 11848463 w 12166600"/>
                <a:gd name="connsiteY1649" fmla="*/ 1919357 h 2770404"/>
                <a:gd name="connsiteX1650" fmla="*/ 11805081 w 12166600"/>
                <a:gd name="connsiteY1650" fmla="*/ 1919357 h 2770404"/>
                <a:gd name="connsiteX1651" fmla="*/ 11783390 w 12166600"/>
                <a:gd name="connsiteY1651" fmla="*/ 1919357 h 2770404"/>
                <a:gd name="connsiteX1652" fmla="*/ 11740007 w 12166600"/>
                <a:gd name="connsiteY1652" fmla="*/ 1919357 h 2770404"/>
                <a:gd name="connsiteX1653" fmla="*/ 11631552 w 12166600"/>
                <a:gd name="connsiteY1653" fmla="*/ 1919357 h 2770404"/>
                <a:gd name="connsiteX1654" fmla="*/ 11631552 w 12166600"/>
                <a:gd name="connsiteY1654" fmla="*/ 1926627 h 2770404"/>
                <a:gd name="connsiteX1655" fmla="*/ 11631552 w 12166600"/>
                <a:gd name="connsiteY1655" fmla="*/ 1941168 h 2770404"/>
                <a:gd name="connsiteX1656" fmla="*/ 11631552 w 12166600"/>
                <a:gd name="connsiteY1656" fmla="*/ 1948438 h 2770404"/>
                <a:gd name="connsiteX1657" fmla="*/ 11638782 w 12166600"/>
                <a:gd name="connsiteY1657" fmla="*/ 1948438 h 2770404"/>
                <a:gd name="connsiteX1658" fmla="*/ 11653243 w 12166600"/>
                <a:gd name="connsiteY1658" fmla="*/ 1948438 h 2770404"/>
                <a:gd name="connsiteX1659" fmla="*/ 11696625 w 12166600"/>
                <a:gd name="connsiteY1659" fmla="*/ 1948438 h 2770404"/>
                <a:gd name="connsiteX1660" fmla="*/ 11732777 w 12166600"/>
                <a:gd name="connsiteY1660" fmla="*/ 1948438 h 2770404"/>
                <a:gd name="connsiteX1661" fmla="*/ 11725547 w 12166600"/>
                <a:gd name="connsiteY1661" fmla="*/ 1933897 h 2770404"/>
                <a:gd name="connsiteX1662" fmla="*/ 11725547 w 12166600"/>
                <a:gd name="connsiteY1662" fmla="*/ 1919357 h 2770404"/>
                <a:gd name="connsiteX1663" fmla="*/ 11718316 w 12166600"/>
                <a:gd name="connsiteY1663" fmla="*/ 1919357 h 2770404"/>
                <a:gd name="connsiteX1664" fmla="*/ 11667704 w 12166600"/>
                <a:gd name="connsiteY1664" fmla="*/ 1919357 h 2770404"/>
                <a:gd name="connsiteX1665" fmla="*/ 11566478 w 12166600"/>
                <a:gd name="connsiteY1665" fmla="*/ 1919357 h 2770404"/>
                <a:gd name="connsiteX1666" fmla="*/ 11544787 w 12166600"/>
                <a:gd name="connsiteY1666" fmla="*/ 1926627 h 2770404"/>
                <a:gd name="connsiteX1667" fmla="*/ 11530326 w 12166600"/>
                <a:gd name="connsiteY1667" fmla="*/ 1926627 h 2770404"/>
                <a:gd name="connsiteX1668" fmla="*/ 11515866 w 12166600"/>
                <a:gd name="connsiteY1668" fmla="*/ 1926627 h 2770404"/>
                <a:gd name="connsiteX1669" fmla="*/ 11508635 w 12166600"/>
                <a:gd name="connsiteY1669" fmla="*/ 1926627 h 2770404"/>
                <a:gd name="connsiteX1670" fmla="*/ 11508635 w 12166600"/>
                <a:gd name="connsiteY1670" fmla="*/ 1933897 h 2770404"/>
                <a:gd name="connsiteX1671" fmla="*/ 11508635 w 12166600"/>
                <a:gd name="connsiteY1671" fmla="*/ 1941168 h 2770404"/>
                <a:gd name="connsiteX1672" fmla="*/ 11501405 w 12166600"/>
                <a:gd name="connsiteY1672" fmla="*/ 1955708 h 2770404"/>
                <a:gd name="connsiteX1673" fmla="*/ 11523096 w 12166600"/>
                <a:gd name="connsiteY1673" fmla="*/ 1955708 h 2770404"/>
                <a:gd name="connsiteX1674" fmla="*/ 11530326 w 12166600"/>
                <a:gd name="connsiteY1674" fmla="*/ 1955708 h 2770404"/>
                <a:gd name="connsiteX1675" fmla="*/ 11544787 w 12166600"/>
                <a:gd name="connsiteY1675" fmla="*/ 1955708 h 2770404"/>
                <a:gd name="connsiteX1676" fmla="*/ 11559248 w 12166600"/>
                <a:gd name="connsiteY1676" fmla="*/ 1948438 h 2770404"/>
                <a:gd name="connsiteX1677" fmla="*/ 11573709 w 12166600"/>
                <a:gd name="connsiteY1677" fmla="*/ 1948438 h 2770404"/>
                <a:gd name="connsiteX1678" fmla="*/ 11595400 w 12166600"/>
                <a:gd name="connsiteY1678" fmla="*/ 1948438 h 2770404"/>
                <a:gd name="connsiteX1679" fmla="*/ 11617091 w 12166600"/>
                <a:gd name="connsiteY1679" fmla="*/ 1948438 h 2770404"/>
                <a:gd name="connsiteX1680" fmla="*/ 11617091 w 12166600"/>
                <a:gd name="connsiteY1680" fmla="*/ 1941168 h 2770404"/>
                <a:gd name="connsiteX1681" fmla="*/ 11617091 w 12166600"/>
                <a:gd name="connsiteY1681" fmla="*/ 1933897 h 2770404"/>
                <a:gd name="connsiteX1682" fmla="*/ 11617091 w 12166600"/>
                <a:gd name="connsiteY1682" fmla="*/ 1919357 h 2770404"/>
                <a:gd name="connsiteX1683" fmla="*/ 11609861 w 12166600"/>
                <a:gd name="connsiteY1683" fmla="*/ 1919357 h 2770404"/>
                <a:gd name="connsiteX1684" fmla="*/ 11602630 w 12166600"/>
                <a:gd name="connsiteY1684" fmla="*/ 1919357 h 2770404"/>
                <a:gd name="connsiteX1685" fmla="*/ 11595400 w 12166600"/>
                <a:gd name="connsiteY1685" fmla="*/ 1919357 h 2770404"/>
                <a:gd name="connsiteX1686" fmla="*/ 11580939 w 12166600"/>
                <a:gd name="connsiteY1686" fmla="*/ 1919357 h 2770404"/>
                <a:gd name="connsiteX1687" fmla="*/ 11566478 w 12166600"/>
                <a:gd name="connsiteY1687" fmla="*/ 1919357 h 2770404"/>
                <a:gd name="connsiteX1688" fmla="*/ 11790620 w 12166600"/>
                <a:gd name="connsiteY1688" fmla="*/ 1868465 h 2770404"/>
                <a:gd name="connsiteX1689" fmla="*/ 11768929 w 12166600"/>
                <a:gd name="connsiteY1689" fmla="*/ 1890275 h 2770404"/>
                <a:gd name="connsiteX1690" fmla="*/ 11776159 w 12166600"/>
                <a:gd name="connsiteY1690" fmla="*/ 1890275 h 2770404"/>
                <a:gd name="connsiteX1691" fmla="*/ 11819542 w 12166600"/>
                <a:gd name="connsiteY1691" fmla="*/ 1890275 h 2770404"/>
                <a:gd name="connsiteX1692" fmla="*/ 11790620 w 12166600"/>
                <a:gd name="connsiteY1692" fmla="*/ 1868465 h 2770404"/>
                <a:gd name="connsiteX1693" fmla="*/ 11674934 w 12166600"/>
                <a:gd name="connsiteY1693" fmla="*/ 1868465 h 2770404"/>
                <a:gd name="connsiteX1694" fmla="*/ 11667704 w 12166600"/>
                <a:gd name="connsiteY1694" fmla="*/ 1875735 h 2770404"/>
                <a:gd name="connsiteX1695" fmla="*/ 11653243 w 12166600"/>
                <a:gd name="connsiteY1695" fmla="*/ 1890275 h 2770404"/>
                <a:gd name="connsiteX1696" fmla="*/ 11689395 w 12166600"/>
                <a:gd name="connsiteY1696" fmla="*/ 1890275 h 2770404"/>
                <a:gd name="connsiteX1697" fmla="*/ 11703856 w 12166600"/>
                <a:gd name="connsiteY1697" fmla="*/ 1890275 h 2770404"/>
                <a:gd name="connsiteX1698" fmla="*/ 11674934 w 12166600"/>
                <a:gd name="connsiteY1698" fmla="*/ 1868465 h 2770404"/>
                <a:gd name="connsiteX1699" fmla="*/ 11566478 w 12166600"/>
                <a:gd name="connsiteY1699" fmla="*/ 1868465 h 2770404"/>
                <a:gd name="connsiteX1700" fmla="*/ 11559248 w 12166600"/>
                <a:gd name="connsiteY1700" fmla="*/ 1875735 h 2770404"/>
                <a:gd name="connsiteX1701" fmla="*/ 11552018 w 12166600"/>
                <a:gd name="connsiteY1701" fmla="*/ 1883005 h 2770404"/>
                <a:gd name="connsiteX1702" fmla="*/ 11544787 w 12166600"/>
                <a:gd name="connsiteY1702" fmla="*/ 1890275 h 2770404"/>
                <a:gd name="connsiteX1703" fmla="*/ 11537557 w 12166600"/>
                <a:gd name="connsiteY1703" fmla="*/ 1897546 h 2770404"/>
                <a:gd name="connsiteX1704" fmla="*/ 11552018 w 12166600"/>
                <a:gd name="connsiteY1704" fmla="*/ 1897546 h 2770404"/>
                <a:gd name="connsiteX1705" fmla="*/ 11566478 w 12166600"/>
                <a:gd name="connsiteY1705" fmla="*/ 1897546 h 2770404"/>
                <a:gd name="connsiteX1706" fmla="*/ 11573709 w 12166600"/>
                <a:gd name="connsiteY1706" fmla="*/ 1897546 h 2770404"/>
                <a:gd name="connsiteX1707" fmla="*/ 11580939 w 12166600"/>
                <a:gd name="connsiteY1707" fmla="*/ 1897546 h 2770404"/>
                <a:gd name="connsiteX1708" fmla="*/ 11595400 w 12166600"/>
                <a:gd name="connsiteY1708" fmla="*/ 1897546 h 2770404"/>
                <a:gd name="connsiteX1709" fmla="*/ 11588169 w 12166600"/>
                <a:gd name="connsiteY1709" fmla="*/ 1890275 h 2770404"/>
                <a:gd name="connsiteX1710" fmla="*/ 11566478 w 12166600"/>
                <a:gd name="connsiteY1710" fmla="*/ 1868465 h 2770404"/>
                <a:gd name="connsiteX1711" fmla="*/ 2090392 w 12166600"/>
                <a:gd name="connsiteY1711" fmla="*/ 1860873 h 2770404"/>
                <a:gd name="connsiteX1712" fmla="*/ 2075934 w 12166600"/>
                <a:gd name="connsiteY1712" fmla="*/ 1882692 h 2770404"/>
                <a:gd name="connsiteX1713" fmla="*/ 2061477 w 12166600"/>
                <a:gd name="connsiteY1713" fmla="*/ 1940875 h 2770404"/>
                <a:gd name="connsiteX1714" fmla="*/ 2054248 w 12166600"/>
                <a:gd name="connsiteY1714" fmla="*/ 1991786 h 2770404"/>
                <a:gd name="connsiteX1715" fmla="*/ 2054248 w 12166600"/>
                <a:gd name="connsiteY1715" fmla="*/ 1999059 h 2770404"/>
                <a:gd name="connsiteX1716" fmla="*/ 2047019 w 12166600"/>
                <a:gd name="connsiteY1716" fmla="*/ 2035423 h 2770404"/>
                <a:gd name="connsiteX1717" fmla="*/ 2032562 w 12166600"/>
                <a:gd name="connsiteY1717" fmla="*/ 2108152 h 2770404"/>
                <a:gd name="connsiteX1718" fmla="*/ 2061477 w 12166600"/>
                <a:gd name="connsiteY1718" fmla="*/ 2122698 h 2770404"/>
                <a:gd name="connsiteX1719" fmla="*/ 2061477 w 12166600"/>
                <a:gd name="connsiteY1719" fmla="*/ 2079061 h 2770404"/>
                <a:gd name="connsiteX1720" fmla="*/ 2075934 w 12166600"/>
                <a:gd name="connsiteY1720" fmla="*/ 2079061 h 2770404"/>
                <a:gd name="connsiteX1721" fmla="*/ 2090392 w 12166600"/>
                <a:gd name="connsiteY1721" fmla="*/ 2013604 h 2770404"/>
                <a:gd name="connsiteX1722" fmla="*/ 2090392 w 12166600"/>
                <a:gd name="connsiteY1722" fmla="*/ 1977240 h 2770404"/>
                <a:gd name="connsiteX1723" fmla="*/ 11732777 w 12166600"/>
                <a:gd name="connsiteY1723" fmla="*/ 1824843 h 2770404"/>
                <a:gd name="connsiteX1724" fmla="*/ 11732777 w 12166600"/>
                <a:gd name="connsiteY1724" fmla="*/ 1853924 h 2770404"/>
                <a:gd name="connsiteX1725" fmla="*/ 11740007 w 12166600"/>
                <a:gd name="connsiteY1725" fmla="*/ 1875735 h 2770404"/>
                <a:gd name="connsiteX1726" fmla="*/ 11740007 w 12166600"/>
                <a:gd name="connsiteY1726" fmla="*/ 1890275 h 2770404"/>
                <a:gd name="connsiteX1727" fmla="*/ 11747238 w 12166600"/>
                <a:gd name="connsiteY1727" fmla="*/ 1890275 h 2770404"/>
                <a:gd name="connsiteX1728" fmla="*/ 11754468 w 12166600"/>
                <a:gd name="connsiteY1728" fmla="*/ 1875735 h 2770404"/>
                <a:gd name="connsiteX1729" fmla="*/ 11776159 w 12166600"/>
                <a:gd name="connsiteY1729" fmla="*/ 1853924 h 2770404"/>
                <a:gd name="connsiteX1730" fmla="*/ 11732777 w 12166600"/>
                <a:gd name="connsiteY1730" fmla="*/ 1824843 h 2770404"/>
                <a:gd name="connsiteX1731" fmla="*/ 11718316 w 12166600"/>
                <a:gd name="connsiteY1731" fmla="*/ 1824843 h 2770404"/>
                <a:gd name="connsiteX1732" fmla="*/ 11711086 w 12166600"/>
                <a:gd name="connsiteY1732" fmla="*/ 1832113 h 2770404"/>
                <a:gd name="connsiteX1733" fmla="*/ 11703856 w 12166600"/>
                <a:gd name="connsiteY1733" fmla="*/ 1839383 h 2770404"/>
                <a:gd name="connsiteX1734" fmla="*/ 11689395 w 12166600"/>
                <a:gd name="connsiteY1734" fmla="*/ 1853924 h 2770404"/>
                <a:gd name="connsiteX1735" fmla="*/ 11725547 w 12166600"/>
                <a:gd name="connsiteY1735" fmla="*/ 1890275 h 2770404"/>
                <a:gd name="connsiteX1736" fmla="*/ 11725547 w 12166600"/>
                <a:gd name="connsiteY1736" fmla="*/ 1861194 h 2770404"/>
                <a:gd name="connsiteX1737" fmla="*/ 11718316 w 12166600"/>
                <a:gd name="connsiteY1737" fmla="*/ 1846654 h 2770404"/>
                <a:gd name="connsiteX1738" fmla="*/ 11718316 w 12166600"/>
                <a:gd name="connsiteY1738" fmla="*/ 1824843 h 2770404"/>
                <a:gd name="connsiteX1739" fmla="*/ 11638782 w 12166600"/>
                <a:gd name="connsiteY1739" fmla="*/ 1824843 h 2770404"/>
                <a:gd name="connsiteX1740" fmla="*/ 11631552 w 12166600"/>
                <a:gd name="connsiteY1740" fmla="*/ 1846654 h 2770404"/>
                <a:gd name="connsiteX1741" fmla="*/ 11631552 w 12166600"/>
                <a:gd name="connsiteY1741" fmla="*/ 1890275 h 2770404"/>
                <a:gd name="connsiteX1742" fmla="*/ 11660473 w 12166600"/>
                <a:gd name="connsiteY1742" fmla="*/ 1868465 h 2770404"/>
                <a:gd name="connsiteX1743" fmla="*/ 11667704 w 12166600"/>
                <a:gd name="connsiteY1743" fmla="*/ 1853924 h 2770404"/>
                <a:gd name="connsiteX1744" fmla="*/ 11617091 w 12166600"/>
                <a:gd name="connsiteY1744" fmla="*/ 1824843 h 2770404"/>
                <a:gd name="connsiteX1745" fmla="*/ 11588169 w 12166600"/>
                <a:gd name="connsiteY1745" fmla="*/ 1853924 h 2770404"/>
                <a:gd name="connsiteX1746" fmla="*/ 11580939 w 12166600"/>
                <a:gd name="connsiteY1746" fmla="*/ 1861194 h 2770404"/>
                <a:gd name="connsiteX1747" fmla="*/ 11609861 w 12166600"/>
                <a:gd name="connsiteY1747" fmla="*/ 1897546 h 2770404"/>
                <a:gd name="connsiteX1748" fmla="*/ 11617091 w 12166600"/>
                <a:gd name="connsiteY1748" fmla="*/ 1897546 h 2770404"/>
                <a:gd name="connsiteX1749" fmla="*/ 11617091 w 12166600"/>
                <a:gd name="connsiteY1749" fmla="*/ 1875735 h 2770404"/>
                <a:gd name="connsiteX1750" fmla="*/ 11624321 w 12166600"/>
                <a:gd name="connsiteY1750" fmla="*/ 1832113 h 2770404"/>
                <a:gd name="connsiteX1751" fmla="*/ 11624321 w 12166600"/>
                <a:gd name="connsiteY1751" fmla="*/ 1824843 h 2770404"/>
                <a:gd name="connsiteX1752" fmla="*/ 11617091 w 12166600"/>
                <a:gd name="connsiteY1752" fmla="*/ 1824843 h 2770404"/>
                <a:gd name="connsiteX1753" fmla="*/ 11523096 w 12166600"/>
                <a:gd name="connsiteY1753" fmla="*/ 1824843 h 2770404"/>
                <a:gd name="connsiteX1754" fmla="*/ 11523096 w 12166600"/>
                <a:gd name="connsiteY1754" fmla="*/ 1839383 h 2770404"/>
                <a:gd name="connsiteX1755" fmla="*/ 11515866 w 12166600"/>
                <a:gd name="connsiteY1755" fmla="*/ 1846654 h 2770404"/>
                <a:gd name="connsiteX1756" fmla="*/ 11515866 w 12166600"/>
                <a:gd name="connsiteY1756" fmla="*/ 1853924 h 2770404"/>
                <a:gd name="connsiteX1757" fmla="*/ 11515866 w 12166600"/>
                <a:gd name="connsiteY1757" fmla="*/ 1861194 h 2770404"/>
                <a:gd name="connsiteX1758" fmla="*/ 11515866 w 12166600"/>
                <a:gd name="connsiteY1758" fmla="*/ 1875735 h 2770404"/>
                <a:gd name="connsiteX1759" fmla="*/ 11508635 w 12166600"/>
                <a:gd name="connsiteY1759" fmla="*/ 1897546 h 2770404"/>
                <a:gd name="connsiteX1760" fmla="*/ 11515866 w 12166600"/>
                <a:gd name="connsiteY1760" fmla="*/ 1897546 h 2770404"/>
                <a:gd name="connsiteX1761" fmla="*/ 11523096 w 12166600"/>
                <a:gd name="connsiteY1761" fmla="*/ 1890275 h 2770404"/>
                <a:gd name="connsiteX1762" fmla="*/ 11537557 w 12166600"/>
                <a:gd name="connsiteY1762" fmla="*/ 1875735 h 2770404"/>
                <a:gd name="connsiteX1763" fmla="*/ 11544787 w 12166600"/>
                <a:gd name="connsiteY1763" fmla="*/ 1875735 h 2770404"/>
                <a:gd name="connsiteX1764" fmla="*/ 11544787 w 12166600"/>
                <a:gd name="connsiteY1764" fmla="*/ 1868465 h 2770404"/>
                <a:gd name="connsiteX1765" fmla="*/ 11552018 w 12166600"/>
                <a:gd name="connsiteY1765" fmla="*/ 1868465 h 2770404"/>
                <a:gd name="connsiteX1766" fmla="*/ 11559248 w 12166600"/>
                <a:gd name="connsiteY1766" fmla="*/ 1861194 h 2770404"/>
                <a:gd name="connsiteX1767" fmla="*/ 11523096 w 12166600"/>
                <a:gd name="connsiteY1767" fmla="*/ 1824843 h 2770404"/>
                <a:gd name="connsiteX1768" fmla="*/ 2039790 w 12166600"/>
                <a:gd name="connsiteY1768" fmla="*/ 1824508 h 2770404"/>
                <a:gd name="connsiteX1769" fmla="*/ 2018103 w 12166600"/>
                <a:gd name="connsiteY1769" fmla="*/ 1846327 h 2770404"/>
                <a:gd name="connsiteX1770" fmla="*/ 2018103 w 12166600"/>
                <a:gd name="connsiteY1770" fmla="*/ 1853600 h 2770404"/>
                <a:gd name="connsiteX1771" fmla="*/ 2003646 w 12166600"/>
                <a:gd name="connsiteY1771" fmla="*/ 1926329 h 2770404"/>
                <a:gd name="connsiteX1772" fmla="*/ 1996418 w 12166600"/>
                <a:gd name="connsiteY1772" fmla="*/ 1962694 h 2770404"/>
                <a:gd name="connsiteX1773" fmla="*/ 1989188 w 12166600"/>
                <a:gd name="connsiteY1773" fmla="*/ 1991786 h 2770404"/>
                <a:gd name="connsiteX1774" fmla="*/ 1981959 w 12166600"/>
                <a:gd name="connsiteY1774" fmla="*/ 2035423 h 2770404"/>
                <a:gd name="connsiteX1775" fmla="*/ 1974730 w 12166600"/>
                <a:gd name="connsiteY1775" fmla="*/ 2079061 h 2770404"/>
                <a:gd name="connsiteX1776" fmla="*/ 1981959 w 12166600"/>
                <a:gd name="connsiteY1776" fmla="*/ 2079061 h 2770404"/>
                <a:gd name="connsiteX1777" fmla="*/ 2018103 w 12166600"/>
                <a:gd name="connsiteY1777" fmla="*/ 2100880 h 2770404"/>
                <a:gd name="connsiteX1778" fmla="*/ 2025332 w 12166600"/>
                <a:gd name="connsiteY1778" fmla="*/ 2049969 h 2770404"/>
                <a:gd name="connsiteX1779" fmla="*/ 2032562 w 12166600"/>
                <a:gd name="connsiteY1779" fmla="*/ 1999059 h 2770404"/>
                <a:gd name="connsiteX1780" fmla="*/ 2039790 w 12166600"/>
                <a:gd name="connsiteY1780" fmla="*/ 1984513 h 2770404"/>
                <a:gd name="connsiteX1781" fmla="*/ 2039790 w 12166600"/>
                <a:gd name="connsiteY1781" fmla="*/ 1955421 h 2770404"/>
                <a:gd name="connsiteX1782" fmla="*/ 2054248 w 12166600"/>
                <a:gd name="connsiteY1782" fmla="*/ 1897238 h 2770404"/>
                <a:gd name="connsiteX1783" fmla="*/ 2054248 w 12166600"/>
                <a:gd name="connsiteY1783" fmla="*/ 1875419 h 2770404"/>
                <a:gd name="connsiteX1784" fmla="*/ 2039790 w 12166600"/>
                <a:gd name="connsiteY1784" fmla="*/ 1824508 h 2770404"/>
                <a:gd name="connsiteX1785" fmla="*/ 11834002 w 12166600"/>
                <a:gd name="connsiteY1785" fmla="*/ 1817573 h 2770404"/>
                <a:gd name="connsiteX1786" fmla="*/ 11812311 w 12166600"/>
                <a:gd name="connsiteY1786" fmla="*/ 1839383 h 2770404"/>
                <a:gd name="connsiteX1787" fmla="*/ 11812311 w 12166600"/>
                <a:gd name="connsiteY1787" fmla="*/ 1846654 h 2770404"/>
                <a:gd name="connsiteX1788" fmla="*/ 11797851 w 12166600"/>
                <a:gd name="connsiteY1788" fmla="*/ 1853924 h 2770404"/>
                <a:gd name="connsiteX1789" fmla="*/ 11841233 w 12166600"/>
                <a:gd name="connsiteY1789" fmla="*/ 1890275 h 2770404"/>
                <a:gd name="connsiteX1790" fmla="*/ 11848463 w 12166600"/>
                <a:gd name="connsiteY1790" fmla="*/ 1890275 h 2770404"/>
                <a:gd name="connsiteX1791" fmla="*/ 11841233 w 12166600"/>
                <a:gd name="connsiteY1791" fmla="*/ 1875735 h 2770404"/>
                <a:gd name="connsiteX1792" fmla="*/ 11841233 w 12166600"/>
                <a:gd name="connsiteY1792" fmla="*/ 1861194 h 2770404"/>
                <a:gd name="connsiteX1793" fmla="*/ 11834002 w 12166600"/>
                <a:gd name="connsiteY1793" fmla="*/ 1817573 h 2770404"/>
                <a:gd name="connsiteX1794" fmla="*/ 11530326 w 12166600"/>
                <a:gd name="connsiteY1794" fmla="*/ 1817573 h 2770404"/>
                <a:gd name="connsiteX1795" fmla="*/ 11566478 w 12166600"/>
                <a:gd name="connsiteY1795" fmla="*/ 1853924 h 2770404"/>
                <a:gd name="connsiteX1796" fmla="*/ 11580939 w 12166600"/>
                <a:gd name="connsiteY1796" fmla="*/ 1839383 h 2770404"/>
                <a:gd name="connsiteX1797" fmla="*/ 11609861 w 12166600"/>
                <a:gd name="connsiteY1797" fmla="*/ 1817573 h 2770404"/>
                <a:gd name="connsiteX1798" fmla="*/ 11602630 w 12166600"/>
                <a:gd name="connsiteY1798" fmla="*/ 1817573 h 2770404"/>
                <a:gd name="connsiteX1799" fmla="*/ 11552018 w 12166600"/>
                <a:gd name="connsiteY1799" fmla="*/ 1817573 h 2770404"/>
                <a:gd name="connsiteX1800" fmla="*/ 11747238 w 12166600"/>
                <a:gd name="connsiteY1800" fmla="*/ 1810302 h 2770404"/>
                <a:gd name="connsiteX1801" fmla="*/ 11790620 w 12166600"/>
                <a:gd name="connsiteY1801" fmla="*/ 1846654 h 2770404"/>
                <a:gd name="connsiteX1802" fmla="*/ 11797851 w 12166600"/>
                <a:gd name="connsiteY1802" fmla="*/ 1832113 h 2770404"/>
                <a:gd name="connsiteX1803" fmla="*/ 11805081 w 12166600"/>
                <a:gd name="connsiteY1803" fmla="*/ 1824843 h 2770404"/>
                <a:gd name="connsiteX1804" fmla="*/ 11819542 w 12166600"/>
                <a:gd name="connsiteY1804" fmla="*/ 1810302 h 2770404"/>
                <a:gd name="connsiteX1805" fmla="*/ 11790620 w 12166600"/>
                <a:gd name="connsiteY1805" fmla="*/ 1810302 h 2770404"/>
                <a:gd name="connsiteX1806" fmla="*/ 11776159 w 12166600"/>
                <a:gd name="connsiteY1806" fmla="*/ 1810302 h 2770404"/>
                <a:gd name="connsiteX1807" fmla="*/ 11747238 w 12166600"/>
                <a:gd name="connsiteY1807" fmla="*/ 1810302 h 2770404"/>
                <a:gd name="connsiteX1808" fmla="*/ 11689395 w 12166600"/>
                <a:gd name="connsiteY1808" fmla="*/ 1810302 h 2770404"/>
                <a:gd name="connsiteX1809" fmla="*/ 11674934 w 12166600"/>
                <a:gd name="connsiteY1809" fmla="*/ 1817573 h 2770404"/>
                <a:gd name="connsiteX1810" fmla="*/ 11646013 w 12166600"/>
                <a:gd name="connsiteY1810" fmla="*/ 1817573 h 2770404"/>
                <a:gd name="connsiteX1811" fmla="*/ 11674934 w 12166600"/>
                <a:gd name="connsiteY1811" fmla="*/ 1846654 h 2770404"/>
                <a:gd name="connsiteX1812" fmla="*/ 11689395 w 12166600"/>
                <a:gd name="connsiteY1812" fmla="*/ 1832113 h 2770404"/>
                <a:gd name="connsiteX1813" fmla="*/ 11696625 w 12166600"/>
                <a:gd name="connsiteY1813" fmla="*/ 1824843 h 2770404"/>
                <a:gd name="connsiteX1814" fmla="*/ 11711086 w 12166600"/>
                <a:gd name="connsiteY1814" fmla="*/ 1810302 h 2770404"/>
                <a:gd name="connsiteX1815" fmla="*/ 11689395 w 12166600"/>
                <a:gd name="connsiteY1815" fmla="*/ 1810302 h 2770404"/>
                <a:gd name="connsiteX1816" fmla="*/ 5437354 w 12166600"/>
                <a:gd name="connsiteY1816" fmla="*/ 1802690 h 2770404"/>
                <a:gd name="connsiteX1817" fmla="*/ 5256632 w 12166600"/>
                <a:gd name="connsiteY1817" fmla="*/ 1809962 h 2770404"/>
                <a:gd name="connsiteX1818" fmla="*/ 5249403 w 12166600"/>
                <a:gd name="connsiteY1818" fmla="*/ 1809962 h 2770404"/>
                <a:gd name="connsiteX1819" fmla="*/ 5162657 w 12166600"/>
                <a:gd name="connsiteY1819" fmla="*/ 1904510 h 2770404"/>
                <a:gd name="connsiteX1820" fmla="*/ 5162657 w 12166600"/>
                <a:gd name="connsiteY1820" fmla="*/ 2042696 h 2770404"/>
                <a:gd name="connsiteX1821" fmla="*/ 5263861 w 12166600"/>
                <a:gd name="connsiteY1821" fmla="*/ 2137244 h 2770404"/>
                <a:gd name="connsiteX1822" fmla="*/ 5401210 w 12166600"/>
                <a:gd name="connsiteY1822" fmla="*/ 2137244 h 2770404"/>
                <a:gd name="connsiteX1823" fmla="*/ 5444583 w 12166600"/>
                <a:gd name="connsiteY1823" fmla="*/ 2137244 h 2770404"/>
                <a:gd name="connsiteX1824" fmla="*/ 5538558 w 12166600"/>
                <a:gd name="connsiteY1824" fmla="*/ 2035423 h 2770404"/>
                <a:gd name="connsiteX1825" fmla="*/ 5538558 w 12166600"/>
                <a:gd name="connsiteY1825" fmla="*/ 1904510 h 2770404"/>
                <a:gd name="connsiteX1826" fmla="*/ 5437354 w 12166600"/>
                <a:gd name="connsiteY1826" fmla="*/ 1802690 h 2770404"/>
                <a:gd name="connsiteX1827" fmla="*/ 5936145 w 12166600"/>
                <a:gd name="connsiteY1827" fmla="*/ 1795417 h 2770404"/>
                <a:gd name="connsiteX1828" fmla="*/ 5769881 w 12166600"/>
                <a:gd name="connsiteY1828" fmla="*/ 1802690 h 2770404"/>
                <a:gd name="connsiteX1829" fmla="*/ 5755424 w 12166600"/>
                <a:gd name="connsiteY1829" fmla="*/ 1802690 h 2770404"/>
                <a:gd name="connsiteX1830" fmla="*/ 5661449 w 12166600"/>
                <a:gd name="connsiteY1830" fmla="*/ 1897238 h 2770404"/>
                <a:gd name="connsiteX1831" fmla="*/ 5661449 w 12166600"/>
                <a:gd name="connsiteY1831" fmla="*/ 2035423 h 2770404"/>
                <a:gd name="connsiteX1832" fmla="*/ 5762653 w 12166600"/>
                <a:gd name="connsiteY1832" fmla="*/ 2129971 h 2770404"/>
                <a:gd name="connsiteX1833" fmla="*/ 5928916 w 12166600"/>
                <a:gd name="connsiteY1833" fmla="*/ 2129971 h 2770404"/>
                <a:gd name="connsiteX1834" fmla="*/ 5943374 w 12166600"/>
                <a:gd name="connsiteY1834" fmla="*/ 2129971 h 2770404"/>
                <a:gd name="connsiteX1835" fmla="*/ 6037349 w 12166600"/>
                <a:gd name="connsiteY1835" fmla="*/ 2028150 h 2770404"/>
                <a:gd name="connsiteX1836" fmla="*/ 6037349 w 12166600"/>
                <a:gd name="connsiteY1836" fmla="*/ 1889965 h 2770404"/>
                <a:gd name="connsiteX1837" fmla="*/ 5936145 w 12166600"/>
                <a:gd name="connsiteY1837" fmla="*/ 1795417 h 2770404"/>
                <a:gd name="connsiteX1838" fmla="*/ 1964791 w 12166600"/>
                <a:gd name="connsiteY1838" fmla="*/ 1794507 h 2770404"/>
                <a:gd name="connsiteX1839" fmla="*/ 1945815 w 12166600"/>
                <a:gd name="connsiteY1839" fmla="*/ 1824508 h 2770404"/>
                <a:gd name="connsiteX1840" fmla="*/ 1945815 w 12166600"/>
                <a:gd name="connsiteY1840" fmla="*/ 1839054 h 2770404"/>
                <a:gd name="connsiteX1841" fmla="*/ 1938586 w 12166600"/>
                <a:gd name="connsiteY1841" fmla="*/ 1868146 h 2770404"/>
                <a:gd name="connsiteX1842" fmla="*/ 1931357 w 12166600"/>
                <a:gd name="connsiteY1842" fmla="*/ 1897238 h 2770404"/>
                <a:gd name="connsiteX1843" fmla="*/ 1924128 w 12166600"/>
                <a:gd name="connsiteY1843" fmla="*/ 1933602 h 2770404"/>
                <a:gd name="connsiteX1844" fmla="*/ 1916899 w 12166600"/>
                <a:gd name="connsiteY1844" fmla="*/ 1984513 h 2770404"/>
                <a:gd name="connsiteX1845" fmla="*/ 1902442 w 12166600"/>
                <a:gd name="connsiteY1845" fmla="*/ 2049969 h 2770404"/>
                <a:gd name="connsiteX1846" fmla="*/ 1938586 w 12166600"/>
                <a:gd name="connsiteY1846" fmla="*/ 2064515 h 2770404"/>
                <a:gd name="connsiteX1847" fmla="*/ 1953044 w 12166600"/>
                <a:gd name="connsiteY1847" fmla="*/ 2071788 h 2770404"/>
                <a:gd name="connsiteX1848" fmla="*/ 1960273 w 12166600"/>
                <a:gd name="connsiteY1848" fmla="*/ 2049969 h 2770404"/>
                <a:gd name="connsiteX1849" fmla="*/ 1967501 w 12166600"/>
                <a:gd name="connsiteY1849" fmla="*/ 2006331 h 2770404"/>
                <a:gd name="connsiteX1850" fmla="*/ 1974730 w 12166600"/>
                <a:gd name="connsiteY1850" fmla="*/ 1955421 h 2770404"/>
                <a:gd name="connsiteX1851" fmla="*/ 1981959 w 12166600"/>
                <a:gd name="connsiteY1851" fmla="*/ 1940875 h 2770404"/>
                <a:gd name="connsiteX1852" fmla="*/ 1996418 w 12166600"/>
                <a:gd name="connsiteY1852" fmla="*/ 1860873 h 2770404"/>
                <a:gd name="connsiteX1853" fmla="*/ 1996418 w 12166600"/>
                <a:gd name="connsiteY1853" fmla="*/ 1846327 h 2770404"/>
                <a:gd name="connsiteX1854" fmla="*/ 1996418 w 12166600"/>
                <a:gd name="connsiteY1854" fmla="*/ 1824508 h 2770404"/>
                <a:gd name="connsiteX1855" fmla="*/ 1989188 w 12166600"/>
                <a:gd name="connsiteY1855" fmla="*/ 1802690 h 2770404"/>
                <a:gd name="connsiteX1856" fmla="*/ 1964791 w 12166600"/>
                <a:gd name="connsiteY1856" fmla="*/ 1794507 h 2770404"/>
                <a:gd name="connsiteX1857" fmla="*/ 7222882 w 12166600"/>
                <a:gd name="connsiteY1857" fmla="*/ 1788144 h 2770404"/>
                <a:gd name="connsiteX1858" fmla="*/ 7165051 w 12166600"/>
                <a:gd name="connsiteY1858" fmla="*/ 1875419 h 2770404"/>
                <a:gd name="connsiteX1859" fmla="*/ 7165051 w 12166600"/>
                <a:gd name="connsiteY1859" fmla="*/ 2013604 h 2770404"/>
                <a:gd name="connsiteX1860" fmla="*/ 7259026 w 12166600"/>
                <a:gd name="connsiteY1860" fmla="*/ 2108152 h 2770404"/>
                <a:gd name="connsiteX1861" fmla="*/ 7331315 w 12166600"/>
                <a:gd name="connsiteY1861" fmla="*/ 2108152 h 2770404"/>
                <a:gd name="connsiteX1862" fmla="*/ 7222882 w 12166600"/>
                <a:gd name="connsiteY1862" fmla="*/ 1788144 h 2770404"/>
                <a:gd name="connsiteX1863" fmla="*/ 6442165 w 12166600"/>
                <a:gd name="connsiteY1863" fmla="*/ 1788144 h 2770404"/>
                <a:gd name="connsiteX1864" fmla="*/ 6275902 w 12166600"/>
                <a:gd name="connsiteY1864" fmla="*/ 1795417 h 2770404"/>
                <a:gd name="connsiteX1865" fmla="*/ 6254215 w 12166600"/>
                <a:gd name="connsiteY1865" fmla="*/ 1795417 h 2770404"/>
                <a:gd name="connsiteX1866" fmla="*/ 6160240 w 12166600"/>
                <a:gd name="connsiteY1866" fmla="*/ 1889965 h 2770404"/>
                <a:gd name="connsiteX1867" fmla="*/ 6160240 w 12166600"/>
                <a:gd name="connsiteY1867" fmla="*/ 2028150 h 2770404"/>
                <a:gd name="connsiteX1868" fmla="*/ 6261444 w 12166600"/>
                <a:gd name="connsiteY1868" fmla="*/ 2122698 h 2770404"/>
                <a:gd name="connsiteX1869" fmla="*/ 6427708 w 12166600"/>
                <a:gd name="connsiteY1869" fmla="*/ 2122698 h 2770404"/>
                <a:gd name="connsiteX1870" fmla="*/ 6442165 w 12166600"/>
                <a:gd name="connsiteY1870" fmla="*/ 2115425 h 2770404"/>
                <a:gd name="connsiteX1871" fmla="*/ 6536141 w 12166600"/>
                <a:gd name="connsiteY1871" fmla="*/ 2020877 h 2770404"/>
                <a:gd name="connsiteX1872" fmla="*/ 6536141 w 12166600"/>
                <a:gd name="connsiteY1872" fmla="*/ 1882692 h 2770404"/>
                <a:gd name="connsiteX1873" fmla="*/ 6442165 w 12166600"/>
                <a:gd name="connsiteY1873" fmla="*/ 1788144 h 2770404"/>
                <a:gd name="connsiteX1874" fmla="*/ 6940957 w 12166600"/>
                <a:gd name="connsiteY1874" fmla="*/ 1780871 h 2770404"/>
                <a:gd name="connsiteX1875" fmla="*/ 6760235 w 12166600"/>
                <a:gd name="connsiteY1875" fmla="*/ 1788144 h 2770404"/>
                <a:gd name="connsiteX1876" fmla="*/ 6724091 w 12166600"/>
                <a:gd name="connsiteY1876" fmla="*/ 1788144 h 2770404"/>
                <a:gd name="connsiteX1877" fmla="*/ 6659031 w 12166600"/>
                <a:gd name="connsiteY1877" fmla="*/ 1882692 h 2770404"/>
                <a:gd name="connsiteX1878" fmla="*/ 6666260 w 12166600"/>
                <a:gd name="connsiteY1878" fmla="*/ 2020877 h 2770404"/>
                <a:gd name="connsiteX1879" fmla="*/ 6760235 w 12166600"/>
                <a:gd name="connsiteY1879" fmla="*/ 2115425 h 2770404"/>
                <a:gd name="connsiteX1880" fmla="*/ 6875897 w 12166600"/>
                <a:gd name="connsiteY1880" fmla="*/ 2115425 h 2770404"/>
                <a:gd name="connsiteX1881" fmla="*/ 6940957 w 12166600"/>
                <a:gd name="connsiteY1881" fmla="*/ 2108152 h 2770404"/>
                <a:gd name="connsiteX1882" fmla="*/ 7042161 w 12166600"/>
                <a:gd name="connsiteY1882" fmla="*/ 2013604 h 2770404"/>
                <a:gd name="connsiteX1883" fmla="*/ 7034932 w 12166600"/>
                <a:gd name="connsiteY1883" fmla="*/ 1875419 h 2770404"/>
                <a:gd name="connsiteX1884" fmla="*/ 6940957 w 12166600"/>
                <a:gd name="connsiteY1884" fmla="*/ 1780871 h 2770404"/>
                <a:gd name="connsiteX1885" fmla="*/ 1897020 w 12166600"/>
                <a:gd name="connsiteY1885" fmla="*/ 1766325 h 2770404"/>
                <a:gd name="connsiteX1886" fmla="*/ 1859069 w 12166600"/>
                <a:gd name="connsiteY1886" fmla="*/ 1795417 h 2770404"/>
                <a:gd name="connsiteX1887" fmla="*/ 1851840 w 12166600"/>
                <a:gd name="connsiteY1887" fmla="*/ 1853600 h 2770404"/>
                <a:gd name="connsiteX1888" fmla="*/ 1837382 w 12166600"/>
                <a:gd name="connsiteY1888" fmla="*/ 1904510 h 2770404"/>
                <a:gd name="connsiteX1889" fmla="*/ 1837382 w 12166600"/>
                <a:gd name="connsiteY1889" fmla="*/ 1911783 h 2770404"/>
                <a:gd name="connsiteX1890" fmla="*/ 1830153 w 12166600"/>
                <a:gd name="connsiteY1890" fmla="*/ 1933602 h 2770404"/>
                <a:gd name="connsiteX1891" fmla="*/ 1822924 w 12166600"/>
                <a:gd name="connsiteY1891" fmla="*/ 1969967 h 2770404"/>
                <a:gd name="connsiteX1892" fmla="*/ 1815695 w 12166600"/>
                <a:gd name="connsiteY1892" fmla="*/ 2020877 h 2770404"/>
                <a:gd name="connsiteX1893" fmla="*/ 1844611 w 12166600"/>
                <a:gd name="connsiteY1893" fmla="*/ 2028150 h 2770404"/>
                <a:gd name="connsiteX1894" fmla="*/ 1880755 w 12166600"/>
                <a:gd name="connsiteY1894" fmla="*/ 2042696 h 2770404"/>
                <a:gd name="connsiteX1895" fmla="*/ 1887984 w 12166600"/>
                <a:gd name="connsiteY1895" fmla="*/ 2006331 h 2770404"/>
                <a:gd name="connsiteX1896" fmla="*/ 1902442 w 12166600"/>
                <a:gd name="connsiteY1896" fmla="*/ 1926329 h 2770404"/>
                <a:gd name="connsiteX1897" fmla="*/ 1902442 w 12166600"/>
                <a:gd name="connsiteY1897" fmla="*/ 1919056 h 2770404"/>
                <a:gd name="connsiteX1898" fmla="*/ 1909671 w 12166600"/>
                <a:gd name="connsiteY1898" fmla="*/ 1882692 h 2770404"/>
                <a:gd name="connsiteX1899" fmla="*/ 1916899 w 12166600"/>
                <a:gd name="connsiteY1899" fmla="*/ 1853600 h 2770404"/>
                <a:gd name="connsiteX1900" fmla="*/ 1924128 w 12166600"/>
                <a:gd name="connsiteY1900" fmla="*/ 1817235 h 2770404"/>
                <a:gd name="connsiteX1901" fmla="*/ 1924128 w 12166600"/>
                <a:gd name="connsiteY1901" fmla="*/ 1802690 h 2770404"/>
                <a:gd name="connsiteX1902" fmla="*/ 1897020 w 12166600"/>
                <a:gd name="connsiteY1902" fmla="*/ 1766325 h 2770404"/>
                <a:gd name="connsiteX1903" fmla="*/ 11776159 w 12166600"/>
                <a:gd name="connsiteY1903" fmla="*/ 1752140 h 2770404"/>
                <a:gd name="connsiteX1904" fmla="*/ 11754468 w 12166600"/>
                <a:gd name="connsiteY1904" fmla="*/ 1781221 h 2770404"/>
                <a:gd name="connsiteX1905" fmla="*/ 11747238 w 12166600"/>
                <a:gd name="connsiteY1905" fmla="*/ 1788491 h 2770404"/>
                <a:gd name="connsiteX1906" fmla="*/ 11740007 w 12166600"/>
                <a:gd name="connsiteY1906" fmla="*/ 1795762 h 2770404"/>
                <a:gd name="connsiteX1907" fmla="*/ 11761699 w 12166600"/>
                <a:gd name="connsiteY1907" fmla="*/ 1795762 h 2770404"/>
                <a:gd name="connsiteX1908" fmla="*/ 11776159 w 12166600"/>
                <a:gd name="connsiteY1908" fmla="*/ 1795762 h 2770404"/>
                <a:gd name="connsiteX1909" fmla="*/ 11819542 w 12166600"/>
                <a:gd name="connsiteY1909" fmla="*/ 1795762 h 2770404"/>
                <a:gd name="connsiteX1910" fmla="*/ 11776159 w 12166600"/>
                <a:gd name="connsiteY1910" fmla="*/ 1752140 h 2770404"/>
                <a:gd name="connsiteX1911" fmla="*/ 11674934 w 12166600"/>
                <a:gd name="connsiteY1911" fmla="*/ 1752140 h 2770404"/>
                <a:gd name="connsiteX1912" fmla="*/ 11653243 w 12166600"/>
                <a:gd name="connsiteY1912" fmla="*/ 1781221 h 2770404"/>
                <a:gd name="connsiteX1913" fmla="*/ 11646013 w 12166600"/>
                <a:gd name="connsiteY1913" fmla="*/ 1795762 h 2770404"/>
                <a:gd name="connsiteX1914" fmla="*/ 11646013 w 12166600"/>
                <a:gd name="connsiteY1914" fmla="*/ 1803032 h 2770404"/>
                <a:gd name="connsiteX1915" fmla="*/ 11660473 w 12166600"/>
                <a:gd name="connsiteY1915" fmla="*/ 1803032 h 2770404"/>
                <a:gd name="connsiteX1916" fmla="*/ 11674934 w 12166600"/>
                <a:gd name="connsiteY1916" fmla="*/ 1803032 h 2770404"/>
                <a:gd name="connsiteX1917" fmla="*/ 11711086 w 12166600"/>
                <a:gd name="connsiteY1917" fmla="*/ 1803032 h 2770404"/>
                <a:gd name="connsiteX1918" fmla="*/ 11682164 w 12166600"/>
                <a:gd name="connsiteY1918" fmla="*/ 1759410 h 2770404"/>
                <a:gd name="connsiteX1919" fmla="*/ 11674934 w 12166600"/>
                <a:gd name="connsiteY1919" fmla="*/ 1752140 h 2770404"/>
                <a:gd name="connsiteX1920" fmla="*/ 11580939 w 12166600"/>
                <a:gd name="connsiteY1920" fmla="*/ 1752140 h 2770404"/>
                <a:gd name="connsiteX1921" fmla="*/ 11559248 w 12166600"/>
                <a:gd name="connsiteY1921" fmla="*/ 1773951 h 2770404"/>
                <a:gd name="connsiteX1922" fmla="*/ 11537557 w 12166600"/>
                <a:gd name="connsiteY1922" fmla="*/ 1803032 h 2770404"/>
                <a:gd name="connsiteX1923" fmla="*/ 11588169 w 12166600"/>
                <a:gd name="connsiteY1923" fmla="*/ 1803032 h 2770404"/>
                <a:gd name="connsiteX1924" fmla="*/ 11617091 w 12166600"/>
                <a:gd name="connsiteY1924" fmla="*/ 1803032 h 2770404"/>
                <a:gd name="connsiteX1925" fmla="*/ 1801238 w 12166600"/>
                <a:gd name="connsiteY1925" fmla="*/ 1744506 h 2770404"/>
                <a:gd name="connsiteX1926" fmla="*/ 1750636 w 12166600"/>
                <a:gd name="connsiteY1926" fmla="*/ 1773598 h 2770404"/>
                <a:gd name="connsiteX1927" fmla="*/ 1750636 w 12166600"/>
                <a:gd name="connsiteY1927" fmla="*/ 1780871 h 2770404"/>
                <a:gd name="connsiteX1928" fmla="*/ 1743407 w 12166600"/>
                <a:gd name="connsiteY1928" fmla="*/ 1809962 h 2770404"/>
                <a:gd name="connsiteX1929" fmla="*/ 1736178 w 12166600"/>
                <a:gd name="connsiteY1929" fmla="*/ 1839054 h 2770404"/>
                <a:gd name="connsiteX1930" fmla="*/ 1721721 w 12166600"/>
                <a:gd name="connsiteY1930" fmla="*/ 1882692 h 2770404"/>
                <a:gd name="connsiteX1931" fmla="*/ 1707262 w 12166600"/>
                <a:gd name="connsiteY1931" fmla="*/ 1940875 h 2770404"/>
                <a:gd name="connsiteX1932" fmla="*/ 1700034 w 12166600"/>
                <a:gd name="connsiteY1932" fmla="*/ 1991786 h 2770404"/>
                <a:gd name="connsiteX1933" fmla="*/ 1728949 w 12166600"/>
                <a:gd name="connsiteY1933" fmla="*/ 1999059 h 2770404"/>
                <a:gd name="connsiteX1934" fmla="*/ 1765093 w 12166600"/>
                <a:gd name="connsiteY1934" fmla="*/ 2006331 h 2770404"/>
                <a:gd name="connsiteX1935" fmla="*/ 1772322 w 12166600"/>
                <a:gd name="connsiteY1935" fmla="*/ 2006331 h 2770404"/>
                <a:gd name="connsiteX1936" fmla="*/ 1779551 w 12166600"/>
                <a:gd name="connsiteY1936" fmla="*/ 1999059 h 2770404"/>
                <a:gd name="connsiteX1937" fmla="*/ 1786780 w 12166600"/>
                <a:gd name="connsiteY1937" fmla="*/ 1962694 h 2770404"/>
                <a:gd name="connsiteX1938" fmla="*/ 1794009 w 12166600"/>
                <a:gd name="connsiteY1938" fmla="*/ 1933602 h 2770404"/>
                <a:gd name="connsiteX1939" fmla="*/ 1801238 w 12166600"/>
                <a:gd name="connsiteY1939" fmla="*/ 1897238 h 2770404"/>
                <a:gd name="connsiteX1940" fmla="*/ 1801238 w 12166600"/>
                <a:gd name="connsiteY1940" fmla="*/ 1882692 h 2770404"/>
                <a:gd name="connsiteX1941" fmla="*/ 1822924 w 12166600"/>
                <a:gd name="connsiteY1941" fmla="*/ 1788144 h 2770404"/>
                <a:gd name="connsiteX1942" fmla="*/ 1822924 w 12166600"/>
                <a:gd name="connsiteY1942" fmla="*/ 1780871 h 2770404"/>
                <a:gd name="connsiteX1943" fmla="*/ 1822924 w 12166600"/>
                <a:gd name="connsiteY1943" fmla="*/ 1759052 h 2770404"/>
                <a:gd name="connsiteX1944" fmla="*/ 1801238 w 12166600"/>
                <a:gd name="connsiteY1944" fmla="*/ 1744506 h 2770404"/>
                <a:gd name="connsiteX1945" fmla="*/ 1419012 w 12166600"/>
                <a:gd name="connsiteY1945" fmla="*/ 1730869 h 2770404"/>
                <a:gd name="connsiteX1946" fmla="*/ 1396422 w 12166600"/>
                <a:gd name="connsiteY1946" fmla="*/ 1759052 h 2770404"/>
                <a:gd name="connsiteX1947" fmla="*/ 1396422 w 12166600"/>
                <a:gd name="connsiteY1947" fmla="*/ 1773598 h 2770404"/>
                <a:gd name="connsiteX1948" fmla="*/ 1374736 w 12166600"/>
                <a:gd name="connsiteY1948" fmla="*/ 1824508 h 2770404"/>
                <a:gd name="connsiteX1949" fmla="*/ 1367507 w 12166600"/>
                <a:gd name="connsiteY1949" fmla="*/ 1868146 h 2770404"/>
                <a:gd name="connsiteX1950" fmla="*/ 1353048 w 12166600"/>
                <a:gd name="connsiteY1950" fmla="*/ 1904510 h 2770404"/>
                <a:gd name="connsiteX1951" fmla="*/ 1338591 w 12166600"/>
                <a:gd name="connsiteY1951" fmla="*/ 1969967 h 2770404"/>
                <a:gd name="connsiteX1952" fmla="*/ 1360277 w 12166600"/>
                <a:gd name="connsiteY1952" fmla="*/ 1969967 h 2770404"/>
                <a:gd name="connsiteX1953" fmla="*/ 1389193 w 12166600"/>
                <a:gd name="connsiteY1953" fmla="*/ 1882692 h 2770404"/>
                <a:gd name="connsiteX1954" fmla="*/ 1396422 w 12166600"/>
                <a:gd name="connsiteY1954" fmla="*/ 1860873 h 2770404"/>
                <a:gd name="connsiteX1955" fmla="*/ 1396422 w 12166600"/>
                <a:gd name="connsiteY1955" fmla="*/ 1846327 h 2770404"/>
                <a:gd name="connsiteX1956" fmla="*/ 1410880 w 12166600"/>
                <a:gd name="connsiteY1956" fmla="*/ 1809962 h 2770404"/>
                <a:gd name="connsiteX1957" fmla="*/ 1425337 w 12166600"/>
                <a:gd name="connsiteY1957" fmla="*/ 1759052 h 2770404"/>
                <a:gd name="connsiteX1958" fmla="*/ 1425337 w 12166600"/>
                <a:gd name="connsiteY1958" fmla="*/ 1751779 h 2770404"/>
                <a:gd name="connsiteX1959" fmla="*/ 1419012 w 12166600"/>
                <a:gd name="connsiteY1959" fmla="*/ 1730869 h 2770404"/>
                <a:gd name="connsiteX1960" fmla="*/ 1684672 w 12166600"/>
                <a:gd name="connsiteY1960" fmla="*/ 1723596 h 2770404"/>
                <a:gd name="connsiteX1961" fmla="*/ 1649432 w 12166600"/>
                <a:gd name="connsiteY1961" fmla="*/ 1759052 h 2770404"/>
                <a:gd name="connsiteX1962" fmla="*/ 1634974 w 12166600"/>
                <a:gd name="connsiteY1962" fmla="*/ 1809962 h 2770404"/>
                <a:gd name="connsiteX1963" fmla="*/ 1627745 w 12166600"/>
                <a:gd name="connsiteY1963" fmla="*/ 1824508 h 2770404"/>
                <a:gd name="connsiteX1964" fmla="*/ 1620516 w 12166600"/>
                <a:gd name="connsiteY1964" fmla="*/ 1860873 h 2770404"/>
                <a:gd name="connsiteX1965" fmla="*/ 1620516 w 12166600"/>
                <a:gd name="connsiteY1965" fmla="*/ 1868146 h 2770404"/>
                <a:gd name="connsiteX1966" fmla="*/ 1613287 w 12166600"/>
                <a:gd name="connsiteY1966" fmla="*/ 1897238 h 2770404"/>
                <a:gd name="connsiteX1967" fmla="*/ 1606058 w 12166600"/>
                <a:gd name="connsiteY1967" fmla="*/ 1919056 h 2770404"/>
                <a:gd name="connsiteX1968" fmla="*/ 1591601 w 12166600"/>
                <a:gd name="connsiteY1968" fmla="*/ 1977240 h 2770404"/>
                <a:gd name="connsiteX1969" fmla="*/ 1649432 w 12166600"/>
                <a:gd name="connsiteY1969" fmla="*/ 1984513 h 2770404"/>
                <a:gd name="connsiteX1970" fmla="*/ 1663889 w 12166600"/>
                <a:gd name="connsiteY1970" fmla="*/ 1984513 h 2770404"/>
                <a:gd name="connsiteX1971" fmla="*/ 1663889 w 12166600"/>
                <a:gd name="connsiteY1971" fmla="*/ 1969967 h 2770404"/>
                <a:gd name="connsiteX1972" fmla="*/ 1685577 w 12166600"/>
                <a:gd name="connsiteY1972" fmla="*/ 1875419 h 2770404"/>
                <a:gd name="connsiteX1973" fmla="*/ 1685577 w 12166600"/>
                <a:gd name="connsiteY1973" fmla="*/ 1868146 h 2770404"/>
                <a:gd name="connsiteX1974" fmla="*/ 1692805 w 12166600"/>
                <a:gd name="connsiteY1974" fmla="*/ 1839054 h 2770404"/>
                <a:gd name="connsiteX1975" fmla="*/ 1700034 w 12166600"/>
                <a:gd name="connsiteY1975" fmla="*/ 1809962 h 2770404"/>
                <a:gd name="connsiteX1976" fmla="*/ 1707262 w 12166600"/>
                <a:gd name="connsiteY1976" fmla="*/ 1773598 h 2770404"/>
                <a:gd name="connsiteX1977" fmla="*/ 1714491 w 12166600"/>
                <a:gd name="connsiteY1977" fmla="*/ 1766325 h 2770404"/>
                <a:gd name="connsiteX1978" fmla="*/ 1714491 w 12166600"/>
                <a:gd name="connsiteY1978" fmla="*/ 1759052 h 2770404"/>
                <a:gd name="connsiteX1979" fmla="*/ 1684672 w 12166600"/>
                <a:gd name="connsiteY1979" fmla="*/ 1723596 h 2770404"/>
                <a:gd name="connsiteX1980" fmla="*/ 1478085 w 12166600"/>
                <a:gd name="connsiteY1980" fmla="*/ 1721096 h 2770404"/>
                <a:gd name="connsiteX1981" fmla="*/ 1468710 w 12166600"/>
                <a:gd name="connsiteY1981" fmla="*/ 1722687 h 2770404"/>
                <a:gd name="connsiteX1982" fmla="*/ 1461481 w 12166600"/>
                <a:gd name="connsiteY1982" fmla="*/ 1729960 h 2770404"/>
                <a:gd name="connsiteX1983" fmla="*/ 1447024 w 12166600"/>
                <a:gd name="connsiteY1983" fmla="*/ 1751779 h 2770404"/>
                <a:gd name="connsiteX1984" fmla="*/ 1432566 w 12166600"/>
                <a:gd name="connsiteY1984" fmla="*/ 1788144 h 2770404"/>
                <a:gd name="connsiteX1985" fmla="*/ 1425337 w 12166600"/>
                <a:gd name="connsiteY1985" fmla="*/ 1824508 h 2770404"/>
                <a:gd name="connsiteX1986" fmla="*/ 1418108 w 12166600"/>
                <a:gd name="connsiteY1986" fmla="*/ 1860873 h 2770404"/>
                <a:gd name="connsiteX1987" fmla="*/ 1418108 w 12166600"/>
                <a:gd name="connsiteY1987" fmla="*/ 1868146 h 2770404"/>
                <a:gd name="connsiteX1988" fmla="*/ 1389193 w 12166600"/>
                <a:gd name="connsiteY1988" fmla="*/ 1969967 h 2770404"/>
                <a:gd name="connsiteX1989" fmla="*/ 1410880 w 12166600"/>
                <a:gd name="connsiteY1989" fmla="*/ 1969967 h 2770404"/>
                <a:gd name="connsiteX1990" fmla="*/ 1425337 w 12166600"/>
                <a:gd name="connsiteY1990" fmla="*/ 1962694 h 2770404"/>
                <a:gd name="connsiteX1991" fmla="*/ 1425337 w 12166600"/>
                <a:gd name="connsiteY1991" fmla="*/ 1955421 h 2770404"/>
                <a:gd name="connsiteX1992" fmla="*/ 1432566 w 12166600"/>
                <a:gd name="connsiteY1992" fmla="*/ 1940875 h 2770404"/>
                <a:gd name="connsiteX1993" fmla="*/ 1454252 w 12166600"/>
                <a:gd name="connsiteY1993" fmla="*/ 1860873 h 2770404"/>
                <a:gd name="connsiteX1994" fmla="*/ 1461481 w 12166600"/>
                <a:gd name="connsiteY1994" fmla="*/ 1839054 h 2770404"/>
                <a:gd name="connsiteX1995" fmla="*/ 1468710 w 12166600"/>
                <a:gd name="connsiteY1995" fmla="*/ 1795417 h 2770404"/>
                <a:gd name="connsiteX1996" fmla="*/ 1483168 w 12166600"/>
                <a:gd name="connsiteY1996" fmla="*/ 1759052 h 2770404"/>
                <a:gd name="connsiteX1997" fmla="*/ 1483168 w 12166600"/>
                <a:gd name="connsiteY1997" fmla="*/ 1751779 h 2770404"/>
                <a:gd name="connsiteX1998" fmla="*/ 1478085 w 12166600"/>
                <a:gd name="connsiteY1998" fmla="*/ 1721096 h 2770404"/>
                <a:gd name="connsiteX1999" fmla="*/ 1606058 w 12166600"/>
                <a:gd name="connsiteY1999" fmla="*/ 1715414 h 2770404"/>
                <a:gd name="connsiteX2000" fmla="*/ 1577143 w 12166600"/>
                <a:gd name="connsiteY2000" fmla="*/ 1729960 h 2770404"/>
                <a:gd name="connsiteX2001" fmla="*/ 1569914 w 12166600"/>
                <a:gd name="connsiteY2001" fmla="*/ 1744506 h 2770404"/>
                <a:gd name="connsiteX2002" fmla="*/ 1562685 w 12166600"/>
                <a:gd name="connsiteY2002" fmla="*/ 1766325 h 2770404"/>
                <a:gd name="connsiteX2003" fmla="*/ 1540999 w 12166600"/>
                <a:gd name="connsiteY2003" fmla="*/ 1853600 h 2770404"/>
                <a:gd name="connsiteX2004" fmla="*/ 1533770 w 12166600"/>
                <a:gd name="connsiteY2004" fmla="*/ 1875419 h 2770404"/>
                <a:gd name="connsiteX2005" fmla="*/ 1533770 w 12166600"/>
                <a:gd name="connsiteY2005" fmla="*/ 1889965 h 2770404"/>
                <a:gd name="connsiteX2006" fmla="*/ 1519312 w 12166600"/>
                <a:gd name="connsiteY2006" fmla="*/ 1926329 h 2770404"/>
                <a:gd name="connsiteX2007" fmla="*/ 1512083 w 12166600"/>
                <a:gd name="connsiteY2007" fmla="*/ 1962694 h 2770404"/>
                <a:gd name="connsiteX2008" fmla="*/ 1512083 w 12166600"/>
                <a:gd name="connsiteY2008" fmla="*/ 1969967 h 2770404"/>
                <a:gd name="connsiteX2009" fmla="*/ 1533770 w 12166600"/>
                <a:gd name="connsiteY2009" fmla="*/ 1969967 h 2770404"/>
                <a:gd name="connsiteX2010" fmla="*/ 1569914 w 12166600"/>
                <a:gd name="connsiteY2010" fmla="*/ 1969967 h 2770404"/>
                <a:gd name="connsiteX2011" fmla="*/ 1577143 w 12166600"/>
                <a:gd name="connsiteY2011" fmla="*/ 1940875 h 2770404"/>
                <a:gd name="connsiteX2012" fmla="*/ 1584372 w 12166600"/>
                <a:gd name="connsiteY2012" fmla="*/ 1911783 h 2770404"/>
                <a:gd name="connsiteX2013" fmla="*/ 1591601 w 12166600"/>
                <a:gd name="connsiteY2013" fmla="*/ 1882692 h 2770404"/>
                <a:gd name="connsiteX2014" fmla="*/ 1598830 w 12166600"/>
                <a:gd name="connsiteY2014" fmla="*/ 1860873 h 2770404"/>
                <a:gd name="connsiteX2015" fmla="*/ 1598830 w 12166600"/>
                <a:gd name="connsiteY2015" fmla="*/ 1846327 h 2770404"/>
                <a:gd name="connsiteX2016" fmla="*/ 1606058 w 12166600"/>
                <a:gd name="connsiteY2016" fmla="*/ 1824508 h 2770404"/>
                <a:gd name="connsiteX2017" fmla="*/ 1627745 w 12166600"/>
                <a:gd name="connsiteY2017" fmla="*/ 1751779 h 2770404"/>
                <a:gd name="connsiteX2018" fmla="*/ 1627745 w 12166600"/>
                <a:gd name="connsiteY2018" fmla="*/ 1729960 h 2770404"/>
                <a:gd name="connsiteX2019" fmla="*/ 1606058 w 12166600"/>
                <a:gd name="connsiteY2019" fmla="*/ 1715414 h 2770404"/>
                <a:gd name="connsiteX2020" fmla="*/ 1548228 w 12166600"/>
                <a:gd name="connsiteY2020" fmla="*/ 1715414 h 2770404"/>
                <a:gd name="connsiteX2021" fmla="*/ 1504854 w 12166600"/>
                <a:gd name="connsiteY2021" fmla="*/ 1744506 h 2770404"/>
                <a:gd name="connsiteX2022" fmla="*/ 1490397 w 12166600"/>
                <a:gd name="connsiteY2022" fmla="*/ 1780871 h 2770404"/>
                <a:gd name="connsiteX2023" fmla="*/ 1483168 w 12166600"/>
                <a:gd name="connsiteY2023" fmla="*/ 1824508 h 2770404"/>
                <a:gd name="connsiteX2024" fmla="*/ 1475939 w 12166600"/>
                <a:gd name="connsiteY2024" fmla="*/ 1853600 h 2770404"/>
                <a:gd name="connsiteX2025" fmla="*/ 1454252 w 12166600"/>
                <a:gd name="connsiteY2025" fmla="*/ 1926329 h 2770404"/>
                <a:gd name="connsiteX2026" fmla="*/ 1447024 w 12166600"/>
                <a:gd name="connsiteY2026" fmla="*/ 1940875 h 2770404"/>
                <a:gd name="connsiteX2027" fmla="*/ 1439795 w 12166600"/>
                <a:gd name="connsiteY2027" fmla="*/ 1962694 h 2770404"/>
                <a:gd name="connsiteX2028" fmla="*/ 1461481 w 12166600"/>
                <a:gd name="connsiteY2028" fmla="*/ 1962694 h 2770404"/>
                <a:gd name="connsiteX2029" fmla="*/ 1490397 w 12166600"/>
                <a:gd name="connsiteY2029" fmla="*/ 1969967 h 2770404"/>
                <a:gd name="connsiteX2030" fmla="*/ 1497627 w 12166600"/>
                <a:gd name="connsiteY2030" fmla="*/ 1940875 h 2770404"/>
                <a:gd name="connsiteX2031" fmla="*/ 1504854 w 12166600"/>
                <a:gd name="connsiteY2031" fmla="*/ 1904510 h 2770404"/>
                <a:gd name="connsiteX2032" fmla="*/ 1512083 w 12166600"/>
                <a:gd name="connsiteY2032" fmla="*/ 1889965 h 2770404"/>
                <a:gd name="connsiteX2033" fmla="*/ 1519312 w 12166600"/>
                <a:gd name="connsiteY2033" fmla="*/ 1853600 h 2770404"/>
                <a:gd name="connsiteX2034" fmla="*/ 1540999 w 12166600"/>
                <a:gd name="connsiteY2034" fmla="*/ 1788144 h 2770404"/>
                <a:gd name="connsiteX2035" fmla="*/ 1548228 w 12166600"/>
                <a:gd name="connsiteY2035" fmla="*/ 1744506 h 2770404"/>
                <a:gd name="connsiteX2036" fmla="*/ 1548228 w 12166600"/>
                <a:gd name="connsiteY2036" fmla="*/ 1715414 h 2770404"/>
                <a:gd name="connsiteX2037" fmla="*/ 11812311 w 12166600"/>
                <a:gd name="connsiteY2037" fmla="*/ 1708518 h 2770404"/>
                <a:gd name="connsiteX2038" fmla="*/ 11805081 w 12166600"/>
                <a:gd name="connsiteY2038" fmla="*/ 1715788 h 2770404"/>
                <a:gd name="connsiteX2039" fmla="*/ 11783390 w 12166600"/>
                <a:gd name="connsiteY2039" fmla="*/ 1737599 h 2770404"/>
                <a:gd name="connsiteX2040" fmla="*/ 11783390 w 12166600"/>
                <a:gd name="connsiteY2040" fmla="*/ 1744870 h 2770404"/>
                <a:gd name="connsiteX2041" fmla="*/ 11826772 w 12166600"/>
                <a:gd name="connsiteY2041" fmla="*/ 1788491 h 2770404"/>
                <a:gd name="connsiteX2042" fmla="*/ 11826772 w 12166600"/>
                <a:gd name="connsiteY2042" fmla="*/ 1781221 h 2770404"/>
                <a:gd name="connsiteX2043" fmla="*/ 11819542 w 12166600"/>
                <a:gd name="connsiteY2043" fmla="*/ 1730329 h 2770404"/>
                <a:gd name="connsiteX2044" fmla="*/ 11812311 w 12166600"/>
                <a:gd name="connsiteY2044" fmla="*/ 1708518 h 2770404"/>
                <a:gd name="connsiteX2045" fmla="*/ 11711086 w 12166600"/>
                <a:gd name="connsiteY2045" fmla="*/ 1708518 h 2770404"/>
                <a:gd name="connsiteX2046" fmla="*/ 11696625 w 12166600"/>
                <a:gd name="connsiteY2046" fmla="*/ 1723059 h 2770404"/>
                <a:gd name="connsiteX2047" fmla="*/ 11689395 w 12166600"/>
                <a:gd name="connsiteY2047" fmla="*/ 1730329 h 2770404"/>
                <a:gd name="connsiteX2048" fmla="*/ 11682164 w 12166600"/>
                <a:gd name="connsiteY2048" fmla="*/ 1744870 h 2770404"/>
                <a:gd name="connsiteX2049" fmla="*/ 11718316 w 12166600"/>
                <a:gd name="connsiteY2049" fmla="*/ 1781221 h 2770404"/>
                <a:gd name="connsiteX2050" fmla="*/ 11718316 w 12166600"/>
                <a:gd name="connsiteY2050" fmla="*/ 1759410 h 2770404"/>
                <a:gd name="connsiteX2051" fmla="*/ 11711086 w 12166600"/>
                <a:gd name="connsiteY2051" fmla="*/ 1744870 h 2770404"/>
                <a:gd name="connsiteX2052" fmla="*/ 11711086 w 12166600"/>
                <a:gd name="connsiteY2052" fmla="*/ 1708518 h 2770404"/>
                <a:gd name="connsiteX2053" fmla="*/ 11638782 w 12166600"/>
                <a:gd name="connsiteY2053" fmla="*/ 1708518 h 2770404"/>
                <a:gd name="connsiteX2054" fmla="*/ 11638782 w 12166600"/>
                <a:gd name="connsiteY2054" fmla="*/ 1723059 h 2770404"/>
                <a:gd name="connsiteX2055" fmla="*/ 11638782 w 12166600"/>
                <a:gd name="connsiteY2055" fmla="*/ 1766681 h 2770404"/>
                <a:gd name="connsiteX2056" fmla="*/ 11638782 w 12166600"/>
                <a:gd name="connsiteY2056" fmla="*/ 1781221 h 2770404"/>
                <a:gd name="connsiteX2057" fmla="*/ 11646013 w 12166600"/>
                <a:gd name="connsiteY2057" fmla="*/ 1773951 h 2770404"/>
                <a:gd name="connsiteX2058" fmla="*/ 11667704 w 12166600"/>
                <a:gd name="connsiteY2058" fmla="*/ 1744870 h 2770404"/>
                <a:gd name="connsiteX2059" fmla="*/ 11624321 w 12166600"/>
                <a:gd name="connsiteY2059" fmla="*/ 1708518 h 2770404"/>
                <a:gd name="connsiteX2060" fmla="*/ 11602630 w 12166600"/>
                <a:gd name="connsiteY2060" fmla="*/ 1730329 h 2770404"/>
                <a:gd name="connsiteX2061" fmla="*/ 11595400 w 12166600"/>
                <a:gd name="connsiteY2061" fmla="*/ 1737599 h 2770404"/>
                <a:gd name="connsiteX2062" fmla="*/ 11588169 w 12166600"/>
                <a:gd name="connsiteY2062" fmla="*/ 1744870 h 2770404"/>
                <a:gd name="connsiteX2063" fmla="*/ 11624321 w 12166600"/>
                <a:gd name="connsiteY2063" fmla="*/ 1788491 h 2770404"/>
                <a:gd name="connsiteX2064" fmla="*/ 11624321 w 12166600"/>
                <a:gd name="connsiteY2064" fmla="*/ 1766681 h 2770404"/>
                <a:gd name="connsiteX2065" fmla="*/ 11624321 w 12166600"/>
                <a:gd name="connsiteY2065" fmla="*/ 1752140 h 2770404"/>
                <a:gd name="connsiteX2066" fmla="*/ 11624321 w 12166600"/>
                <a:gd name="connsiteY2066" fmla="*/ 1708518 h 2770404"/>
                <a:gd name="connsiteX2067" fmla="*/ 11537557 w 12166600"/>
                <a:gd name="connsiteY2067" fmla="*/ 1708518 h 2770404"/>
                <a:gd name="connsiteX2068" fmla="*/ 11530326 w 12166600"/>
                <a:gd name="connsiteY2068" fmla="*/ 1744870 h 2770404"/>
                <a:gd name="connsiteX2069" fmla="*/ 11530326 w 12166600"/>
                <a:gd name="connsiteY2069" fmla="*/ 1788491 h 2770404"/>
                <a:gd name="connsiteX2070" fmla="*/ 11552018 w 12166600"/>
                <a:gd name="connsiteY2070" fmla="*/ 1766681 h 2770404"/>
                <a:gd name="connsiteX2071" fmla="*/ 11566478 w 12166600"/>
                <a:gd name="connsiteY2071" fmla="*/ 1744870 h 2770404"/>
                <a:gd name="connsiteX2072" fmla="*/ 11537557 w 12166600"/>
                <a:gd name="connsiteY2072" fmla="*/ 1708518 h 2770404"/>
                <a:gd name="connsiteX2073" fmla="*/ 11725547 w 12166600"/>
                <a:gd name="connsiteY2073" fmla="*/ 1701248 h 2770404"/>
                <a:gd name="connsiteX2074" fmla="*/ 11725547 w 12166600"/>
                <a:gd name="connsiteY2074" fmla="*/ 1759410 h 2770404"/>
                <a:gd name="connsiteX2075" fmla="*/ 11732777 w 12166600"/>
                <a:gd name="connsiteY2075" fmla="*/ 1766681 h 2770404"/>
                <a:gd name="connsiteX2076" fmla="*/ 11732777 w 12166600"/>
                <a:gd name="connsiteY2076" fmla="*/ 1788491 h 2770404"/>
                <a:gd name="connsiteX2077" fmla="*/ 11740007 w 12166600"/>
                <a:gd name="connsiteY2077" fmla="*/ 1781221 h 2770404"/>
                <a:gd name="connsiteX2078" fmla="*/ 11747238 w 12166600"/>
                <a:gd name="connsiteY2078" fmla="*/ 1773951 h 2770404"/>
                <a:gd name="connsiteX2079" fmla="*/ 11768929 w 12166600"/>
                <a:gd name="connsiteY2079" fmla="*/ 1744870 h 2770404"/>
                <a:gd name="connsiteX2080" fmla="*/ 11725547 w 12166600"/>
                <a:gd name="connsiteY2080" fmla="*/ 1701248 h 2770404"/>
                <a:gd name="connsiteX2081" fmla="*/ 11740007 w 12166600"/>
                <a:gd name="connsiteY2081" fmla="*/ 1693978 h 2770404"/>
                <a:gd name="connsiteX2082" fmla="*/ 11776159 w 12166600"/>
                <a:gd name="connsiteY2082" fmla="*/ 1730329 h 2770404"/>
                <a:gd name="connsiteX2083" fmla="*/ 11790620 w 12166600"/>
                <a:gd name="connsiteY2083" fmla="*/ 1708518 h 2770404"/>
                <a:gd name="connsiteX2084" fmla="*/ 11805081 w 12166600"/>
                <a:gd name="connsiteY2084" fmla="*/ 1693978 h 2770404"/>
                <a:gd name="connsiteX2085" fmla="*/ 11797851 w 12166600"/>
                <a:gd name="connsiteY2085" fmla="*/ 1693978 h 2770404"/>
                <a:gd name="connsiteX2086" fmla="*/ 11776159 w 12166600"/>
                <a:gd name="connsiteY2086" fmla="*/ 1693978 h 2770404"/>
                <a:gd name="connsiteX2087" fmla="*/ 11757857 w 12166600"/>
                <a:gd name="connsiteY2087" fmla="*/ 1693978 h 2770404"/>
                <a:gd name="connsiteX2088" fmla="*/ 11646013 w 12166600"/>
                <a:gd name="connsiteY2088" fmla="*/ 1693978 h 2770404"/>
                <a:gd name="connsiteX2089" fmla="*/ 11674934 w 12166600"/>
                <a:gd name="connsiteY2089" fmla="*/ 1730329 h 2770404"/>
                <a:gd name="connsiteX2090" fmla="*/ 11682164 w 12166600"/>
                <a:gd name="connsiteY2090" fmla="*/ 1723059 h 2770404"/>
                <a:gd name="connsiteX2091" fmla="*/ 11689395 w 12166600"/>
                <a:gd name="connsiteY2091" fmla="*/ 1715788 h 2770404"/>
                <a:gd name="connsiteX2092" fmla="*/ 11703856 w 12166600"/>
                <a:gd name="connsiteY2092" fmla="*/ 1693978 h 2770404"/>
                <a:gd name="connsiteX2093" fmla="*/ 11660473 w 12166600"/>
                <a:gd name="connsiteY2093" fmla="*/ 1693978 h 2770404"/>
                <a:gd name="connsiteX2094" fmla="*/ 11646013 w 12166600"/>
                <a:gd name="connsiteY2094" fmla="*/ 1693978 h 2770404"/>
                <a:gd name="connsiteX2095" fmla="*/ 11544787 w 12166600"/>
                <a:gd name="connsiteY2095" fmla="*/ 1693978 h 2770404"/>
                <a:gd name="connsiteX2096" fmla="*/ 11552018 w 12166600"/>
                <a:gd name="connsiteY2096" fmla="*/ 1701248 h 2770404"/>
                <a:gd name="connsiteX2097" fmla="*/ 11580939 w 12166600"/>
                <a:gd name="connsiteY2097" fmla="*/ 1737599 h 2770404"/>
                <a:gd name="connsiteX2098" fmla="*/ 11580939 w 12166600"/>
                <a:gd name="connsiteY2098" fmla="*/ 1730329 h 2770404"/>
                <a:gd name="connsiteX2099" fmla="*/ 11588169 w 12166600"/>
                <a:gd name="connsiteY2099" fmla="*/ 1723059 h 2770404"/>
                <a:gd name="connsiteX2100" fmla="*/ 11617091 w 12166600"/>
                <a:gd name="connsiteY2100" fmla="*/ 1693978 h 2770404"/>
                <a:gd name="connsiteX2101" fmla="*/ 11609861 w 12166600"/>
                <a:gd name="connsiteY2101" fmla="*/ 1693978 h 2770404"/>
                <a:gd name="connsiteX2102" fmla="*/ 11566478 w 12166600"/>
                <a:gd name="connsiteY2102" fmla="*/ 1693978 h 2770404"/>
                <a:gd name="connsiteX2103" fmla="*/ 11674934 w 12166600"/>
                <a:gd name="connsiteY2103" fmla="*/ 1643086 h 2770404"/>
                <a:gd name="connsiteX2104" fmla="*/ 11646013 w 12166600"/>
                <a:gd name="connsiteY2104" fmla="*/ 1679437 h 2770404"/>
                <a:gd name="connsiteX2105" fmla="*/ 11703856 w 12166600"/>
                <a:gd name="connsiteY2105" fmla="*/ 1679437 h 2770404"/>
                <a:gd name="connsiteX2106" fmla="*/ 11674934 w 12166600"/>
                <a:gd name="connsiteY2106" fmla="*/ 1643086 h 2770404"/>
                <a:gd name="connsiteX2107" fmla="*/ 11588169 w 12166600"/>
                <a:gd name="connsiteY2107" fmla="*/ 1643086 h 2770404"/>
                <a:gd name="connsiteX2108" fmla="*/ 11573709 w 12166600"/>
                <a:gd name="connsiteY2108" fmla="*/ 1657626 h 2770404"/>
                <a:gd name="connsiteX2109" fmla="*/ 11544787 w 12166600"/>
                <a:gd name="connsiteY2109" fmla="*/ 1679437 h 2770404"/>
                <a:gd name="connsiteX2110" fmla="*/ 11552018 w 12166600"/>
                <a:gd name="connsiteY2110" fmla="*/ 1679437 h 2770404"/>
                <a:gd name="connsiteX2111" fmla="*/ 11595400 w 12166600"/>
                <a:gd name="connsiteY2111" fmla="*/ 1679437 h 2770404"/>
                <a:gd name="connsiteX2112" fmla="*/ 11617091 w 12166600"/>
                <a:gd name="connsiteY2112" fmla="*/ 1679437 h 2770404"/>
                <a:gd name="connsiteX2113" fmla="*/ 11761699 w 12166600"/>
                <a:gd name="connsiteY2113" fmla="*/ 1635815 h 2770404"/>
                <a:gd name="connsiteX2114" fmla="*/ 11754468 w 12166600"/>
                <a:gd name="connsiteY2114" fmla="*/ 1650356 h 2770404"/>
                <a:gd name="connsiteX2115" fmla="*/ 11747238 w 12166600"/>
                <a:gd name="connsiteY2115" fmla="*/ 1664896 h 2770404"/>
                <a:gd name="connsiteX2116" fmla="*/ 11732777 w 12166600"/>
                <a:gd name="connsiteY2116" fmla="*/ 1679437 h 2770404"/>
                <a:gd name="connsiteX2117" fmla="*/ 11761699 w 12166600"/>
                <a:gd name="connsiteY2117" fmla="*/ 1679437 h 2770404"/>
                <a:gd name="connsiteX2118" fmla="*/ 11783390 w 12166600"/>
                <a:gd name="connsiteY2118" fmla="*/ 1679437 h 2770404"/>
                <a:gd name="connsiteX2119" fmla="*/ 11805081 w 12166600"/>
                <a:gd name="connsiteY2119" fmla="*/ 1679437 h 2770404"/>
                <a:gd name="connsiteX2120" fmla="*/ 11761699 w 12166600"/>
                <a:gd name="connsiteY2120" fmla="*/ 1635815 h 2770404"/>
                <a:gd name="connsiteX2121" fmla="*/ 11343311 w 12166600"/>
                <a:gd name="connsiteY2121" fmla="*/ 1632676 h 2770404"/>
                <a:gd name="connsiteX2122" fmla="*/ 11370567 w 12166600"/>
                <a:gd name="connsiteY2122" fmla="*/ 1635550 h 2770404"/>
                <a:gd name="connsiteX2123" fmla="*/ 11240391 w 12166600"/>
                <a:gd name="connsiteY2123" fmla="*/ 2158368 h 2770404"/>
                <a:gd name="connsiteX2124" fmla="*/ 10987271 w 12166600"/>
                <a:gd name="connsiteY2124" fmla="*/ 2717492 h 2770404"/>
                <a:gd name="connsiteX2125" fmla="*/ 10972807 w 12166600"/>
                <a:gd name="connsiteY2125" fmla="*/ 2739276 h 2770404"/>
                <a:gd name="connsiteX2126" fmla="*/ 10690760 w 12166600"/>
                <a:gd name="connsiteY2126" fmla="*/ 2739276 h 2770404"/>
                <a:gd name="connsiteX2127" fmla="*/ 10690760 w 12166600"/>
                <a:gd name="connsiteY2127" fmla="*/ 2441561 h 2770404"/>
                <a:gd name="connsiteX2128" fmla="*/ 10481032 w 12166600"/>
                <a:gd name="connsiteY2128" fmla="*/ 2739276 h 2770404"/>
                <a:gd name="connsiteX2129" fmla="*/ 10112200 w 12166600"/>
                <a:gd name="connsiteY2129" fmla="*/ 2739276 h 2770404"/>
                <a:gd name="connsiteX2130" fmla="*/ 10076040 w 12166600"/>
                <a:gd name="connsiteY2130" fmla="*/ 2419776 h 2770404"/>
                <a:gd name="connsiteX2131" fmla="*/ 10054344 w 12166600"/>
                <a:gd name="connsiteY2131" fmla="*/ 2281811 h 2770404"/>
                <a:gd name="connsiteX2132" fmla="*/ 11343311 w 12166600"/>
                <a:gd name="connsiteY2132" fmla="*/ 1632676 h 2770404"/>
                <a:gd name="connsiteX2133" fmla="*/ 11703856 w 12166600"/>
                <a:gd name="connsiteY2133" fmla="*/ 1599464 h 2770404"/>
                <a:gd name="connsiteX2134" fmla="*/ 11689395 w 12166600"/>
                <a:gd name="connsiteY2134" fmla="*/ 1614004 h 2770404"/>
                <a:gd name="connsiteX2135" fmla="*/ 11682164 w 12166600"/>
                <a:gd name="connsiteY2135" fmla="*/ 1628545 h 2770404"/>
                <a:gd name="connsiteX2136" fmla="*/ 11711086 w 12166600"/>
                <a:gd name="connsiteY2136" fmla="*/ 1664896 h 2770404"/>
                <a:gd name="connsiteX2137" fmla="*/ 11711086 w 12166600"/>
                <a:gd name="connsiteY2137" fmla="*/ 1628545 h 2770404"/>
                <a:gd name="connsiteX2138" fmla="*/ 11703856 w 12166600"/>
                <a:gd name="connsiteY2138" fmla="*/ 1606734 h 2770404"/>
                <a:gd name="connsiteX2139" fmla="*/ 11703856 w 12166600"/>
                <a:gd name="connsiteY2139" fmla="*/ 1604917 h 2770404"/>
                <a:gd name="connsiteX2140" fmla="*/ 11638782 w 12166600"/>
                <a:gd name="connsiteY2140" fmla="*/ 1599464 h 2770404"/>
                <a:gd name="connsiteX2141" fmla="*/ 11638782 w 12166600"/>
                <a:gd name="connsiteY2141" fmla="*/ 1606734 h 2770404"/>
                <a:gd name="connsiteX2142" fmla="*/ 11638782 w 12166600"/>
                <a:gd name="connsiteY2142" fmla="*/ 1664896 h 2770404"/>
                <a:gd name="connsiteX2143" fmla="*/ 11667704 w 12166600"/>
                <a:gd name="connsiteY2143" fmla="*/ 1628545 h 2770404"/>
                <a:gd name="connsiteX2144" fmla="*/ 11797851 w 12166600"/>
                <a:gd name="connsiteY2144" fmla="*/ 1592194 h 2770404"/>
                <a:gd name="connsiteX2145" fmla="*/ 11790620 w 12166600"/>
                <a:gd name="connsiteY2145" fmla="*/ 1606734 h 2770404"/>
                <a:gd name="connsiteX2146" fmla="*/ 11768929 w 12166600"/>
                <a:gd name="connsiteY2146" fmla="*/ 1628545 h 2770404"/>
                <a:gd name="connsiteX2147" fmla="*/ 11805081 w 12166600"/>
                <a:gd name="connsiteY2147" fmla="*/ 1657626 h 2770404"/>
                <a:gd name="connsiteX2148" fmla="*/ 11812311 w 12166600"/>
                <a:gd name="connsiteY2148" fmla="*/ 1664896 h 2770404"/>
                <a:gd name="connsiteX2149" fmla="*/ 11805081 w 12166600"/>
                <a:gd name="connsiteY2149" fmla="*/ 1614004 h 2770404"/>
                <a:gd name="connsiteX2150" fmla="*/ 11797851 w 12166600"/>
                <a:gd name="connsiteY2150" fmla="*/ 1592194 h 2770404"/>
                <a:gd name="connsiteX2151" fmla="*/ 11718316 w 12166600"/>
                <a:gd name="connsiteY2151" fmla="*/ 1592194 h 2770404"/>
                <a:gd name="connsiteX2152" fmla="*/ 11718316 w 12166600"/>
                <a:gd name="connsiteY2152" fmla="*/ 1621275 h 2770404"/>
                <a:gd name="connsiteX2153" fmla="*/ 11725547 w 12166600"/>
                <a:gd name="connsiteY2153" fmla="*/ 1643086 h 2770404"/>
                <a:gd name="connsiteX2154" fmla="*/ 11725547 w 12166600"/>
                <a:gd name="connsiteY2154" fmla="*/ 1664896 h 2770404"/>
                <a:gd name="connsiteX2155" fmla="*/ 11732777 w 12166600"/>
                <a:gd name="connsiteY2155" fmla="*/ 1650356 h 2770404"/>
                <a:gd name="connsiteX2156" fmla="*/ 11747238 w 12166600"/>
                <a:gd name="connsiteY2156" fmla="*/ 1643086 h 2770404"/>
                <a:gd name="connsiteX2157" fmla="*/ 11754468 w 12166600"/>
                <a:gd name="connsiteY2157" fmla="*/ 1628545 h 2770404"/>
                <a:gd name="connsiteX2158" fmla="*/ 11718316 w 12166600"/>
                <a:gd name="connsiteY2158" fmla="*/ 1592194 h 2770404"/>
                <a:gd name="connsiteX2159" fmla="*/ 11631552 w 12166600"/>
                <a:gd name="connsiteY2159" fmla="*/ 1592194 h 2770404"/>
                <a:gd name="connsiteX2160" fmla="*/ 11595400 w 12166600"/>
                <a:gd name="connsiteY2160" fmla="*/ 1628545 h 2770404"/>
                <a:gd name="connsiteX2161" fmla="*/ 11595400 w 12166600"/>
                <a:gd name="connsiteY2161" fmla="*/ 1635815 h 2770404"/>
                <a:gd name="connsiteX2162" fmla="*/ 11624321 w 12166600"/>
                <a:gd name="connsiteY2162" fmla="*/ 1672167 h 2770404"/>
                <a:gd name="connsiteX2163" fmla="*/ 11624321 w 12166600"/>
                <a:gd name="connsiteY2163" fmla="*/ 1657626 h 2770404"/>
                <a:gd name="connsiteX2164" fmla="*/ 11631552 w 12166600"/>
                <a:gd name="connsiteY2164" fmla="*/ 1592194 h 2770404"/>
                <a:gd name="connsiteX2165" fmla="*/ 11544787 w 12166600"/>
                <a:gd name="connsiteY2165" fmla="*/ 1592194 h 2770404"/>
                <a:gd name="connsiteX2166" fmla="*/ 11544787 w 12166600"/>
                <a:gd name="connsiteY2166" fmla="*/ 1599464 h 2770404"/>
                <a:gd name="connsiteX2167" fmla="*/ 11544787 w 12166600"/>
                <a:gd name="connsiteY2167" fmla="*/ 1628545 h 2770404"/>
                <a:gd name="connsiteX2168" fmla="*/ 11537557 w 12166600"/>
                <a:gd name="connsiteY2168" fmla="*/ 1672167 h 2770404"/>
                <a:gd name="connsiteX2169" fmla="*/ 11559248 w 12166600"/>
                <a:gd name="connsiteY2169" fmla="*/ 1650356 h 2770404"/>
                <a:gd name="connsiteX2170" fmla="*/ 11573709 w 12166600"/>
                <a:gd name="connsiteY2170" fmla="*/ 1628545 h 2770404"/>
                <a:gd name="connsiteX2171" fmla="*/ 11566478 w 12166600"/>
                <a:gd name="connsiteY2171" fmla="*/ 1614004 h 2770404"/>
                <a:gd name="connsiteX2172" fmla="*/ 11544787 w 12166600"/>
                <a:gd name="connsiteY2172" fmla="*/ 1592194 h 2770404"/>
                <a:gd name="connsiteX2173" fmla="*/ 11646013 w 12166600"/>
                <a:gd name="connsiteY2173" fmla="*/ 1584923 h 2770404"/>
                <a:gd name="connsiteX2174" fmla="*/ 11674934 w 12166600"/>
                <a:gd name="connsiteY2174" fmla="*/ 1614004 h 2770404"/>
                <a:gd name="connsiteX2175" fmla="*/ 11682164 w 12166600"/>
                <a:gd name="connsiteY2175" fmla="*/ 1606734 h 2770404"/>
                <a:gd name="connsiteX2176" fmla="*/ 11689395 w 12166600"/>
                <a:gd name="connsiteY2176" fmla="*/ 1592194 h 2770404"/>
                <a:gd name="connsiteX2177" fmla="*/ 11696625 w 12166600"/>
                <a:gd name="connsiteY2177" fmla="*/ 1584923 h 2770404"/>
                <a:gd name="connsiteX2178" fmla="*/ 11682164 w 12166600"/>
                <a:gd name="connsiteY2178" fmla="*/ 1584923 h 2770404"/>
                <a:gd name="connsiteX2179" fmla="*/ 11660473 w 12166600"/>
                <a:gd name="connsiteY2179" fmla="*/ 1584923 h 2770404"/>
                <a:gd name="connsiteX2180" fmla="*/ 11559248 w 12166600"/>
                <a:gd name="connsiteY2180" fmla="*/ 1584923 h 2770404"/>
                <a:gd name="connsiteX2181" fmla="*/ 11588169 w 12166600"/>
                <a:gd name="connsiteY2181" fmla="*/ 1621275 h 2770404"/>
                <a:gd name="connsiteX2182" fmla="*/ 11617091 w 12166600"/>
                <a:gd name="connsiteY2182" fmla="*/ 1584923 h 2770404"/>
                <a:gd name="connsiteX2183" fmla="*/ 11761699 w 12166600"/>
                <a:gd name="connsiteY2183" fmla="*/ 1577653 h 2770404"/>
                <a:gd name="connsiteX2184" fmla="*/ 11725547 w 12166600"/>
                <a:gd name="connsiteY2184" fmla="*/ 1584923 h 2770404"/>
                <a:gd name="connsiteX2185" fmla="*/ 11761699 w 12166600"/>
                <a:gd name="connsiteY2185" fmla="*/ 1614004 h 2770404"/>
                <a:gd name="connsiteX2186" fmla="*/ 11776159 w 12166600"/>
                <a:gd name="connsiteY2186" fmla="*/ 1592194 h 2770404"/>
                <a:gd name="connsiteX2187" fmla="*/ 11790620 w 12166600"/>
                <a:gd name="connsiteY2187" fmla="*/ 1584923 h 2770404"/>
                <a:gd name="connsiteX2188" fmla="*/ 11790620 w 12166600"/>
                <a:gd name="connsiteY2188" fmla="*/ 1577653 h 2770404"/>
                <a:gd name="connsiteX2189" fmla="*/ 11761699 w 12166600"/>
                <a:gd name="connsiteY2189" fmla="*/ 1577653 h 2770404"/>
                <a:gd name="connsiteX2190" fmla="*/ 11754468 w 12166600"/>
                <a:gd name="connsiteY2190" fmla="*/ 1534031 h 2770404"/>
                <a:gd name="connsiteX2191" fmla="*/ 11747238 w 12166600"/>
                <a:gd name="connsiteY2191" fmla="*/ 1541302 h 2770404"/>
                <a:gd name="connsiteX2192" fmla="*/ 11740007 w 12166600"/>
                <a:gd name="connsiteY2192" fmla="*/ 1555842 h 2770404"/>
                <a:gd name="connsiteX2193" fmla="*/ 11725547 w 12166600"/>
                <a:gd name="connsiteY2193" fmla="*/ 1570383 h 2770404"/>
                <a:gd name="connsiteX2194" fmla="*/ 11747238 w 12166600"/>
                <a:gd name="connsiteY2194" fmla="*/ 1570383 h 2770404"/>
                <a:gd name="connsiteX2195" fmla="*/ 11776159 w 12166600"/>
                <a:gd name="connsiteY2195" fmla="*/ 1570383 h 2770404"/>
                <a:gd name="connsiteX2196" fmla="*/ 11790620 w 12166600"/>
                <a:gd name="connsiteY2196" fmla="*/ 1570383 h 2770404"/>
                <a:gd name="connsiteX2197" fmla="*/ 11754468 w 12166600"/>
                <a:gd name="connsiteY2197" fmla="*/ 1534031 h 2770404"/>
                <a:gd name="connsiteX2198" fmla="*/ 11674934 w 12166600"/>
                <a:gd name="connsiteY2198" fmla="*/ 1534031 h 2770404"/>
                <a:gd name="connsiteX2199" fmla="*/ 11653243 w 12166600"/>
                <a:gd name="connsiteY2199" fmla="*/ 1555842 h 2770404"/>
                <a:gd name="connsiteX2200" fmla="*/ 11646013 w 12166600"/>
                <a:gd name="connsiteY2200" fmla="*/ 1570383 h 2770404"/>
                <a:gd name="connsiteX2201" fmla="*/ 11667704 w 12166600"/>
                <a:gd name="connsiteY2201" fmla="*/ 1570383 h 2770404"/>
                <a:gd name="connsiteX2202" fmla="*/ 11696625 w 12166600"/>
                <a:gd name="connsiteY2202" fmla="*/ 1570383 h 2770404"/>
                <a:gd name="connsiteX2203" fmla="*/ 11682164 w 12166600"/>
                <a:gd name="connsiteY2203" fmla="*/ 1541302 h 2770404"/>
                <a:gd name="connsiteX2204" fmla="*/ 11674934 w 12166600"/>
                <a:gd name="connsiteY2204" fmla="*/ 1534031 h 2770404"/>
                <a:gd name="connsiteX2205" fmla="*/ 11595400 w 12166600"/>
                <a:gd name="connsiteY2205" fmla="*/ 1534031 h 2770404"/>
                <a:gd name="connsiteX2206" fmla="*/ 11580939 w 12166600"/>
                <a:gd name="connsiteY2206" fmla="*/ 1548572 h 2770404"/>
                <a:gd name="connsiteX2207" fmla="*/ 11559248 w 12166600"/>
                <a:gd name="connsiteY2207" fmla="*/ 1570383 h 2770404"/>
                <a:gd name="connsiteX2208" fmla="*/ 11602630 w 12166600"/>
                <a:gd name="connsiteY2208" fmla="*/ 1570383 h 2770404"/>
                <a:gd name="connsiteX2209" fmla="*/ 11624321 w 12166600"/>
                <a:gd name="connsiteY2209" fmla="*/ 1570383 h 2770404"/>
                <a:gd name="connsiteX2210" fmla="*/ 2090392 w 12166600"/>
                <a:gd name="connsiteY2210" fmla="*/ 1526318 h 2770404"/>
                <a:gd name="connsiteX2211" fmla="*/ 2075934 w 12166600"/>
                <a:gd name="connsiteY2211" fmla="*/ 1540864 h 2770404"/>
                <a:gd name="connsiteX2212" fmla="*/ 2068706 w 12166600"/>
                <a:gd name="connsiteY2212" fmla="*/ 1548137 h 2770404"/>
                <a:gd name="connsiteX2213" fmla="*/ 2068706 w 12166600"/>
                <a:gd name="connsiteY2213" fmla="*/ 1577229 h 2770404"/>
                <a:gd name="connsiteX2214" fmla="*/ 2061477 w 12166600"/>
                <a:gd name="connsiteY2214" fmla="*/ 1606320 h 2770404"/>
                <a:gd name="connsiteX2215" fmla="*/ 2054248 w 12166600"/>
                <a:gd name="connsiteY2215" fmla="*/ 1628139 h 2770404"/>
                <a:gd name="connsiteX2216" fmla="*/ 2054248 w 12166600"/>
                <a:gd name="connsiteY2216" fmla="*/ 1657231 h 2770404"/>
                <a:gd name="connsiteX2217" fmla="*/ 2039790 w 12166600"/>
                <a:gd name="connsiteY2217" fmla="*/ 1729960 h 2770404"/>
                <a:gd name="connsiteX2218" fmla="*/ 2032562 w 12166600"/>
                <a:gd name="connsiteY2218" fmla="*/ 1766325 h 2770404"/>
                <a:gd name="connsiteX2219" fmla="*/ 2047019 w 12166600"/>
                <a:gd name="connsiteY2219" fmla="*/ 1773598 h 2770404"/>
                <a:gd name="connsiteX2220" fmla="*/ 2057862 w 12166600"/>
                <a:gd name="connsiteY2220" fmla="*/ 1777234 h 2770404"/>
                <a:gd name="connsiteX2221" fmla="*/ 2061477 w 12166600"/>
                <a:gd name="connsiteY2221" fmla="*/ 1778446 h 2770404"/>
                <a:gd name="connsiteX2222" fmla="*/ 2061477 w 12166600"/>
                <a:gd name="connsiteY2222" fmla="*/ 1780871 h 2770404"/>
                <a:gd name="connsiteX2223" fmla="*/ 2068706 w 12166600"/>
                <a:gd name="connsiteY2223" fmla="*/ 1780871 h 2770404"/>
                <a:gd name="connsiteX2224" fmla="*/ 2061477 w 12166600"/>
                <a:gd name="connsiteY2224" fmla="*/ 1778446 h 2770404"/>
                <a:gd name="connsiteX2225" fmla="*/ 2061477 w 12166600"/>
                <a:gd name="connsiteY2225" fmla="*/ 1778143 h 2770404"/>
                <a:gd name="connsiteX2226" fmla="*/ 2061477 w 12166600"/>
                <a:gd name="connsiteY2226" fmla="*/ 1759052 h 2770404"/>
                <a:gd name="connsiteX2227" fmla="*/ 2083163 w 12166600"/>
                <a:gd name="connsiteY2227" fmla="*/ 1744506 h 2770404"/>
                <a:gd name="connsiteX2228" fmla="*/ 2090392 w 12166600"/>
                <a:gd name="connsiteY2228" fmla="*/ 1693596 h 2770404"/>
                <a:gd name="connsiteX2229" fmla="*/ 2090392 w 12166600"/>
                <a:gd name="connsiteY2229" fmla="*/ 1679050 h 2770404"/>
                <a:gd name="connsiteX2230" fmla="*/ 2097621 w 12166600"/>
                <a:gd name="connsiteY2230" fmla="*/ 1635412 h 2770404"/>
                <a:gd name="connsiteX2231" fmla="*/ 2104850 w 12166600"/>
                <a:gd name="connsiteY2231" fmla="*/ 1533591 h 2770404"/>
                <a:gd name="connsiteX2232" fmla="*/ 2090392 w 12166600"/>
                <a:gd name="connsiteY2232" fmla="*/ 1526318 h 2770404"/>
                <a:gd name="connsiteX2233" fmla="*/ 11783390 w 12166600"/>
                <a:gd name="connsiteY2233" fmla="*/ 1490409 h 2770404"/>
                <a:gd name="connsiteX2234" fmla="*/ 11776159 w 12166600"/>
                <a:gd name="connsiteY2234" fmla="*/ 1504950 h 2770404"/>
                <a:gd name="connsiteX2235" fmla="*/ 11761699 w 12166600"/>
                <a:gd name="connsiteY2235" fmla="*/ 1519491 h 2770404"/>
                <a:gd name="connsiteX2236" fmla="*/ 11797851 w 12166600"/>
                <a:gd name="connsiteY2236" fmla="*/ 1555842 h 2770404"/>
                <a:gd name="connsiteX2237" fmla="*/ 11790620 w 12166600"/>
                <a:gd name="connsiteY2237" fmla="*/ 1519491 h 2770404"/>
                <a:gd name="connsiteX2238" fmla="*/ 11790620 w 12166600"/>
                <a:gd name="connsiteY2238" fmla="*/ 1490409 h 2770404"/>
                <a:gd name="connsiteX2239" fmla="*/ 11783390 w 12166600"/>
                <a:gd name="connsiteY2239" fmla="*/ 1490409 h 2770404"/>
                <a:gd name="connsiteX2240" fmla="*/ 11711086 w 12166600"/>
                <a:gd name="connsiteY2240" fmla="*/ 1490409 h 2770404"/>
                <a:gd name="connsiteX2241" fmla="*/ 11718316 w 12166600"/>
                <a:gd name="connsiteY2241" fmla="*/ 1512220 h 2770404"/>
                <a:gd name="connsiteX2242" fmla="*/ 11718316 w 12166600"/>
                <a:gd name="connsiteY2242" fmla="*/ 1534031 h 2770404"/>
                <a:gd name="connsiteX2243" fmla="*/ 11718316 w 12166600"/>
                <a:gd name="connsiteY2243" fmla="*/ 1555842 h 2770404"/>
                <a:gd name="connsiteX2244" fmla="*/ 11725547 w 12166600"/>
                <a:gd name="connsiteY2244" fmla="*/ 1541302 h 2770404"/>
                <a:gd name="connsiteX2245" fmla="*/ 11740007 w 12166600"/>
                <a:gd name="connsiteY2245" fmla="*/ 1534031 h 2770404"/>
                <a:gd name="connsiteX2246" fmla="*/ 11747238 w 12166600"/>
                <a:gd name="connsiteY2246" fmla="*/ 1519491 h 2770404"/>
                <a:gd name="connsiteX2247" fmla="*/ 11732777 w 12166600"/>
                <a:gd name="connsiteY2247" fmla="*/ 1504950 h 2770404"/>
                <a:gd name="connsiteX2248" fmla="*/ 11711086 w 12166600"/>
                <a:gd name="connsiteY2248" fmla="*/ 1490409 h 2770404"/>
                <a:gd name="connsiteX2249" fmla="*/ 11703856 w 12166600"/>
                <a:gd name="connsiteY2249" fmla="*/ 1490409 h 2770404"/>
                <a:gd name="connsiteX2250" fmla="*/ 11696625 w 12166600"/>
                <a:gd name="connsiteY2250" fmla="*/ 1497680 h 2770404"/>
                <a:gd name="connsiteX2251" fmla="*/ 11689395 w 12166600"/>
                <a:gd name="connsiteY2251" fmla="*/ 1512220 h 2770404"/>
                <a:gd name="connsiteX2252" fmla="*/ 11682164 w 12166600"/>
                <a:gd name="connsiteY2252" fmla="*/ 1519491 h 2770404"/>
                <a:gd name="connsiteX2253" fmla="*/ 11703856 w 12166600"/>
                <a:gd name="connsiteY2253" fmla="*/ 1555842 h 2770404"/>
                <a:gd name="connsiteX2254" fmla="*/ 11703856 w 12166600"/>
                <a:gd name="connsiteY2254" fmla="*/ 1519491 h 2770404"/>
                <a:gd name="connsiteX2255" fmla="*/ 11703856 w 12166600"/>
                <a:gd name="connsiteY2255" fmla="*/ 1497680 h 2770404"/>
                <a:gd name="connsiteX2256" fmla="*/ 11703856 w 12166600"/>
                <a:gd name="connsiteY2256" fmla="*/ 1490409 h 2770404"/>
                <a:gd name="connsiteX2257" fmla="*/ 11646013 w 12166600"/>
                <a:gd name="connsiteY2257" fmla="*/ 1490409 h 2770404"/>
                <a:gd name="connsiteX2258" fmla="*/ 11646013 w 12166600"/>
                <a:gd name="connsiteY2258" fmla="*/ 1512220 h 2770404"/>
                <a:gd name="connsiteX2259" fmla="*/ 11646013 w 12166600"/>
                <a:gd name="connsiteY2259" fmla="*/ 1548572 h 2770404"/>
                <a:gd name="connsiteX2260" fmla="*/ 11660473 w 12166600"/>
                <a:gd name="connsiteY2260" fmla="*/ 1526761 h 2770404"/>
                <a:gd name="connsiteX2261" fmla="*/ 11667704 w 12166600"/>
                <a:gd name="connsiteY2261" fmla="*/ 1519491 h 2770404"/>
                <a:gd name="connsiteX2262" fmla="*/ 11559248 w 12166600"/>
                <a:gd name="connsiteY2262" fmla="*/ 1490409 h 2770404"/>
                <a:gd name="connsiteX2263" fmla="*/ 11552018 w 12166600"/>
                <a:gd name="connsiteY2263" fmla="*/ 1526761 h 2770404"/>
                <a:gd name="connsiteX2264" fmla="*/ 11552018 w 12166600"/>
                <a:gd name="connsiteY2264" fmla="*/ 1555842 h 2770404"/>
                <a:gd name="connsiteX2265" fmla="*/ 11566478 w 12166600"/>
                <a:gd name="connsiteY2265" fmla="*/ 1541302 h 2770404"/>
                <a:gd name="connsiteX2266" fmla="*/ 11580939 w 12166600"/>
                <a:gd name="connsiteY2266" fmla="*/ 1519491 h 2770404"/>
                <a:gd name="connsiteX2267" fmla="*/ 11559248 w 12166600"/>
                <a:gd name="connsiteY2267" fmla="*/ 1490409 h 2770404"/>
                <a:gd name="connsiteX2268" fmla="*/ 2037079 w 12166600"/>
                <a:gd name="connsiteY2268" fmla="*/ 1489953 h 2770404"/>
                <a:gd name="connsiteX2269" fmla="*/ 2003646 w 12166600"/>
                <a:gd name="connsiteY2269" fmla="*/ 1511772 h 2770404"/>
                <a:gd name="connsiteX2270" fmla="*/ 1996418 w 12166600"/>
                <a:gd name="connsiteY2270" fmla="*/ 1577229 h 2770404"/>
                <a:gd name="connsiteX2271" fmla="*/ 1989188 w 12166600"/>
                <a:gd name="connsiteY2271" fmla="*/ 1591775 h 2770404"/>
                <a:gd name="connsiteX2272" fmla="*/ 1981959 w 12166600"/>
                <a:gd name="connsiteY2272" fmla="*/ 1620866 h 2770404"/>
                <a:gd name="connsiteX2273" fmla="*/ 1981959 w 12166600"/>
                <a:gd name="connsiteY2273" fmla="*/ 1628139 h 2770404"/>
                <a:gd name="connsiteX2274" fmla="*/ 1974730 w 12166600"/>
                <a:gd name="connsiteY2274" fmla="*/ 1657231 h 2770404"/>
                <a:gd name="connsiteX2275" fmla="*/ 1974730 w 12166600"/>
                <a:gd name="connsiteY2275" fmla="*/ 1686323 h 2770404"/>
                <a:gd name="connsiteX2276" fmla="*/ 1960273 w 12166600"/>
                <a:gd name="connsiteY2276" fmla="*/ 1729960 h 2770404"/>
                <a:gd name="connsiteX2277" fmla="*/ 2003646 w 12166600"/>
                <a:gd name="connsiteY2277" fmla="*/ 1751779 h 2770404"/>
                <a:gd name="connsiteX2278" fmla="*/ 2010875 w 12166600"/>
                <a:gd name="connsiteY2278" fmla="*/ 1751779 h 2770404"/>
                <a:gd name="connsiteX2279" fmla="*/ 2018103 w 12166600"/>
                <a:gd name="connsiteY2279" fmla="*/ 1744506 h 2770404"/>
                <a:gd name="connsiteX2280" fmla="*/ 2032562 w 12166600"/>
                <a:gd name="connsiteY2280" fmla="*/ 1642685 h 2770404"/>
                <a:gd name="connsiteX2281" fmla="*/ 2039790 w 12166600"/>
                <a:gd name="connsiteY2281" fmla="*/ 1620866 h 2770404"/>
                <a:gd name="connsiteX2282" fmla="*/ 2047019 w 12166600"/>
                <a:gd name="connsiteY2282" fmla="*/ 1584502 h 2770404"/>
                <a:gd name="connsiteX2283" fmla="*/ 2054248 w 12166600"/>
                <a:gd name="connsiteY2283" fmla="*/ 1555410 h 2770404"/>
                <a:gd name="connsiteX2284" fmla="*/ 2054248 w 12166600"/>
                <a:gd name="connsiteY2284" fmla="*/ 1533591 h 2770404"/>
                <a:gd name="connsiteX2285" fmla="*/ 2037079 w 12166600"/>
                <a:gd name="connsiteY2285" fmla="*/ 1489953 h 2770404"/>
                <a:gd name="connsiteX2286" fmla="*/ 11725547 w 12166600"/>
                <a:gd name="connsiteY2286" fmla="*/ 1475869 h 2770404"/>
                <a:gd name="connsiteX2287" fmla="*/ 11754468 w 12166600"/>
                <a:gd name="connsiteY2287" fmla="*/ 1512220 h 2770404"/>
                <a:gd name="connsiteX2288" fmla="*/ 11761699 w 12166600"/>
                <a:gd name="connsiteY2288" fmla="*/ 1497680 h 2770404"/>
                <a:gd name="connsiteX2289" fmla="*/ 11776159 w 12166600"/>
                <a:gd name="connsiteY2289" fmla="*/ 1483139 h 2770404"/>
                <a:gd name="connsiteX2290" fmla="*/ 11776159 w 12166600"/>
                <a:gd name="connsiteY2290" fmla="*/ 1475869 h 2770404"/>
                <a:gd name="connsiteX2291" fmla="*/ 11747238 w 12166600"/>
                <a:gd name="connsiteY2291" fmla="*/ 1475869 h 2770404"/>
                <a:gd name="connsiteX2292" fmla="*/ 11725547 w 12166600"/>
                <a:gd name="connsiteY2292" fmla="*/ 1475869 h 2770404"/>
                <a:gd name="connsiteX2293" fmla="*/ 11653243 w 12166600"/>
                <a:gd name="connsiteY2293" fmla="*/ 1475869 h 2770404"/>
                <a:gd name="connsiteX2294" fmla="*/ 11674934 w 12166600"/>
                <a:gd name="connsiteY2294" fmla="*/ 1512220 h 2770404"/>
                <a:gd name="connsiteX2295" fmla="*/ 11682164 w 12166600"/>
                <a:gd name="connsiteY2295" fmla="*/ 1497680 h 2770404"/>
                <a:gd name="connsiteX2296" fmla="*/ 11689395 w 12166600"/>
                <a:gd name="connsiteY2296" fmla="*/ 1483139 h 2770404"/>
                <a:gd name="connsiteX2297" fmla="*/ 11696625 w 12166600"/>
                <a:gd name="connsiteY2297" fmla="*/ 1475869 h 2770404"/>
                <a:gd name="connsiteX2298" fmla="*/ 11682164 w 12166600"/>
                <a:gd name="connsiteY2298" fmla="*/ 1475869 h 2770404"/>
                <a:gd name="connsiteX2299" fmla="*/ 11653243 w 12166600"/>
                <a:gd name="connsiteY2299" fmla="*/ 1475869 h 2770404"/>
                <a:gd name="connsiteX2300" fmla="*/ 11609861 w 12166600"/>
                <a:gd name="connsiteY2300" fmla="*/ 1475869 h 2770404"/>
                <a:gd name="connsiteX2301" fmla="*/ 11573709 w 12166600"/>
                <a:gd name="connsiteY2301" fmla="*/ 1483139 h 2770404"/>
                <a:gd name="connsiteX2302" fmla="*/ 11566478 w 12166600"/>
                <a:gd name="connsiteY2302" fmla="*/ 1483139 h 2770404"/>
                <a:gd name="connsiteX2303" fmla="*/ 11595400 w 12166600"/>
                <a:gd name="connsiteY2303" fmla="*/ 1512220 h 2770404"/>
                <a:gd name="connsiteX2304" fmla="*/ 11595400 w 12166600"/>
                <a:gd name="connsiteY2304" fmla="*/ 1504950 h 2770404"/>
                <a:gd name="connsiteX2305" fmla="*/ 11617091 w 12166600"/>
                <a:gd name="connsiteY2305" fmla="*/ 1483139 h 2770404"/>
                <a:gd name="connsiteX2306" fmla="*/ 11624321 w 12166600"/>
                <a:gd name="connsiteY2306" fmla="*/ 1475869 h 2770404"/>
                <a:gd name="connsiteX2307" fmla="*/ 11609861 w 12166600"/>
                <a:gd name="connsiteY2307" fmla="*/ 1475869 h 2770404"/>
                <a:gd name="connsiteX2308" fmla="*/ 4454229 w 12166600"/>
                <a:gd name="connsiteY2308" fmla="*/ 1468135 h 2770404"/>
                <a:gd name="connsiteX2309" fmla="*/ 4447000 w 12166600"/>
                <a:gd name="connsiteY2309" fmla="*/ 1475408 h 2770404"/>
                <a:gd name="connsiteX2310" fmla="*/ 4447000 w 12166600"/>
                <a:gd name="connsiteY2310" fmla="*/ 1482681 h 2770404"/>
                <a:gd name="connsiteX2311" fmla="*/ 4447000 w 12166600"/>
                <a:gd name="connsiteY2311" fmla="*/ 1519045 h 2770404"/>
                <a:gd name="connsiteX2312" fmla="*/ 4454229 w 12166600"/>
                <a:gd name="connsiteY2312" fmla="*/ 1519045 h 2770404"/>
                <a:gd name="connsiteX2313" fmla="*/ 4468687 w 12166600"/>
                <a:gd name="connsiteY2313" fmla="*/ 1511772 h 2770404"/>
                <a:gd name="connsiteX2314" fmla="*/ 4475916 w 12166600"/>
                <a:gd name="connsiteY2314" fmla="*/ 1511772 h 2770404"/>
                <a:gd name="connsiteX2315" fmla="*/ 4490373 w 12166600"/>
                <a:gd name="connsiteY2315" fmla="*/ 1519045 h 2770404"/>
                <a:gd name="connsiteX2316" fmla="*/ 4490373 w 12166600"/>
                <a:gd name="connsiteY2316" fmla="*/ 1511772 h 2770404"/>
                <a:gd name="connsiteX2317" fmla="*/ 4490373 w 12166600"/>
                <a:gd name="connsiteY2317" fmla="*/ 1482681 h 2770404"/>
                <a:gd name="connsiteX2318" fmla="*/ 4483144 w 12166600"/>
                <a:gd name="connsiteY2318" fmla="*/ 1475408 h 2770404"/>
                <a:gd name="connsiteX2319" fmla="*/ 4483144 w 12166600"/>
                <a:gd name="connsiteY2319" fmla="*/ 1468135 h 2770404"/>
                <a:gd name="connsiteX2320" fmla="*/ 4468687 w 12166600"/>
                <a:gd name="connsiteY2320" fmla="*/ 1482681 h 2770404"/>
                <a:gd name="connsiteX2321" fmla="*/ 4461458 w 12166600"/>
                <a:gd name="connsiteY2321" fmla="*/ 1475408 h 2770404"/>
                <a:gd name="connsiteX2322" fmla="*/ 4454229 w 12166600"/>
                <a:gd name="connsiteY2322" fmla="*/ 1468135 h 2770404"/>
                <a:gd name="connsiteX2323" fmla="*/ 2733761 w 12166600"/>
                <a:gd name="connsiteY2323" fmla="*/ 1468135 h 2770404"/>
                <a:gd name="connsiteX2324" fmla="*/ 2726532 w 12166600"/>
                <a:gd name="connsiteY2324" fmla="*/ 1475408 h 2770404"/>
                <a:gd name="connsiteX2325" fmla="*/ 2726532 w 12166600"/>
                <a:gd name="connsiteY2325" fmla="*/ 1511772 h 2770404"/>
                <a:gd name="connsiteX2326" fmla="*/ 2733761 w 12166600"/>
                <a:gd name="connsiteY2326" fmla="*/ 1511772 h 2770404"/>
                <a:gd name="connsiteX2327" fmla="*/ 2748157 w 12166600"/>
                <a:gd name="connsiteY2327" fmla="*/ 1511772 h 2770404"/>
                <a:gd name="connsiteX2328" fmla="*/ 2748157 w 12166600"/>
                <a:gd name="connsiteY2328" fmla="*/ 1494799 h 2770404"/>
                <a:gd name="connsiteX2329" fmla="*/ 2748157 w 12166600"/>
                <a:gd name="connsiteY2329" fmla="*/ 1482292 h 2770404"/>
                <a:gd name="connsiteX2330" fmla="*/ 2748157 w 12166600"/>
                <a:gd name="connsiteY2330" fmla="*/ 1475807 h 2770404"/>
                <a:gd name="connsiteX2331" fmla="*/ 2748157 w 12166600"/>
                <a:gd name="connsiteY2331" fmla="*/ 1475300 h 2770404"/>
                <a:gd name="connsiteX2332" fmla="*/ 2744604 w 12166600"/>
                <a:gd name="connsiteY2332" fmla="*/ 1469044 h 2770404"/>
                <a:gd name="connsiteX2333" fmla="*/ 2740990 w 12166600"/>
                <a:gd name="connsiteY2333" fmla="*/ 1468135 h 2770404"/>
                <a:gd name="connsiteX2334" fmla="*/ 2733761 w 12166600"/>
                <a:gd name="connsiteY2334" fmla="*/ 1468135 h 2770404"/>
                <a:gd name="connsiteX2335" fmla="*/ 2083163 w 12166600"/>
                <a:gd name="connsiteY2335" fmla="*/ 1460862 h 2770404"/>
                <a:gd name="connsiteX2336" fmla="*/ 2083163 w 12166600"/>
                <a:gd name="connsiteY2336" fmla="*/ 1475408 h 2770404"/>
                <a:gd name="connsiteX2337" fmla="*/ 2104850 w 12166600"/>
                <a:gd name="connsiteY2337" fmla="*/ 1482681 h 2770404"/>
                <a:gd name="connsiteX2338" fmla="*/ 2104850 w 12166600"/>
                <a:gd name="connsiteY2338" fmla="*/ 1475408 h 2770404"/>
                <a:gd name="connsiteX2339" fmla="*/ 2097621 w 12166600"/>
                <a:gd name="connsiteY2339" fmla="*/ 1468135 h 2770404"/>
                <a:gd name="connsiteX2340" fmla="*/ 2083163 w 12166600"/>
                <a:gd name="connsiteY2340" fmla="*/ 1460862 h 2770404"/>
                <a:gd name="connsiteX2341" fmla="*/ 1960273 w 12166600"/>
                <a:gd name="connsiteY2341" fmla="*/ 1453589 h 2770404"/>
                <a:gd name="connsiteX2342" fmla="*/ 1931357 w 12166600"/>
                <a:gd name="connsiteY2342" fmla="*/ 1468135 h 2770404"/>
                <a:gd name="connsiteX2343" fmla="*/ 1924128 w 12166600"/>
                <a:gd name="connsiteY2343" fmla="*/ 1482681 h 2770404"/>
                <a:gd name="connsiteX2344" fmla="*/ 1924128 w 12166600"/>
                <a:gd name="connsiteY2344" fmla="*/ 1504499 h 2770404"/>
                <a:gd name="connsiteX2345" fmla="*/ 1916899 w 12166600"/>
                <a:gd name="connsiteY2345" fmla="*/ 1540864 h 2770404"/>
                <a:gd name="connsiteX2346" fmla="*/ 1902442 w 12166600"/>
                <a:gd name="connsiteY2346" fmla="*/ 1591775 h 2770404"/>
                <a:gd name="connsiteX2347" fmla="*/ 1895213 w 12166600"/>
                <a:gd name="connsiteY2347" fmla="*/ 1642685 h 2770404"/>
                <a:gd name="connsiteX2348" fmla="*/ 1887984 w 12166600"/>
                <a:gd name="connsiteY2348" fmla="*/ 1657231 h 2770404"/>
                <a:gd name="connsiteX2349" fmla="*/ 1880755 w 12166600"/>
                <a:gd name="connsiteY2349" fmla="*/ 1693596 h 2770404"/>
                <a:gd name="connsiteX2350" fmla="*/ 1880755 w 12166600"/>
                <a:gd name="connsiteY2350" fmla="*/ 1700869 h 2770404"/>
                <a:gd name="connsiteX2351" fmla="*/ 1902442 w 12166600"/>
                <a:gd name="connsiteY2351" fmla="*/ 1708141 h 2770404"/>
                <a:gd name="connsiteX2352" fmla="*/ 1924128 w 12166600"/>
                <a:gd name="connsiteY2352" fmla="*/ 1715414 h 2770404"/>
                <a:gd name="connsiteX2353" fmla="*/ 1938586 w 12166600"/>
                <a:gd name="connsiteY2353" fmla="*/ 1722687 h 2770404"/>
                <a:gd name="connsiteX2354" fmla="*/ 1945815 w 12166600"/>
                <a:gd name="connsiteY2354" fmla="*/ 1700869 h 2770404"/>
                <a:gd name="connsiteX2355" fmla="*/ 1953044 w 12166600"/>
                <a:gd name="connsiteY2355" fmla="*/ 1679050 h 2770404"/>
                <a:gd name="connsiteX2356" fmla="*/ 1960273 w 12166600"/>
                <a:gd name="connsiteY2356" fmla="*/ 1642685 h 2770404"/>
                <a:gd name="connsiteX2357" fmla="*/ 1967501 w 12166600"/>
                <a:gd name="connsiteY2357" fmla="*/ 1613593 h 2770404"/>
                <a:gd name="connsiteX2358" fmla="*/ 1967501 w 12166600"/>
                <a:gd name="connsiteY2358" fmla="*/ 1606320 h 2770404"/>
                <a:gd name="connsiteX2359" fmla="*/ 1967501 w 12166600"/>
                <a:gd name="connsiteY2359" fmla="*/ 1591775 h 2770404"/>
                <a:gd name="connsiteX2360" fmla="*/ 1989188 w 12166600"/>
                <a:gd name="connsiteY2360" fmla="*/ 1504499 h 2770404"/>
                <a:gd name="connsiteX2361" fmla="*/ 1989188 w 12166600"/>
                <a:gd name="connsiteY2361" fmla="*/ 1497227 h 2770404"/>
                <a:gd name="connsiteX2362" fmla="*/ 1981959 w 12166600"/>
                <a:gd name="connsiteY2362" fmla="*/ 1468135 h 2770404"/>
                <a:gd name="connsiteX2363" fmla="*/ 1960273 w 12166600"/>
                <a:gd name="connsiteY2363" fmla="*/ 1453589 h 2770404"/>
                <a:gd name="connsiteX2364" fmla="*/ 11747238 w 12166600"/>
                <a:gd name="connsiteY2364" fmla="*/ 1439517 h 2770404"/>
                <a:gd name="connsiteX2365" fmla="*/ 11740007 w 12166600"/>
                <a:gd name="connsiteY2365" fmla="*/ 1446788 h 2770404"/>
                <a:gd name="connsiteX2366" fmla="*/ 11725547 w 12166600"/>
                <a:gd name="connsiteY2366" fmla="*/ 1461328 h 2770404"/>
                <a:gd name="connsiteX2367" fmla="*/ 11732777 w 12166600"/>
                <a:gd name="connsiteY2367" fmla="*/ 1461328 h 2770404"/>
                <a:gd name="connsiteX2368" fmla="*/ 11761699 w 12166600"/>
                <a:gd name="connsiteY2368" fmla="*/ 1461328 h 2770404"/>
                <a:gd name="connsiteX2369" fmla="*/ 11776159 w 12166600"/>
                <a:gd name="connsiteY2369" fmla="*/ 1461328 h 2770404"/>
                <a:gd name="connsiteX2370" fmla="*/ 11747238 w 12166600"/>
                <a:gd name="connsiteY2370" fmla="*/ 1439517 h 2770404"/>
                <a:gd name="connsiteX2371" fmla="*/ 11674934 w 12166600"/>
                <a:gd name="connsiteY2371" fmla="*/ 1439517 h 2770404"/>
                <a:gd name="connsiteX2372" fmla="*/ 11667704 w 12166600"/>
                <a:gd name="connsiteY2372" fmla="*/ 1446788 h 2770404"/>
                <a:gd name="connsiteX2373" fmla="*/ 11660473 w 12166600"/>
                <a:gd name="connsiteY2373" fmla="*/ 1461328 h 2770404"/>
                <a:gd name="connsiteX2374" fmla="*/ 11653243 w 12166600"/>
                <a:gd name="connsiteY2374" fmla="*/ 1468599 h 2770404"/>
                <a:gd name="connsiteX2375" fmla="*/ 11667704 w 12166600"/>
                <a:gd name="connsiteY2375" fmla="*/ 1461328 h 2770404"/>
                <a:gd name="connsiteX2376" fmla="*/ 11689395 w 12166600"/>
                <a:gd name="connsiteY2376" fmla="*/ 1461328 h 2770404"/>
                <a:gd name="connsiteX2377" fmla="*/ 11674934 w 12166600"/>
                <a:gd name="connsiteY2377" fmla="*/ 1439517 h 2770404"/>
                <a:gd name="connsiteX2378" fmla="*/ 11595400 w 12166600"/>
                <a:gd name="connsiteY2378" fmla="*/ 1439517 h 2770404"/>
                <a:gd name="connsiteX2379" fmla="*/ 11580939 w 12166600"/>
                <a:gd name="connsiteY2379" fmla="*/ 1454058 h 2770404"/>
                <a:gd name="connsiteX2380" fmla="*/ 11566478 w 12166600"/>
                <a:gd name="connsiteY2380" fmla="*/ 1468599 h 2770404"/>
                <a:gd name="connsiteX2381" fmla="*/ 11595400 w 12166600"/>
                <a:gd name="connsiteY2381" fmla="*/ 1468599 h 2770404"/>
                <a:gd name="connsiteX2382" fmla="*/ 11624321 w 12166600"/>
                <a:gd name="connsiteY2382" fmla="*/ 1468599 h 2770404"/>
                <a:gd name="connsiteX2383" fmla="*/ 1503047 w 12166600"/>
                <a:gd name="connsiteY2383" fmla="*/ 1437225 h 2770404"/>
                <a:gd name="connsiteX2384" fmla="*/ 1483168 w 12166600"/>
                <a:gd name="connsiteY2384" fmla="*/ 1468135 h 2770404"/>
                <a:gd name="connsiteX2385" fmla="*/ 1475939 w 12166600"/>
                <a:gd name="connsiteY2385" fmla="*/ 1482681 h 2770404"/>
                <a:gd name="connsiteX2386" fmla="*/ 1461481 w 12166600"/>
                <a:gd name="connsiteY2386" fmla="*/ 1533591 h 2770404"/>
                <a:gd name="connsiteX2387" fmla="*/ 1454252 w 12166600"/>
                <a:gd name="connsiteY2387" fmla="*/ 1569956 h 2770404"/>
                <a:gd name="connsiteX2388" fmla="*/ 1439795 w 12166600"/>
                <a:gd name="connsiteY2388" fmla="*/ 1613593 h 2770404"/>
                <a:gd name="connsiteX2389" fmla="*/ 1425337 w 12166600"/>
                <a:gd name="connsiteY2389" fmla="*/ 1671777 h 2770404"/>
                <a:gd name="connsiteX2390" fmla="*/ 1447024 w 12166600"/>
                <a:gd name="connsiteY2390" fmla="*/ 1664504 h 2770404"/>
                <a:gd name="connsiteX2391" fmla="*/ 1468710 w 12166600"/>
                <a:gd name="connsiteY2391" fmla="*/ 1591775 h 2770404"/>
                <a:gd name="connsiteX2392" fmla="*/ 1475939 w 12166600"/>
                <a:gd name="connsiteY2392" fmla="*/ 1562683 h 2770404"/>
                <a:gd name="connsiteX2393" fmla="*/ 1483168 w 12166600"/>
                <a:gd name="connsiteY2393" fmla="*/ 1548137 h 2770404"/>
                <a:gd name="connsiteX2394" fmla="*/ 1490397 w 12166600"/>
                <a:gd name="connsiteY2394" fmla="*/ 1519045 h 2770404"/>
                <a:gd name="connsiteX2395" fmla="*/ 1512083 w 12166600"/>
                <a:gd name="connsiteY2395" fmla="*/ 1460862 h 2770404"/>
                <a:gd name="connsiteX2396" fmla="*/ 1503047 w 12166600"/>
                <a:gd name="connsiteY2396" fmla="*/ 1437225 h 2770404"/>
                <a:gd name="connsiteX2397" fmla="*/ 4092787 w 12166600"/>
                <a:gd name="connsiteY2397" fmla="*/ 1424497 h 2770404"/>
                <a:gd name="connsiteX2398" fmla="*/ 4085557 w 12166600"/>
                <a:gd name="connsiteY2398" fmla="*/ 1446316 h 2770404"/>
                <a:gd name="connsiteX2399" fmla="*/ 4085557 w 12166600"/>
                <a:gd name="connsiteY2399" fmla="*/ 1497227 h 2770404"/>
                <a:gd name="connsiteX2400" fmla="*/ 4092787 w 12166600"/>
                <a:gd name="connsiteY2400" fmla="*/ 1497227 h 2770404"/>
                <a:gd name="connsiteX2401" fmla="*/ 4107244 w 12166600"/>
                <a:gd name="connsiteY2401" fmla="*/ 1497227 h 2770404"/>
                <a:gd name="connsiteX2402" fmla="*/ 4107244 w 12166600"/>
                <a:gd name="connsiteY2402" fmla="*/ 1446316 h 2770404"/>
                <a:gd name="connsiteX2403" fmla="*/ 4100015 w 12166600"/>
                <a:gd name="connsiteY2403" fmla="*/ 1431770 h 2770404"/>
                <a:gd name="connsiteX2404" fmla="*/ 4092787 w 12166600"/>
                <a:gd name="connsiteY2404" fmla="*/ 1424497 h 2770404"/>
                <a:gd name="connsiteX2405" fmla="*/ 3926522 w 12166600"/>
                <a:gd name="connsiteY2405" fmla="*/ 1424497 h 2770404"/>
                <a:gd name="connsiteX2406" fmla="*/ 3919293 w 12166600"/>
                <a:gd name="connsiteY2406" fmla="*/ 1446316 h 2770404"/>
                <a:gd name="connsiteX2407" fmla="*/ 3919293 w 12166600"/>
                <a:gd name="connsiteY2407" fmla="*/ 1497227 h 2770404"/>
                <a:gd name="connsiteX2408" fmla="*/ 3933751 w 12166600"/>
                <a:gd name="connsiteY2408" fmla="*/ 1497227 h 2770404"/>
                <a:gd name="connsiteX2409" fmla="*/ 3933751 w 12166600"/>
                <a:gd name="connsiteY2409" fmla="*/ 1446316 h 2770404"/>
                <a:gd name="connsiteX2410" fmla="*/ 3933751 w 12166600"/>
                <a:gd name="connsiteY2410" fmla="*/ 1431770 h 2770404"/>
                <a:gd name="connsiteX2411" fmla="*/ 3926522 w 12166600"/>
                <a:gd name="connsiteY2411" fmla="*/ 1424497 h 2770404"/>
                <a:gd name="connsiteX2412" fmla="*/ 2965085 w 12166600"/>
                <a:gd name="connsiteY2412" fmla="*/ 1424497 h 2770404"/>
                <a:gd name="connsiteX2413" fmla="*/ 2972314 w 12166600"/>
                <a:gd name="connsiteY2413" fmla="*/ 1424497 h 2770404"/>
                <a:gd name="connsiteX2414" fmla="*/ 2972314 w 12166600"/>
                <a:gd name="connsiteY2414" fmla="*/ 1431770 h 2770404"/>
                <a:gd name="connsiteX2415" fmla="*/ 2965085 w 12166600"/>
                <a:gd name="connsiteY2415" fmla="*/ 1424497 h 2770404"/>
                <a:gd name="connsiteX2416" fmla="*/ 1859069 w 12166600"/>
                <a:gd name="connsiteY2416" fmla="*/ 1424497 h 2770404"/>
                <a:gd name="connsiteX2417" fmla="*/ 1830153 w 12166600"/>
                <a:gd name="connsiteY2417" fmla="*/ 1446316 h 2770404"/>
                <a:gd name="connsiteX2418" fmla="*/ 1822924 w 12166600"/>
                <a:gd name="connsiteY2418" fmla="*/ 1453589 h 2770404"/>
                <a:gd name="connsiteX2419" fmla="*/ 1822924 w 12166600"/>
                <a:gd name="connsiteY2419" fmla="*/ 1460862 h 2770404"/>
                <a:gd name="connsiteX2420" fmla="*/ 1815695 w 12166600"/>
                <a:gd name="connsiteY2420" fmla="*/ 1504499 h 2770404"/>
                <a:gd name="connsiteX2421" fmla="*/ 1801238 w 12166600"/>
                <a:gd name="connsiteY2421" fmla="*/ 1555410 h 2770404"/>
                <a:gd name="connsiteX2422" fmla="*/ 1794009 w 12166600"/>
                <a:gd name="connsiteY2422" fmla="*/ 1569956 h 2770404"/>
                <a:gd name="connsiteX2423" fmla="*/ 1794009 w 12166600"/>
                <a:gd name="connsiteY2423" fmla="*/ 1591775 h 2770404"/>
                <a:gd name="connsiteX2424" fmla="*/ 1779551 w 12166600"/>
                <a:gd name="connsiteY2424" fmla="*/ 1628139 h 2770404"/>
                <a:gd name="connsiteX2425" fmla="*/ 1772322 w 12166600"/>
                <a:gd name="connsiteY2425" fmla="*/ 1671777 h 2770404"/>
                <a:gd name="connsiteX2426" fmla="*/ 1822924 w 12166600"/>
                <a:gd name="connsiteY2426" fmla="*/ 1686323 h 2770404"/>
                <a:gd name="connsiteX2427" fmla="*/ 1837382 w 12166600"/>
                <a:gd name="connsiteY2427" fmla="*/ 1693596 h 2770404"/>
                <a:gd name="connsiteX2428" fmla="*/ 1844611 w 12166600"/>
                <a:gd name="connsiteY2428" fmla="*/ 1693596 h 2770404"/>
                <a:gd name="connsiteX2429" fmla="*/ 1844611 w 12166600"/>
                <a:gd name="connsiteY2429" fmla="*/ 1686323 h 2770404"/>
                <a:gd name="connsiteX2430" fmla="*/ 1851840 w 12166600"/>
                <a:gd name="connsiteY2430" fmla="*/ 1671777 h 2770404"/>
                <a:gd name="connsiteX2431" fmla="*/ 1866297 w 12166600"/>
                <a:gd name="connsiteY2431" fmla="*/ 1584502 h 2770404"/>
                <a:gd name="connsiteX2432" fmla="*/ 1873526 w 12166600"/>
                <a:gd name="connsiteY2432" fmla="*/ 1569956 h 2770404"/>
                <a:gd name="connsiteX2433" fmla="*/ 1880755 w 12166600"/>
                <a:gd name="connsiteY2433" fmla="*/ 1533591 h 2770404"/>
                <a:gd name="connsiteX2434" fmla="*/ 1887984 w 12166600"/>
                <a:gd name="connsiteY2434" fmla="*/ 1497227 h 2770404"/>
                <a:gd name="connsiteX2435" fmla="*/ 1895213 w 12166600"/>
                <a:gd name="connsiteY2435" fmla="*/ 1475408 h 2770404"/>
                <a:gd name="connsiteX2436" fmla="*/ 1887984 w 12166600"/>
                <a:gd name="connsiteY2436" fmla="*/ 1446316 h 2770404"/>
                <a:gd name="connsiteX2437" fmla="*/ 1866297 w 12166600"/>
                <a:gd name="connsiteY2437" fmla="*/ 1424497 h 2770404"/>
                <a:gd name="connsiteX2438" fmla="*/ 1859069 w 12166600"/>
                <a:gd name="connsiteY2438" fmla="*/ 1424497 h 2770404"/>
                <a:gd name="connsiteX2439" fmla="*/ 1562685 w 12166600"/>
                <a:gd name="connsiteY2439" fmla="*/ 1424497 h 2770404"/>
                <a:gd name="connsiteX2440" fmla="*/ 1533770 w 12166600"/>
                <a:gd name="connsiteY2440" fmla="*/ 1446316 h 2770404"/>
                <a:gd name="connsiteX2441" fmla="*/ 1533770 w 12166600"/>
                <a:gd name="connsiteY2441" fmla="*/ 1460862 h 2770404"/>
                <a:gd name="connsiteX2442" fmla="*/ 1519312 w 12166600"/>
                <a:gd name="connsiteY2442" fmla="*/ 1497227 h 2770404"/>
                <a:gd name="connsiteX2443" fmla="*/ 1512083 w 12166600"/>
                <a:gd name="connsiteY2443" fmla="*/ 1533591 h 2770404"/>
                <a:gd name="connsiteX2444" fmla="*/ 1504854 w 12166600"/>
                <a:gd name="connsiteY2444" fmla="*/ 1562683 h 2770404"/>
                <a:gd name="connsiteX2445" fmla="*/ 1497627 w 12166600"/>
                <a:gd name="connsiteY2445" fmla="*/ 1577229 h 2770404"/>
                <a:gd name="connsiteX2446" fmla="*/ 1475939 w 12166600"/>
                <a:gd name="connsiteY2446" fmla="*/ 1657231 h 2770404"/>
                <a:gd name="connsiteX2447" fmla="*/ 1475939 w 12166600"/>
                <a:gd name="connsiteY2447" fmla="*/ 1664504 h 2770404"/>
                <a:gd name="connsiteX2448" fmla="*/ 1490397 w 12166600"/>
                <a:gd name="connsiteY2448" fmla="*/ 1664504 h 2770404"/>
                <a:gd name="connsiteX2449" fmla="*/ 1497627 w 12166600"/>
                <a:gd name="connsiteY2449" fmla="*/ 1664504 h 2770404"/>
                <a:gd name="connsiteX2450" fmla="*/ 1512083 w 12166600"/>
                <a:gd name="connsiteY2450" fmla="*/ 1657231 h 2770404"/>
                <a:gd name="connsiteX2451" fmla="*/ 1512083 w 12166600"/>
                <a:gd name="connsiteY2451" fmla="*/ 1649958 h 2770404"/>
                <a:gd name="connsiteX2452" fmla="*/ 1519312 w 12166600"/>
                <a:gd name="connsiteY2452" fmla="*/ 1628139 h 2770404"/>
                <a:gd name="connsiteX2453" fmla="*/ 1533770 w 12166600"/>
                <a:gd name="connsiteY2453" fmla="*/ 1555410 h 2770404"/>
                <a:gd name="connsiteX2454" fmla="*/ 1540999 w 12166600"/>
                <a:gd name="connsiteY2454" fmla="*/ 1548137 h 2770404"/>
                <a:gd name="connsiteX2455" fmla="*/ 1555456 w 12166600"/>
                <a:gd name="connsiteY2455" fmla="*/ 1504499 h 2770404"/>
                <a:gd name="connsiteX2456" fmla="*/ 1562685 w 12166600"/>
                <a:gd name="connsiteY2456" fmla="*/ 1475408 h 2770404"/>
                <a:gd name="connsiteX2457" fmla="*/ 1562685 w 12166600"/>
                <a:gd name="connsiteY2457" fmla="*/ 1453589 h 2770404"/>
                <a:gd name="connsiteX2458" fmla="*/ 1562685 w 12166600"/>
                <a:gd name="connsiteY2458" fmla="*/ 1424497 h 2770404"/>
                <a:gd name="connsiteX2459" fmla="*/ 1618935 w 12166600"/>
                <a:gd name="connsiteY2459" fmla="*/ 1418815 h 2770404"/>
                <a:gd name="connsiteX2460" fmla="*/ 1584372 w 12166600"/>
                <a:gd name="connsiteY2460" fmla="*/ 1453589 h 2770404"/>
                <a:gd name="connsiteX2461" fmla="*/ 1584372 w 12166600"/>
                <a:gd name="connsiteY2461" fmla="*/ 1460862 h 2770404"/>
                <a:gd name="connsiteX2462" fmla="*/ 1577143 w 12166600"/>
                <a:gd name="connsiteY2462" fmla="*/ 1489954 h 2770404"/>
                <a:gd name="connsiteX2463" fmla="*/ 1562685 w 12166600"/>
                <a:gd name="connsiteY2463" fmla="*/ 1533591 h 2770404"/>
                <a:gd name="connsiteX2464" fmla="*/ 1555456 w 12166600"/>
                <a:gd name="connsiteY2464" fmla="*/ 1555410 h 2770404"/>
                <a:gd name="connsiteX2465" fmla="*/ 1540999 w 12166600"/>
                <a:gd name="connsiteY2465" fmla="*/ 1613593 h 2770404"/>
                <a:gd name="connsiteX2466" fmla="*/ 1533770 w 12166600"/>
                <a:gd name="connsiteY2466" fmla="*/ 1635412 h 2770404"/>
                <a:gd name="connsiteX2467" fmla="*/ 1526541 w 12166600"/>
                <a:gd name="connsiteY2467" fmla="*/ 1657231 h 2770404"/>
                <a:gd name="connsiteX2468" fmla="*/ 1569914 w 12166600"/>
                <a:gd name="connsiteY2468" fmla="*/ 1657231 h 2770404"/>
                <a:gd name="connsiteX2469" fmla="*/ 1577143 w 12166600"/>
                <a:gd name="connsiteY2469" fmla="*/ 1657231 h 2770404"/>
                <a:gd name="connsiteX2470" fmla="*/ 1584372 w 12166600"/>
                <a:gd name="connsiteY2470" fmla="*/ 1606320 h 2770404"/>
                <a:gd name="connsiteX2471" fmla="*/ 1591601 w 12166600"/>
                <a:gd name="connsiteY2471" fmla="*/ 1599048 h 2770404"/>
                <a:gd name="connsiteX2472" fmla="*/ 1591601 w 12166600"/>
                <a:gd name="connsiteY2472" fmla="*/ 1577229 h 2770404"/>
                <a:gd name="connsiteX2473" fmla="*/ 1598830 w 12166600"/>
                <a:gd name="connsiteY2473" fmla="*/ 1555410 h 2770404"/>
                <a:gd name="connsiteX2474" fmla="*/ 1613287 w 12166600"/>
                <a:gd name="connsiteY2474" fmla="*/ 1497227 h 2770404"/>
                <a:gd name="connsiteX2475" fmla="*/ 1627745 w 12166600"/>
                <a:gd name="connsiteY2475" fmla="*/ 1453589 h 2770404"/>
                <a:gd name="connsiteX2476" fmla="*/ 1627745 w 12166600"/>
                <a:gd name="connsiteY2476" fmla="*/ 1424497 h 2770404"/>
                <a:gd name="connsiteX2477" fmla="*/ 1618935 w 12166600"/>
                <a:gd name="connsiteY2477" fmla="*/ 1418815 h 2770404"/>
                <a:gd name="connsiteX2478" fmla="*/ 4049413 w 12166600"/>
                <a:gd name="connsiteY2478" fmla="*/ 1417224 h 2770404"/>
                <a:gd name="connsiteX2479" fmla="*/ 4020498 w 12166600"/>
                <a:gd name="connsiteY2479" fmla="*/ 1439043 h 2770404"/>
                <a:gd name="connsiteX2480" fmla="*/ 4020498 w 12166600"/>
                <a:gd name="connsiteY2480" fmla="*/ 1497227 h 2770404"/>
                <a:gd name="connsiteX2481" fmla="*/ 4042184 w 12166600"/>
                <a:gd name="connsiteY2481" fmla="*/ 1497227 h 2770404"/>
                <a:gd name="connsiteX2482" fmla="*/ 4078328 w 12166600"/>
                <a:gd name="connsiteY2482" fmla="*/ 1497227 h 2770404"/>
                <a:gd name="connsiteX2483" fmla="*/ 4078328 w 12166600"/>
                <a:gd name="connsiteY2483" fmla="*/ 1439043 h 2770404"/>
                <a:gd name="connsiteX2484" fmla="*/ 4056642 w 12166600"/>
                <a:gd name="connsiteY2484" fmla="*/ 1417224 h 2770404"/>
                <a:gd name="connsiteX2485" fmla="*/ 4049413 w 12166600"/>
                <a:gd name="connsiteY2485" fmla="*/ 1417224 h 2770404"/>
                <a:gd name="connsiteX2486" fmla="*/ 3268696 w 12166600"/>
                <a:gd name="connsiteY2486" fmla="*/ 1417224 h 2770404"/>
                <a:gd name="connsiteX2487" fmla="*/ 3261467 w 12166600"/>
                <a:gd name="connsiteY2487" fmla="*/ 1446316 h 2770404"/>
                <a:gd name="connsiteX2488" fmla="*/ 3261467 w 12166600"/>
                <a:gd name="connsiteY2488" fmla="*/ 1489954 h 2770404"/>
                <a:gd name="connsiteX2489" fmla="*/ 3275926 w 12166600"/>
                <a:gd name="connsiteY2489" fmla="*/ 1489954 h 2770404"/>
                <a:gd name="connsiteX2490" fmla="*/ 3275926 w 12166600"/>
                <a:gd name="connsiteY2490" fmla="*/ 1446316 h 2770404"/>
                <a:gd name="connsiteX2491" fmla="*/ 3275926 w 12166600"/>
                <a:gd name="connsiteY2491" fmla="*/ 1424497 h 2770404"/>
                <a:gd name="connsiteX2492" fmla="*/ 3268696 w 12166600"/>
                <a:gd name="connsiteY2492" fmla="*/ 1417224 h 2770404"/>
                <a:gd name="connsiteX2493" fmla="*/ 3095205 w 12166600"/>
                <a:gd name="connsiteY2493" fmla="*/ 1417224 h 2770404"/>
                <a:gd name="connsiteX2494" fmla="*/ 3087975 w 12166600"/>
                <a:gd name="connsiteY2494" fmla="*/ 1446316 h 2770404"/>
                <a:gd name="connsiteX2495" fmla="*/ 3087975 w 12166600"/>
                <a:gd name="connsiteY2495" fmla="*/ 1489954 h 2770404"/>
                <a:gd name="connsiteX2496" fmla="*/ 3095205 w 12166600"/>
                <a:gd name="connsiteY2496" fmla="*/ 1489954 h 2770404"/>
                <a:gd name="connsiteX2497" fmla="*/ 3102432 w 12166600"/>
                <a:gd name="connsiteY2497" fmla="*/ 1489954 h 2770404"/>
                <a:gd name="connsiteX2498" fmla="*/ 3102432 w 12166600"/>
                <a:gd name="connsiteY2498" fmla="*/ 1446316 h 2770404"/>
                <a:gd name="connsiteX2499" fmla="*/ 3102432 w 12166600"/>
                <a:gd name="connsiteY2499" fmla="*/ 1424497 h 2770404"/>
                <a:gd name="connsiteX2500" fmla="*/ 3095205 w 12166600"/>
                <a:gd name="connsiteY2500" fmla="*/ 1417224 h 2770404"/>
                <a:gd name="connsiteX2501" fmla="*/ 3959279 w 12166600"/>
                <a:gd name="connsiteY2501" fmla="*/ 1415520 h 2770404"/>
                <a:gd name="connsiteX2502" fmla="*/ 3940981 w 12166600"/>
                <a:gd name="connsiteY2502" fmla="*/ 1439043 h 2770404"/>
                <a:gd name="connsiteX2503" fmla="*/ 3940981 w 12166600"/>
                <a:gd name="connsiteY2503" fmla="*/ 1497227 h 2770404"/>
                <a:gd name="connsiteX2504" fmla="*/ 3969895 w 12166600"/>
                <a:gd name="connsiteY2504" fmla="*/ 1497227 h 2770404"/>
                <a:gd name="connsiteX2505" fmla="*/ 4006040 w 12166600"/>
                <a:gd name="connsiteY2505" fmla="*/ 1497227 h 2770404"/>
                <a:gd name="connsiteX2506" fmla="*/ 4006040 w 12166600"/>
                <a:gd name="connsiteY2506" fmla="*/ 1439043 h 2770404"/>
                <a:gd name="connsiteX2507" fmla="*/ 3977125 w 12166600"/>
                <a:gd name="connsiteY2507" fmla="*/ 1417224 h 2770404"/>
                <a:gd name="connsiteX2508" fmla="*/ 3969895 w 12166600"/>
                <a:gd name="connsiteY2508" fmla="*/ 1417224 h 2770404"/>
                <a:gd name="connsiteX2509" fmla="*/ 3959279 w 12166600"/>
                <a:gd name="connsiteY2509" fmla="*/ 1415520 h 2770404"/>
                <a:gd name="connsiteX2510" fmla="*/ 11696625 w 12166600"/>
                <a:gd name="connsiteY2510" fmla="*/ 1410436 h 2770404"/>
                <a:gd name="connsiteX2511" fmla="*/ 11689395 w 12166600"/>
                <a:gd name="connsiteY2511" fmla="*/ 1424977 h 2770404"/>
                <a:gd name="connsiteX2512" fmla="*/ 11682164 w 12166600"/>
                <a:gd name="connsiteY2512" fmla="*/ 1432247 h 2770404"/>
                <a:gd name="connsiteX2513" fmla="*/ 11696625 w 12166600"/>
                <a:gd name="connsiteY2513" fmla="*/ 1454058 h 2770404"/>
                <a:gd name="connsiteX2514" fmla="*/ 11696625 w 12166600"/>
                <a:gd name="connsiteY2514" fmla="*/ 1432247 h 2770404"/>
                <a:gd name="connsiteX2515" fmla="*/ 11696625 w 12166600"/>
                <a:gd name="connsiteY2515" fmla="*/ 1410436 h 2770404"/>
                <a:gd name="connsiteX2516" fmla="*/ 11646013 w 12166600"/>
                <a:gd name="connsiteY2516" fmla="*/ 1410436 h 2770404"/>
                <a:gd name="connsiteX2517" fmla="*/ 11646013 w 12166600"/>
                <a:gd name="connsiteY2517" fmla="*/ 1424977 h 2770404"/>
                <a:gd name="connsiteX2518" fmla="*/ 11646013 w 12166600"/>
                <a:gd name="connsiteY2518" fmla="*/ 1446788 h 2770404"/>
                <a:gd name="connsiteX2519" fmla="*/ 11660473 w 12166600"/>
                <a:gd name="connsiteY2519" fmla="*/ 1439517 h 2770404"/>
                <a:gd name="connsiteX2520" fmla="*/ 11660473 w 12166600"/>
                <a:gd name="connsiteY2520" fmla="*/ 1432247 h 2770404"/>
                <a:gd name="connsiteX2521" fmla="*/ 11566478 w 12166600"/>
                <a:gd name="connsiteY2521" fmla="*/ 1410436 h 2770404"/>
                <a:gd name="connsiteX2522" fmla="*/ 11559248 w 12166600"/>
                <a:gd name="connsiteY2522" fmla="*/ 1432247 h 2770404"/>
                <a:gd name="connsiteX2523" fmla="*/ 11559248 w 12166600"/>
                <a:gd name="connsiteY2523" fmla="*/ 1454058 h 2770404"/>
                <a:gd name="connsiteX2524" fmla="*/ 11573709 w 12166600"/>
                <a:gd name="connsiteY2524" fmla="*/ 1446788 h 2770404"/>
                <a:gd name="connsiteX2525" fmla="*/ 11588169 w 12166600"/>
                <a:gd name="connsiteY2525" fmla="*/ 1432247 h 2770404"/>
                <a:gd name="connsiteX2526" fmla="*/ 11566478 w 12166600"/>
                <a:gd name="connsiteY2526" fmla="*/ 1410436 h 2770404"/>
                <a:gd name="connsiteX2527" fmla="*/ 3218094 w 12166600"/>
                <a:gd name="connsiteY2527" fmla="*/ 1409951 h 2770404"/>
                <a:gd name="connsiteX2528" fmla="*/ 3189179 w 12166600"/>
                <a:gd name="connsiteY2528" fmla="*/ 1439043 h 2770404"/>
                <a:gd name="connsiteX2529" fmla="*/ 3189179 w 12166600"/>
                <a:gd name="connsiteY2529" fmla="*/ 1489954 h 2770404"/>
                <a:gd name="connsiteX2530" fmla="*/ 3218094 w 12166600"/>
                <a:gd name="connsiteY2530" fmla="*/ 1489954 h 2770404"/>
                <a:gd name="connsiteX2531" fmla="*/ 3247010 w 12166600"/>
                <a:gd name="connsiteY2531" fmla="*/ 1489954 h 2770404"/>
                <a:gd name="connsiteX2532" fmla="*/ 3247010 w 12166600"/>
                <a:gd name="connsiteY2532" fmla="*/ 1439043 h 2770404"/>
                <a:gd name="connsiteX2533" fmla="*/ 3225323 w 12166600"/>
                <a:gd name="connsiteY2533" fmla="*/ 1409951 h 2770404"/>
                <a:gd name="connsiteX2534" fmla="*/ 3218094 w 12166600"/>
                <a:gd name="connsiteY2534" fmla="*/ 1409951 h 2770404"/>
                <a:gd name="connsiteX2535" fmla="*/ 3145805 w 12166600"/>
                <a:gd name="connsiteY2535" fmla="*/ 1409951 h 2770404"/>
                <a:gd name="connsiteX2536" fmla="*/ 3116890 w 12166600"/>
                <a:gd name="connsiteY2536" fmla="*/ 1439043 h 2770404"/>
                <a:gd name="connsiteX2537" fmla="*/ 3116890 w 12166600"/>
                <a:gd name="connsiteY2537" fmla="*/ 1489954 h 2770404"/>
                <a:gd name="connsiteX2538" fmla="*/ 3138578 w 12166600"/>
                <a:gd name="connsiteY2538" fmla="*/ 1489954 h 2770404"/>
                <a:gd name="connsiteX2539" fmla="*/ 3174721 w 12166600"/>
                <a:gd name="connsiteY2539" fmla="*/ 1489954 h 2770404"/>
                <a:gd name="connsiteX2540" fmla="*/ 3174721 w 12166600"/>
                <a:gd name="connsiteY2540" fmla="*/ 1439043 h 2770404"/>
                <a:gd name="connsiteX2541" fmla="*/ 3153034 w 12166600"/>
                <a:gd name="connsiteY2541" fmla="*/ 1409951 h 2770404"/>
                <a:gd name="connsiteX2542" fmla="*/ 3145805 w 12166600"/>
                <a:gd name="connsiteY2542" fmla="*/ 1409951 h 2770404"/>
                <a:gd name="connsiteX2543" fmla="*/ 1769498 w 12166600"/>
                <a:gd name="connsiteY2543" fmla="*/ 1408588 h 2770404"/>
                <a:gd name="connsiteX2544" fmla="*/ 1757864 w 12166600"/>
                <a:gd name="connsiteY2544" fmla="*/ 1409951 h 2770404"/>
                <a:gd name="connsiteX2545" fmla="*/ 1736178 w 12166600"/>
                <a:gd name="connsiteY2545" fmla="*/ 1424497 h 2770404"/>
                <a:gd name="connsiteX2546" fmla="*/ 1721721 w 12166600"/>
                <a:gd name="connsiteY2546" fmla="*/ 1446316 h 2770404"/>
                <a:gd name="connsiteX2547" fmla="*/ 1707262 w 12166600"/>
                <a:gd name="connsiteY2547" fmla="*/ 1504499 h 2770404"/>
                <a:gd name="connsiteX2548" fmla="*/ 1707262 w 12166600"/>
                <a:gd name="connsiteY2548" fmla="*/ 1526318 h 2770404"/>
                <a:gd name="connsiteX2549" fmla="*/ 1700034 w 12166600"/>
                <a:gd name="connsiteY2549" fmla="*/ 1555410 h 2770404"/>
                <a:gd name="connsiteX2550" fmla="*/ 1692805 w 12166600"/>
                <a:gd name="connsiteY2550" fmla="*/ 1577229 h 2770404"/>
                <a:gd name="connsiteX2551" fmla="*/ 1678347 w 12166600"/>
                <a:gd name="connsiteY2551" fmla="*/ 1635412 h 2770404"/>
                <a:gd name="connsiteX2552" fmla="*/ 1671118 w 12166600"/>
                <a:gd name="connsiteY2552" fmla="*/ 1657231 h 2770404"/>
                <a:gd name="connsiteX2553" fmla="*/ 1685577 w 12166600"/>
                <a:gd name="connsiteY2553" fmla="*/ 1664504 h 2770404"/>
                <a:gd name="connsiteX2554" fmla="*/ 1721721 w 12166600"/>
                <a:gd name="connsiteY2554" fmla="*/ 1664504 h 2770404"/>
                <a:gd name="connsiteX2555" fmla="*/ 1736178 w 12166600"/>
                <a:gd name="connsiteY2555" fmla="*/ 1671777 h 2770404"/>
                <a:gd name="connsiteX2556" fmla="*/ 1736178 w 12166600"/>
                <a:gd name="connsiteY2556" fmla="*/ 1657231 h 2770404"/>
                <a:gd name="connsiteX2557" fmla="*/ 1750636 w 12166600"/>
                <a:gd name="connsiteY2557" fmla="*/ 1620866 h 2770404"/>
                <a:gd name="connsiteX2558" fmla="*/ 1757864 w 12166600"/>
                <a:gd name="connsiteY2558" fmla="*/ 1584502 h 2770404"/>
                <a:gd name="connsiteX2559" fmla="*/ 1765093 w 12166600"/>
                <a:gd name="connsiteY2559" fmla="*/ 1562683 h 2770404"/>
                <a:gd name="connsiteX2560" fmla="*/ 1772322 w 12166600"/>
                <a:gd name="connsiteY2560" fmla="*/ 1526318 h 2770404"/>
                <a:gd name="connsiteX2561" fmla="*/ 1779551 w 12166600"/>
                <a:gd name="connsiteY2561" fmla="*/ 1475408 h 2770404"/>
                <a:gd name="connsiteX2562" fmla="*/ 1786780 w 12166600"/>
                <a:gd name="connsiteY2562" fmla="*/ 1453589 h 2770404"/>
                <a:gd name="connsiteX2563" fmla="*/ 1769498 w 12166600"/>
                <a:gd name="connsiteY2563" fmla="*/ 1408588 h 2770404"/>
                <a:gd name="connsiteX2564" fmla="*/ 1680945 w 12166600"/>
                <a:gd name="connsiteY2564" fmla="*/ 1408360 h 2770404"/>
                <a:gd name="connsiteX2565" fmla="*/ 1649432 w 12166600"/>
                <a:gd name="connsiteY2565" fmla="*/ 1439043 h 2770404"/>
                <a:gd name="connsiteX2566" fmla="*/ 1649432 w 12166600"/>
                <a:gd name="connsiteY2566" fmla="*/ 1446316 h 2770404"/>
                <a:gd name="connsiteX2567" fmla="*/ 1634974 w 12166600"/>
                <a:gd name="connsiteY2567" fmla="*/ 1482681 h 2770404"/>
                <a:gd name="connsiteX2568" fmla="*/ 1620516 w 12166600"/>
                <a:gd name="connsiteY2568" fmla="*/ 1548137 h 2770404"/>
                <a:gd name="connsiteX2569" fmla="*/ 1620516 w 12166600"/>
                <a:gd name="connsiteY2569" fmla="*/ 1562683 h 2770404"/>
                <a:gd name="connsiteX2570" fmla="*/ 1613287 w 12166600"/>
                <a:gd name="connsiteY2570" fmla="*/ 1584502 h 2770404"/>
                <a:gd name="connsiteX2571" fmla="*/ 1613287 w 12166600"/>
                <a:gd name="connsiteY2571" fmla="*/ 1591775 h 2770404"/>
                <a:gd name="connsiteX2572" fmla="*/ 1598830 w 12166600"/>
                <a:gd name="connsiteY2572" fmla="*/ 1642685 h 2770404"/>
                <a:gd name="connsiteX2573" fmla="*/ 1591601 w 12166600"/>
                <a:gd name="connsiteY2573" fmla="*/ 1657231 h 2770404"/>
                <a:gd name="connsiteX2574" fmla="*/ 1642203 w 12166600"/>
                <a:gd name="connsiteY2574" fmla="*/ 1657231 h 2770404"/>
                <a:gd name="connsiteX2575" fmla="*/ 1649432 w 12166600"/>
                <a:gd name="connsiteY2575" fmla="*/ 1657231 h 2770404"/>
                <a:gd name="connsiteX2576" fmla="*/ 1649432 w 12166600"/>
                <a:gd name="connsiteY2576" fmla="*/ 1649958 h 2770404"/>
                <a:gd name="connsiteX2577" fmla="*/ 1663889 w 12166600"/>
                <a:gd name="connsiteY2577" fmla="*/ 1599048 h 2770404"/>
                <a:gd name="connsiteX2578" fmla="*/ 1678347 w 12166600"/>
                <a:gd name="connsiteY2578" fmla="*/ 1555410 h 2770404"/>
                <a:gd name="connsiteX2579" fmla="*/ 1678347 w 12166600"/>
                <a:gd name="connsiteY2579" fmla="*/ 1548137 h 2770404"/>
                <a:gd name="connsiteX2580" fmla="*/ 1678347 w 12166600"/>
                <a:gd name="connsiteY2580" fmla="*/ 1540864 h 2770404"/>
                <a:gd name="connsiteX2581" fmla="*/ 1685577 w 12166600"/>
                <a:gd name="connsiteY2581" fmla="*/ 1519045 h 2770404"/>
                <a:gd name="connsiteX2582" fmla="*/ 1700034 w 12166600"/>
                <a:gd name="connsiteY2582" fmla="*/ 1446316 h 2770404"/>
                <a:gd name="connsiteX2583" fmla="*/ 1692805 w 12166600"/>
                <a:gd name="connsiteY2583" fmla="*/ 1409951 h 2770404"/>
                <a:gd name="connsiteX2584" fmla="*/ 1680945 w 12166600"/>
                <a:gd name="connsiteY2584" fmla="*/ 1408360 h 2770404"/>
                <a:gd name="connsiteX2585" fmla="*/ 11776159 w 12166600"/>
                <a:gd name="connsiteY2585" fmla="*/ 1403166 h 2770404"/>
                <a:gd name="connsiteX2586" fmla="*/ 11776159 w 12166600"/>
                <a:gd name="connsiteY2586" fmla="*/ 1410436 h 2770404"/>
                <a:gd name="connsiteX2587" fmla="*/ 11768929 w 12166600"/>
                <a:gd name="connsiteY2587" fmla="*/ 1417707 h 2770404"/>
                <a:gd name="connsiteX2588" fmla="*/ 11754468 w 12166600"/>
                <a:gd name="connsiteY2588" fmla="*/ 1432247 h 2770404"/>
                <a:gd name="connsiteX2589" fmla="*/ 11783390 w 12166600"/>
                <a:gd name="connsiteY2589" fmla="*/ 1454058 h 2770404"/>
                <a:gd name="connsiteX2590" fmla="*/ 11783390 w 12166600"/>
                <a:gd name="connsiteY2590" fmla="*/ 1432247 h 2770404"/>
                <a:gd name="connsiteX2591" fmla="*/ 11783390 w 12166600"/>
                <a:gd name="connsiteY2591" fmla="*/ 1417707 h 2770404"/>
                <a:gd name="connsiteX2592" fmla="*/ 11776159 w 12166600"/>
                <a:gd name="connsiteY2592" fmla="*/ 1403166 h 2770404"/>
                <a:gd name="connsiteX2593" fmla="*/ 11711086 w 12166600"/>
                <a:gd name="connsiteY2593" fmla="*/ 1403166 h 2770404"/>
                <a:gd name="connsiteX2594" fmla="*/ 11711086 w 12166600"/>
                <a:gd name="connsiteY2594" fmla="*/ 1417707 h 2770404"/>
                <a:gd name="connsiteX2595" fmla="*/ 11711086 w 12166600"/>
                <a:gd name="connsiteY2595" fmla="*/ 1446788 h 2770404"/>
                <a:gd name="connsiteX2596" fmla="*/ 11711086 w 12166600"/>
                <a:gd name="connsiteY2596" fmla="*/ 1454058 h 2770404"/>
                <a:gd name="connsiteX2597" fmla="*/ 11718316 w 12166600"/>
                <a:gd name="connsiteY2597" fmla="*/ 1454058 h 2770404"/>
                <a:gd name="connsiteX2598" fmla="*/ 11732777 w 12166600"/>
                <a:gd name="connsiteY2598" fmla="*/ 1439517 h 2770404"/>
                <a:gd name="connsiteX2599" fmla="*/ 11740007 w 12166600"/>
                <a:gd name="connsiteY2599" fmla="*/ 1432247 h 2770404"/>
                <a:gd name="connsiteX2600" fmla="*/ 11711086 w 12166600"/>
                <a:gd name="connsiteY2600" fmla="*/ 1403166 h 2770404"/>
                <a:gd name="connsiteX2601" fmla="*/ 4331338 w 12166600"/>
                <a:gd name="connsiteY2601" fmla="*/ 1402678 h 2770404"/>
                <a:gd name="connsiteX2602" fmla="*/ 4338567 w 12166600"/>
                <a:gd name="connsiteY2602" fmla="*/ 1402678 h 2770404"/>
                <a:gd name="connsiteX2603" fmla="*/ 4338567 w 12166600"/>
                <a:gd name="connsiteY2603" fmla="*/ 1409951 h 2770404"/>
                <a:gd name="connsiteX2604" fmla="*/ 4331338 w 12166600"/>
                <a:gd name="connsiteY2604" fmla="*/ 1402678 h 2770404"/>
                <a:gd name="connsiteX2605" fmla="*/ 4460197 w 12166600"/>
                <a:gd name="connsiteY2605" fmla="*/ 1396319 h 2770404"/>
                <a:gd name="connsiteX2606" fmla="*/ 4466867 w 12166600"/>
                <a:gd name="connsiteY2606" fmla="*/ 1396319 h 2770404"/>
                <a:gd name="connsiteX2607" fmla="*/ 4473538 w 12166600"/>
                <a:gd name="connsiteY2607" fmla="*/ 1396319 h 2770404"/>
                <a:gd name="connsiteX2608" fmla="*/ 4466867 w 12166600"/>
                <a:gd name="connsiteY2608" fmla="*/ 1400766 h 2770404"/>
                <a:gd name="connsiteX2609" fmla="*/ 4460197 w 12166600"/>
                <a:gd name="connsiteY2609" fmla="*/ 1396319 h 2770404"/>
                <a:gd name="connsiteX2610" fmla="*/ 11718316 w 12166600"/>
                <a:gd name="connsiteY2610" fmla="*/ 1395896 h 2770404"/>
                <a:gd name="connsiteX2611" fmla="*/ 11747238 w 12166600"/>
                <a:gd name="connsiteY2611" fmla="*/ 1417707 h 2770404"/>
                <a:gd name="connsiteX2612" fmla="*/ 11754468 w 12166600"/>
                <a:gd name="connsiteY2612" fmla="*/ 1410436 h 2770404"/>
                <a:gd name="connsiteX2613" fmla="*/ 11761699 w 12166600"/>
                <a:gd name="connsiteY2613" fmla="*/ 1403166 h 2770404"/>
                <a:gd name="connsiteX2614" fmla="*/ 11768929 w 12166600"/>
                <a:gd name="connsiteY2614" fmla="*/ 1395896 h 2770404"/>
                <a:gd name="connsiteX2615" fmla="*/ 11754468 w 12166600"/>
                <a:gd name="connsiteY2615" fmla="*/ 1395896 h 2770404"/>
                <a:gd name="connsiteX2616" fmla="*/ 11747238 w 12166600"/>
                <a:gd name="connsiteY2616" fmla="*/ 1395896 h 2770404"/>
                <a:gd name="connsiteX2617" fmla="*/ 11718316 w 12166600"/>
                <a:gd name="connsiteY2617" fmla="*/ 1395896 h 2770404"/>
                <a:gd name="connsiteX2618" fmla="*/ 11653243 w 12166600"/>
                <a:gd name="connsiteY2618" fmla="*/ 1395896 h 2770404"/>
                <a:gd name="connsiteX2619" fmla="*/ 11674934 w 12166600"/>
                <a:gd name="connsiteY2619" fmla="*/ 1417707 h 2770404"/>
                <a:gd name="connsiteX2620" fmla="*/ 11674934 w 12166600"/>
                <a:gd name="connsiteY2620" fmla="*/ 1410436 h 2770404"/>
                <a:gd name="connsiteX2621" fmla="*/ 11689395 w 12166600"/>
                <a:gd name="connsiteY2621" fmla="*/ 1395896 h 2770404"/>
                <a:gd name="connsiteX2622" fmla="*/ 11660473 w 12166600"/>
                <a:gd name="connsiteY2622" fmla="*/ 1395896 h 2770404"/>
                <a:gd name="connsiteX2623" fmla="*/ 11573709 w 12166600"/>
                <a:gd name="connsiteY2623" fmla="*/ 1395896 h 2770404"/>
                <a:gd name="connsiteX2624" fmla="*/ 11595400 w 12166600"/>
                <a:gd name="connsiteY2624" fmla="*/ 1424977 h 2770404"/>
                <a:gd name="connsiteX2625" fmla="*/ 11609861 w 12166600"/>
                <a:gd name="connsiteY2625" fmla="*/ 1410436 h 2770404"/>
                <a:gd name="connsiteX2626" fmla="*/ 11617091 w 12166600"/>
                <a:gd name="connsiteY2626" fmla="*/ 1403166 h 2770404"/>
                <a:gd name="connsiteX2627" fmla="*/ 11624321 w 12166600"/>
                <a:gd name="connsiteY2627" fmla="*/ 1395896 h 2770404"/>
                <a:gd name="connsiteX2628" fmla="*/ 11617091 w 12166600"/>
                <a:gd name="connsiteY2628" fmla="*/ 1395896 h 2770404"/>
                <a:gd name="connsiteX2629" fmla="*/ 11595400 w 12166600"/>
                <a:gd name="connsiteY2629" fmla="*/ 1395896 h 2770404"/>
                <a:gd name="connsiteX2630" fmla="*/ 4157847 w 12166600"/>
                <a:gd name="connsiteY2630" fmla="*/ 1395405 h 2770404"/>
                <a:gd name="connsiteX2631" fmla="*/ 4150617 w 12166600"/>
                <a:gd name="connsiteY2631" fmla="*/ 1409951 h 2770404"/>
                <a:gd name="connsiteX2632" fmla="*/ 4143388 w 12166600"/>
                <a:gd name="connsiteY2632" fmla="*/ 1424497 h 2770404"/>
                <a:gd name="connsiteX2633" fmla="*/ 4114474 w 12166600"/>
                <a:gd name="connsiteY2633" fmla="*/ 1424497 h 2770404"/>
                <a:gd name="connsiteX2634" fmla="*/ 4114474 w 12166600"/>
                <a:gd name="connsiteY2634" fmla="*/ 1497227 h 2770404"/>
                <a:gd name="connsiteX2635" fmla="*/ 4136160 w 12166600"/>
                <a:gd name="connsiteY2635" fmla="*/ 1497227 h 2770404"/>
                <a:gd name="connsiteX2636" fmla="*/ 4165075 w 12166600"/>
                <a:gd name="connsiteY2636" fmla="*/ 1497227 h 2770404"/>
                <a:gd name="connsiteX2637" fmla="*/ 4165075 w 12166600"/>
                <a:gd name="connsiteY2637" fmla="*/ 1417224 h 2770404"/>
                <a:gd name="connsiteX2638" fmla="*/ 4165075 w 12166600"/>
                <a:gd name="connsiteY2638" fmla="*/ 1409951 h 2770404"/>
                <a:gd name="connsiteX2639" fmla="*/ 4172304 w 12166600"/>
                <a:gd name="connsiteY2639" fmla="*/ 1409951 h 2770404"/>
                <a:gd name="connsiteX2640" fmla="*/ 4165075 w 12166600"/>
                <a:gd name="connsiteY2640" fmla="*/ 1402678 h 2770404"/>
                <a:gd name="connsiteX2641" fmla="*/ 4157847 w 12166600"/>
                <a:gd name="connsiteY2641" fmla="*/ 1395405 h 2770404"/>
                <a:gd name="connsiteX2642" fmla="*/ 2856652 w 12166600"/>
                <a:gd name="connsiteY2642" fmla="*/ 1395405 h 2770404"/>
                <a:gd name="connsiteX2643" fmla="*/ 2856652 w 12166600"/>
                <a:gd name="connsiteY2643" fmla="*/ 1402678 h 2770404"/>
                <a:gd name="connsiteX2644" fmla="*/ 2849423 w 12166600"/>
                <a:gd name="connsiteY2644" fmla="*/ 1402678 h 2770404"/>
                <a:gd name="connsiteX2645" fmla="*/ 2856652 w 12166600"/>
                <a:gd name="connsiteY2645" fmla="*/ 1395405 h 2770404"/>
                <a:gd name="connsiteX2646" fmla="*/ 2856652 w 12166600"/>
                <a:gd name="connsiteY2646" fmla="*/ 1388133 h 2770404"/>
                <a:gd name="connsiteX2647" fmla="*/ 2856652 w 12166600"/>
                <a:gd name="connsiteY2647" fmla="*/ 1395405 h 2770404"/>
                <a:gd name="connsiteX2648" fmla="*/ 2849423 w 12166600"/>
                <a:gd name="connsiteY2648" fmla="*/ 1395405 h 2770404"/>
                <a:gd name="connsiteX2649" fmla="*/ 2856652 w 12166600"/>
                <a:gd name="connsiteY2649" fmla="*/ 1388133 h 2770404"/>
                <a:gd name="connsiteX2650" fmla="*/ 4338567 w 12166600"/>
                <a:gd name="connsiteY2650" fmla="*/ 1380860 h 2770404"/>
                <a:gd name="connsiteX2651" fmla="*/ 4338567 w 12166600"/>
                <a:gd name="connsiteY2651" fmla="*/ 1395405 h 2770404"/>
                <a:gd name="connsiteX2652" fmla="*/ 4338567 w 12166600"/>
                <a:gd name="connsiteY2652" fmla="*/ 1402678 h 2770404"/>
                <a:gd name="connsiteX2653" fmla="*/ 4331338 w 12166600"/>
                <a:gd name="connsiteY2653" fmla="*/ 1395405 h 2770404"/>
                <a:gd name="connsiteX2654" fmla="*/ 4338567 w 12166600"/>
                <a:gd name="connsiteY2654" fmla="*/ 1380860 h 2770404"/>
                <a:gd name="connsiteX2655" fmla="*/ 4469091 w 12166600"/>
                <a:gd name="connsiteY2655" fmla="*/ 1378532 h 2770404"/>
                <a:gd name="connsiteX2656" fmla="*/ 4469832 w 12166600"/>
                <a:gd name="connsiteY2656" fmla="*/ 1380015 h 2770404"/>
                <a:gd name="connsiteX2657" fmla="*/ 4471315 w 12166600"/>
                <a:gd name="connsiteY2657" fmla="*/ 1378532 h 2770404"/>
                <a:gd name="connsiteX2658" fmla="*/ 4473539 w 12166600"/>
                <a:gd name="connsiteY2658" fmla="*/ 1380756 h 2770404"/>
                <a:gd name="connsiteX2659" fmla="*/ 4471315 w 12166600"/>
                <a:gd name="connsiteY2659" fmla="*/ 1382980 h 2770404"/>
                <a:gd name="connsiteX2660" fmla="*/ 4473538 w 12166600"/>
                <a:gd name="connsiteY2660" fmla="*/ 1387426 h 2770404"/>
                <a:gd name="connsiteX2661" fmla="*/ 4469091 w 12166600"/>
                <a:gd name="connsiteY2661" fmla="*/ 1387426 h 2770404"/>
                <a:gd name="connsiteX2662" fmla="*/ 4469091 w 12166600"/>
                <a:gd name="connsiteY2662" fmla="*/ 1382979 h 2770404"/>
                <a:gd name="connsiteX2663" fmla="*/ 4469091 w 12166600"/>
                <a:gd name="connsiteY2663" fmla="*/ 1380756 h 2770404"/>
                <a:gd name="connsiteX2664" fmla="*/ 2721476 w 12166600"/>
                <a:gd name="connsiteY2664" fmla="*/ 1374085 h 2770404"/>
                <a:gd name="connsiteX2665" fmla="*/ 2723700 w 12166600"/>
                <a:gd name="connsiteY2665" fmla="*/ 1375197 h 2770404"/>
                <a:gd name="connsiteX2666" fmla="*/ 2725923 w 12166600"/>
                <a:gd name="connsiteY2666" fmla="*/ 1374085 h 2770404"/>
                <a:gd name="connsiteX2667" fmla="*/ 2725923 w 12166600"/>
                <a:gd name="connsiteY2667" fmla="*/ 1376309 h 2770404"/>
                <a:gd name="connsiteX2668" fmla="*/ 2725923 w 12166600"/>
                <a:gd name="connsiteY2668" fmla="*/ 1378532 h 2770404"/>
                <a:gd name="connsiteX2669" fmla="*/ 2721479 w 12166600"/>
                <a:gd name="connsiteY2669" fmla="*/ 1378532 h 2770404"/>
                <a:gd name="connsiteX2670" fmla="*/ 2721476 w 12166600"/>
                <a:gd name="connsiteY2670" fmla="*/ 1378533 h 2770404"/>
                <a:gd name="connsiteX2671" fmla="*/ 2721474 w 12166600"/>
                <a:gd name="connsiteY2671" fmla="*/ 1378532 h 2770404"/>
                <a:gd name="connsiteX2672" fmla="*/ 2717029 w 12166600"/>
                <a:gd name="connsiteY2672" fmla="*/ 1378532 h 2770404"/>
                <a:gd name="connsiteX2673" fmla="*/ 2719253 w 12166600"/>
                <a:gd name="connsiteY2673" fmla="*/ 1377420 h 2770404"/>
                <a:gd name="connsiteX2674" fmla="*/ 2717029 w 12166600"/>
                <a:gd name="connsiteY2674" fmla="*/ 1376309 h 2770404"/>
                <a:gd name="connsiteX2675" fmla="*/ 2721476 w 12166600"/>
                <a:gd name="connsiteY2675" fmla="*/ 1374085 h 2770404"/>
                <a:gd name="connsiteX2676" fmla="*/ 2104850 w 12166600"/>
                <a:gd name="connsiteY2676" fmla="*/ 1373587 h 2770404"/>
                <a:gd name="connsiteX2677" fmla="*/ 2097621 w 12166600"/>
                <a:gd name="connsiteY2677" fmla="*/ 1395405 h 2770404"/>
                <a:gd name="connsiteX2678" fmla="*/ 2090392 w 12166600"/>
                <a:gd name="connsiteY2678" fmla="*/ 1417224 h 2770404"/>
                <a:gd name="connsiteX2679" fmla="*/ 2104850 w 12166600"/>
                <a:gd name="connsiteY2679" fmla="*/ 1417224 h 2770404"/>
                <a:gd name="connsiteX2680" fmla="*/ 2104850 w 12166600"/>
                <a:gd name="connsiteY2680" fmla="*/ 1409951 h 2770404"/>
                <a:gd name="connsiteX2681" fmla="*/ 2104850 w 12166600"/>
                <a:gd name="connsiteY2681" fmla="*/ 1388133 h 2770404"/>
                <a:gd name="connsiteX2682" fmla="*/ 4466867 w 12166600"/>
                <a:gd name="connsiteY2682" fmla="*/ 1365191 h 2770404"/>
                <a:gd name="connsiteX2683" fmla="*/ 4466867 w 12166600"/>
                <a:gd name="connsiteY2683" fmla="*/ 1378532 h 2770404"/>
                <a:gd name="connsiteX2684" fmla="*/ 4466867 w 12166600"/>
                <a:gd name="connsiteY2684" fmla="*/ 1365191 h 2770404"/>
                <a:gd name="connsiteX2685" fmla="*/ 11740007 w 12166600"/>
                <a:gd name="connsiteY2685" fmla="*/ 1359544 h 2770404"/>
                <a:gd name="connsiteX2686" fmla="*/ 11732777 w 12166600"/>
                <a:gd name="connsiteY2686" fmla="*/ 1374085 h 2770404"/>
                <a:gd name="connsiteX2687" fmla="*/ 11725547 w 12166600"/>
                <a:gd name="connsiteY2687" fmla="*/ 1374085 h 2770404"/>
                <a:gd name="connsiteX2688" fmla="*/ 11718316 w 12166600"/>
                <a:gd name="connsiteY2688" fmla="*/ 1381355 h 2770404"/>
                <a:gd name="connsiteX2689" fmla="*/ 11732777 w 12166600"/>
                <a:gd name="connsiteY2689" fmla="*/ 1381355 h 2770404"/>
                <a:gd name="connsiteX2690" fmla="*/ 11740007 w 12166600"/>
                <a:gd name="connsiteY2690" fmla="*/ 1381355 h 2770404"/>
                <a:gd name="connsiteX2691" fmla="*/ 11761699 w 12166600"/>
                <a:gd name="connsiteY2691" fmla="*/ 1381355 h 2770404"/>
                <a:gd name="connsiteX2692" fmla="*/ 11768929 w 12166600"/>
                <a:gd name="connsiteY2692" fmla="*/ 1381355 h 2770404"/>
                <a:gd name="connsiteX2693" fmla="*/ 11740007 w 12166600"/>
                <a:gd name="connsiteY2693" fmla="*/ 1359544 h 2770404"/>
                <a:gd name="connsiteX2694" fmla="*/ 11667704 w 12166600"/>
                <a:gd name="connsiteY2694" fmla="*/ 1359544 h 2770404"/>
                <a:gd name="connsiteX2695" fmla="*/ 11660473 w 12166600"/>
                <a:gd name="connsiteY2695" fmla="*/ 1374085 h 2770404"/>
                <a:gd name="connsiteX2696" fmla="*/ 11653243 w 12166600"/>
                <a:gd name="connsiteY2696" fmla="*/ 1381355 h 2770404"/>
                <a:gd name="connsiteX2697" fmla="*/ 11674934 w 12166600"/>
                <a:gd name="connsiteY2697" fmla="*/ 1381355 h 2770404"/>
                <a:gd name="connsiteX2698" fmla="*/ 11689395 w 12166600"/>
                <a:gd name="connsiteY2698" fmla="*/ 1381355 h 2770404"/>
                <a:gd name="connsiteX2699" fmla="*/ 11674934 w 12166600"/>
                <a:gd name="connsiteY2699" fmla="*/ 1366815 h 2770404"/>
                <a:gd name="connsiteX2700" fmla="*/ 11667704 w 12166600"/>
                <a:gd name="connsiteY2700" fmla="*/ 1359544 h 2770404"/>
                <a:gd name="connsiteX2701" fmla="*/ 11602630 w 12166600"/>
                <a:gd name="connsiteY2701" fmla="*/ 1359544 h 2770404"/>
                <a:gd name="connsiteX2702" fmla="*/ 11588169 w 12166600"/>
                <a:gd name="connsiteY2702" fmla="*/ 1374085 h 2770404"/>
                <a:gd name="connsiteX2703" fmla="*/ 11580939 w 12166600"/>
                <a:gd name="connsiteY2703" fmla="*/ 1381355 h 2770404"/>
                <a:gd name="connsiteX2704" fmla="*/ 11573709 w 12166600"/>
                <a:gd name="connsiteY2704" fmla="*/ 1388625 h 2770404"/>
                <a:gd name="connsiteX2705" fmla="*/ 11580939 w 12166600"/>
                <a:gd name="connsiteY2705" fmla="*/ 1388625 h 2770404"/>
                <a:gd name="connsiteX2706" fmla="*/ 11602630 w 12166600"/>
                <a:gd name="connsiteY2706" fmla="*/ 1381355 h 2770404"/>
                <a:gd name="connsiteX2707" fmla="*/ 11624321 w 12166600"/>
                <a:gd name="connsiteY2707" fmla="*/ 1381355 h 2770404"/>
                <a:gd name="connsiteX2708" fmla="*/ 2725923 w 12166600"/>
                <a:gd name="connsiteY2708" fmla="*/ 1356297 h 2770404"/>
                <a:gd name="connsiteX2709" fmla="*/ 2725923 w 12166600"/>
                <a:gd name="connsiteY2709" fmla="*/ 1374085 h 2770404"/>
                <a:gd name="connsiteX2710" fmla="*/ 2725923 w 12166600"/>
                <a:gd name="connsiteY2710" fmla="*/ 1356297 h 2770404"/>
                <a:gd name="connsiteX2711" fmla="*/ 11703856 w 12166600"/>
                <a:gd name="connsiteY2711" fmla="*/ 1330463 h 2770404"/>
                <a:gd name="connsiteX2712" fmla="*/ 11711086 w 12166600"/>
                <a:gd name="connsiteY2712" fmla="*/ 1352274 h 2770404"/>
                <a:gd name="connsiteX2713" fmla="*/ 11711086 w 12166600"/>
                <a:gd name="connsiteY2713" fmla="*/ 1359544 h 2770404"/>
                <a:gd name="connsiteX2714" fmla="*/ 11711086 w 12166600"/>
                <a:gd name="connsiteY2714" fmla="*/ 1374085 h 2770404"/>
                <a:gd name="connsiteX2715" fmla="*/ 11718316 w 12166600"/>
                <a:gd name="connsiteY2715" fmla="*/ 1366815 h 2770404"/>
                <a:gd name="connsiteX2716" fmla="*/ 11718316 w 12166600"/>
                <a:gd name="connsiteY2716" fmla="*/ 1359544 h 2770404"/>
                <a:gd name="connsiteX2717" fmla="*/ 11732777 w 12166600"/>
                <a:gd name="connsiteY2717" fmla="*/ 1352274 h 2770404"/>
                <a:gd name="connsiteX2718" fmla="*/ 11696625 w 12166600"/>
                <a:gd name="connsiteY2718" fmla="*/ 1330463 h 2770404"/>
                <a:gd name="connsiteX2719" fmla="*/ 11689395 w 12166600"/>
                <a:gd name="connsiteY2719" fmla="*/ 1337733 h 2770404"/>
                <a:gd name="connsiteX2720" fmla="*/ 11689395 w 12166600"/>
                <a:gd name="connsiteY2720" fmla="*/ 1345004 h 2770404"/>
                <a:gd name="connsiteX2721" fmla="*/ 11682164 w 12166600"/>
                <a:gd name="connsiteY2721" fmla="*/ 1352274 h 2770404"/>
                <a:gd name="connsiteX2722" fmla="*/ 11696625 w 12166600"/>
                <a:gd name="connsiteY2722" fmla="*/ 1374085 h 2770404"/>
                <a:gd name="connsiteX2723" fmla="*/ 11696625 w 12166600"/>
                <a:gd name="connsiteY2723" fmla="*/ 1352274 h 2770404"/>
                <a:gd name="connsiteX2724" fmla="*/ 11696625 w 12166600"/>
                <a:gd name="connsiteY2724" fmla="*/ 1337733 h 2770404"/>
                <a:gd name="connsiteX2725" fmla="*/ 11696625 w 12166600"/>
                <a:gd name="connsiteY2725" fmla="*/ 1330463 h 2770404"/>
                <a:gd name="connsiteX2726" fmla="*/ 11646013 w 12166600"/>
                <a:gd name="connsiteY2726" fmla="*/ 1330463 h 2770404"/>
                <a:gd name="connsiteX2727" fmla="*/ 11646013 w 12166600"/>
                <a:gd name="connsiteY2727" fmla="*/ 1337733 h 2770404"/>
                <a:gd name="connsiteX2728" fmla="*/ 11646013 w 12166600"/>
                <a:gd name="connsiteY2728" fmla="*/ 1359544 h 2770404"/>
                <a:gd name="connsiteX2729" fmla="*/ 11646013 w 12166600"/>
                <a:gd name="connsiteY2729" fmla="*/ 1374085 h 2770404"/>
                <a:gd name="connsiteX2730" fmla="*/ 11653243 w 12166600"/>
                <a:gd name="connsiteY2730" fmla="*/ 1366815 h 2770404"/>
                <a:gd name="connsiteX2731" fmla="*/ 11660473 w 12166600"/>
                <a:gd name="connsiteY2731" fmla="*/ 1352274 h 2770404"/>
                <a:gd name="connsiteX2732" fmla="*/ 11631552 w 12166600"/>
                <a:gd name="connsiteY2732" fmla="*/ 1330463 h 2770404"/>
                <a:gd name="connsiteX2733" fmla="*/ 11624321 w 12166600"/>
                <a:gd name="connsiteY2733" fmla="*/ 1337733 h 2770404"/>
                <a:gd name="connsiteX2734" fmla="*/ 11609861 w 12166600"/>
                <a:gd name="connsiteY2734" fmla="*/ 1352274 h 2770404"/>
                <a:gd name="connsiteX2735" fmla="*/ 11631552 w 12166600"/>
                <a:gd name="connsiteY2735" fmla="*/ 1374085 h 2770404"/>
                <a:gd name="connsiteX2736" fmla="*/ 11631552 w 12166600"/>
                <a:gd name="connsiteY2736" fmla="*/ 1345004 h 2770404"/>
                <a:gd name="connsiteX2737" fmla="*/ 11631552 w 12166600"/>
                <a:gd name="connsiteY2737" fmla="*/ 1330463 h 2770404"/>
                <a:gd name="connsiteX2738" fmla="*/ 11566478 w 12166600"/>
                <a:gd name="connsiteY2738" fmla="*/ 1330463 h 2770404"/>
                <a:gd name="connsiteX2739" fmla="*/ 11566478 w 12166600"/>
                <a:gd name="connsiteY2739" fmla="*/ 1352274 h 2770404"/>
                <a:gd name="connsiteX2740" fmla="*/ 11566478 w 12166600"/>
                <a:gd name="connsiteY2740" fmla="*/ 1374085 h 2770404"/>
                <a:gd name="connsiteX2741" fmla="*/ 11580939 w 12166600"/>
                <a:gd name="connsiteY2741" fmla="*/ 1366815 h 2770404"/>
                <a:gd name="connsiteX2742" fmla="*/ 11588169 w 12166600"/>
                <a:gd name="connsiteY2742" fmla="*/ 1352274 h 2770404"/>
                <a:gd name="connsiteX2743" fmla="*/ 11566478 w 12166600"/>
                <a:gd name="connsiteY2743" fmla="*/ 1330463 h 2770404"/>
                <a:gd name="connsiteX2744" fmla="*/ 11718316 w 12166600"/>
                <a:gd name="connsiteY2744" fmla="*/ 1323193 h 2770404"/>
                <a:gd name="connsiteX2745" fmla="*/ 11740007 w 12166600"/>
                <a:gd name="connsiteY2745" fmla="*/ 1337733 h 2770404"/>
                <a:gd name="connsiteX2746" fmla="*/ 11754468 w 12166600"/>
                <a:gd name="connsiteY2746" fmla="*/ 1330463 h 2770404"/>
                <a:gd name="connsiteX2747" fmla="*/ 11761699 w 12166600"/>
                <a:gd name="connsiteY2747" fmla="*/ 1323193 h 2770404"/>
                <a:gd name="connsiteX2748" fmla="*/ 11747238 w 12166600"/>
                <a:gd name="connsiteY2748" fmla="*/ 1323193 h 2770404"/>
                <a:gd name="connsiteX2749" fmla="*/ 11718316 w 12166600"/>
                <a:gd name="connsiteY2749" fmla="*/ 1323193 h 2770404"/>
                <a:gd name="connsiteX2750" fmla="*/ 11653243 w 12166600"/>
                <a:gd name="connsiteY2750" fmla="*/ 1323193 h 2770404"/>
                <a:gd name="connsiteX2751" fmla="*/ 11667704 w 12166600"/>
                <a:gd name="connsiteY2751" fmla="*/ 1337733 h 2770404"/>
                <a:gd name="connsiteX2752" fmla="*/ 11674934 w 12166600"/>
                <a:gd name="connsiteY2752" fmla="*/ 1330463 h 2770404"/>
                <a:gd name="connsiteX2753" fmla="*/ 11682164 w 12166600"/>
                <a:gd name="connsiteY2753" fmla="*/ 1323193 h 2770404"/>
                <a:gd name="connsiteX2754" fmla="*/ 11674934 w 12166600"/>
                <a:gd name="connsiteY2754" fmla="*/ 1323193 h 2770404"/>
                <a:gd name="connsiteX2755" fmla="*/ 11667704 w 12166600"/>
                <a:gd name="connsiteY2755" fmla="*/ 1323193 h 2770404"/>
                <a:gd name="connsiteX2756" fmla="*/ 11580939 w 12166600"/>
                <a:gd name="connsiteY2756" fmla="*/ 1323193 h 2770404"/>
                <a:gd name="connsiteX2757" fmla="*/ 11602630 w 12166600"/>
                <a:gd name="connsiteY2757" fmla="*/ 1345004 h 2770404"/>
                <a:gd name="connsiteX2758" fmla="*/ 11617091 w 12166600"/>
                <a:gd name="connsiteY2758" fmla="*/ 1330463 h 2770404"/>
                <a:gd name="connsiteX2759" fmla="*/ 11624321 w 12166600"/>
                <a:gd name="connsiteY2759" fmla="*/ 1323193 h 2770404"/>
                <a:gd name="connsiteX2760" fmla="*/ 11609861 w 12166600"/>
                <a:gd name="connsiteY2760" fmla="*/ 1323193 h 2770404"/>
                <a:gd name="connsiteX2761" fmla="*/ 11580939 w 12166600"/>
                <a:gd name="connsiteY2761" fmla="*/ 1323193 h 2770404"/>
                <a:gd name="connsiteX2762" fmla="*/ 4295194 w 12166600"/>
                <a:gd name="connsiteY2762" fmla="*/ 1322676 h 2770404"/>
                <a:gd name="connsiteX2763" fmla="*/ 4302423 w 12166600"/>
                <a:gd name="connsiteY2763" fmla="*/ 1329949 h 2770404"/>
                <a:gd name="connsiteX2764" fmla="*/ 4295194 w 12166600"/>
                <a:gd name="connsiteY2764" fmla="*/ 1329949 h 2770404"/>
                <a:gd name="connsiteX2765" fmla="*/ 4295194 w 12166600"/>
                <a:gd name="connsiteY2765" fmla="*/ 1322676 h 2770404"/>
                <a:gd name="connsiteX2766" fmla="*/ 11732777 w 12166600"/>
                <a:gd name="connsiteY2766" fmla="*/ 1279571 h 2770404"/>
                <a:gd name="connsiteX2767" fmla="*/ 11732777 w 12166600"/>
                <a:gd name="connsiteY2767" fmla="*/ 1286841 h 2770404"/>
                <a:gd name="connsiteX2768" fmla="*/ 11718316 w 12166600"/>
                <a:gd name="connsiteY2768" fmla="*/ 1301382 h 2770404"/>
                <a:gd name="connsiteX2769" fmla="*/ 11711086 w 12166600"/>
                <a:gd name="connsiteY2769" fmla="*/ 1308652 h 2770404"/>
                <a:gd name="connsiteX2770" fmla="*/ 11732777 w 12166600"/>
                <a:gd name="connsiteY2770" fmla="*/ 1308652 h 2770404"/>
                <a:gd name="connsiteX2771" fmla="*/ 11754468 w 12166600"/>
                <a:gd name="connsiteY2771" fmla="*/ 1308652 h 2770404"/>
                <a:gd name="connsiteX2772" fmla="*/ 11761699 w 12166600"/>
                <a:gd name="connsiteY2772" fmla="*/ 1308652 h 2770404"/>
                <a:gd name="connsiteX2773" fmla="*/ 11747238 w 12166600"/>
                <a:gd name="connsiteY2773" fmla="*/ 1294112 h 2770404"/>
                <a:gd name="connsiteX2774" fmla="*/ 11732777 w 12166600"/>
                <a:gd name="connsiteY2774" fmla="*/ 1279571 h 2770404"/>
                <a:gd name="connsiteX2775" fmla="*/ 11667704 w 12166600"/>
                <a:gd name="connsiteY2775" fmla="*/ 1279571 h 2770404"/>
                <a:gd name="connsiteX2776" fmla="*/ 11660473 w 12166600"/>
                <a:gd name="connsiteY2776" fmla="*/ 1294112 h 2770404"/>
                <a:gd name="connsiteX2777" fmla="*/ 11653243 w 12166600"/>
                <a:gd name="connsiteY2777" fmla="*/ 1301382 h 2770404"/>
                <a:gd name="connsiteX2778" fmla="*/ 11653243 w 12166600"/>
                <a:gd name="connsiteY2778" fmla="*/ 1308652 h 2770404"/>
                <a:gd name="connsiteX2779" fmla="*/ 11660473 w 12166600"/>
                <a:gd name="connsiteY2779" fmla="*/ 1308652 h 2770404"/>
                <a:gd name="connsiteX2780" fmla="*/ 11682164 w 12166600"/>
                <a:gd name="connsiteY2780" fmla="*/ 1308652 h 2770404"/>
                <a:gd name="connsiteX2781" fmla="*/ 11689395 w 12166600"/>
                <a:gd name="connsiteY2781" fmla="*/ 1308652 h 2770404"/>
                <a:gd name="connsiteX2782" fmla="*/ 11667704 w 12166600"/>
                <a:gd name="connsiteY2782" fmla="*/ 1279571 h 2770404"/>
                <a:gd name="connsiteX2783" fmla="*/ 11602630 w 12166600"/>
                <a:gd name="connsiteY2783" fmla="*/ 1279571 h 2770404"/>
                <a:gd name="connsiteX2784" fmla="*/ 11595400 w 12166600"/>
                <a:gd name="connsiteY2784" fmla="*/ 1294112 h 2770404"/>
                <a:gd name="connsiteX2785" fmla="*/ 11588169 w 12166600"/>
                <a:gd name="connsiteY2785" fmla="*/ 1301382 h 2770404"/>
                <a:gd name="connsiteX2786" fmla="*/ 11580939 w 12166600"/>
                <a:gd name="connsiteY2786" fmla="*/ 1308652 h 2770404"/>
                <a:gd name="connsiteX2787" fmla="*/ 11595400 w 12166600"/>
                <a:gd name="connsiteY2787" fmla="*/ 1308652 h 2770404"/>
                <a:gd name="connsiteX2788" fmla="*/ 11609861 w 12166600"/>
                <a:gd name="connsiteY2788" fmla="*/ 1308652 h 2770404"/>
                <a:gd name="connsiteX2789" fmla="*/ 11624321 w 12166600"/>
                <a:gd name="connsiteY2789" fmla="*/ 1308652 h 2770404"/>
                <a:gd name="connsiteX2790" fmla="*/ 11761699 w 12166600"/>
                <a:gd name="connsiteY2790" fmla="*/ 1250490 h 2770404"/>
                <a:gd name="connsiteX2791" fmla="*/ 11747238 w 12166600"/>
                <a:gd name="connsiteY2791" fmla="*/ 1265030 h 2770404"/>
                <a:gd name="connsiteX2792" fmla="*/ 11768929 w 12166600"/>
                <a:gd name="connsiteY2792" fmla="*/ 1294112 h 2770404"/>
                <a:gd name="connsiteX2793" fmla="*/ 11768929 w 12166600"/>
                <a:gd name="connsiteY2793" fmla="*/ 1286841 h 2770404"/>
                <a:gd name="connsiteX2794" fmla="*/ 11761699 w 12166600"/>
                <a:gd name="connsiteY2794" fmla="*/ 1257760 h 2770404"/>
                <a:gd name="connsiteX2795" fmla="*/ 11761699 w 12166600"/>
                <a:gd name="connsiteY2795" fmla="*/ 1255943 h 2770404"/>
                <a:gd name="connsiteX2796" fmla="*/ 11689395 w 12166600"/>
                <a:gd name="connsiteY2796" fmla="*/ 1250490 h 2770404"/>
                <a:gd name="connsiteX2797" fmla="*/ 11682164 w 12166600"/>
                <a:gd name="connsiteY2797" fmla="*/ 1265030 h 2770404"/>
                <a:gd name="connsiteX2798" fmla="*/ 11674934 w 12166600"/>
                <a:gd name="connsiteY2798" fmla="*/ 1272301 h 2770404"/>
                <a:gd name="connsiteX2799" fmla="*/ 11689395 w 12166600"/>
                <a:gd name="connsiteY2799" fmla="*/ 1294112 h 2770404"/>
                <a:gd name="connsiteX2800" fmla="*/ 11689395 w 12166600"/>
                <a:gd name="connsiteY2800" fmla="*/ 1272301 h 2770404"/>
                <a:gd name="connsiteX2801" fmla="*/ 11689395 w 12166600"/>
                <a:gd name="connsiteY2801" fmla="*/ 1250490 h 2770404"/>
                <a:gd name="connsiteX2802" fmla="*/ 11646013 w 12166600"/>
                <a:gd name="connsiteY2802" fmla="*/ 1250490 h 2770404"/>
                <a:gd name="connsiteX2803" fmla="*/ 11646013 w 12166600"/>
                <a:gd name="connsiteY2803" fmla="*/ 1272301 h 2770404"/>
                <a:gd name="connsiteX2804" fmla="*/ 11646013 w 12166600"/>
                <a:gd name="connsiteY2804" fmla="*/ 1294112 h 2770404"/>
                <a:gd name="connsiteX2805" fmla="*/ 11653243 w 12166600"/>
                <a:gd name="connsiteY2805" fmla="*/ 1279571 h 2770404"/>
                <a:gd name="connsiteX2806" fmla="*/ 11660473 w 12166600"/>
                <a:gd name="connsiteY2806" fmla="*/ 1272301 h 2770404"/>
                <a:gd name="connsiteX2807" fmla="*/ 11646013 w 12166600"/>
                <a:gd name="connsiteY2807" fmla="*/ 1250490 h 2770404"/>
                <a:gd name="connsiteX2808" fmla="*/ 11573709 w 12166600"/>
                <a:gd name="connsiteY2808" fmla="*/ 1250490 h 2770404"/>
                <a:gd name="connsiteX2809" fmla="*/ 11573709 w 12166600"/>
                <a:gd name="connsiteY2809" fmla="*/ 1272301 h 2770404"/>
                <a:gd name="connsiteX2810" fmla="*/ 11573709 w 12166600"/>
                <a:gd name="connsiteY2810" fmla="*/ 1286841 h 2770404"/>
                <a:gd name="connsiteX2811" fmla="*/ 11573709 w 12166600"/>
                <a:gd name="connsiteY2811" fmla="*/ 1294112 h 2770404"/>
                <a:gd name="connsiteX2812" fmla="*/ 11580939 w 12166600"/>
                <a:gd name="connsiteY2812" fmla="*/ 1279571 h 2770404"/>
                <a:gd name="connsiteX2813" fmla="*/ 11595400 w 12166600"/>
                <a:gd name="connsiteY2813" fmla="*/ 1272301 h 2770404"/>
                <a:gd name="connsiteX2814" fmla="*/ 11573709 w 12166600"/>
                <a:gd name="connsiteY2814" fmla="*/ 1250490 h 2770404"/>
                <a:gd name="connsiteX2815" fmla="*/ 11703856 w 12166600"/>
                <a:gd name="connsiteY2815" fmla="*/ 1243220 h 2770404"/>
                <a:gd name="connsiteX2816" fmla="*/ 11703856 w 12166600"/>
                <a:gd name="connsiteY2816" fmla="*/ 1250490 h 2770404"/>
                <a:gd name="connsiteX2817" fmla="*/ 11703856 w 12166600"/>
                <a:gd name="connsiteY2817" fmla="*/ 1265030 h 2770404"/>
                <a:gd name="connsiteX2818" fmla="*/ 11703856 w 12166600"/>
                <a:gd name="connsiteY2818" fmla="*/ 1286841 h 2770404"/>
                <a:gd name="connsiteX2819" fmla="*/ 11703856 w 12166600"/>
                <a:gd name="connsiteY2819" fmla="*/ 1294112 h 2770404"/>
                <a:gd name="connsiteX2820" fmla="*/ 11711086 w 12166600"/>
                <a:gd name="connsiteY2820" fmla="*/ 1286841 h 2770404"/>
                <a:gd name="connsiteX2821" fmla="*/ 11718316 w 12166600"/>
                <a:gd name="connsiteY2821" fmla="*/ 1279571 h 2770404"/>
                <a:gd name="connsiteX2822" fmla="*/ 11725547 w 12166600"/>
                <a:gd name="connsiteY2822" fmla="*/ 1272301 h 2770404"/>
                <a:gd name="connsiteX2823" fmla="*/ 11703856 w 12166600"/>
                <a:gd name="connsiteY2823" fmla="*/ 1243220 h 2770404"/>
                <a:gd name="connsiteX2824" fmla="*/ 11631552 w 12166600"/>
                <a:gd name="connsiteY2824" fmla="*/ 1243220 h 2770404"/>
                <a:gd name="connsiteX2825" fmla="*/ 11624321 w 12166600"/>
                <a:gd name="connsiteY2825" fmla="*/ 1257760 h 2770404"/>
                <a:gd name="connsiteX2826" fmla="*/ 11617091 w 12166600"/>
                <a:gd name="connsiteY2826" fmla="*/ 1265030 h 2770404"/>
                <a:gd name="connsiteX2827" fmla="*/ 11609861 w 12166600"/>
                <a:gd name="connsiteY2827" fmla="*/ 1272301 h 2770404"/>
                <a:gd name="connsiteX2828" fmla="*/ 11617091 w 12166600"/>
                <a:gd name="connsiteY2828" fmla="*/ 1272301 h 2770404"/>
                <a:gd name="connsiteX2829" fmla="*/ 11631552 w 12166600"/>
                <a:gd name="connsiteY2829" fmla="*/ 1294112 h 2770404"/>
                <a:gd name="connsiteX2830" fmla="*/ 11631552 w 12166600"/>
                <a:gd name="connsiteY2830" fmla="*/ 1279571 h 2770404"/>
                <a:gd name="connsiteX2831" fmla="*/ 11631552 w 12166600"/>
                <a:gd name="connsiteY2831" fmla="*/ 1265030 h 2770404"/>
                <a:gd name="connsiteX2832" fmla="*/ 11631552 w 12166600"/>
                <a:gd name="connsiteY2832" fmla="*/ 1243220 h 2770404"/>
                <a:gd name="connsiteX2833" fmla="*/ 11711086 w 12166600"/>
                <a:gd name="connsiteY2833" fmla="*/ 1235949 h 2770404"/>
                <a:gd name="connsiteX2834" fmla="*/ 11732777 w 12166600"/>
                <a:gd name="connsiteY2834" fmla="*/ 1257760 h 2770404"/>
                <a:gd name="connsiteX2835" fmla="*/ 11747238 w 12166600"/>
                <a:gd name="connsiteY2835" fmla="*/ 1243220 h 2770404"/>
                <a:gd name="connsiteX2836" fmla="*/ 11754468 w 12166600"/>
                <a:gd name="connsiteY2836" fmla="*/ 1235949 h 2770404"/>
                <a:gd name="connsiteX2837" fmla="*/ 11740007 w 12166600"/>
                <a:gd name="connsiteY2837" fmla="*/ 1235949 h 2770404"/>
                <a:gd name="connsiteX2838" fmla="*/ 11711086 w 12166600"/>
                <a:gd name="connsiteY2838" fmla="*/ 1235949 h 2770404"/>
                <a:gd name="connsiteX2839" fmla="*/ 11653243 w 12166600"/>
                <a:gd name="connsiteY2839" fmla="*/ 1235949 h 2770404"/>
                <a:gd name="connsiteX2840" fmla="*/ 11667704 w 12166600"/>
                <a:gd name="connsiteY2840" fmla="*/ 1257760 h 2770404"/>
                <a:gd name="connsiteX2841" fmla="*/ 11674934 w 12166600"/>
                <a:gd name="connsiteY2841" fmla="*/ 1250490 h 2770404"/>
                <a:gd name="connsiteX2842" fmla="*/ 11682164 w 12166600"/>
                <a:gd name="connsiteY2842" fmla="*/ 1235949 h 2770404"/>
                <a:gd name="connsiteX2843" fmla="*/ 11674934 w 12166600"/>
                <a:gd name="connsiteY2843" fmla="*/ 1235949 h 2770404"/>
                <a:gd name="connsiteX2844" fmla="*/ 11653243 w 12166600"/>
                <a:gd name="connsiteY2844" fmla="*/ 1235949 h 2770404"/>
                <a:gd name="connsiteX2845" fmla="*/ 11580939 w 12166600"/>
                <a:gd name="connsiteY2845" fmla="*/ 1235949 h 2770404"/>
                <a:gd name="connsiteX2846" fmla="*/ 11602630 w 12166600"/>
                <a:gd name="connsiteY2846" fmla="*/ 1257760 h 2770404"/>
                <a:gd name="connsiteX2847" fmla="*/ 11609861 w 12166600"/>
                <a:gd name="connsiteY2847" fmla="*/ 1257760 h 2770404"/>
                <a:gd name="connsiteX2848" fmla="*/ 11617091 w 12166600"/>
                <a:gd name="connsiteY2848" fmla="*/ 1243220 h 2770404"/>
                <a:gd name="connsiteX2849" fmla="*/ 11624321 w 12166600"/>
                <a:gd name="connsiteY2849" fmla="*/ 1235949 h 2770404"/>
                <a:gd name="connsiteX2850" fmla="*/ 11602630 w 12166600"/>
                <a:gd name="connsiteY2850" fmla="*/ 1235949 h 2770404"/>
                <a:gd name="connsiteX2851" fmla="*/ 11588169 w 12166600"/>
                <a:gd name="connsiteY2851" fmla="*/ 1235949 h 2770404"/>
                <a:gd name="connsiteX2852" fmla="*/ 9268362 w 12166600"/>
                <a:gd name="connsiteY2852" fmla="*/ 1225721 h 2770404"/>
                <a:gd name="connsiteX2853" fmla="*/ 10005429 w 12166600"/>
                <a:gd name="connsiteY2853" fmla="*/ 2440931 h 2770404"/>
                <a:gd name="connsiteX2854" fmla="*/ 10063238 w 12166600"/>
                <a:gd name="connsiteY2854" fmla="*/ 2739276 h 2770404"/>
                <a:gd name="connsiteX2855" fmla="*/ 9940394 w 12166600"/>
                <a:gd name="connsiteY2855" fmla="*/ 2739276 h 2770404"/>
                <a:gd name="connsiteX2856" fmla="*/ 9832001 w 12166600"/>
                <a:gd name="connsiteY2856" fmla="*/ 2477315 h 2770404"/>
                <a:gd name="connsiteX2857" fmla="*/ 9268362 w 12166600"/>
                <a:gd name="connsiteY2857" fmla="*/ 1924285 h 2770404"/>
                <a:gd name="connsiteX2858" fmla="*/ 8625235 w 12166600"/>
                <a:gd name="connsiteY2858" fmla="*/ 2731999 h 2770404"/>
                <a:gd name="connsiteX2859" fmla="*/ 8502391 w 12166600"/>
                <a:gd name="connsiteY2859" fmla="*/ 2731999 h 2770404"/>
                <a:gd name="connsiteX2860" fmla="*/ 9268362 w 12166600"/>
                <a:gd name="connsiteY2860" fmla="*/ 1225721 h 2770404"/>
                <a:gd name="connsiteX2861" fmla="*/ 3183950 w 12166600"/>
                <a:gd name="connsiteY2861" fmla="*/ 1218444 h 2770404"/>
                <a:gd name="connsiteX2862" fmla="*/ 3188397 w 12166600"/>
                <a:gd name="connsiteY2862" fmla="*/ 1222891 h 2770404"/>
                <a:gd name="connsiteX2863" fmla="*/ 3183950 w 12166600"/>
                <a:gd name="connsiteY2863" fmla="*/ 1227338 h 2770404"/>
                <a:gd name="connsiteX2864" fmla="*/ 3179504 w 12166600"/>
                <a:gd name="connsiteY2864" fmla="*/ 1222891 h 2770404"/>
                <a:gd name="connsiteX2865" fmla="*/ 3183950 w 12166600"/>
                <a:gd name="connsiteY2865" fmla="*/ 1218444 h 2770404"/>
                <a:gd name="connsiteX2866" fmla="*/ 2085874 w 12166600"/>
                <a:gd name="connsiteY2866" fmla="*/ 1214491 h 2770404"/>
                <a:gd name="connsiteX2867" fmla="*/ 2061477 w 12166600"/>
                <a:gd name="connsiteY2867" fmla="*/ 1235401 h 2770404"/>
                <a:gd name="connsiteX2868" fmla="*/ 2054248 w 12166600"/>
                <a:gd name="connsiteY2868" fmla="*/ 1279039 h 2770404"/>
                <a:gd name="connsiteX2869" fmla="*/ 2047019 w 12166600"/>
                <a:gd name="connsiteY2869" fmla="*/ 1300857 h 2770404"/>
                <a:gd name="connsiteX2870" fmla="*/ 2047019 w 12166600"/>
                <a:gd name="connsiteY2870" fmla="*/ 1308130 h 2770404"/>
                <a:gd name="connsiteX2871" fmla="*/ 2039790 w 12166600"/>
                <a:gd name="connsiteY2871" fmla="*/ 1337222 h 2770404"/>
                <a:gd name="connsiteX2872" fmla="*/ 2039790 w 12166600"/>
                <a:gd name="connsiteY2872" fmla="*/ 1359041 h 2770404"/>
                <a:gd name="connsiteX2873" fmla="*/ 2025332 w 12166600"/>
                <a:gd name="connsiteY2873" fmla="*/ 1409951 h 2770404"/>
                <a:gd name="connsiteX2874" fmla="*/ 2018103 w 12166600"/>
                <a:gd name="connsiteY2874" fmla="*/ 1439043 h 2770404"/>
                <a:gd name="connsiteX2875" fmla="*/ 2025332 w 12166600"/>
                <a:gd name="connsiteY2875" fmla="*/ 1439043 h 2770404"/>
                <a:gd name="connsiteX2876" fmla="*/ 2047019 w 12166600"/>
                <a:gd name="connsiteY2876" fmla="*/ 1453589 h 2770404"/>
                <a:gd name="connsiteX2877" fmla="*/ 2068706 w 12166600"/>
                <a:gd name="connsiteY2877" fmla="*/ 1460862 h 2770404"/>
                <a:gd name="connsiteX2878" fmla="*/ 2075934 w 12166600"/>
                <a:gd name="connsiteY2878" fmla="*/ 1439043 h 2770404"/>
                <a:gd name="connsiteX2879" fmla="*/ 2075934 w 12166600"/>
                <a:gd name="connsiteY2879" fmla="*/ 1402678 h 2770404"/>
                <a:gd name="connsiteX2880" fmla="*/ 2083163 w 12166600"/>
                <a:gd name="connsiteY2880" fmla="*/ 1366314 h 2770404"/>
                <a:gd name="connsiteX2881" fmla="*/ 2090392 w 12166600"/>
                <a:gd name="connsiteY2881" fmla="*/ 1359041 h 2770404"/>
                <a:gd name="connsiteX2882" fmla="*/ 2097621 w 12166600"/>
                <a:gd name="connsiteY2882" fmla="*/ 1315403 h 2770404"/>
                <a:gd name="connsiteX2883" fmla="*/ 2104850 w 12166600"/>
                <a:gd name="connsiteY2883" fmla="*/ 1271766 h 2770404"/>
                <a:gd name="connsiteX2884" fmla="*/ 2104850 w 12166600"/>
                <a:gd name="connsiteY2884" fmla="*/ 1264493 h 2770404"/>
                <a:gd name="connsiteX2885" fmla="*/ 2104850 w 12166600"/>
                <a:gd name="connsiteY2885" fmla="*/ 1257220 h 2770404"/>
                <a:gd name="connsiteX2886" fmla="*/ 2104850 w 12166600"/>
                <a:gd name="connsiteY2886" fmla="*/ 1242674 h 2770404"/>
                <a:gd name="connsiteX2887" fmla="*/ 2085874 w 12166600"/>
                <a:gd name="connsiteY2887" fmla="*/ 1214491 h 2770404"/>
                <a:gd name="connsiteX2888" fmla="*/ 3181726 w 12166600"/>
                <a:gd name="connsiteY2888" fmla="*/ 1205104 h 2770404"/>
                <a:gd name="connsiteX2889" fmla="*/ 3197291 w 12166600"/>
                <a:gd name="connsiteY2889" fmla="*/ 1211774 h 2770404"/>
                <a:gd name="connsiteX2890" fmla="*/ 3181726 w 12166600"/>
                <a:gd name="connsiteY2890" fmla="*/ 1218445 h 2770404"/>
                <a:gd name="connsiteX2891" fmla="*/ 3173944 w 12166600"/>
                <a:gd name="connsiteY2891" fmla="*/ 1218445 h 2770404"/>
                <a:gd name="connsiteX2892" fmla="*/ 3166162 w 12166600"/>
                <a:gd name="connsiteY2892" fmla="*/ 1211774 h 2770404"/>
                <a:gd name="connsiteX2893" fmla="*/ 3181726 w 12166600"/>
                <a:gd name="connsiteY2893" fmla="*/ 1205104 h 2770404"/>
                <a:gd name="connsiteX2894" fmla="*/ 11667704 w 12166600"/>
                <a:gd name="connsiteY2894" fmla="*/ 1199598 h 2770404"/>
                <a:gd name="connsiteX2895" fmla="*/ 11660473 w 12166600"/>
                <a:gd name="connsiteY2895" fmla="*/ 1206868 h 2770404"/>
                <a:gd name="connsiteX2896" fmla="*/ 11653243 w 12166600"/>
                <a:gd name="connsiteY2896" fmla="*/ 1214138 h 2770404"/>
                <a:gd name="connsiteX2897" fmla="*/ 11653243 w 12166600"/>
                <a:gd name="connsiteY2897" fmla="*/ 1221409 h 2770404"/>
                <a:gd name="connsiteX2898" fmla="*/ 11660473 w 12166600"/>
                <a:gd name="connsiteY2898" fmla="*/ 1221409 h 2770404"/>
                <a:gd name="connsiteX2899" fmla="*/ 11674934 w 12166600"/>
                <a:gd name="connsiteY2899" fmla="*/ 1221409 h 2770404"/>
                <a:gd name="connsiteX2900" fmla="*/ 11682164 w 12166600"/>
                <a:gd name="connsiteY2900" fmla="*/ 1221409 h 2770404"/>
                <a:gd name="connsiteX2901" fmla="*/ 11667704 w 12166600"/>
                <a:gd name="connsiteY2901" fmla="*/ 1199598 h 2770404"/>
                <a:gd name="connsiteX2902" fmla="*/ 11602630 w 12166600"/>
                <a:gd name="connsiteY2902" fmla="*/ 1199598 h 2770404"/>
                <a:gd name="connsiteX2903" fmla="*/ 11595400 w 12166600"/>
                <a:gd name="connsiteY2903" fmla="*/ 1206868 h 2770404"/>
                <a:gd name="connsiteX2904" fmla="*/ 11588169 w 12166600"/>
                <a:gd name="connsiteY2904" fmla="*/ 1221409 h 2770404"/>
                <a:gd name="connsiteX2905" fmla="*/ 11617091 w 12166600"/>
                <a:gd name="connsiteY2905" fmla="*/ 1221409 h 2770404"/>
                <a:gd name="connsiteX2906" fmla="*/ 11624321 w 12166600"/>
                <a:gd name="connsiteY2906" fmla="*/ 1221409 h 2770404"/>
                <a:gd name="connsiteX2907" fmla="*/ 11602630 w 12166600"/>
                <a:gd name="connsiteY2907" fmla="*/ 1199598 h 2770404"/>
                <a:gd name="connsiteX2908" fmla="*/ 3179504 w 12166600"/>
                <a:gd name="connsiteY2908" fmla="*/ 1196210 h 2770404"/>
                <a:gd name="connsiteX2909" fmla="*/ 3181726 w 12166600"/>
                <a:gd name="connsiteY2909" fmla="*/ 1196210 h 2770404"/>
                <a:gd name="connsiteX2910" fmla="*/ 3188397 w 12166600"/>
                <a:gd name="connsiteY2910" fmla="*/ 1196210 h 2770404"/>
                <a:gd name="connsiteX2911" fmla="*/ 3179504 w 12166600"/>
                <a:gd name="connsiteY2911" fmla="*/ 1205104 h 2770404"/>
                <a:gd name="connsiteX2912" fmla="*/ 3179504 w 12166600"/>
                <a:gd name="connsiteY2912" fmla="*/ 1196210 h 2770404"/>
                <a:gd name="connsiteX2913" fmla="*/ 11732777 w 12166600"/>
                <a:gd name="connsiteY2913" fmla="*/ 1192328 h 2770404"/>
                <a:gd name="connsiteX2914" fmla="*/ 11725547 w 12166600"/>
                <a:gd name="connsiteY2914" fmla="*/ 1199598 h 2770404"/>
                <a:gd name="connsiteX2915" fmla="*/ 11718316 w 12166600"/>
                <a:gd name="connsiteY2915" fmla="*/ 1214138 h 2770404"/>
                <a:gd name="connsiteX2916" fmla="*/ 11711086 w 12166600"/>
                <a:gd name="connsiteY2916" fmla="*/ 1221409 h 2770404"/>
                <a:gd name="connsiteX2917" fmla="*/ 11725547 w 12166600"/>
                <a:gd name="connsiteY2917" fmla="*/ 1221409 h 2770404"/>
                <a:gd name="connsiteX2918" fmla="*/ 11747238 w 12166600"/>
                <a:gd name="connsiteY2918" fmla="*/ 1221409 h 2770404"/>
                <a:gd name="connsiteX2919" fmla="*/ 11754468 w 12166600"/>
                <a:gd name="connsiteY2919" fmla="*/ 1221409 h 2770404"/>
                <a:gd name="connsiteX2920" fmla="*/ 11732777 w 12166600"/>
                <a:gd name="connsiteY2920" fmla="*/ 1192328 h 2770404"/>
                <a:gd name="connsiteX2921" fmla="*/ 4012548 w 12166600"/>
                <a:gd name="connsiteY2921" fmla="*/ 1182869 h 2770404"/>
                <a:gd name="connsiteX2922" fmla="*/ 4019958 w 12166600"/>
                <a:gd name="connsiteY2922" fmla="*/ 1189539 h 2770404"/>
                <a:gd name="connsiteX2923" fmla="*/ 4012548 w 12166600"/>
                <a:gd name="connsiteY2923" fmla="*/ 1196210 h 2770404"/>
                <a:gd name="connsiteX2924" fmla="*/ 4011066 w 12166600"/>
                <a:gd name="connsiteY2924" fmla="*/ 1196210 h 2770404"/>
                <a:gd name="connsiteX2925" fmla="*/ 4011066 w 12166600"/>
                <a:gd name="connsiteY2925" fmla="*/ 1205104 h 2770404"/>
                <a:gd name="connsiteX2926" fmla="*/ 4012548 w 12166600"/>
                <a:gd name="connsiteY2926" fmla="*/ 1205104 h 2770404"/>
                <a:gd name="connsiteX2927" fmla="*/ 4019958 w 12166600"/>
                <a:gd name="connsiteY2927" fmla="*/ 1219927 h 2770404"/>
                <a:gd name="connsiteX2928" fmla="*/ 4012548 w 12166600"/>
                <a:gd name="connsiteY2928" fmla="*/ 1227338 h 2770404"/>
                <a:gd name="connsiteX2929" fmla="*/ 4008843 w 12166600"/>
                <a:gd name="connsiteY2929" fmla="*/ 1227338 h 2770404"/>
                <a:gd name="connsiteX2930" fmla="*/ 4005135 w 12166600"/>
                <a:gd name="connsiteY2930" fmla="*/ 1227338 h 2770404"/>
                <a:gd name="connsiteX2931" fmla="*/ 3997724 w 12166600"/>
                <a:gd name="connsiteY2931" fmla="*/ 1212515 h 2770404"/>
                <a:gd name="connsiteX2932" fmla="*/ 4005135 w 12166600"/>
                <a:gd name="connsiteY2932" fmla="*/ 1205104 h 2770404"/>
                <a:gd name="connsiteX2933" fmla="*/ 4006618 w 12166600"/>
                <a:gd name="connsiteY2933" fmla="*/ 1205104 h 2770404"/>
                <a:gd name="connsiteX2934" fmla="*/ 4006618 w 12166600"/>
                <a:gd name="connsiteY2934" fmla="*/ 1196210 h 2770404"/>
                <a:gd name="connsiteX2935" fmla="*/ 4005135 w 12166600"/>
                <a:gd name="connsiteY2935" fmla="*/ 1196210 h 2770404"/>
                <a:gd name="connsiteX2936" fmla="*/ 3997724 w 12166600"/>
                <a:gd name="connsiteY2936" fmla="*/ 1189539 h 2770404"/>
                <a:gd name="connsiteX2937" fmla="*/ 4012548 w 12166600"/>
                <a:gd name="connsiteY2937" fmla="*/ 1182869 h 2770404"/>
                <a:gd name="connsiteX2938" fmla="*/ 1578950 w 12166600"/>
                <a:gd name="connsiteY2938" fmla="*/ 1179945 h 2770404"/>
                <a:gd name="connsiteX2939" fmla="*/ 1562685 w 12166600"/>
                <a:gd name="connsiteY2939" fmla="*/ 1206309 h 2770404"/>
                <a:gd name="connsiteX2940" fmla="*/ 1562685 w 12166600"/>
                <a:gd name="connsiteY2940" fmla="*/ 1213582 h 2770404"/>
                <a:gd name="connsiteX2941" fmla="*/ 1548228 w 12166600"/>
                <a:gd name="connsiteY2941" fmla="*/ 1264493 h 2770404"/>
                <a:gd name="connsiteX2942" fmla="*/ 1533770 w 12166600"/>
                <a:gd name="connsiteY2942" fmla="*/ 1308130 h 2770404"/>
                <a:gd name="connsiteX2943" fmla="*/ 1526541 w 12166600"/>
                <a:gd name="connsiteY2943" fmla="*/ 1329949 h 2770404"/>
                <a:gd name="connsiteX2944" fmla="*/ 1519312 w 12166600"/>
                <a:gd name="connsiteY2944" fmla="*/ 1344495 h 2770404"/>
                <a:gd name="connsiteX2945" fmla="*/ 1504854 w 12166600"/>
                <a:gd name="connsiteY2945" fmla="*/ 1402678 h 2770404"/>
                <a:gd name="connsiteX2946" fmla="*/ 1519312 w 12166600"/>
                <a:gd name="connsiteY2946" fmla="*/ 1395405 h 2770404"/>
                <a:gd name="connsiteX2947" fmla="*/ 1526541 w 12166600"/>
                <a:gd name="connsiteY2947" fmla="*/ 1395405 h 2770404"/>
                <a:gd name="connsiteX2948" fmla="*/ 1533770 w 12166600"/>
                <a:gd name="connsiteY2948" fmla="*/ 1388133 h 2770404"/>
                <a:gd name="connsiteX2949" fmla="*/ 1548228 w 12166600"/>
                <a:gd name="connsiteY2949" fmla="*/ 1322676 h 2770404"/>
                <a:gd name="connsiteX2950" fmla="*/ 1555456 w 12166600"/>
                <a:gd name="connsiteY2950" fmla="*/ 1315403 h 2770404"/>
                <a:gd name="connsiteX2951" fmla="*/ 1555456 w 12166600"/>
                <a:gd name="connsiteY2951" fmla="*/ 1300857 h 2770404"/>
                <a:gd name="connsiteX2952" fmla="*/ 1569914 w 12166600"/>
                <a:gd name="connsiteY2952" fmla="*/ 1242674 h 2770404"/>
                <a:gd name="connsiteX2953" fmla="*/ 1584372 w 12166600"/>
                <a:gd name="connsiteY2953" fmla="*/ 1199036 h 2770404"/>
                <a:gd name="connsiteX2954" fmla="*/ 1584372 w 12166600"/>
                <a:gd name="connsiteY2954" fmla="*/ 1191763 h 2770404"/>
                <a:gd name="connsiteX2955" fmla="*/ 1578950 w 12166600"/>
                <a:gd name="connsiteY2955" fmla="*/ 1179945 h 2770404"/>
                <a:gd name="connsiteX2956" fmla="*/ 4006618 w 12166600"/>
                <a:gd name="connsiteY2956" fmla="*/ 1178422 h 2770404"/>
                <a:gd name="connsiteX2957" fmla="*/ 4011066 w 12166600"/>
                <a:gd name="connsiteY2957" fmla="*/ 1178422 h 2770404"/>
                <a:gd name="connsiteX2958" fmla="*/ 4011066 w 12166600"/>
                <a:gd name="connsiteY2958" fmla="*/ 1182869 h 2770404"/>
                <a:gd name="connsiteX2959" fmla="*/ 4006618 w 12166600"/>
                <a:gd name="connsiteY2959" fmla="*/ 1178422 h 2770404"/>
                <a:gd name="connsiteX2960" fmla="*/ 3181726 w 12166600"/>
                <a:gd name="connsiteY2960" fmla="*/ 1178422 h 2770404"/>
                <a:gd name="connsiteX2961" fmla="*/ 3188397 w 12166600"/>
                <a:gd name="connsiteY2961" fmla="*/ 1190281 h 2770404"/>
                <a:gd name="connsiteX2962" fmla="*/ 3181726 w 12166600"/>
                <a:gd name="connsiteY2962" fmla="*/ 1196210 h 2770404"/>
                <a:gd name="connsiteX2963" fmla="*/ 3175057 w 12166600"/>
                <a:gd name="connsiteY2963" fmla="*/ 1190281 h 2770404"/>
                <a:gd name="connsiteX2964" fmla="*/ 3181726 w 12166600"/>
                <a:gd name="connsiteY2964" fmla="*/ 1178422 h 2770404"/>
                <a:gd name="connsiteX2965" fmla="*/ 2018103 w 12166600"/>
                <a:gd name="connsiteY2965" fmla="*/ 1177218 h 2770404"/>
                <a:gd name="connsiteX2966" fmla="*/ 1989188 w 12166600"/>
                <a:gd name="connsiteY2966" fmla="*/ 1199036 h 2770404"/>
                <a:gd name="connsiteX2967" fmla="*/ 1989188 w 12166600"/>
                <a:gd name="connsiteY2967" fmla="*/ 1206309 h 2770404"/>
                <a:gd name="connsiteX2968" fmla="*/ 1981959 w 12166600"/>
                <a:gd name="connsiteY2968" fmla="*/ 1228128 h 2770404"/>
                <a:gd name="connsiteX2969" fmla="*/ 1974730 w 12166600"/>
                <a:gd name="connsiteY2969" fmla="*/ 1271766 h 2770404"/>
                <a:gd name="connsiteX2970" fmla="*/ 1967501 w 12166600"/>
                <a:gd name="connsiteY2970" fmla="*/ 1308130 h 2770404"/>
                <a:gd name="connsiteX2971" fmla="*/ 1953044 w 12166600"/>
                <a:gd name="connsiteY2971" fmla="*/ 1344495 h 2770404"/>
                <a:gd name="connsiteX2972" fmla="*/ 1953044 w 12166600"/>
                <a:gd name="connsiteY2972" fmla="*/ 1366314 h 2770404"/>
                <a:gd name="connsiteX2973" fmla="*/ 1938586 w 12166600"/>
                <a:gd name="connsiteY2973" fmla="*/ 1409951 h 2770404"/>
                <a:gd name="connsiteX2974" fmla="*/ 1953044 w 12166600"/>
                <a:gd name="connsiteY2974" fmla="*/ 1409951 h 2770404"/>
                <a:gd name="connsiteX2975" fmla="*/ 1996418 w 12166600"/>
                <a:gd name="connsiteY2975" fmla="*/ 1431770 h 2770404"/>
                <a:gd name="connsiteX2976" fmla="*/ 2003646 w 12166600"/>
                <a:gd name="connsiteY2976" fmla="*/ 1424497 h 2770404"/>
                <a:gd name="connsiteX2977" fmla="*/ 2010875 w 12166600"/>
                <a:gd name="connsiteY2977" fmla="*/ 1373587 h 2770404"/>
                <a:gd name="connsiteX2978" fmla="*/ 2018103 w 12166600"/>
                <a:gd name="connsiteY2978" fmla="*/ 1329949 h 2770404"/>
                <a:gd name="connsiteX2979" fmla="*/ 2018103 w 12166600"/>
                <a:gd name="connsiteY2979" fmla="*/ 1322676 h 2770404"/>
                <a:gd name="connsiteX2980" fmla="*/ 2025332 w 12166600"/>
                <a:gd name="connsiteY2980" fmla="*/ 1322676 h 2770404"/>
                <a:gd name="connsiteX2981" fmla="*/ 2025332 w 12166600"/>
                <a:gd name="connsiteY2981" fmla="*/ 1300857 h 2770404"/>
                <a:gd name="connsiteX2982" fmla="*/ 2039790 w 12166600"/>
                <a:gd name="connsiteY2982" fmla="*/ 1228128 h 2770404"/>
                <a:gd name="connsiteX2983" fmla="*/ 2039790 w 12166600"/>
                <a:gd name="connsiteY2983" fmla="*/ 1220855 h 2770404"/>
                <a:gd name="connsiteX2984" fmla="*/ 2039790 w 12166600"/>
                <a:gd name="connsiteY2984" fmla="*/ 1191763 h 2770404"/>
                <a:gd name="connsiteX2985" fmla="*/ 2018103 w 12166600"/>
                <a:gd name="connsiteY2985" fmla="*/ 1177218 h 2770404"/>
                <a:gd name="connsiteX2986" fmla="*/ 3179504 w 12166600"/>
                <a:gd name="connsiteY2986" fmla="*/ 1169528 h 2770404"/>
                <a:gd name="connsiteX2987" fmla="*/ 3188397 w 12166600"/>
                <a:gd name="connsiteY2987" fmla="*/ 1178422 h 2770404"/>
                <a:gd name="connsiteX2988" fmla="*/ 3181726 w 12166600"/>
                <a:gd name="connsiteY2988" fmla="*/ 1178422 h 2770404"/>
                <a:gd name="connsiteX2989" fmla="*/ 3179504 w 12166600"/>
                <a:gd name="connsiteY2989" fmla="*/ 1178422 h 2770404"/>
                <a:gd name="connsiteX2990" fmla="*/ 3179504 w 12166600"/>
                <a:gd name="connsiteY2990" fmla="*/ 1169528 h 2770404"/>
                <a:gd name="connsiteX2991" fmla="*/ 11754468 w 12166600"/>
                <a:gd name="connsiteY2991" fmla="*/ 1163246 h 2770404"/>
                <a:gd name="connsiteX2992" fmla="*/ 11747238 w 12166600"/>
                <a:gd name="connsiteY2992" fmla="*/ 1170517 h 2770404"/>
                <a:gd name="connsiteX2993" fmla="*/ 11740007 w 12166600"/>
                <a:gd name="connsiteY2993" fmla="*/ 1185057 h 2770404"/>
                <a:gd name="connsiteX2994" fmla="*/ 11761699 w 12166600"/>
                <a:gd name="connsiteY2994" fmla="*/ 1206868 h 2770404"/>
                <a:gd name="connsiteX2995" fmla="*/ 11754468 w 12166600"/>
                <a:gd name="connsiteY2995" fmla="*/ 1185057 h 2770404"/>
                <a:gd name="connsiteX2996" fmla="*/ 11754468 w 12166600"/>
                <a:gd name="connsiteY2996" fmla="*/ 1170517 h 2770404"/>
                <a:gd name="connsiteX2997" fmla="*/ 11754468 w 12166600"/>
                <a:gd name="connsiteY2997" fmla="*/ 1163246 h 2770404"/>
                <a:gd name="connsiteX2998" fmla="*/ 11703856 w 12166600"/>
                <a:gd name="connsiteY2998" fmla="*/ 1163246 h 2770404"/>
                <a:gd name="connsiteX2999" fmla="*/ 11703856 w 12166600"/>
                <a:gd name="connsiteY2999" fmla="*/ 1177787 h 2770404"/>
                <a:gd name="connsiteX3000" fmla="*/ 11703856 w 12166600"/>
                <a:gd name="connsiteY3000" fmla="*/ 1199598 h 2770404"/>
                <a:gd name="connsiteX3001" fmla="*/ 11718316 w 12166600"/>
                <a:gd name="connsiteY3001" fmla="*/ 1192328 h 2770404"/>
                <a:gd name="connsiteX3002" fmla="*/ 11718316 w 12166600"/>
                <a:gd name="connsiteY3002" fmla="*/ 1185057 h 2770404"/>
                <a:gd name="connsiteX3003" fmla="*/ 11703856 w 12166600"/>
                <a:gd name="connsiteY3003" fmla="*/ 1163246 h 2770404"/>
                <a:gd name="connsiteX3004" fmla="*/ 11689395 w 12166600"/>
                <a:gd name="connsiteY3004" fmla="*/ 1163246 h 2770404"/>
                <a:gd name="connsiteX3005" fmla="*/ 11682164 w 12166600"/>
                <a:gd name="connsiteY3005" fmla="*/ 1177787 h 2770404"/>
                <a:gd name="connsiteX3006" fmla="*/ 11674934 w 12166600"/>
                <a:gd name="connsiteY3006" fmla="*/ 1185057 h 2770404"/>
                <a:gd name="connsiteX3007" fmla="*/ 11689395 w 12166600"/>
                <a:gd name="connsiteY3007" fmla="*/ 1206868 h 2770404"/>
                <a:gd name="connsiteX3008" fmla="*/ 11689395 w 12166600"/>
                <a:gd name="connsiteY3008" fmla="*/ 1185057 h 2770404"/>
                <a:gd name="connsiteX3009" fmla="*/ 11689395 w 12166600"/>
                <a:gd name="connsiteY3009" fmla="*/ 1163246 h 2770404"/>
                <a:gd name="connsiteX3010" fmla="*/ 11646013 w 12166600"/>
                <a:gd name="connsiteY3010" fmla="*/ 1163246 h 2770404"/>
                <a:gd name="connsiteX3011" fmla="*/ 11646013 w 12166600"/>
                <a:gd name="connsiteY3011" fmla="*/ 1170517 h 2770404"/>
                <a:gd name="connsiteX3012" fmla="*/ 11646013 w 12166600"/>
                <a:gd name="connsiteY3012" fmla="*/ 1199598 h 2770404"/>
                <a:gd name="connsiteX3013" fmla="*/ 11646013 w 12166600"/>
                <a:gd name="connsiteY3013" fmla="*/ 1206868 h 2770404"/>
                <a:gd name="connsiteX3014" fmla="*/ 11653243 w 12166600"/>
                <a:gd name="connsiteY3014" fmla="*/ 1199598 h 2770404"/>
                <a:gd name="connsiteX3015" fmla="*/ 11660473 w 12166600"/>
                <a:gd name="connsiteY3015" fmla="*/ 1185057 h 2770404"/>
                <a:gd name="connsiteX3016" fmla="*/ 11631552 w 12166600"/>
                <a:gd name="connsiteY3016" fmla="*/ 1163246 h 2770404"/>
                <a:gd name="connsiteX3017" fmla="*/ 11624321 w 12166600"/>
                <a:gd name="connsiteY3017" fmla="*/ 1177787 h 2770404"/>
                <a:gd name="connsiteX3018" fmla="*/ 11617091 w 12166600"/>
                <a:gd name="connsiteY3018" fmla="*/ 1177787 h 2770404"/>
                <a:gd name="connsiteX3019" fmla="*/ 11617091 w 12166600"/>
                <a:gd name="connsiteY3019" fmla="*/ 1185057 h 2770404"/>
                <a:gd name="connsiteX3020" fmla="*/ 11631552 w 12166600"/>
                <a:gd name="connsiteY3020" fmla="*/ 1206868 h 2770404"/>
                <a:gd name="connsiteX3021" fmla="*/ 11631552 w 12166600"/>
                <a:gd name="connsiteY3021" fmla="*/ 1192328 h 2770404"/>
                <a:gd name="connsiteX3022" fmla="*/ 11631552 w 12166600"/>
                <a:gd name="connsiteY3022" fmla="*/ 1185057 h 2770404"/>
                <a:gd name="connsiteX3023" fmla="*/ 11631552 w 12166600"/>
                <a:gd name="connsiteY3023" fmla="*/ 1163246 h 2770404"/>
                <a:gd name="connsiteX3024" fmla="*/ 11580939 w 12166600"/>
                <a:gd name="connsiteY3024" fmla="*/ 1163246 h 2770404"/>
                <a:gd name="connsiteX3025" fmla="*/ 11580939 w 12166600"/>
                <a:gd name="connsiteY3025" fmla="*/ 1185057 h 2770404"/>
                <a:gd name="connsiteX3026" fmla="*/ 11573709 w 12166600"/>
                <a:gd name="connsiteY3026" fmla="*/ 1206868 h 2770404"/>
                <a:gd name="connsiteX3027" fmla="*/ 11588169 w 12166600"/>
                <a:gd name="connsiteY3027" fmla="*/ 1192328 h 2770404"/>
                <a:gd name="connsiteX3028" fmla="*/ 11595400 w 12166600"/>
                <a:gd name="connsiteY3028" fmla="*/ 1185057 h 2770404"/>
                <a:gd name="connsiteX3029" fmla="*/ 11588169 w 12166600"/>
                <a:gd name="connsiteY3029" fmla="*/ 1170517 h 2770404"/>
                <a:gd name="connsiteX3030" fmla="*/ 11580939 w 12166600"/>
                <a:gd name="connsiteY3030" fmla="*/ 1163246 h 2770404"/>
                <a:gd name="connsiteX3031" fmla="*/ 1634974 w 12166600"/>
                <a:gd name="connsiteY3031" fmla="*/ 1162672 h 2770404"/>
                <a:gd name="connsiteX3032" fmla="*/ 1620516 w 12166600"/>
                <a:gd name="connsiteY3032" fmla="*/ 1177218 h 2770404"/>
                <a:gd name="connsiteX3033" fmla="*/ 1606058 w 12166600"/>
                <a:gd name="connsiteY3033" fmla="*/ 1199036 h 2770404"/>
                <a:gd name="connsiteX3034" fmla="*/ 1598830 w 12166600"/>
                <a:gd name="connsiteY3034" fmla="*/ 1228128 h 2770404"/>
                <a:gd name="connsiteX3035" fmla="*/ 1577143 w 12166600"/>
                <a:gd name="connsiteY3035" fmla="*/ 1293584 h 2770404"/>
                <a:gd name="connsiteX3036" fmla="*/ 1577143 w 12166600"/>
                <a:gd name="connsiteY3036" fmla="*/ 1300857 h 2770404"/>
                <a:gd name="connsiteX3037" fmla="*/ 1577143 w 12166600"/>
                <a:gd name="connsiteY3037" fmla="*/ 1308130 h 2770404"/>
                <a:gd name="connsiteX3038" fmla="*/ 1555456 w 12166600"/>
                <a:gd name="connsiteY3038" fmla="*/ 1373587 h 2770404"/>
                <a:gd name="connsiteX3039" fmla="*/ 1548228 w 12166600"/>
                <a:gd name="connsiteY3039" fmla="*/ 1388133 h 2770404"/>
                <a:gd name="connsiteX3040" fmla="*/ 1555456 w 12166600"/>
                <a:gd name="connsiteY3040" fmla="*/ 1388133 h 2770404"/>
                <a:gd name="connsiteX3041" fmla="*/ 1569914 w 12166600"/>
                <a:gd name="connsiteY3041" fmla="*/ 1388133 h 2770404"/>
                <a:gd name="connsiteX3042" fmla="*/ 1584372 w 12166600"/>
                <a:gd name="connsiteY3042" fmla="*/ 1388133 h 2770404"/>
                <a:gd name="connsiteX3043" fmla="*/ 1591601 w 12166600"/>
                <a:gd name="connsiteY3043" fmla="*/ 1373587 h 2770404"/>
                <a:gd name="connsiteX3044" fmla="*/ 1591601 w 12166600"/>
                <a:gd name="connsiteY3044" fmla="*/ 1366314 h 2770404"/>
                <a:gd name="connsiteX3045" fmla="*/ 1598830 w 12166600"/>
                <a:gd name="connsiteY3045" fmla="*/ 1344495 h 2770404"/>
                <a:gd name="connsiteX3046" fmla="*/ 1613287 w 12166600"/>
                <a:gd name="connsiteY3046" fmla="*/ 1286312 h 2770404"/>
                <a:gd name="connsiteX3047" fmla="*/ 1620516 w 12166600"/>
                <a:gd name="connsiteY3047" fmla="*/ 1271766 h 2770404"/>
                <a:gd name="connsiteX3048" fmla="*/ 1634974 w 12166600"/>
                <a:gd name="connsiteY3048" fmla="*/ 1206309 h 2770404"/>
                <a:gd name="connsiteX3049" fmla="*/ 1642203 w 12166600"/>
                <a:gd name="connsiteY3049" fmla="*/ 1191763 h 2770404"/>
                <a:gd name="connsiteX3050" fmla="*/ 1634974 w 12166600"/>
                <a:gd name="connsiteY3050" fmla="*/ 1162672 h 2770404"/>
                <a:gd name="connsiteX3051" fmla="*/ 1903345 w 12166600"/>
                <a:gd name="connsiteY3051" fmla="*/ 1155399 h 2770404"/>
                <a:gd name="connsiteX3052" fmla="*/ 1887984 w 12166600"/>
                <a:gd name="connsiteY3052" fmla="*/ 1177218 h 2770404"/>
                <a:gd name="connsiteX3053" fmla="*/ 1887984 w 12166600"/>
                <a:gd name="connsiteY3053" fmla="*/ 1184491 h 2770404"/>
                <a:gd name="connsiteX3054" fmla="*/ 1873526 w 12166600"/>
                <a:gd name="connsiteY3054" fmla="*/ 1220855 h 2770404"/>
                <a:gd name="connsiteX3055" fmla="*/ 1866297 w 12166600"/>
                <a:gd name="connsiteY3055" fmla="*/ 1279039 h 2770404"/>
                <a:gd name="connsiteX3056" fmla="*/ 1866297 w 12166600"/>
                <a:gd name="connsiteY3056" fmla="*/ 1286312 h 2770404"/>
                <a:gd name="connsiteX3057" fmla="*/ 1859069 w 12166600"/>
                <a:gd name="connsiteY3057" fmla="*/ 1308130 h 2770404"/>
                <a:gd name="connsiteX3058" fmla="*/ 1844611 w 12166600"/>
                <a:gd name="connsiteY3058" fmla="*/ 1351768 h 2770404"/>
                <a:gd name="connsiteX3059" fmla="*/ 1837382 w 12166600"/>
                <a:gd name="connsiteY3059" fmla="*/ 1380860 h 2770404"/>
                <a:gd name="connsiteX3060" fmla="*/ 1880755 w 12166600"/>
                <a:gd name="connsiteY3060" fmla="*/ 1395405 h 2770404"/>
                <a:gd name="connsiteX3061" fmla="*/ 1902442 w 12166600"/>
                <a:gd name="connsiteY3061" fmla="*/ 1395405 h 2770404"/>
                <a:gd name="connsiteX3062" fmla="*/ 1909671 w 12166600"/>
                <a:gd name="connsiteY3062" fmla="*/ 1402678 h 2770404"/>
                <a:gd name="connsiteX3063" fmla="*/ 1909671 w 12166600"/>
                <a:gd name="connsiteY3063" fmla="*/ 1395405 h 2770404"/>
                <a:gd name="connsiteX3064" fmla="*/ 1916899 w 12166600"/>
                <a:gd name="connsiteY3064" fmla="*/ 1373587 h 2770404"/>
                <a:gd name="connsiteX3065" fmla="*/ 1931357 w 12166600"/>
                <a:gd name="connsiteY3065" fmla="*/ 1300857 h 2770404"/>
                <a:gd name="connsiteX3066" fmla="*/ 1931357 w 12166600"/>
                <a:gd name="connsiteY3066" fmla="*/ 1293584 h 2770404"/>
                <a:gd name="connsiteX3067" fmla="*/ 1938586 w 12166600"/>
                <a:gd name="connsiteY3067" fmla="*/ 1249947 h 2770404"/>
                <a:gd name="connsiteX3068" fmla="*/ 1945815 w 12166600"/>
                <a:gd name="connsiteY3068" fmla="*/ 1220855 h 2770404"/>
                <a:gd name="connsiteX3069" fmla="*/ 1953044 w 12166600"/>
                <a:gd name="connsiteY3069" fmla="*/ 1199036 h 2770404"/>
                <a:gd name="connsiteX3070" fmla="*/ 1953044 w 12166600"/>
                <a:gd name="connsiteY3070" fmla="*/ 1177218 h 2770404"/>
                <a:gd name="connsiteX3071" fmla="*/ 1931357 w 12166600"/>
                <a:gd name="connsiteY3071" fmla="*/ 1155399 h 2770404"/>
                <a:gd name="connsiteX3072" fmla="*/ 1924128 w 12166600"/>
                <a:gd name="connsiteY3072" fmla="*/ 1155399 h 2770404"/>
                <a:gd name="connsiteX3073" fmla="*/ 1903345 w 12166600"/>
                <a:gd name="connsiteY3073" fmla="*/ 1155399 h 2770404"/>
                <a:gd name="connsiteX3074" fmla="*/ 1695290 w 12166600"/>
                <a:gd name="connsiteY3074" fmla="*/ 1152785 h 2770404"/>
                <a:gd name="connsiteX3075" fmla="*/ 1656660 w 12166600"/>
                <a:gd name="connsiteY3075" fmla="*/ 1184491 h 2770404"/>
                <a:gd name="connsiteX3076" fmla="*/ 1656660 w 12166600"/>
                <a:gd name="connsiteY3076" fmla="*/ 1191763 h 2770404"/>
                <a:gd name="connsiteX3077" fmla="*/ 1642203 w 12166600"/>
                <a:gd name="connsiteY3077" fmla="*/ 1257220 h 2770404"/>
                <a:gd name="connsiteX3078" fmla="*/ 1634974 w 12166600"/>
                <a:gd name="connsiteY3078" fmla="*/ 1271766 h 2770404"/>
                <a:gd name="connsiteX3079" fmla="*/ 1634974 w 12166600"/>
                <a:gd name="connsiteY3079" fmla="*/ 1286312 h 2770404"/>
                <a:gd name="connsiteX3080" fmla="*/ 1620516 w 12166600"/>
                <a:gd name="connsiteY3080" fmla="*/ 1337222 h 2770404"/>
                <a:gd name="connsiteX3081" fmla="*/ 1613287 w 12166600"/>
                <a:gd name="connsiteY3081" fmla="*/ 1351768 h 2770404"/>
                <a:gd name="connsiteX3082" fmla="*/ 1613287 w 12166600"/>
                <a:gd name="connsiteY3082" fmla="*/ 1359041 h 2770404"/>
                <a:gd name="connsiteX3083" fmla="*/ 1606058 w 12166600"/>
                <a:gd name="connsiteY3083" fmla="*/ 1380860 h 2770404"/>
                <a:gd name="connsiteX3084" fmla="*/ 1634974 w 12166600"/>
                <a:gd name="connsiteY3084" fmla="*/ 1380860 h 2770404"/>
                <a:gd name="connsiteX3085" fmla="*/ 1649432 w 12166600"/>
                <a:gd name="connsiteY3085" fmla="*/ 1373587 h 2770404"/>
                <a:gd name="connsiteX3086" fmla="*/ 1649432 w 12166600"/>
                <a:gd name="connsiteY3086" fmla="*/ 1366314 h 2770404"/>
                <a:gd name="connsiteX3087" fmla="*/ 1663889 w 12166600"/>
                <a:gd name="connsiteY3087" fmla="*/ 1329949 h 2770404"/>
                <a:gd name="connsiteX3088" fmla="*/ 1663889 w 12166600"/>
                <a:gd name="connsiteY3088" fmla="*/ 1315403 h 2770404"/>
                <a:gd name="connsiteX3089" fmla="*/ 1671118 w 12166600"/>
                <a:gd name="connsiteY3089" fmla="*/ 1300857 h 2770404"/>
                <a:gd name="connsiteX3090" fmla="*/ 1678347 w 12166600"/>
                <a:gd name="connsiteY3090" fmla="*/ 1279039 h 2770404"/>
                <a:gd name="connsiteX3091" fmla="*/ 1685577 w 12166600"/>
                <a:gd name="connsiteY3091" fmla="*/ 1235401 h 2770404"/>
                <a:gd name="connsiteX3092" fmla="*/ 1692805 w 12166600"/>
                <a:gd name="connsiteY3092" fmla="*/ 1228128 h 2770404"/>
                <a:gd name="connsiteX3093" fmla="*/ 1700034 w 12166600"/>
                <a:gd name="connsiteY3093" fmla="*/ 1177218 h 2770404"/>
                <a:gd name="connsiteX3094" fmla="*/ 1700034 w 12166600"/>
                <a:gd name="connsiteY3094" fmla="*/ 1162672 h 2770404"/>
                <a:gd name="connsiteX3095" fmla="*/ 1695290 w 12166600"/>
                <a:gd name="connsiteY3095" fmla="*/ 1152785 h 2770404"/>
                <a:gd name="connsiteX3096" fmla="*/ 11711086 w 12166600"/>
                <a:gd name="connsiteY3096" fmla="*/ 1148706 h 2770404"/>
                <a:gd name="connsiteX3097" fmla="*/ 11725547 w 12166600"/>
                <a:gd name="connsiteY3097" fmla="*/ 1170517 h 2770404"/>
                <a:gd name="connsiteX3098" fmla="*/ 11732777 w 12166600"/>
                <a:gd name="connsiteY3098" fmla="*/ 1163246 h 2770404"/>
                <a:gd name="connsiteX3099" fmla="*/ 11740007 w 12166600"/>
                <a:gd name="connsiteY3099" fmla="*/ 1155976 h 2770404"/>
                <a:gd name="connsiteX3100" fmla="*/ 11747238 w 12166600"/>
                <a:gd name="connsiteY3100" fmla="*/ 1155976 h 2770404"/>
                <a:gd name="connsiteX3101" fmla="*/ 11747238 w 12166600"/>
                <a:gd name="connsiteY3101" fmla="*/ 1148706 h 2770404"/>
                <a:gd name="connsiteX3102" fmla="*/ 11740007 w 12166600"/>
                <a:gd name="connsiteY3102" fmla="*/ 1148706 h 2770404"/>
                <a:gd name="connsiteX3103" fmla="*/ 11732777 w 12166600"/>
                <a:gd name="connsiteY3103" fmla="*/ 1148706 h 2770404"/>
                <a:gd name="connsiteX3104" fmla="*/ 11718316 w 12166600"/>
                <a:gd name="connsiteY3104" fmla="*/ 1148706 h 2770404"/>
                <a:gd name="connsiteX3105" fmla="*/ 11711086 w 12166600"/>
                <a:gd name="connsiteY3105" fmla="*/ 1148706 h 2770404"/>
                <a:gd name="connsiteX3106" fmla="*/ 11653243 w 12166600"/>
                <a:gd name="connsiteY3106" fmla="*/ 1148706 h 2770404"/>
                <a:gd name="connsiteX3107" fmla="*/ 11653243 w 12166600"/>
                <a:gd name="connsiteY3107" fmla="*/ 1155976 h 2770404"/>
                <a:gd name="connsiteX3108" fmla="*/ 11667704 w 12166600"/>
                <a:gd name="connsiteY3108" fmla="*/ 1170517 h 2770404"/>
                <a:gd name="connsiteX3109" fmla="*/ 11682164 w 12166600"/>
                <a:gd name="connsiteY3109" fmla="*/ 1155976 h 2770404"/>
                <a:gd name="connsiteX3110" fmla="*/ 11682164 w 12166600"/>
                <a:gd name="connsiteY3110" fmla="*/ 1148706 h 2770404"/>
                <a:gd name="connsiteX3111" fmla="*/ 11674934 w 12166600"/>
                <a:gd name="connsiteY3111" fmla="*/ 1148706 h 2770404"/>
                <a:gd name="connsiteX3112" fmla="*/ 11588169 w 12166600"/>
                <a:gd name="connsiteY3112" fmla="*/ 1148706 h 2770404"/>
                <a:gd name="connsiteX3113" fmla="*/ 11588169 w 12166600"/>
                <a:gd name="connsiteY3113" fmla="*/ 1155976 h 2770404"/>
                <a:gd name="connsiteX3114" fmla="*/ 11602630 w 12166600"/>
                <a:gd name="connsiteY3114" fmla="*/ 1177787 h 2770404"/>
                <a:gd name="connsiteX3115" fmla="*/ 11609861 w 12166600"/>
                <a:gd name="connsiteY3115" fmla="*/ 1170517 h 2770404"/>
                <a:gd name="connsiteX3116" fmla="*/ 11609861 w 12166600"/>
                <a:gd name="connsiteY3116" fmla="*/ 1163246 h 2770404"/>
                <a:gd name="connsiteX3117" fmla="*/ 11624321 w 12166600"/>
                <a:gd name="connsiteY3117" fmla="*/ 1155976 h 2770404"/>
                <a:gd name="connsiteX3118" fmla="*/ 11624321 w 12166600"/>
                <a:gd name="connsiteY3118" fmla="*/ 1148706 h 2770404"/>
                <a:gd name="connsiteX3119" fmla="*/ 11595400 w 12166600"/>
                <a:gd name="connsiteY3119" fmla="*/ 1148706 h 2770404"/>
                <a:gd name="connsiteX3120" fmla="*/ 1752443 w 12166600"/>
                <a:gd name="connsiteY3120" fmla="*/ 1143580 h 2770404"/>
                <a:gd name="connsiteX3121" fmla="*/ 1721721 w 12166600"/>
                <a:gd name="connsiteY3121" fmla="*/ 1177218 h 2770404"/>
                <a:gd name="connsiteX3122" fmla="*/ 1707262 w 12166600"/>
                <a:gd name="connsiteY3122" fmla="*/ 1213582 h 2770404"/>
                <a:gd name="connsiteX3123" fmla="*/ 1707262 w 12166600"/>
                <a:gd name="connsiteY3123" fmla="*/ 1220855 h 2770404"/>
                <a:gd name="connsiteX3124" fmla="*/ 1692805 w 12166600"/>
                <a:gd name="connsiteY3124" fmla="*/ 1279039 h 2770404"/>
                <a:gd name="connsiteX3125" fmla="*/ 1692805 w 12166600"/>
                <a:gd name="connsiteY3125" fmla="*/ 1286312 h 2770404"/>
                <a:gd name="connsiteX3126" fmla="*/ 1685577 w 12166600"/>
                <a:gd name="connsiteY3126" fmla="*/ 1308130 h 2770404"/>
                <a:gd name="connsiteX3127" fmla="*/ 1685577 w 12166600"/>
                <a:gd name="connsiteY3127" fmla="*/ 1315403 h 2770404"/>
                <a:gd name="connsiteX3128" fmla="*/ 1671118 w 12166600"/>
                <a:gd name="connsiteY3128" fmla="*/ 1359041 h 2770404"/>
                <a:gd name="connsiteX3129" fmla="*/ 1671118 w 12166600"/>
                <a:gd name="connsiteY3129" fmla="*/ 1373587 h 2770404"/>
                <a:gd name="connsiteX3130" fmla="*/ 1714491 w 12166600"/>
                <a:gd name="connsiteY3130" fmla="*/ 1373587 h 2770404"/>
                <a:gd name="connsiteX3131" fmla="*/ 1721721 w 12166600"/>
                <a:gd name="connsiteY3131" fmla="*/ 1373587 h 2770404"/>
                <a:gd name="connsiteX3132" fmla="*/ 1721721 w 12166600"/>
                <a:gd name="connsiteY3132" fmla="*/ 1366314 h 2770404"/>
                <a:gd name="connsiteX3133" fmla="*/ 1736178 w 12166600"/>
                <a:gd name="connsiteY3133" fmla="*/ 1315403 h 2770404"/>
                <a:gd name="connsiteX3134" fmla="*/ 1743407 w 12166600"/>
                <a:gd name="connsiteY3134" fmla="*/ 1271766 h 2770404"/>
                <a:gd name="connsiteX3135" fmla="*/ 1750636 w 12166600"/>
                <a:gd name="connsiteY3135" fmla="*/ 1264493 h 2770404"/>
                <a:gd name="connsiteX3136" fmla="*/ 1750636 w 12166600"/>
                <a:gd name="connsiteY3136" fmla="*/ 1242674 h 2770404"/>
                <a:gd name="connsiteX3137" fmla="*/ 1772322 w 12166600"/>
                <a:gd name="connsiteY3137" fmla="*/ 1184491 h 2770404"/>
                <a:gd name="connsiteX3138" fmla="*/ 1772322 w 12166600"/>
                <a:gd name="connsiteY3138" fmla="*/ 1177218 h 2770404"/>
                <a:gd name="connsiteX3139" fmla="*/ 1772322 w 12166600"/>
                <a:gd name="connsiteY3139" fmla="*/ 1169945 h 2770404"/>
                <a:gd name="connsiteX3140" fmla="*/ 1752443 w 12166600"/>
                <a:gd name="connsiteY3140" fmla="*/ 1143580 h 2770404"/>
                <a:gd name="connsiteX3141" fmla="*/ 1822924 w 12166600"/>
                <a:gd name="connsiteY3141" fmla="*/ 1140853 h 2770404"/>
                <a:gd name="connsiteX3142" fmla="*/ 1801238 w 12166600"/>
                <a:gd name="connsiteY3142" fmla="*/ 1155399 h 2770404"/>
                <a:gd name="connsiteX3143" fmla="*/ 1794009 w 12166600"/>
                <a:gd name="connsiteY3143" fmla="*/ 1169945 h 2770404"/>
                <a:gd name="connsiteX3144" fmla="*/ 1779551 w 12166600"/>
                <a:gd name="connsiteY3144" fmla="*/ 1228128 h 2770404"/>
                <a:gd name="connsiteX3145" fmla="*/ 1772322 w 12166600"/>
                <a:gd name="connsiteY3145" fmla="*/ 1249947 h 2770404"/>
                <a:gd name="connsiteX3146" fmla="*/ 1772322 w 12166600"/>
                <a:gd name="connsiteY3146" fmla="*/ 1257220 h 2770404"/>
                <a:gd name="connsiteX3147" fmla="*/ 1772322 w 12166600"/>
                <a:gd name="connsiteY3147" fmla="*/ 1271766 h 2770404"/>
                <a:gd name="connsiteX3148" fmla="*/ 1765093 w 12166600"/>
                <a:gd name="connsiteY3148" fmla="*/ 1300857 h 2770404"/>
                <a:gd name="connsiteX3149" fmla="*/ 1750636 w 12166600"/>
                <a:gd name="connsiteY3149" fmla="*/ 1351768 h 2770404"/>
                <a:gd name="connsiteX3150" fmla="*/ 1743407 w 12166600"/>
                <a:gd name="connsiteY3150" fmla="*/ 1373587 h 2770404"/>
                <a:gd name="connsiteX3151" fmla="*/ 1750636 w 12166600"/>
                <a:gd name="connsiteY3151" fmla="*/ 1373587 h 2770404"/>
                <a:gd name="connsiteX3152" fmla="*/ 1801238 w 12166600"/>
                <a:gd name="connsiteY3152" fmla="*/ 1380860 h 2770404"/>
                <a:gd name="connsiteX3153" fmla="*/ 1808468 w 12166600"/>
                <a:gd name="connsiteY3153" fmla="*/ 1380860 h 2770404"/>
                <a:gd name="connsiteX3154" fmla="*/ 1808468 w 12166600"/>
                <a:gd name="connsiteY3154" fmla="*/ 1373587 h 2770404"/>
                <a:gd name="connsiteX3155" fmla="*/ 1815695 w 12166600"/>
                <a:gd name="connsiteY3155" fmla="*/ 1329949 h 2770404"/>
                <a:gd name="connsiteX3156" fmla="*/ 1822924 w 12166600"/>
                <a:gd name="connsiteY3156" fmla="*/ 1300857 h 2770404"/>
                <a:gd name="connsiteX3157" fmla="*/ 1830153 w 12166600"/>
                <a:gd name="connsiteY3157" fmla="*/ 1279039 h 2770404"/>
                <a:gd name="connsiteX3158" fmla="*/ 1837382 w 12166600"/>
                <a:gd name="connsiteY3158" fmla="*/ 1249947 h 2770404"/>
                <a:gd name="connsiteX3159" fmla="*/ 1844611 w 12166600"/>
                <a:gd name="connsiteY3159" fmla="*/ 1206309 h 2770404"/>
                <a:gd name="connsiteX3160" fmla="*/ 1844611 w 12166600"/>
                <a:gd name="connsiteY3160" fmla="*/ 1199036 h 2770404"/>
                <a:gd name="connsiteX3161" fmla="*/ 1851840 w 12166600"/>
                <a:gd name="connsiteY3161" fmla="*/ 1184491 h 2770404"/>
                <a:gd name="connsiteX3162" fmla="*/ 1851840 w 12166600"/>
                <a:gd name="connsiteY3162" fmla="*/ 1177218 h 2770404"/>
                <a:gd name="connsiteX3163" fmla="*/ 1837382 w 12166600"/>
                <a:gd name="connsiteY3163" fmla="*/ 1140853 h 2770404"/>
                <a:gd name="connsiteX3164" fmla="*/ 1822924 w 12166600"/>
                <a:gd name="connsiteY3164" fmla="*/ 1140853 h 2770404"/>
                <a:gd name="connsiteX3165" fmla="*/ 4012548 w 12166600"/>
                <a:gd name="connsiteY3165" fmla="*/ 1138400 h 2770404"/>
                <a:gd name="connsiteX3166" fmla="*/ 4012548 w 12166600"/>
                <a:gd name="connsiteY3166" fmla="*/ 1154409 h 2770404"/>
                <a:gd name="connsiteX3167" fmla="*/ 4012548 w 12166600"/>
                <a:gd name="connsiteY3167" fmla="*/ 1178422 h 2770404"/>
                <a:gd name="connsiteX3168" fmla="*/ 4012548 w 12166600"/>
                <a:gd name="connsiteY3168" fmla="*/ 1138400 h 2770404"/>
                <a:gd name="connsiteX3169" fmla="*/ 3180985 w 12166600"/>
                <a:gd name="connsiteY3169" fmla="*/ 1138400 h 2770404"/>
                <a:gd name="connsiteX3170" fmla="*/ 3188397 w 12166600"/>
                <a:gd name="connsiteY3170" fmla="*/ 1146182 h 2770404"/>
                <a:gd name="connsiteX3171" fmla="*/ 3180985 w 12166600"/>
                <a:gd name="connsiteY3171" fmla="*/ 1169528 h 2770404"/>
                <a:gd name="connsiteX3172" fmla="*/ 3180985 w 12166600"/>
                <a:gd name="connsiteY3172" fmla="*/ 1138400 h 2770404"/>
                <a:gd name="connsiteX3173" fmla="*/ 11725547 w 12166600"/>
                <a:gd name="connsiteY3173" fmla="*/ 1119625 h 2770404"/>
                <a:gd name="connsiteX3174" fmla="*/ 11718316 w 12166600"/>
                <a:gd name="connsiteY3174" fmla="*/ 1126895 h 2770404"/>
                <a:gd name="connsiteX3175" fmla="*/ 11711086 w 12166600"/>
                <a:gd name="connsiteY3175" fmla="*/ 1134165 h 2770404"/>
                <a:gd name="connsiteX3176" fmla="*/ 11718316 w 12166600"/>
                <a:gd name="connsiteY3176" fmla="*/ 1134165 h 2770404"/>
                <a:gd name="connsiteX3177" fmla="*/ 11725547 w 12166600"/>
                <a:gd name="connsiteY3177" fmla="*/ 1134165 h 2770404"/>
                <a:gd name="connsiteX3178" fmla="*/ 11732777 w 12166600"/>
                <a:gd name="connsiteY3178" fmla="*/ 1134165 h 2770404"/>
                <a:gd name="connsiteX3179" fmla="*/ 11740007 w 12166600"/>
                <a:gd name="connsiteY3179" fmla="*/ 1134165 h 2770404"/>
                <a:gd name="connsiteX3180" fmla="*/ 11725547 w 12166600"/>
                <a:gd name="connsiteY3180" fmla="*/ 1119625 h 2770404"/>
                <a:gd name="connsiteX3181" fmla="*/ 11609861 w 12166600"/>
                <a:gd name="connsiteY3181" fmla="*/ 1119625 h 2770404"/>
                <a:gd name="connsiteX3182" fmla="*/ 11602630 w 12166600"/>
                <a:gd name="connsiteY3182" fmla="*/ 1126895 h 2770404"/>
                <a:gd name="connsiteX3183" fmla="*/ 11588169 w 12166600"/>
                <a:gd name="connsiteY3183" fmla="*/ 1141436 h 2770404"/>
                <a:gd name="connsiteX3184" fmla="*/ 11609861 w 12166600"/>
                <a:gd name="connsiteY3184" fmla="*/ 1134165 h 2770404"/>
                <a:gd name="connsiteX3185" fmla="*/ 11624321 w 12166600"/>
                <a:gd name="connsiteY3185" fmla="*/ 1134165 h 2770404"/>
                <a:gd name="connsiteX3186" fmla="*/ 11609861 w 12166600"/>
                <a:gd name="connsiteY3186" fmla="*/ 1119625 h 2770404"/>
                <a:gd name="connsiteX3187" fmla="*/ 11747238 w 12166600"/>
                <a:gd name="connsiteY3187" fmla="*/ 1097814 h 2770404"/>
                <a:gd name="connsiteX3188" fmla="*/ 11740007 w 12166600"/>
                <a:gd name="connsiteY3188" fmla="*/ 1105084 h 2770404"/>
                <a:gd name="connsiteX3189" fmla="*/ 11732777 w 12166600"/>
                <a:gd name="connsiteY3189" fmla="*/ 1112354 h 2770404"/>
                <a:gd name="connsiteX3190" fmla="*/ 11754468 w 12166600"/>
                <a:gd name="connsiteY3190" fmla="*/ 1126895 h 2770404"/>
                <a:gd name="connsiteX3191" fmla="*/ 11754468 w 12166600"/>
                <a:gd name="connsiteY3191" fmla="*/ 1112354 h 2770404"/>
                <a:gd name="connsiteX3192" fmla="*/ 11747238 w 12166600"/>
                <a:gd name="connsiteY3192" fmla="*/ 1097814 h 2770404"/>
                <a:gd name="connsiteX3193" fmla="*/ 11696625 w 12166600"/>
                <a:gd name="connsiteY3193" fmla="*/ 1097814 h 2770404"/>
                <a:gd name="connsiteX3194" fmla="*/ 11696625 w 12166600"/>
                <a:gd name="connsiteY3194" fmla="*/ 1105084 h 2770404"/>
                <a:gd name="connsiteX3195" fmla="*/ 11696625 w 12166600"/>
                <a:gd name="connsiteY3195" fmla="*/ 1112354 h 2770404"/>
                <a:gd name="connsiteX3196" fmla="*/ 11696625 w 12166600"/>
                <a:gd name="connsiteY3196" fmla="*/ 1119625 h 2770404"/>
                <a:gd name="connsiteX3197" fmla="*/ 11696625 w 12166600"/>
                <a:gd name="connsiteY3197" fmla="*/ 1126895 h 2770404"/>
                <a:gd name="connsiteX3198" fmla="*/ 11703856 w 12166600"/>
                <a:gd name="connsiteY3198" fmla="*/ 1126895 h 2770404"/>
                <a:gd name="connsiteX3199" fmla="*/ 11703856 w 12166600"/>
                <a:gd name="connsiteY3199" fmla="*/ 1119625 h 2770404"/>
                <a:gd name="connsiteX3200" fmla="*/ 11711086 w 12166600"/>
                <a:gd name="connsiteY3200" fmla="*/ 1112354 h 2770404"/>
                <a:gd name="connsiteX3201" fmla="*/ 11718316 w 12166600"/>
                <a:gd name="connsiteY3201" fmla="*/ 1112354 h 2770404"/>
                <a:gd name="connsiteX3202" fmla="*/ 11696625 w 12166600"/>
                <a:gd name="connsiteY3202" fmla="*/ 1097814 h 2770404"/>
                <a:gd name="connsiteX3203" fmla="*/ 11646013 w 12166600"/>
                <a:gd name="connsiteY3203" fmla="*/ 1097814 h 2770404"/>
                <a:gd name="connsiteX3204" fmla="*/ 11646013 w 12166600"/>
                <a:gd name="connsiteY3204" fmla="*/ 1112354 h 2770404"/>
                <a:gd name="connsiteX3205" fmla="*/ 11646013 w 12166600"/>
                <a:gd name="connsiteY3205" fmla="*/ 1126895 h 2770404"/>
                <a:gd name="connsiteX3206" fmla="*/ 11653243 w 12166600"/>
                <a:gd name="connsiteY3206" fmla="*/ 1112354 h 2770404"/>
                <a:gd name="connsiteX3207" fmla="*/ 11660473 w 12166600"/>
                <a:gd name="connsiteY3207" fmla="*/ 1112354 h 2770404"/>
                <a:gd name="connsiteX3208" fmla="*/ 11631552 w 12166600"/>
                <a:gd name="connsiteY3208" fmla="*/ 1097814 h 2770404"/>
                <a:gd name="connsiteX3209" fmla="*/ 11624321 w 12166600"/>
                <a:gd name="connsiteY3209" fmla="*/ 1105084 h 2770404"/>
                <a:gd name="connsiteX3210" fmla="*/ 11617091 w 12166600"/>
                <a:gd name="connsiteY3210" fmla="*/ 1112354 h 2770404"/>
                <a:gd name="connsiteX3211" fmla="*/ 11631552 w 12166600"/>
                <a:gd name="connsiteY3211" fmla="*/ 1126895 h 2770404"/>
                <a:gd name="connsiteX3212" fmla="*/ 11631552 w 12166600"/>
                <a:gd name="connsiteY3212" fmla="*/ 1112354 h 2770404"/>
                <a:gd name="connsiteX3213" fmla="*/ 11631552 w 12166600"/>
                <a:gd name="connsiteY3213" fmla="*/ 1097814 h 2770404"/>
                <a:gd name="connsiteX3214" fmla="*/ 11580939 w 12166600"/>
                <a:gd name="connsiteY3214" fmla="*/ 1097814 h 2770404"/>
                <a:gd name="connsiteX3215" fmla="*/ 11580939 w 12166600"/>
                <a:gd name="connsiteY3215" fmla="*/ 1112354 h 2770404"/>
                <a:gd name="connsiteX3216" fmla="*/ 11580939 w 12166600"/>
                <a:gd name="connsiteY3216" fmla="*/ 1126895 h 2770404"/>
                <a:gd name="connsiteX3217" fmla="*/ 11588169 w 12166600"/>
                <a:gd name="connsiteY3217" fmla="*/ 1119625 h 2770404"/>
                <a:gd name="connsiteX3218" fmla="*/ 11595400 w 12166600"/>
                <a:gd name="connsiteY3218" fmla="*/ 1112354 h 2770404"/>
                <a:gd name="connsiteX3219" fmla="*/ 11580939 w 12166600"/>
                <a:gd name="connsiteY3219" fmla="*/ 1097814 h 2770404"/>
                <a:gd name="connsiteX3220" fmla="*/ 2090392 w 12166600"/>
                <a:gd name="connsiteY3220" fmla="*/ 1097215 h 2770404"/>
                <a:gd name="connsiteX3221" fmla="*/ 2075934 w 12166600"/>
                <a:gd name="connsiteY3221" fmla="*/ 1133580 h 2770404"/>
                <a:gd name="connsiteX3222" fmla="*/ 2075934 w 12166600"/>
                <a:gd name="connsiteY3222" fmla="*/ 1169945 h 2770404"/>
                <a:gd name="connsiteX3223" fmla="*/ 2097621 w 12166600"/>
                <a:gd name="connsiteY3223" fmla="*/ 1184491 h 2770404"/>
                <a:gd name="connsiteX3224" fmla="*/ 2112079 w 12166600"/>
                <a:gd name="connsiteY3224" fmla="*/ 1191763 h 2770404"/>
                <a:gd name="connsiteX3225" fmla="*/ 2112079 w 12166600"/>
                <a:gd name="connsiteY3225" fmla="*/ 1126307 h 2770404"/>
                <a:gd name="connsiteX3226" fmla="*/ 2112079 w 12166600"/>
                <a:gd name="connsiteY3226" fmla="*/ 1119034 h 2770404"/>
                <a:gd name="connsiteX3227" fmla="*/ 2090392 w 12166600"/>
                <a:gd name="connsiteY3227" fmla="*/ 1097215 h 2770404"/>
                <a:gd name="connsiteX3228" fmla="*/ 11595400 w 12166600"/>
                <a:gd name="connsiteY3228" fmla="*/ 1090543 h 2770404"/>
                <a:gd name="connsiteX3229" fmla="*/ 11609861 w 12166600"/>
                <a:gd name="connsiteY3229" fmla="*/ 1105084 h 2770404"/>
                <a:gd name="connsiteX3230" fmla="*/ 11617091 w 12166600"/>
                <a:gd name="connsiteY3230" fmla="*/ 1097814 h 2770404"/>
                <a:gd name="connsiteX3231" fmla="*/ 11624321 w 12166600"/>
                <a:gd name="connsiteY3231" fmla="*/ 1090543 h 2770404"/>
                <a:gd name="connsiteX3232" fmla="*/ 11609861 w 12166600"/>
                <a:gd name="connsiteY3232" fmla="*/ 1090543 h 2770404"/>
                <a:gd name="connsiteX3233" fmla="*/ 11725547 w 12166600"/>
                <a:gd name="connsiteY3233" fmla="*/ 1083273 h 2770404"/>
                <a:gd name="connsiteX3234" fmla="*/ 11711086 w 12166600"/>
                <a:gd name="connsiteY3234" fmla="*/ 1090543 h 2770404"/>
                <a:gd name="connsiteX3235" fmla="*/ 11725547 w 12166600"/>
                <a:gd name="connsiteY3235" fmla="*/ 1097814 h 2770404"/>
                <a:gd name="connsiteX3236" fmla="*/ 11732777 w 12166600"/>
                <a:gd name="connsiteY3236" fmla="*/ 1090543 h 2770404"/>
                <a:gd name="connsiteX3237" fmla="*/ 11740007 w 12166600"/>
                <a:gd name="connsiteY3237" fmla="*/ 1090543 h 2770404"/>
                <a:gd name="connsiteX3238" fmla="*/ 11740007 w 12166600"/>
                <a:gd name="connsiteY3238" fmla="*/ 1083273 h 2770404"/>
                <a:gd name="connsiteX3239" fmla="*/ 11732777 w 12166600"/>
                <a:gd name="connsiteY3239" fmla="*/ 1083273 h 2770404"/>
                <a:gd name="connsiteX3240" fmla="*/ 11725547 w 12166600"/>
                <a:gd name="connsiteY3240" fmla="*/ 1083273 h 2770404"/>
                <a:gd name="connsiteX3241" fmla="*/ 2270211 w 12166600"/>
                <a:gd name="connsiteY3241" fmla="*/ 1066305 h 2770404"/>
                <a:gd name="connsiteX3242" fmla="*/ 2263885 w 12166600"/>
                <a:gd name="connsiteY3242" fmla="*/ 1068124 h 2770404"/>
                <a:gd name="connsiteX3243" fmla="*/ 2263885 w 12166600"/>
                <a:gd name="connsiteY3243" fmla="*/ 1075397 h 2770404"/>
                <a:gd name="connsiteX3244" fmla="*/ 2271115 w 12166600"/>
                <a:gd name="connsiteY3244" fmla="*/ 1075397 h 2770404"/>
                <a:gd name="connsiteX3245" fmla="*/ 2271115 w 12166600"/>
                <a:gd name="connsiteY3245" fmla="*/ 1097215 h 2770404"/>
                <a:gd name="connsiteX3246" fmla="*/ 2256656 w 12166600"/>
                <a:gd name="connsiteY3246" fmla="*/ 1104488 h 2770404"/>
                <a:gd name="connsiteX3247" fmla="*/ 2242198 w 12166600"/>
                <a:gd name="connsiteY3247" fmla="*/ 1155399 h 2770404"/>
                <a:gd name="connsiteX3248" fmla="*/ 2242198 w 12166600"/>
                <a:gd name="connsiteY3248" fmla="*/ 1177218 h 2770404"/>
                <a:gd name="connsiteX3249" fmla="*/ 2242198 w 12166600"/>
                <a:gd name="connsiteY3249" fmla="*/ 1184491 h 2770404"/>
                <a:gd name="connsiteX3250" fmla="*/ 2242198 w 12166600"/>
                <a:gd name="connsiteY3250" fmla="*/ 1191763 h 2770404"/>
                <a:gd name="connsiteX3251" fmla="*/ 2242198 w 12166600"/>
                <a:gd name="connsiteY3251" fmla="*/ 1293584 h 2770404"/>
                <a:gd name="connsiteX3252" fmla="*/ 2249428 w 12166600"/>
                <a:gd name="connsiteY3252" fmla="*/ 1264493 h 2770404"/>
                <a:gd name="connsiteX3253" fmla="*/ 2256656 w 12166600"/>
                <a:gd name="connsiteY3253" fmla="*/ 1213582 h 2770404"/>
                <a:gd name="connsiteX3254" fmla="*/ 2256656 w 12166600"/>
                <a:gd name="connsiteY3254" fmla="*/ 1199036 h 2770404"/>
                <a:gd name="connsiteX3255" fmla="*/ 2263885 w 12166600"/>
                <a:gd name="connsiteY3255" fmla="*/ 1169945 h 2770404"/>
                <a:gd name="connsiteX3256" fmla="*/ 2263885 w 12166600"/>
                <a:gd name="connsiteY3256" fmla="*/ 1162672 h 2770404"/>
                <a:gd name="connsiteX3257" fmla="*/ 2271115 w 12166600"/>
                <a:gd name="connsiteY3257" fmla="*/ 1140853 h 2770404"/>
                <a:gd name="connsiteX3258" fmla="*/ 2278344 w 12166600"/>
                <a:gd name="connsiteY3258" fmla="*/ 1104488 h 2770404"/>
                <a:gd name="connsiteX3259" fmla="*/ 2271115 w 12166600"/>
                <a:gd name="connsiteY3259" fmla="*/ 1075397 h 2770404"/>
                <a:gd name="connsiteX3260" fmla="*/ 2270211 w 12166600"/>
                <a:gd name="connsiteY3260" fmla="*/ 1066305 h 2770404"/>
                <a:gd name="connsiteX3261" fmla="*/ 11718316 w 12166600"/>
                <a:gd name="connsiteY3261" fmla="*/ 1061462 h 2770404"/>
                <a:gd name="connsiteX3262" fmla="*/ 11711086 w 12166600"/>
                <a:gd name="connsiteY3262" fmla="*/ 1068733 h 2770404"/>
                <a:gd name="connsiteX3263" fmla="*/ 11703856 w 12166600"/>
                <a:gd name="connsiteY3263" fmla="*/ 1076003 h 2770404"/>
                <a:gd name="connsiteX3264" fmla="*/ 11711086 w 12166600"/>
                <a:gd name="connsiteY3264" fmla="*/ 1076003 h 2770404"/>
                <a:gd name="connsiteX3265" fmla="*/ 11718316 w 12166600"/>
                <a:gd name="connsiteY3265" fmla="*/ 1076003 h 2770404"/>
                <a:gd name="connsiteX3266" fmla="*/ 11732777 w 12166600"/>
                <a:gd name="connsiteY3266" fmla="*/ 1076003 h 2770404"/>
                <a:gd name="connsiteX3267" fmla="*/ 11718316 w 12166600"/>
                <a:gd name="connsiteY3267" fmla="*/ 1061462 h 2770404"/>
                <a:gd name="connsiteX3268" fmla="*/ 11609861 w 12166600"/>
                <a:gd name="connsiteY3268" fmla="*/ 1061462 h 2770404"/>
                <a:gd name="connsiteX3269" fmla="*/ 11602630 w 12166600"/>
                <a:gd name="connsiteY3269" fmla="*/ 1068733 h 2770404"/>
                <a:gd name="connsiteX3270" fmla="*/ 11595400 w 12166600"/>
                <a:gd name="connsiteY3270" fmla="*/ 1076003 h 2770404"/>
                <a:gd name="connsiteX3271" fmla="*/ 11609861 w 12166600"/>
                <a:gd name="connsiteY3271" fmla="*/ 1076003 h 2770404"/>
                <a:gd name="connsiteX3272" fmla="*/ 11624321 w 12166600"/>
                <a:gd name="connsiteY3272" fmla="*/ 1076003 h 2770404"/>
                <a:gd name="connsiteX3273" fmla="*/ 11609861 w 12166600"/>
                <a:gd name="connsiteY3273" fmla="*/ 1061462 h 2770404"/>
                <a:gd name="connsiteX3274" fmla="*/ 11674934 w 12166600"/>
                <a:gd name="connsiteY3274" fmla="*/ 1046922 h 2770404"/>
                <a:gd name="connsiteX3275" fmla="*/ 11682164 w 12166600"/>
                <a:gd name="connsiteY3275" fmla="*/ 1061462 h 2770404"/>
                <a:gd name="connsiteX3276" fmla="*/ 11682164 w 12166600"/>
                <a:gd name="connsiteY3276" fmla="*/ 1046922 h 2770404"/>
                <a:gd name="connsiteX3277" fmla="*/ 11674934 w 12166600"/>
                <a:gd name="connsiteY3277" fmla="*/ 1046922 h 2770404"/>
                <a:gd name="connsiteX3278" fmla="*/ 11696625 w 12166600"/>
                <a:gd name="connsiteY3278" fmla="*/ 1039651 h 2770404"/>
                <a:gd name="connsiteX3279" fmla="*/ 11696625 w 12166600"/>
                <a:gd name="connsiteY3279" fmla="*/ 1046922 h 2770404"/>
                <a:gd name="connsiteX3280" fmla="*/ 11696625 w 12166600"/>
                <a:gd name="connsiteY3280" fmla="*/ 1061462 h 2770404"/>
                <a:gd name="connsiteX3281" fmla="*/ 11703856 w 12166600"/>
                <a:gd name="connsiteY3281" fmla="*/ 1054192 h 2770404"/>
                <a:gd name="connsiteX3282" fmla="*/ 11711086 w 12166600"/>
                <a:gd name="connsiteY3282" fmla="*/ 1046922 h 2770404"/>
                <a:gd name="connsiteX3283" fmla="*/ 11696625 w 12166600"/>
                <a:gd name="connsiteY3283" fmla="*/ 1039651 h 2770404"/>
                <a:gd name="connsiteX3284" fmla="*/ 11631552 w 12166600"/>
                <a:gd name="connsiteY3284" fmla="*/ 1039651 h 2770404"/>
                <a:gd name="connsiteX3285" fmla="*/ 11624321 w 12166600"/>
                <a:gd name="connsiteY3285" fmla="*/ 1046922 h 2770404"/>
                <a:gd name="connsiteX3286" fmla="*/ 11617091 w 12166600"/>
                <a:gd name="connsiteY3286" fmla="*/ 1054192 h 2770404"/>
                <a:gd name="connsiteX3287" fmla="*/ 11631552 w 12166600"/>
                <a:gd name="connsiteY3287" fmla="*/ 1068733 h 2770404"/>
                <a:gd name="connsiteX3288" fmla="*/ 11631552 w 12166600"/>
                <a:gd name="connsiteY3288" fmla="*/ 1061462 h 2770404"/>
                <a:gd name="connsiteX3289" fmla="*/ 11631552 w 12166600"/>
                <a:gd name="connsiteY3289" fmla="*/ 1054192 h 2770404"/>
                <a:gd name="connsiteX3290" fmla="*/ 11631552 w 12166600"/>
                <a:gd name="connsiteY3290" fmla="*/ 1039651 h 2770404"/>
                <a:gd name="connsiteX3291" fmla="*/ 11588169 w 12166600"/>
                <a:gd name="connsiteY3291" fmla="*/ 1039651 h 2770404"/>
                <a:gd name="connsiteX3292" fmla="*/ 11588169 w 12166600"/>
                <a:gd name="connsiteY3292" fmla="*/ 1054192 h 2770404"/>
                <a:gd name="connsiteX3293" fmla="*/ 11588169 w 12166600"/>
                <a:gd name="connsiteY3293" fmla="*/ 1068733 h 2770404"/>
                <a:gd name="connsiteX3294" fmla="*/ 11595400 w 12166600"/>
                <a:gd name="connsiteY3294" fmla="*/ 1061462 h 2770404"/>
                <a:gd name="connsiteX3295" fmla="*/ 11602630 w 12166600"/>
                <a:gd name="connsiteY3295" fmla="*/ 1054192 h 2770404"/>
                <a:gd name="connsiteX3296" fmla="*/ 11588169 w 12166600"/>
                <a:gd name="connsiteY3296" fmla="*/ 1039651 h 2770404"/>
                <a:gd name="connsiteX3297" fmla="*/ 2234970 w 12166600"/>
                <a:gd name="connsiteY3297" fmla="*/ 1031759 h 2770404"/>
                <a:gd name="connsiteX3298" fmla="*/ 2234970 w 12166600"/>
                <a:gd name="connsiteY3298" fmla="*/ 1046305 h 2770404"/>
                <a:gd name="connsiteX3299" fmla="*/ 2242198 w 12166600"/>
                <a:gd name="connsiteY3299" fmla="*/ 1053578 h 2770404"/>
                <a:gd name="connsiteX3300" fmla="*/ 2234970 w 12166600"/>
                <a:gd name="connsiteY3300" fmla="*/ 1031759 h 2770404"/>
                <a:gd name="connsiteX3301" fmla="*/ 11703856 w 12166600"/>
                <a:gd name="connsiteY3301" fmla="*/ 1025111 h 2770404"/>
                <a:gd name="connsiteX3302" fmla="*/ 11718316 w 12166600"/>
                <a:gd name="connsiteY3302" fmla="*/ 1039651 h 2770404"/>
                <a:gd name="connsiteX3303" fmla="*/ 11725547 w 12166600"/>
                <a:gd name="connsiteY3303" fmla="*/ 1032381 h 2770404"/>
                <a:gd name="connsiteX3304" fmla="*/ 11732777 w 12166600"/>
                <a:gd name="connsiteY3304" fmla="*/ 1025111 h 2770404"/>
                <a:gd name="connsiteX3305" fmla="*/ 11718316 w 12166600"/>
                <a:gd name="connsiteY3305" fmla="*/ 1025111 h 2770404"/>
                <a:gd name="connsiteX3306" fmla="*/ 11711086 w 12166600"/>
                <a:gd name="connsiteY3306" fmla="*/ 1025111 h 2770404"/>
                <a:gd name="connsiteX3307" fmla="*/ 11703856 w 12166600"/>
                <a:gd name="connsiteY3307" fmla="*/ 1025111 h 2770404"/>
                <a:gd name="connsiteX3308" fmla="*/ 11653243 w 12166600"/>
                <a:gd name="connsiteY3308" fmla="*/ 1025111 h 2770404"/>
                <a:gd name="connsiteX3309" fmla="*/ 11667704 w 12166600"/>
                <a:gd name="connsiteY3309" fmla="*/ 1039651 h 2770404"/>
                <a:gd name="connsiteX3310" fmla="*/ 11667704 w 12166600"/>
                <a:gd name="connsiteY3310" fmla="*/ 1032381 h 2770404"/>
                <a:gd name="connsiteX3311" fmla="*/ 11674934 w 12166600"/>
                <a:gd name="connsiteY3311" fmla="*/ 1025111 h 2770404"/>
                <a:gd name="connsiteX3312" fmla="*/ 11660473 w 12166600"/>
                <a:gd name="connsiteY3312" fmla="*/ 1025111 h 2770404"/>
                <a:gd name="connsiteX3313" fmla="*/ 11653243 w 12166600"/>
                <a:gd name="connsiteY3313" fmla="*/ 1025111 h 2770404"/>
                <a:gd name="connsiteX3314" fmla="*/ 11595400 w 12166600"/>
                <a:gd name="connsiteY3314" fmla="*/ 1025111 h 2770404"/>
                <a:gd name="connsiteX3315" fmla="*/ 11609861 w 12166600"/>
                <a:gd name="connsiteY3315" fmla="*/ 1039651 h 2770404"/>
                <a:gd name="connsiteX3316" fmla="*/ 11617091 w 12166600"/>
                <a:gd name="connsiteY3316" fmla="*/ 1032381 h 2770404"/>
                <a:gd name="connsiteX3317" fmla="*/ 11624321 w 12166600"/>
                <a:gd name="connsiteY3317" fmla="*/ 1032381 h 2770404"/>
                <a:gd name="connsiteX3318" fmla="*/ 11624321 w 12166600"/>
                <a:gd name="connsiteY3318" fmla="*/ 1025111 h 2770404"/>
                <a:gd name="connsiteX3319" fmla="*/ 11617091 w 12166600"/>
                <a:gd name="connsiteY3319" fmla="*/ 1025111 h 2770404"/>
                <a:gd name="connsiteX3320" fmla="*/ 11609861 w 12166600"/>
                <a:gd name="connsiteY3320" fmla="*/ 1025111 h 2770404"/>
                <a:gd name="connsiteX3321" fmla="*/ 11602630 w 12166600"/>
                <a:gd name="connsiteY3321" fmla="*/ 1025111 h 2770404"/>
                <a:gd name="connsiteX3322" fmla="*/ 2227741 w 12166600"/>
                <a:gd name="connsiteY3322" fmla="*/ 1024486 h 2770404"/>
                <a:gd name="connsiteX3323" fmla="*/ 2220512 w 12166600"/>
                <a:gd name="connsiteY3323" fmla="*/ 1031759 h 2770404"/>
                <a:gd name="connsiteX3324" fmla="*/ 2220512 w 12166600"/>
                <a:gd name="connsiteY3324" fmla="*/ 1046305 h 2770404"/>
                <a:gd name="connsiteX3325" fmla="*/ 2227741 w 12166600"/>
                <a:gd name="connsiteY3325" fmla="*/ 1046305 h 2770404"/>
                <a:gd name="connsiteX3326" fmla="*/ 2169909 w 12166600"/>
                <a:gd name="connsiteY3326" fmla="*/ 1017213 h 2770404"/>
                <a:gd name="connsiteX3327" fmla="*/ 2162682 w 12166600"/>
                <a:gd name="connsiteY3327" fmla="*/ 1039032 h 2770404"/>
                <a:gd name="connsiteX3328" fmla="*/ 2169909 w 12166600"/>
                <a:gd name="connsiteY3328" fmla="*/ 1039032 h 2770404"/>
                <a:gd name="connsiteX3329" fmla="*/ 11718316 w 12166600"/>
                <a:gd name="connsiteY3329" fmla="*/ 996030 h 2770404"/>
                <a:gd name="connsiteX3330" fmla="*/ 11711086 w 12166600"/>
                <a:gd name="connsiteY3330" fmla="*/ 1003300 h 2770404"/>
                <a:gd name="connsiteX3331" fmla="*/ 11703856 w 12166600"/>
                <a:gd name="connsiteY3331" fmla="*/ 1010570 h 2770404"/>
                <a:gd name="connsiteX3332" fmla="*/ 11725547 w 12166600"/>
                <a:gd name="connsiteY3332" fmla="*/ 1010570 h 2770404"/>
                <a:gd name="connsiteX3333" fmla="*/ 11732777 w 12166600"/>
                <a:gd name="connsiteY3333" fmla="*/ 1010570 h 2770404"/>
                <a:gd name="connsiteX3334" fmla="*/ 11718316 w 12166600"/>
                <a:gd name="connsiteY3334" fmla="*/ 996030 h 2770404"/>
                <a:gd name="connsiteX3335" fmla="*/ 11609861 w 12166600"/>
                <a:gd name="connsiteY3335" fmla="*/ 996030 h 2770404"/>
                <a:gd name="connsiteX3336" fmla="*/ 11602630 w 12166600"/>
                <a:gd name="connsiteY3336" fmla="*/ 1003300 h 2770404"/>
                <a:gd name="connsiteX3337" fmla="*/ 11602630 w 12166600"/>
                <a:gd name="connsiteY3337" fmla="*/ 1010570 h 2770404"/>
                <a:gd name="connsiteX3338" fmla="*/ 11595400 w 12166600"/>
                <a:gd name="connsiteY3338" fmla="*/ 1017841 h 2770404"/>
                <a:gd name="connsiteX3339" fmla="*/ 11602630 w 12166600"/>
                <a:gd name="connsiteY3339" fmla="*/ 1017841 h 2770404"/>
                <a:gd name="connsiteX3340" fmla="*/ 11617091 w 12166600"/>
                <a:gd name="connsiteY3340" fmla="*/ 1017841 h 2770404"/>
                <a:gd name="connsiteX3341" fmla="*/ 11624321 w 12166600"/>
                <a:gd name="connsiteY3341" fmla="*/ 1017841 h 2770404"/>
                <a:gd name="connsiteX3342" fmla="*/ 11609861 w 12166600"/>
                <a:gd name="connsiteY3342" fmla="*/ 996030 h 2770404"/>
                <a:gd name="connsiteX3343" fmla="*/ 2186626 w 12166600"/>
                <a:gd name="connsiteY3343" fmla="*/ 993690 h 2770404"/>
                <a:gd name="connsiteX3344" fmla="*/ 2177138 w 12166600"/>
                <a:gd name="connsiteY3344" fmla="*/ 995394 h 2770404"/>
                <a:gd name="connsiteX3345" fmla="*/ 2177138 w 12166600"/>
                <a:gd name="connsiteY3345" fmla="*/ 1039032 h 2770404"/>
                <a:gd name="connsiteX3346" fmla="*/ 2191597 w 12166600"/>
                <a:gd name="connsiteY3346" fmla="*/ 1039032 h 2770404"/>
                <a:gd name="connsiteX3347" fmla="*/ 2198825 w 12166600"/>
                <a:gd name="connsiteY3347" fmla="*/ 1046305 h 2770404"/>
                <a:gd name="connsiteX3348" fmla="*/ 2198825 w 12166600"/>
                <a:gd name="connsiteY3348" fmla="*/ 1031759 h 2770404"/>
                <a:gd name="connsiteX3349" fmla="*/ 2198825 w 12166600"/>
                <a:gd name="connsiteY3349" fmla="*/ 1017213 h 2770404"/>
                <a:gd name="connsiteX3350" fmla="*/ 2186626 w 12166600"/>
                <a:gd name="connsiteY3350" fmla="*/ 993690 h 2770404"/>
                <a:gd name="connsiteX3351" fmla="*/ 4974707 w 12166600"/>
                <a:gd name="connsiteY3351" fmla="*/ 988121 h 2770404"/>
                <a:gd name="connsiteX3352" fmla="*/ 4967478 w 12166600"/>
                <a:gd name="connsiteY3352" fmla="*/ 1002667 h 2770404"/>
                <a:gd name="connsiteX3353" fmla="*/ 4967478 w 12166600"/>
                <a:gd name="connsiteY3353" fmla="*/ 1060851 h 2770404"/>
                <a:gd name="connsiteX3354" fmla="*/ 4974707 w 12166600"/>
                <a:gd name="connsiteY3354" fmla="*/ 1053578 h 2770404"/>
                <a:gd name="connsiteX3355" fmla="*/ 4974707 w 12166600"/>
                <a:gd name="connsiteY3355" fmla="*/ 1046305 h 2770404"/>
                <a:gd name="connsiteX3356" fmla="*/ 4974707 w 12166600"/>
                <a:gd name="connsiteY3356" fmla="*/ 1002667 h 2770404"/>
                <a:gd name="connsiteX3357" fmla="*/ 4974707 w 12166600"/>
                <a:gd name="connsiteY3357" fmla="*/ 995394 h 2770404"/>
                <a:gd name="connsiteX3358" fmla="*/ 4974707 w 12166600"/>
                <a:gd name="connsiteY3358" fmla="*/ 988121 h 2770404"/>
                <a:gd name="connsiteX3359" fmla="*/ 11646013 w 12166600"/>
                <a:gd name="connsiteY3359" fmla="*/ 981489 h 2770404"/>
                <a:gd name="connsiteX3360" fmla="*/ 11646013 w 12166600"/>
                <a:gd name="connsiteY3360" fmla="*/ 988759 h 2770404"/>
                <a:gd name="connsiteX3361" fmla="*/ 11646013 w 12166600"/>
                <a:gd name="connsiteY3361" fmla="*/ 996030 h 2770404"/>
                <a:gd name="connsiteX3362" fmla="*/ 11653243 w 12166600"/>
                <a:gd name="connsiteY3362" fmla="*/ 996030 h 2770404"/>
                <a:gd name="connsiteX3363" fmla="*/ 11653243 w 12166600"/>
                <a:gd name="connsiteY3363" fmla="*/ 988759 h 2770404"/>
                <a:gd name="connsiteX3364" fmla="*/ 11646013 w 12166600"/>
                <a:gd name="connsiteY3364" fmla="*/ 981489 h 2770404"/>
                <a:gd name="connsiteX3365" fmla="*/ 5039767 w 12166600"/>
                <a:gd name="connsiteY3365" fmla="*/ 980849 h 2770404"/>
                <a:gd name="connsiteX3366" fmla="*/ 5025309 w 12166600"/>
                <a:gd name="connsiteY3366" fmla="*/ 995394 h 2770404"/>
                <a:gd name="connsiteX3367" fmla="*/ 5025309 w 12166600"/>
                <a:gd name="connsiteY3367" fmla="*/ 1053578 h 2770404"/>
                <a:gd name="connsiteX3368" fmla="*/ 5032538 w 12166600"/>
                <a:gd name="connsiteY3368" fmla="*/ 1053578 h 2770404"/>
                <a:gd name="connsiteX3369" fmla="*/ 5054224 w 12166600"/>
                <a:gd name="connsiteY3369" fmla="*/ 1053578 h 2770404"/>
                <a:gd name="connsiteX3370" fmla="*/ 5054224 w 12166600"/>
                <a:gd name="connsiteY3370" fmla="*/ 995394 h 2770404"/>
                <a:gd name="connsiteX3371" fmla="*/ 5046995 w 12166600"/>
                <a:gd name="connsiteY3371" fmla="*/ 980849 h 2770404"/>
                <a:gd name="connsiteX3372" fmla="*/ 5039767 w 12166600"/>
                <a:gd name="connsiteY3372" fmla="*/ 980849 h 2770404"/>
                <a:gd name="connsiteX3373" fmla="*/ 4996393 w 12166600"/>
                <a:gd name="connsiteY3373" fmla="*/ 980849 h 2770404"/>
                <a:gd name="connsiteX3374" fmla="*/ 4981936 w 12166600"/>
                <a:gd name="connsiteY3374" fmla="*/ 988121 h 2770404"/>
                <a:gd name="connsiteX3375" fmla="*/ 4981936 w 12166600"/>
                <a:gd name="connsiteY3375" fmla="*/ 995394 h 2770404"/>
                <a:gd name="connsiteX3376" fmla="*/ 4981936 w 12166600"/>
                <a:gd name="connsiteY3376" fmla="*/ 1002667 h 2770404"/>
                <a:gd name="connsiteX3377" fmla="*/ 4981936 w 12166600"/>
                <a:gd name="connsiteY3377" fmla="*/ 1053578 h 2770404"/>
                <a:gd name="connsiteX3378" fmla="*/ 4996393 w 12166600"/>
                <a:gd name="connsiteY3378" fmla="*/ 1053578 h 2770404"/>
                <a:gd name="connsiteX3379" fmla="*/ 5018080 w 12166600"/>
                <a:gd name="connsiteY3379" fmla="*/ 1053578 h 2770404"/>
                <a:gd name="connsiteX3380" fmla="*/ 5018080 w 12166600"/>
                <a:gd name="connsiteY3380" fmla="*/ 995394 h 2770404"/>
                <a:gd name="connsiteX3381" fmla="*/ 5003622 w 12166600"/>
                <a:gd name="connsiteY3381" fmla="*/ 980849 h 2770404"/>
                <a:gd name="connsiteX3382" fmla="*/ 4996393 w 12166600"/>
                <a:gd name="connsiteY3382" fmla="*/ 980849 h 2770404"/>
                <a:gd name="connsiteX3383" fmla="*/ 11740007 w 12166600"/>
                <a:gd name="connsiteY3383" fmla="*/ 974219 h 2770404"/>
                <a:gd name="connsiteX3384" fmla="*/ 11725547 w 12166600"/>
                <a:gd name="connsiteY3384" fmla="*/ 988759 h 2770404"/>
                <a:gd name="connsiteX3385" fmla="*/ 11740007 w 12166600"/>
                <a:gd name="connsiteY3385" fmla="*/ 1003300 h 2770404"/>
                <a:gd name="connsiteX3386" fmla="*/ 11740007 w 12166600"/>
                <a:gd name="connsiteY3386" fmla="*/ 974219 h 2770404"/>
                <a:gd name="connsiteX3387" fmla="*/ 11696625 w 12166600"/>
                <a:gd name="connsiteY3387" fmla="*/ 974219 h 2770404"/>
                <a:gd name="connsiteX3388" fmla="*/ 11696625 w 12166600"/>
                <a:gd name="connsiteY3388" fmla="*/ 988759 h 2770404"/>
                <a:gd name="connsiteX3389" fmla="*/ 11696625 w 12166600"/>
                <a:gd name="connsiteY3389" fmla="*/ 1003300 h 2770404"/>
                <a:gd name="connsiteX3390" fmla="*/ 11703856 w 12166600"/>
                <a:gd name="connsiteY3390" fmla="*/ 996030 h 2770404"/>
                <a:gd name="connsiteX3391" fmla="*/ 11711086 w 12166600"/>
                <a:gd name="connsiteY3391" fmla="*/ 988759 h 2770404"/>
                <a:gd name="connsiteX3392" fmla="*/ 11696625 w 12166600"/>
                <a:gd name="connsiteY3392" fmla="*/ 974219 h 2770404"/>
                <a:gd name="connsiteX3393" fmla="*/ 11682164 w 12166600"/>
                <a:gd name="connsiteY3393" fmla="*/ 974219 h 2770404"/>
                <a:gd name="connsiteX3394" fmla="*/ 11674934 w 12166600"/>
                <a:gd name="connsiteY3394" fmla="*/ 981489 h 2770404"/>
                <a:gd name="connsiteX3395" fmla="*/ 11674934 w 12166600"/>
                <a:gd name="connsiteY3395" fmla="*/ 988759 h 2770404"/>
                <a:gd name="connsiteX3396" fmla="*/ 11682164 w 12166600"/>
                <a:gd name="connsiteY3396" fmla="*/ 996030 h 2770404"/>
                <a:gd name="connsiteX3397" fmla="*/ 11682164 w 12166600"/>
                <a:gd name="connsiteY3397" fmla="*/ 988759 h 2770404"/>
                <a:gd name="connsiteX3398" fmla="*/ 11682164 w 12166600"/>
                <a:gd name="connsiteY3398" fmla="*/ 974219 h 2770404"/>
                <a:gd name="connsiteX3399" fmla="*/ 11588169 w 12166600"/>
                <a:gd name="connsiteY3399" fmla="*/ 974219 h 2770404"/>
                <a:gd name="connsiteX3400" fmla="*/ 11588169 w 12166600"/>
                <a:gd name="connsiteY3400" fmla="*/ 988759 h 2770404"/>
                <a:gd name="connsiteX3401" fmla="*/ 11588169 w 12166600"/>
                <a:gd name="connsiteY3401" fmla="*/ 996030 h 2770404"/>
                <a:gd name="connsiteX3402" fmla="*/ 11588169 w 12166600"/>
                <a:gd name="connsiteY3402" fmla="*/ 1003300 h 2770404"/>
                <a:gd name="connsiteX3403" fmla="*/ 11595400 w 12166600"/>
                <a:gd name="connsiteY3403" fmla="*/ 996030 h 2770404"/>
                <a:gd name="connsiteX3404" fmla="*/ 11602630 w 12166600"/>
                <a:gd name="connsiteY3404" fmla="*/ 988759 h 2770404"/>
                <a:gd name="connsiteX3405" fmla="*/ 11588169 w 12166600"/>
                <a:gd name="connsiteY3405" fmla="*/ 974219 h 2770404"/>
                <a:gd name="connsiteX3406" fmla="*/ 2148224 w 12166600"/>
                <a:gd name="connsiteY3406" fmla="*/ 973576 h 2770404"/>
                <a:gd name="connsiteX3407" fmla="*/ 2140994 w 12166600"/>
                <a:gd name="connsiteY3407" fmla="*/ 980849 h 2770404"/>
                <a:gd name="connsiteX3408" fmla="*/ 2140994 w 12166600"/>
                <a:gd name="connsiteY3408" fmla="*/ 988121 h 2770404"/>
                <a:gd name="connsiteX3409" fmla="*/ 2140994 w 12166600"/>
                <a:gd name="connsiteY3409" fmla="*/ 995394 h 2770404"/>
                <a:gd name="connsiteX3410" fmla="*/ 2140994 w 12166600"/>
                <a:gd name="connsiteY3410" fmla="*/ 1046305 h 2770404"/>
                <a:gd name="connsiteX3411" fmla="*/ 2148224 w 12166600"/>
                <a:gd name="connsiteY3411" fmla="*/ 1046305 h 2770404"/>
                <a:gd name="connsiteX3412" fmla="*/ 2155452 w 12166600"/>
                <a:gd name="connsiteY3412" fmla="*/ 1009940 h 2770404"/>
                <a:gd name="connsiteX3413" fmla="*/ 2155452 w 12166600"/>
                <a:gd name="connsiteY3413" fmla="*/ 1002667 h 2770404"/>
                <a:gd name="connsiteX3414" fmla="*/ 2155452 w 12166600"/>
                <a:gd name="connsiteY3414" fmla="*/ 988121 h 2770404"/>
                <a:gd name="connsiteX3415" fmla="*/ 2148224 w 12166600"/>
                <a:gd name="connsiteY3415" fmla="*/ 973576 h 2770404"/>
                <a:gd name="connsiteX3416" fmla="*/ 2126537 w 12166600"/>
                <a:gd name="connsiteY3416" fmla="*/ 973576 h 2770404"/>
                <a:gd name="connsiteX3417" fmla="*/ 2126537 w 12166600"/>
                <a:gd name="connsiteY3417" fmla="*/ 995394 h 2770404"/>
                <a:gd name="connsiteX3418" fmla="*/ 2126537 w 12166600"/>
                <a:gd name="connsiteY3418" fmla="*/ 1046305 h 2770404"/>
                <a:gd name="connsiteX3419" fmla="*/ 2133765 w 12166600"/>
                <a:gd name="connsiteY3419" fmla="*/ 1046305 h 2770404"/>
                <a:gd name="connsiteX3420" fmla="*/ 2133765 w 12166600"/>
                <a:gd name="connsiteY3420" fmla="*/ 1039032 h 2770404"/>
                <a:gd name="connsiteX3421" fmla="*/ 2133765 w 12166600"/>
                <a:gd name="connsiteY3421" fmla="*/ 995394 h 2770404"/>
                <a:gd name="connsiteX3422" fmla="*/ 2133765 w 12166600"/>
                <a:gd name="connsiteY3422" fmla="*/ 988121 h 2770404"/>
                <a:gd name="connsiteX3423" fmla="*/ 2126537 w 12166600"/>
                <a:gd name="connsiteY3423" fmla="*/ 973576 h 2770404"/>
                <a:gd name="connsiteX3424" fmla="*/ 2112079 w 12166600"/>
                <a:gd name="connsiteY3424" fmla="*/ 973576 h 2770404"/>
                <a:gd name="connsiteX3425" fmla="*/ 2112079 w 12166600"/>
                <a:gd name="connsiteY3425" fmla="*/ 980849 h 2770404"/>
                <a:gd name="connsiteX3426" fmla="*/ 2104850 w 12166600"/>
                <a:gd name="connsiteY3426" fmla="*/ 1024486 h 2770404"/>
                <a:gd name="connsiteX3427" fmla="*/ 2097621 w 12166600"/>
                <a:gd name="connsiteY3427" fmla="*/ 1039032 h 2770404"/>
                <a:gd name="connsiteX3428" fmla="*/ 2097621 w 12166600"/>
                <a:gd name="connsiteY3428" fmla="*/ 1046305 h 2770404"/>
                <a:gd name="connsiteX3429" fmla="*/ 2097621 w 12166600"/>
                <a:gd name="connsiteY3429" fmla="*/ 1060851 h 2770404"/>
                <a:gd name="connsiteX3430" fmla="*/ 2112079 w 12166600"/>
                <a:gd name="connsiteY3430" fmla="*/ 1046305 h 2770404"/>
                <a:gd name="connsiteX3431" fmla="*/ 2119309 w 12166600"/>
                <a:gd name="connsiteY3431" fmla="*/ 980849 h 2770404"/>
                <a:gd name="connsiteX3432" fmla="*/ 2112079 w 12166600"/>
                <a:gd name="connsiteY3432" fmla="*/ 973576 h 2770404"/>
                <a:gd name="connsiteX3433" fmla="*/ 11703856 w 12166600"/>
                <a:gd name="connsiteY3433" fmla="*/ 966949 h 2770404"/>
                <a:gd name="connsiteX3434" fmla="*/ 11718316 w 12166600"/>
                <a:gd name="connsiteY3434" fmla="*/ 974219 h 2770404"/>
                <a:gd name="connsiteX3435" fmla="*/ 11725547 w 12166600"/>
                <a:gd name="connsiteY3435" fmla="*/ 966949 h 2770404"/>
                <a:gd name="connsiteX3436" fmla="*/ 11703856 w 12166600"/>
                <a:gd name="connsiteY3436" fmla="*/ 966949 h 2770404"/>
                <a:gd name="connsiteX3437" fmla="*/ 11595400 w 12166600"/>
                <a:gd name="connsiteY3437" fmla="*/ 966949 h 2770404"/>
                <a:gd name="connsiteX3438" fmla="*/ 11609861 w 12166600"/>
                <a:gd name="connsiteY3438" fmla="*/ 981489 h 2770404"/>
                <a:gd name="connsiteX3439" fmla="*/ 11617091 w 12166600"/>
                <a:gd name="connsiteY3439" fmla="*/ 974219 h 2770404"/>
                <a:gd name="connsiteX3440" fmla="*/ 11624321 w 12166600"/>
                <a:gd name="connsiteY3440" fmla="*/ 966949 h 2770404"/>
                <a:gd name="connsiteX3441" fmla="*/ 11602630 w 12166600"/>
                <a:gd name="connsiteY3441" fmla="*/ 966949 h 2770404"/>
                <a:gd name="connsiteX3442" fmla="*/ 2256656 w 12166600"/>
                <a:gd name="connsiteY3442" fmla="*/ 966303 h 2770404"/>
                <a:gd name="connsiteX3443" fmla="*/ 2249428 w 12166600"/>
                <a:gd name="connsiteY3443" fmla="*/ 973576 h 2770404"/>
                <a:gd name="connsiteX3444" fmla="*/ 2234970 w 12166600"/>
                <a:gd name="connsiteY3444" fmla="*/ 980849 h 2770404"/>
                <a:gd name="connsiteX3445" fmla="*/ 2234970 w 12166600"/>
                <a:gd name="connsiteY3445" fmla="*/ 988121 h 2770404"/>
                <a:gd name="connsiteX3446" fmla="*/ 2234970 w 12166600"/>
                <a:gd name="connsiteY3446" fmla="*/ 995394 h 2770404"/>
                <a:gd name="connsiteX3447" fmla="*/ 2249428 w 12166600"/>
                <a:gd name="connsiteY3447" fmla="*/ 1009940 h 2770404"/>
                <a:gd name="connsiteX3448" fmla="*/ 2256656 w 12166600"/>
                <a:gd name="connsiteY3448" fmla="*/ 980849 h 2770404"/>
                <a:gd name="connsiteX3449" fmla="*/ 2256656 w 12166600"/>
                <a:gd name="connsiteY3449" fmla="*/ 966303 h 2770404"/>
                <a:gd name="connsiteX3450" fmla="*/ 1653950 w 12166600"/>
                <a:gd name="connsiteY3450" fmla="*/ 930847 h 2770404"/>
                <a:gd name="connsiteX3451" fmla="*/ 1634974 w 12166600"/>
                <a:gd name="connsiteY3451" fmla="*/ 959030 h 2770404"/>
                <a:gd name="connsiteX3452" fmla="*/ 1613287 w 12166600"/>
                <a:gd name="connsiteY3452" fmla="*/ 1031759 h 2770404"/>
                <a:gd name="connsiteX3453" fmla="*/ 1606058 w 12166600"/>
                <a:gd name="connsiteY3453" fmla="*/ 1053578 h 2770404"/>
                <a:gd name="connsiteX3454" fmla="*/ 1606058 w 12166600"/>
                <a:gd name="connsiteY3454" fmla="*/ 1068124 h 2770404"/>
                <a:gd name="connsiteX3455" fmla="*/ 1584372 w 12166600"/>
                <a:gd name="connsiteY3455" fmla="*/ 1140853 h 2770404"/>
                <a:gd name="connsiteX3456" fmla="*/ 1584372 w 12166600"/>
                <a:gd name="connsiteY3456" fmla="*/ 1148126 h 2770404"/>
                <a:gd name="connsiteX3457" fmla="*/ 1606058 w 12166600"/>
                <a:gd name="connsiteY3457" fmla="*/ 1140853 h 2770404"/>
                <a:gd name="connsiteX3458" fmla="*/ 1606058 w 12166600"/>
                <a:gd name="connsiteY3458" fmla="*/ 1126307 h 2770404"/>
                <a:gd name="connsiteX3459" fmla="*/ 1627745 w 12166600"/>
                <a:gd name="connsiteY3459" fmla="*/ 1053578 h 2770404"/>
                <a:gd name="connsiteX3460" fmla="*/ 1634974 w 12166600"/>
                <a:gd name="connsiteY3460" fmla="*/ 1046305 h 2770404"/>
                <a:gd name="connsiteX3461" fmla="*/ 1642203 w 12166600"/>
                <a:gd name="connsiteY3461" fmla="*/ 1017213 h 2770404"/>
                <a:gd name="connsiteX3462" fmla="*/ 1656660 w 12166600"/>
                <a:gd name="connsiteY3462" fmla="*/ 951757 h 2770404"/>
                <a:gd name="connsiteX3463" fmla="*/ 1653950 w 12166600"/>
                <a:gd name="connsiteY3463" fmla="*/ 930847 h 2770404"/>
                <a:gd name="connsiteX3464" fmla="*/ 11711086 w 12166600"/>
                <a:gd name="connsiteY3464" fmla="*/ 930597 h 2770404"/>
                <a:gd name="connsiteX3465" fmla="*/ 11703856 w 12166600"/>
                <a:gd name="connsiteY3465" fmla="*/ 945138 h 2770404"/>
                <a:gd name="connsiteX3466" fmla="*/ 11696625 w 12166600"/>
                <a:gd name="connsiteY3466" fmla="*/ 952408 h 2770404"/>
                <a:gd name="connsiteX3467" fmla="*/ 11711086 w 12166600"/>
                <a:gd name="connsiteY3467" fmla="*/ 952408 h 2770404"/>
                <a:gd name="connsiteX3468" fmla="*/ 11725547 w 12166600"/>
                <a:gd name="connsiteY3468" fmla="*/ 952408 h 2770404"/>
                <a:gd name="connsiteX3469" fmla="*/ 11732777 w 12166600"/>
                <a:gd name="connsiteY3469" fmla="*/ 952408 h 2770404"/>
                <a:gd name="connsiteX3470" fmla="*/ 11711086 w 12166600"/>
                <a:gd name="connsiteY3470" fmla="*/ 930597 h 2770404"/>
                <a:gd name="connsiteX3471" fmla="*/ 11617091 w 12166600"/>
                <a:gd name="connsiteY3471" fmla="*/ 930597 h 2770404"/>
                <a:gd name="connsiteX3472" fmla="*/ 11609861 w 12166600"/>
                <a:gd name="connsiteY3472" fmla="*/ 937867 h 2770404"/>
                <a:gd name="connsiteX3473" fmla="*/ 11602630 w 12166600"/>
                <a:gd name="connsiteY3473" fmla="*/ 945138 h 2770404"/>
                <a:gd name="connsiteX3474" fmla="*/ 11595400 w 12166600"/>
                <a:gd name="connsiteY3474" fmla="*/ 952408 h 2770404"/>
                <a:gd name="connsiteX3475" fmla="*/ 11609861 w 12166600"/>
                <a:gd name="connsiteY3475" fmla="*/ 952408 h 2770404"/>
                <a:gd name="connsiteX3476" fmla="*/ 11624321 w 12166600"/>
                <a:gd name="connsiteY3476" fmla="*/ 952408 h 2770404"/>
                <a:gd name="connsiteX3477" fmla="*/ 11631552 w 12166600"/>
                <a:gd name="connsiteY3477" fmla="*/ 952408 h 2770404"/>
                <a:gd name="connsiteX3478" fmla="*/ 11617091 w 12166600"/>
                <a:gd name="connsiteY3478" fmla="*/ 930597 h 2770404"/>
                <a:gd name="connsiteX3479" fmla="*/ 2068706 w 12166600"/>
                <a:gd name="connsiteY3479" fmla="*/ 922665 h 2770404"/>
                <a:gd name="connsiteX3480" fmla="*/ 2039790 w 12166600"/>
                <a:gd name="connsiteY3480" fmla="*/ 944484 h 2770404"/>
                <a:gd name="connsiteX3481" fmla="*/ 2039790 w 12166600"/>
                <a:gd name="connsiteY3481" fmla="*/ 951757 h 2770404"/>
                <a:gd name="connsiteX3482" fmla="*/ 2025332 w 12166600"/>
                <a:gd name="connsiteY3482" fmla="*/ 1009940 h 2770404"/>
                <a:gd name="connsiteX3483" fmla="*/ 2025332 w 12166600"/>
                <a:gd name="connsiteY3483" fmla="*/ 1017213 h 2770404"/>
                <a:gd name="connsiteX3484" fmla="*/ 2018103 w 12166600"/>
                <a:gd name="connsiteY3484" fmla="*/ 1046305 h 2770404"/>
                <a:gd name="connsiteX3485" fmla="*/ 2010875 w 12166600"/>
                <a:gd name="connsiteY3485" fmla="*/ 1082670 h 2770404"/>
                <a:gd name="connsiteX3486" fmla="*/ 2010875 w 12166600"/>
                <a:gd name="connsiteY3486" fmla="*/ 1097215 h 2770404"/>
                <a:gd name="connsiteX3487" fmla="*/ 2003646 w 12166600"/>
                <a:gd name="connsiteY3487" fmla="*/ 1104488 h 2770404"/>
                <a:gd name="connsiteX3488" fmla="*/ 1996418 w 12166600"/>
                <a:gd name="connsiteY3488" fmla="*/ 1140853 h 2770404"/>
                <a:gd name="connsiteX3489" fmla="*/ 2003646 w 12166600"/>
                <a:gd name="connsiteY3489" fmla="*/ 1140853 h 2770404"/>
                <a:gd name="connsiteX3490" fmla="*/ 2047019 w 12166600"/>
                <a:gd name="connsiteY3490" fmla="*/ 1155399 h 2770404"/>
                <a:gd name="connsiteX3491" fmla="*/ 2054248 w 12166600"/>
                <a:gd name="connsiteY3491" fmla="*/ 1162672 h 2770404"/>
                <a:gd name="connsiteX3492" fmla="*/ 2054248 w 12166600"/>
                <a:gd name="connsiteY3492" fmla="*/ 1155399 h 2770404"/>
                <a:gd name="connsiteX3493" fmla="*/ 2068706 w 12166600"/>
                <a:gd name="connsiteY3493" fmla="*/ 1104488 h 2770404"/>
                <a:gd name="connsiteX3494" fmla="*/ 2075934 w 12166600"/>
                <a:gd name="connsiteY3494" fmla="*/ 1068124 h 2770404"/>
                <a:gd name="connsiteX3495" fmla="*/ 2075934 w 12166600"/>
                <a:gd name="connsiteY3495" fmla="*/ 1060851 h 2770404"/>
                <a:gd name="connsiteX3496" fmla="*/ 2075934 w 12166600"/>
                <a:gd name="connsiteY3496" fmla="*/ 1053578 h 2770404"/>
                <a:gd name="connsiteX3497" fmla="*/ 2075934 w 12166600"/>
                <a:gd name="connsiteY3497" fmla="*/ 1039032 h 2770404"/>
                <a:gd name="connsiteX3498" fmla="*/ 2090392 w 12166600"/>
                <a:gd name="connsiteY3498" fmla="*/ 973576 h 2770404"/>
                <a:gd name="connsiteX3499" fmla="*/ 2090392 w 12166600"/>
                <a:gd name="connsiteY3499" fmla="*/ 966303 h 2770404"/>
                <a:gd name="connsiteX3500" fmla="*/ 2083163 w 12166600"/>
                <a:gd name="connsiteY3500" fmla="*/ 951757 h 2770404"/>
                <a:gd name="connsiteX3501" fmla="*/ 2090392 w 12166600"/>
                <a:gd name="connsiteY3501" fmla="*/ 951757 h 2770404"/>
                <a:gd name="connsiteX3502" fmla="*/ 2068706 w 12166600"/>
                <a:gd name="connsiteY3502" fmla="*/ 922665 h 2770404"/>
                <a:gd name="connsiteX3503" fmla="*/ 1704552 w 12166600"/>
                <a:gd name="connsiteY3503" fmla="*/ 913574 h 2770404"/>
                <a:gd name="connsiteX3504" fmla="*/ 1678347 w 12166600"/>
                <a:gd name="connsiteY3504" fmla="*/ 944484 h 2770404"/>
                <a:gd name="connsiteX3505" fmla="*/ 1663889 w 12166600"/>
                <a:gd name="connsiteY3505" fmla="*/ 1002667 h 2770404"/>
                <a:gd name="connsiteX3506" fmla="*/ 1656660 w 12166600"/>
                <a:gd name="connsiteY3506" fmla="*/ 1039032 h 2770404"/>
                <a:gd name="connsiteX3507" fmla="*/ 1634974 w 12166600"/>
                <a:gd name="connsiteY3507" fmla="*/ 1111761 h 2770404"/>
                <a:gd name="connsiteX3508" fmla="*/ 1627745 w 12166600"/>
                <a:gd name="connsiteY3508" fmla="*/ 1126307 h 2770404"/>
                <a:gd name="connsiteX3509" fmla="*/ 1627745 w 12166600"/>
                <a:gd name="connsiteY3509" fmla="*/ 1133580 h 2770404"/>
                <a:gd name="connsiteX3510" fmla="*/ 1663889 w 12166600"/>
                <a:gd name="connsiteY3510" fmla="*/ 1126307 h 2770404"/>
                <a:gd name="connsiteX3511" fmla="*/ 1663889 w 12166600"/>
                <a:gd name="connsiteY3511" fmla="*/ 1104488 h 2770404"/>
                <a:gd name="connsiteX3512" fmla="*/ 1671118 w 12166600"/>
                <a:gd name="connsiteY3512" fmla="*/ 1082670 h 2770404"/>
                <a:gd name="connsiteX3513" fmla="*/ 1685577 w 12166600"/>
                <a:gd name="connsiteY3513" fmla="*/ 1031759 h 2770404"/>
                <a:gd name="connsiteX3514" fmla="*/ 1692805 w 12166600"/>
                <a:gd name="connsiteY3514" fmla="*/ 1009940 h 2770404"/>
                <a:gd name="connsiteX3515" fmla="*/ 1700034 w 12166600"/>
                <a:gd name="connsiteY3515" fmla="*/ 980849 h 2770404"/>
                <a:gd name="connsiteX3516" fmla="*/ 1714491 w 12166600"/>
                <a:gd name="connsiteY3516" fmla="*/ 937211 h 2770404"/>
                <a:gd name="connsiteX3517" fmla="*/ 1704552 w 12166600"/>
                <a:gd name="connsiteY3517" fmla="*/ 913574 h 2770404"/>
                <a:gd name="connsiteX3518" fmla="*/ 1758768 w 12166600"/>
                <a:gd name="connsiteY3518" fmla="*/ 902665 h 2770404"/>
                <a:gd name="connsiteX3519" fmla="*/ 1728949 w 12166600"/>
                <a:gd name="connsiteY3519" fmla="*/ 929938 h 2770404"/>
                <a:gd name="connsiteX3520" fmla="*/ 1721721 w 12166600"/>
                <a:gd name="connsiteY3520" fmla="*/ 966303 h 2770404"/>
                <a:gd name="connsiteX3521" fmla="*/ 1714491 w 12166600"/>
                <a:gd name="connsiteY3521" fmla="*/ 1002667 h 2770404"/>
                <a:gd name="connsiteX3522" fmla="*/ 1707262 w 12166600"/>
                <a:gd name="connsiteY3522" fmla="*/ 1024486 h 2770404"/>
                <a:gd name="connsiteX3523" fmla="*/ 1692805 w 12166600"/>
                <a:gd name="connsiteY3523" fmla="*/ 1075397 h 2770404"/>
                <a:gd name="connsiteX3524" fmla="*/ 1685577 w 12166600"/>
                <a:gd name="connsiteY3524" fmla="*/ 1089942 h 2770404"/>
                <a:gd name="connsiteX3525" fmla="*/ 1678347 w 12166600"/>
                <a:gd name="connsiteY3525" fmla="*/ 1119034 h 2770404"/>
                <a:gd name="connsiteX3526" fmla="*/ 1707262 w 12166600"/>
                <a:gd name="connsiteY3526" fmla="*/ 1119034 h 2770404"/>
                <a:gd name="connsiteX3527" fmla="*/ 1721721 w 12166600"/>
                <a:gd name="connsiteY3527" fmla="*/ 1111761 h 2770404"/>
                <a:gd name="connsiteX3528" fmla="*/ 1721721 w 12166600"/>
                <a:gd name="connsiteY3528" fmla="*/ 1104488 h 2770404"/>
                <a:gd name="connsiteX3529" fmla="*/ 1736178 w 12166600"/>
                <a:gd name="connsiteY3529" fmla="*/ 1053578 h 2770404"/>
                <a:gd name="connsiteX3530" fmla="*/ 1743407 w 12166600"/>
                <a:gd name="connsiteY3530" fmla="*/ 1039032 h 2770404"/>
                <a:gd name="connsiteX3531" fmla="*/ 1743407 w 12166600"/>
                <a:gd name="connsiteY3531" fmla="*/ 1024486 h 2770404"/>
                <a:gd name="connsiteX3532" fmla="*/ 1757864 w 12166600"/>
                <a:gd name="connsiteY3532" fmla="*/ 966303 h 2770404"/>
                <a:gd name="connsiteX3533" fmla="*/ 1772322 w 12166600"/>
                <a:gd name="connsiteY3533" fmla="*/ 937211 h 2770404"/>
                <a:gd name="connsiteX3534" fmla="*/ 1772322 w 12166600"/>
                <a:gd name="connsiteY3534" fmla="*/ 929938 h 2770404"/>
                <a:gd name="connsiteX3535" fmla="*/ 1758768 w 12166600"/>
                <a:gd name="connsiteY3535" fmla="*/ 902665 h 2770404"/>
                <a:gd name="connsiteX3536" fmla="*/ 11689395 w 12166600"/>
                <a:gd name="connsiteY3536" fmla="*/ 901516 h 2770404"/>
                <a:gd name="connsiteX3537" fmla="*/ 11689395 w 12166600"/>
                <a:gd name="connsiteY3537" fmla="*/ 916057 h 2770404"/>
                <a:gd name="connsiteX3538" fmla="*/ 11689395 w 12166600"/>
                <a:gd name="connsiteY3538" fmla="*/ 930597 h 2770404"/>
                <a:gd name="connsiteX3539" fmla="*/ 11689395 w 12166600"/>
                <a:gd name="connsiteY3539" fmla="*/ 937867 h 2770404"/>
                <a:gd name="connsiteX3540" fmla="*/ 11696625 w 12166600"/>
                <a:gd name="connsiteY3540" fmla="*/ 930597 h 2770404"/>
                <a:gd name="connsiteX3541" fmla="*/ 11703856 w 12166600"/>
                <a:gd name="connsiteY3541" fmla="*/ 923327 h 2770404"/>
                <a:gd name="connsiteX3542" fmla="*/ 11703856 w 12166600"/>
                <a:gd name="connsiteY3542" fmla="*/ 916057 h 2770404"/>
                <a:gd name="connsiteX3543" fmla="*/ 11689395 w 12166600"/>
                <a:gd name="connsiteY3543" fmla="*/ 901516 h 2770404"/>
                <a:gd name="connsiteX3544" fmla="*/ 11674934 w 12166600"/>
                <a:gd name="connsiteY3544" fmla="*/ 901516 h 2770404"/>
                <a:gd name="connsiteX3545" fmla="*/ 11674934 w 12166600"/>
                <a:gd name="connsiteY3545" fmla="*/ 916057 h 2770404"/>
                <a:gd name="connsiteX3546" fmla="*/ 11682164 w 12166600"/>
                <a:gd name="connsiteY3546" fmla="*/ 930597 h 2770404"/>
                <a:gd name="connsiteX3547" fmla="*/ 11682164 w 12166600"/>
                <a:gd name="connsiteY3547" fmla="*/ 916057 h 2770404"/>
                <a:gd name="connsiteX3548" fmla="*/ 11674934 w 12166600"/>
                <a:gd name="connsiteY3548" fmla="*/ 901516 h 2770404"/>
                <a:gd name="connsiteX3549" fmla="*/ 11646013 w 12166600"/>
                <a:gd name="connsiteY3549" fmla="*/ 901516 h 2770404"/>
                <a:gd name="connsiteX3550" fmla="*/ 11646013 w 12166600"/>
                <a:gd name="connsiteY3550" fmla="*/ 916057 h 2770404"/>
                <a:gd name="connsiteX3551" fmla="*/ 11646013 w 12166600"/>
                <a:gd name="connsiteY3551" fmla="*/ 930597 h 2770404"/>
                <a:gd name="connsiteX3552" fmla="*/ 11653243 w 12166600"/>
                <a:gd name="connsiteY3552" fmla="*/ 923327 h 2770404"/>
                <a:gd name="connsiteX3553" fmla="*/ 11653243 w 12166600"/>
                <a:gd name="connsiteY3553" fmla="*/ 916057 h 2770404"/>
                <a:gd name="connsiteX3554" fmla="*/ 11595400 w 12166600"/>
                <a:gd name="connsiteY3554" fmla="*/ 901516 h 2770404"/>
                <a:gd name="connsiteX3555" fmla="*/ 11595400 w 12166600"/>
                <a:gd name="connsiteY3555" fmla="*/ 908786 h 2770404"/>
                <a:gd name="connsiteX3556" fmla="*/ 11595400 w 12166600"/>
                <a:gd name="connsiteY3556" fmla="*/ 916057 h 2770404"/>
                <a:gd name="connsiteX3557" fmla="*/ 11588169 w 12166600"/>
                <a:gd name="connsiteY3557" fmla="*/ 937867 h 2770404"/>
                <a:gd name="connsiteX3558" fmla="*/ 11595400 w 12166600"/>
                <a:gd name="connsiteY3558" fmla="*/ 937867 h 2770404"/>
                <a:gd name="connsiteX3559" fmla="*/ 11602630 w 12166600"/>
                <a:gd name="connsiteY3559" fmla="*/ 923327 h 2770404"/>
                <a:gd name="connsiteX3560" fmla="*/ 11602630 w 12166600"/>
                <a:gd name="connsiteY3560" fmla="*/ 916057 h 2770404"/>
                <a:gd name="connsiteX3561" fmla="*/ 11595400 w 12166600"/>
                <a:gd name="connsiteY3561" fmla="*/ 901516 h 2770404"/>
                <a:gd name="connsiteX3562" fmla="*/ 1974730 w 12166600"/>
                <a:gd name="connsiteY3562" fmla="*/ 900846 h 2770404"/>
                <a:gd name="connsiteX3563" fmla="*/ 1953044 w 12166600"/>
                <a:gd name="connsiteY3563" fmla="*/ 915392 h 2770404"/>
                <a:gd name="connsiteX3564" fmla="*/ 1945815 w 12166600"/>
                <a:gd name="connsiteY3564" fmla="*/ 929938 h 2770404"/>
                <a:gd name="connsiteX3565" fmla="*/ 1938586 w 12166600"/>
                <a:gd name="connsiteY3565" fmla="*/ 966303 h 2770404"/>
                <a:gd name="connsiteX3566" fmla="*/ 1924128 w 12166600"/>
                <a:gd name="connsiteY3566" fmla="*/ 1017213 h 2770404"/>
                <a:gd name="connsiteX3567" fmla="*/ 1924128 w 12166600"/>
                <a:gd name="connsiteY3567" fmla="*/ 1024486 h 2770404"/>
                <a:gd name="connsiteX3568" fmla="*/ 1909671 w 12166600"/>
                <a:gd name="connsiteY3568" fmla="*/ 1082670 h 2770404"/>
                <a:gd name="connsiteX3569" fmla="*/ 1909671 w 12166600"/>
                <a:gd name="connsiteY3569" fmla="*/ 1097215 h 2770404"/>
                <a:gd name="connsiteX3570" fmla="*/ 1902442 w 12166600"/>
                <a:gd name="connsiteY3570" fmla="*/ 1119034 h 2770404"/>
                <a:gd name="connsiteX3571" fmla="*/ 1938586 w 12166600"/>
                <a:gd name="connsiteY3571" fmla="*/ 1126307 h 2770404"/>
                <a:gd name="connsiteX3572" fmla="*/ 1960273 w 12166600"/>
                <a:gd name="connsiteY3572" fmla="*/ 1126307 h 2770404"/>
                <a:gd name="connsiteX3573" fmla="*/ 1967501 w 12166600"/>
                <a:gd name="connsiteY3573" fmla="*/ 1133580 h 2770404"/>
                <a:gd name="connsiteX3574" fmla="*/ 1967501 w 12166600"/>
                <a:gd name="connsiteY3574" fmla="*/ 1119034 h 2770404"/>
                <a:gd name="connsiteX3575" fmla="*/ 1974730 w 12166600"/>
                <a:gd name="connsiteY3575" fmla="*/ 1104488 h 2770404"/>
                <a:gd name="connsiteX3576" fmla="*/ 1989188 w 12166600"/>
                <a:gd name="connsiteY3576" fmla="*/ 1046305 h 2770404"/>
                <a:gd name="connsiteX3577" fmla="*/ 1989188 w 12166600"/>
                <a:gd name="connsiteY3577" fmla="*/ 1039032 h 2770404"/>
                <a:gd name="connsiteX3578" fmla="*/ 1989188 w 12166600"/>
                <a:gd name="connsiteY3578" fmla="*/ 1031759 h 2770404"/>
                <a:gd name="connsiteX3579" fmla="*/ 2003646 w 12166600"/>
                <a:gd name="connsiteY3579" fmla="*/ 966303 h 2770404"/>
                <a:gd name="connsiteX3580" fmla="*/ 2010875 w 12166600"/>
                <a:gd name="connsiteY3580" fmla="*/ 944484 h 2770404"/>
                <a:gd name="connsiteX3581" fmla="*/ 2003646 w 12166600"/>
                <a:gd name="connsiteY3581" fmla="*/ 922665 h 2770404"/>
                <a:gd name="connsiteX3582" fmla="*/ 1974730 w 12166600"/>
                <a:gd name="connsiteY3582" fmla="*/ 900846 h 2770404"/>
                <a:gd name="connsiteX3583" fmla="*/ 318277 w 12166600"/>
                <a:gd name="connsiteY3583" fmla="*/ 899727 h 2770404"/>
                <a:gd name="connsiteX3584" fmla="*/ 339977 w 12166600"/>
                <a:gd name="connsiteY3584" fmla="*/ 921564 h 2770404"/>
                <a:gd name="connsiteX3585" fmla="*/ 354445 w 12166600"/>
                <a:gd name="connsiteY3585" fmla="*/ 950680 h 2770404"/>
                <a:gd name="connsiteX3586" fmla="*/ 361678 w 12166600"/>
                <a:gd name="connsiteY3586" fmla="*/ 957958 h 2770404"/>
                <a:gd name="connsiteX3587" fmla="*/ 376145 w 12166600"/>
                <a:gd name="connsiteY3587" fmla="*/ 987074 h 2770404"/>
                <a:gd name="connsiteX3588" fmla="*/ 383379 w 12166600"/>
                <a:gd name="connsiteY3588" fmla="*/ 1008911 h 2770404"/>
                <a:gd name="connsiteX3589" fmla="*/ 390612 w 12166600"/>
                <a:gd name="connsiteY3589" fmla="*/ 1045305 h 2770404"/>
                <a:gd name="connsiteX3590" fmla="*/ 390612 w 12166600"/>
                <a:gd name="connsiteY3590" fmla="*/ 1052584 h 2770404"/>
                <a:gd name="connsiteX3591" fmla="*/ 405079 w 12166600"/>
                <a:gd name="connsiteY3591" fmla="*/ 1067142 h 2770404"/>
                <a:gd name="connsiteX3592" fmla="*/ 448481 w 12166600"/>
                <a:gd name="connsiteY3592" fmla="*/ 1096258 h 2770404"/>
                <a:gd name="connsiteX3593" fmla="*/ 462948 w 12166600"/>
                <a:gd name="connsiteY3593" fmla="*/ 1067142 h 2770404"/>
                <a:gd name="connsiteX3594" fmla="*/ 477415 w 12166600"/>
                <a:gd name="connsiteY3594" fmla="*/ 1038026 h 2770404"/>
                <a:gd name="connsiteX3595" fmla="*/ 477415 w 12166600"/>
                <a:gd name="connsiteY3595" fmla="*/ 1023469 h 2770404"/>
                <a:gd name="connsiteX3596" fmla="*/ 462948 w 12166600"/>
                <a:gd name="connsiteY3596" fmla="*/ 1030747 h 2770404"/>
                <a:gd name="connsiteX3597" fmla="*/ 448481 w 12166600"/>
                <a:gd name="connsiteY3597" fmla="*/ 1001632 h 2770404"/>
                <a:gd name="connsiteX3598" fmla="*/ 448481 w 12166600"/>
                <a:gd name="connsiteY3598" fmla="*/ 979795 h 2770404"/>
                <a:gd name="connsiteX3599" fmla="*/ 441247 w 12166600"/>
                <a:gd name="connsiteY3599" fmla="*/ 957958 h 2770404"/>
                <a:gd name="connsiteX3600" fmla="*/ 390612 w 12166600"/>
                <a:gd name="connsiteY3600" fmla="*/ 957958 h 2770404"/>
                <a:gd name="connsiteX3601" fmla="*/ 361678 w 12166600"/>
                <a:gd name="connsiteY3601" fmla="*/ 957958 h 2770404"/>
                <a:gd name="connsiteX3602" fmla="*/ 405079 w 12166600"/>
                <a:gd name="connsiteY3602" fmla="*/ 943401 h 2770404"/>
                <a:gd name="connsiteX3603" fmla="*/ 441247 w 12166600"/>
                <a:gd name="connsiteY3603" fmla="*/ 928843 h 2770404"/>
                <a:gd name="connsiteX3604" fmla="*/ 434014 w 12166600"/>
                <a:gd name="connsiteY3604" fmla="*/ 907006 h 2770404"/>
                <a:gd name="connsiteX3605" fmla="*/ 426780 w 12166600"/>
                <a:gd name="connsiteY3605" fmla="*/ 899727 h 2770404"/>
                <a:gd name="connsiteX3606" fmla="*/ 390612 w 12166600"/>
                <a:gd name="connsiteY3606" fmla="*/ 899727 h 2770404"/>
                <a:gd name="connsiteX3607" fmla="*/ 11732777 w 12166600"/>
                <a:gd name="connsiteY3607" fmla="*/ 894246 h 2770404"/>
                <a:gd name="connsiteX3608" fmla="*/ 11725547 w 12166600"/>
                <a:gd name="connsiteY3608" fmla="*/ 908786 h 2770404"/>
                <a:gd name="connsiteX3609" fmla="*/ 11725547 w 12166600"/>
                <a:gd name="connsiteY3609" fmla="*/ 916057 h 2770404"/>
                <a:gd name="connsiteX3610" fmla="*/ 11727355 w 12166600"/>
                <a:gd name="connsiteY3610" fmla="*/ 917874 h 2770404"/>
                <a:gd name="connsiteX3611" fmla="*/ 11732777 w 12166600"/>
                <a:gd name="connsiteY3611" fmla="*/ 923327 h 2770404"/>
                <a:gd name="connsiteX3612" fmla="*/ 11740007 w 12166600"/>
                <a:gd name="connsiteY3612" fmla="*/ 937867 h 2770404"/>
                <a:gd name="connsiteX3613" fmla="*/ 11740007 w 12166600"/>
                <a:gd name="connsiteY3613" fmla="*/ 930597 h 2770404"/>
                <a:gd name="connsiteX3614" fmla="*/ 11732777 w 12166600"/>
                <a:gd name="connsiteY3614" fmla="*/ 923327 h 2770404"/>
                <a:gd name="connsiteX3615" fmla="*/ 11732777 w 12166600"/>
                <a:gd name="connsiteY3615" fmla="*/ 916057 h 2770404"/>
                <a:gd name="connsiteX3616" fmla="*/ 11732777 w 12166600"/>
                <a:gd name="connsiteY3616" fmla="*/ 894246 h 2770404"/>
                <a:gd name="connsiteX3617" fmla="*/ 1880755 w 12166600"/>
                <a:gd name="connsiteY3617" fmla="*/ 893573 h 2770404"/>
                <a:gd name="connsiteX3618" fmla="*/ 1873526 w 12166600"/>
                <a:gd name="connsiteY3618" fmla="*/ 900846 h 2770404"/>
                <a:gd name="connsiteX3619" fmla="*/ 1859069 w 12166600"/>
                <a:gd name="connsiteY3619" fmla="*/ 922665 h 2770404"/>
                <a:gd name="connsiteX3620" fmla="*/ 1844611 w 12166600"/>
                <a:gd name="connsiteY3620" fmla="*/ 973576 h 2770404"/>
                <a:gd name="connsiteX3621" fmla="*/ 1837382 w 12166600"/>
                <a:gd name="connsiteY3621" fmla="*/ 988121 h 2770404"/>
                <a:gd name="connsiteX3622" fmla="*/ 1837382 w 12166600"/>
                <a:gd name="connsiteY3622" fmla="*/ 1017213 h 2770404"/>
                <a:gd name="connsiteX3623" fmla="*/ 1830153 w 12166600"/>
                <a:gd name="connsiteY3623" fmla="*/ 1039032 h 2770404"/>
                <a:gd name="connsiteX3624" fmla="*/ 1815695 w 12166600"/>
                <a:gd name="connsiteY3624" fmla="*/ 1089942 h 2770404"/>
                <a:gd name="connsiteX3625" fmla="*/ 1808468 w 12166600"/>
                <a:gd name="connsiteY3625" fmla="*/ 1111761 h 2770404"/>
                <a:gd name="connsiteX3626" fmla="*/ 1866297 w 12166600"/>
                <a:gd name="connsiteY3626" fmla="*/ 1111761 h 2770404"/>
                <a:gd name="connsiteX3627" fmla="*/ 1873526 w 12166600"/>
                <a:gd name="connsiteY3627" fmla="*/ 1111761 h 2770404"/>
                <a:gd name="connsiteX3628" fmla="*/ 1887984 w 12166600"/>
                <a:gd name="connsiteY3628" fmla="*/ 1046305 h 2770404"/>
                <a:gd name="connsiteX3629" fmla="*/ 1887984 w 12166600"/>
                <a:gd name="connsiteY3629" fmla="*/ 1017213 h 2770404"/>
                <a:gd name="connsiteX3630" fmla="*/ 1895213 w 12166600"/>
                <a:gd name="connsiteY3630" fmla="*/ 995394 h 2770404"/>
                <a:gd name="connsiteX3631" fmla="*/ 1909671 w 12166600"/>
                <a:gd name="connsiteY3631" fmla="*/ 944484 h 2770404"/>
                <a:gd name="connsiteX3632" fmla="*/ 1909671 w 12166600"/>
                <a:gd name="connsiteY3632" fmla="*/ 929938 h 2770404"/>
                <a:gd name="connsiteX3633" fmla="*/ 1916899 w 12166600"/>
                <a:gd name="connsiteY3633" fmla="*/ 922665 h 2770404"/>
                <a:gd name="connsiteX3634" fmla="*/ 1880755 w 12166600"/>
                <a:gd name="connsiteY3634" fmla="*/ 893573 h 2770404"/>
                <a:gd name="connsiteX3635" fmla="*/ 1830153 w 12166600"/>
                <a:gd name="connsiteY3635" fmla="*/ 893573 h 2770404"/>
                <a:gd name="connsiteX3636" fmla="*/ 1786780 w 12166600"/>
                <a:gd name="connsiteY3636" fmla="*/ 922665 h 2770404"/>
                <a:gd name="connsiteX3637" fmla="*/ 1779551 w 12166600"/>
                <a:gd name="connsiteY3637" fmla="*/ 959030 h 2770404"/>
                <a:gd name="connsiteX3638" fmla="*/ 1765093 w 12166600"/>
                <a:gd name="connsiteY3638" fmla="*/ 1017213 h 2770404"/>
                <a:gd name="connsiteX3639" fmla="*/ 1757864 w 12166600"/>
                <a:gd name="connsiteY3639" fmla="*/ 1024486 h 2770404"/>
                <a:gd name="connsiteX3640" fmla="*/ 1757864 w 12166600"/>
                <a:gd name="connsiteY3640" fmla="*/ 1046305 h 2770404"/>
                <a:gd name="connsiteX3641" fmla="*/ 1743407 w 12166600"/>
                <a:gd name="connsiteY3641" fmla="*/ 1089942 h 2770404"/>
                <a:gd name="connsiteX3642" fmla="*/ 1736178 w 12166600"/>
                <a:gd name="connsiteY3642" fmla="*/ 1111761 h 2770404"/>
                <a:gd name="connsiteX3643" fmla="*/ 1779551 w 12166600"/>
                <a:gd name="connsiteY3643" fmla="*/ 1111761 h 2770404"/>
                <a:gd name="connsiteX3644" fmla="*/ 1786780 w 12166600"/>
                <a:gd name="connsiteY3644" fmla="*/ 1111761 h 2770404"/>
                <a:gd name="connsiteX3645" fmla="*/ 1794009 w 12166600"/>
                <a:gd name="connsiteY3645" fmla="*/ 1104488 h 2770404"/>
                <a:gd name="connsiteX3646" fmla="*/ 1801238 w 12166600"/>
                <a:gd name="connsiteY3646" fmla="*/ 1053578 h 2770404"/>
                <a:gd name="connsiteX3647" fmla="*/ 1815695 w 12166600"/>
                <a:gd name="connsiteY3647" fmla="*/ 1017213 h 2770404"/>
                <a:gd name="connsiteX3648" fmla="*/ 1815695 w 12166600"/>
                <a:gd name="connsiteY3648" fmla="*/ 1002667 h 2770404"/>
                <a:gd name="connsiteX3649" fmla="*/ 1822924 w 12166600"/>
                <a:gd name="connsiteY3649" fmla="*/ 988121 h 2770404"/>
                <a:gd name="connsiteX3650" fmla="*/ 1837382 w 12166600"/>
                <a:gd name="connsiteY3650" fmla="*/ 922665 h 2770404"/>
                <a:gd name="connsiteX3651" fmla="*/ 1837382 w 12166600"/>
                <a:gd name="connsiteY3651" fmla="*/ 915392 h 2770404"/>
                <a:gd name="connsiteX3652" fmla="*/ 1830153 w 12166600"/>
                <a:gd name="connsiteY3652" fmla="*/ 893573 h 2770404"/>
                <a:gd name="connsiteX3653" fmla="*/ 11653243 w 12166600"/>
                <a:gd name="connsiteY3653" fmla="*/ 886975 h 2770404"/>
                <a:gd name="connsiteX3654" fmla="*/ 11660473 w 12166600"/>
                <a:gd name="connsiteY3654" fmla="*/ 901516 h 2770404"/>
                <a:gd name="connsiteX3655" fmla="*/ 11667704 w 12166600"/>
                <a:gd name="connsiteY3655" fmla="*/ 894246 h 2770404"/>
                <a:gd name="connsiteX3656" fmla="*/ 11674934 w 12166600"/>
                <a:gd name="connsiteY3656" fmla="*/ 886975 h 2770404"/>
                <a:gd name="connsiteX3657" fmla="*/ 11667704 w 12166600"/>
                <a:gd name="connsiteY3657" fmla="*/ 886975 h 2770404"/>
                <a:gd name="connsiteX3658" fmla="*/ 11660473 w 12166600"/>
                <a:gd name="connsiteY3658" fmla="*/ 886975 h 2770404"/>
                <a:gd name="connsiteX3659" fmla="*/ 11653243 w 12166600"/>
                <a:gd name="connsiteY3659" fmla="*/ 886975 h 2770404"/>
                <a:gd name="connsiteX3660" fmla="*/ 11602630 w 12166600"/>
                <a:gd name="connsiteY3660" fmla="*/ 886975 h 2770404"/>
                <a:gd name="connsiteX3661" fmla="*/ 11617091 w 12166600"/>
                <a:gd name="connsiteY3661" fmla="*/ 908786 h 2770404"/>
                <a:gd name="connsiteX3662" fmla="*/ 11617091 w 12166600"/>
                <a:gd name="connsiteY3662" fmla="*/ 901516 h 2770404"/>
                <a:gd name="connsiteX3663" fmla="*/ 11624321 w 12166600"/>
                <a:gd name="connsiteY3663" fmla="*/ 894246 h 2770404"/>
                <a:gd name="connsiteX3664" fmla="*/ 11631552 w 12166600"/>
                <a:gd name="connsiteY3664" fmla="*/ 886975 h 2770404"/>
                <a:gd name="connsiteX3665" fmla="*/ 11617091 w 12166600"/>
                <a:gd name="connsiteY3665" fmla="*/ 886975 h 2770404"/>
                <a:gd name="connsiteX3666" fmla="*/ 11602630 w 12166600"/>
                <a:gd name="connsiteY3666" fmla="*/ 886975 h 2770404"/>
                <a:gd name="connsiteX3667" fmla="*/ 5018279 w 12166600"/>
                <a:gd name="connsiteY3667" fmla="*/ 864176 h 2770404"/>
                <a:gd name="connsiteX3668" fmla="*/ 5024949 w 12166600"/>
                <a:gd name="connsiteY3668" fmla="*/ 864176 h 2770404"/>
                <a:gd name="connsiteX3669" fmla="*/ 5018279 w 12166600"/>
                <a:gd name="connsiteY3669" fmla="*/ 871587 h 2770404"/>
                <a:gd name="connsiteX3670" fmla="*/ 5018279 w 12166600"/>
                <a:gd name="connsiteY3670" fmla="*/ 864176 h 2770404"/>
                <a:gd name="connsiteX3671" fmla="*/ 11703856 w 12166600"/>
                <a:gd name="connsiteY3671" fmla="*/ 850624 h 2770404"/>
                <a:gd name="connsiteX3672" fmla="*/ 11703856 w 12166600"/>
                <a:gd name="connsiteY3672" fmla="*/ 865164 h 2770404"/>
                <a:gd name="connsiteX3673" fmla="*/ 11696625 w 12166600"/>
                <a:gd name="connsiteY3673" fmla="*/ 872435 h 2770404"/>
                <a:gd name="connsiteX3674" fmla="*/ 11711086 w 12166600"/>
                <a:gd name="connsiteY3674" fmla="*/ 872435 h 2770404"/>
                <a:gd name="connsiteX3675" fmla="*/ 11725547 w 12166600"/>
                <a:gd name="connsiteY3675" fmla="*/ 872435 h 2770404"/>
                <a:gd name="connsiteX3676" fmla="*/ 11711086 w 12166600"/>
                <a:gd name="connsiteY3676" fmla="*/ 850624 h 2770404"/>
                <a:gd name="connsiteX3677" fmla="*/ 11703856 w 12166600"/>
                <a:gd name="connsiteY3677" fmla="*/ 850624 h 2770404"/>
                <a:gd name="connsiteX3678" fmla="*/ 2177138 w 12166600"/>
                <a:gd name="connsiteY3678" fmla="*/ 842663 h 2770404"/>
                <a:gd name="connsiteX3679" fmla="*/ 2184368 w 12166600"/>
                <a:gd name="connsiteY3679" fmla="*/ 849936 h 2770404"/>
                <a:gd name="connsiteX3680" fmla="*/ 2178391 w 12166600"/>
                <a:gd name="connsiteY3680" fmla="*/ 855948 h 2770404"/>
                <a:gd name="connsiteX3681" fmla="*/ 2177138 w 12166600"/>
                <a:gd name="connsiteY3681" fmla="*/ 857209 h 2770404"/>
                <a:gd name="connsiteX3682" fmla="*/ 2169909 w 12166600"/>
                <a:gd name="connsiteY3682" fmla="*/ 849936 h 2770404"/>
                <a:gd name="connsiteX3683" fmla="*/ 2177138 w 12166600"/>
                <a:gd name="connsiteY3683" fmla="*/ 842663 h 2770404"/>
                <a:gd name="connsiteX3684" fmla="*/ 5018279 w 12166600"/>
                <a:gd name="connsiteY3684" fmla="*/ 836013 h 2770404"/>
                <a:gd name="connsiteX3685" fmla="*/ 5020501 w 12166600"/>
                <a:gd name="connsiteY3685" fmla="*/ 836013 h 2770404"/>
                <a:gd name="connsiteX3686" fmla="*/ 5024949 w 12166600"/>
                <a:gd name="connsiteY3686" fmla="*/ 836013 h 2770404"/>
                <a:gd name="connsiteX3687" fmla="*/ 5024949 w 12166600"/>
                <a:gd name="connsiteY3687" fmla="*/ 842683 h 2770404"/>
                <a:gd name="connsiteX3688" fmla="*/ 5024115 w 12166600"/>
                <a:gd name="connsiteY3688" fmla="*/ 846019 h 2770404"/>
                <a:gd name="connsiteX3689" fmla="*/ 5018279 w 12166600"/>
                <a:gd name="connsiteY3689" fmla="*/ 849354 h 2770404"/>
                <a:gd name="connsiteX3690" fmla="*/ 5024115 w 12166600"/>
                <a:gd name="connsiteY3690" fmla="*/ 855838 h 2770404"/>
                <a:gd name="connsiteX3691" fmla="*/ 5024949 w 12166600"/>
                <a:gd name="connsiteY3691" fmla="*/ 856764 h 2770404"/>
                <a:gd name="connsiteX3692" fmla="*/ 5018279 w 12166600"/>
                <a:gd name="connsiteY3692" fmla="*/ 864176 h 2770404"/>
                <a:gd name="connsiteX3693" fmla="*/ 5011608 w 12166600"/>
                <a:gd name="connsiteY3693" fmla="*/ 856764 h 2770404"/>
                <a:gd name="connsiteX3694" fmla="*/ 5014943 w 12166600"/>
                <a:gd name="connsiteY3694" fmla="*/ 853059 h 2770404"/>
                <a:gd name="connsiteX3695" fmla="*/ 5018278 w 12166600"/>
                <a:gd name="connsiteY3695" fmla="*/ 849353 h 2770404"/>
                <a:gd name="connsiteX3696" fmla="*/ 5014943 w 12166600"/>
                <a:gd name="connsiteY3696" fmla="*/ 846019 h 2770404"/>
                <a:gd name="connsiteX3697" fmla="*/ 5011608 w 12166600"/>
                <a:gd name="connsiteY3697" fmla="*/ 842683 h 2770404"/>
                <a:gd name="connsiteX3698" fmla="*/ 5014943 w 12166600"/>
                <a:gd name="connsiteY3698" fmla="*/ 839348 h 2770404"/>
                <a:gd name="connsiteX3699" fmla="*/ 5016055 w 12166600"/>
                <a:gd name="connsiteY3699" fmla="*/ 838237 h 2770404"/>
                <a:gd name="connsiteX3700" fmla="*/ 5016054 w 12166600"/>
                <a:gd name="connsiteY3700" fmla="*/ 838237 h 2770404"/>
                <a:gd name="connsiteX3701" fmla="*/ 5016055 w 12166600"/>
                <a:gd name="connsiteY3701" fmla="*/ 838236 h 2770404"/>
                <a:gd name="connsiteX3702" fmla="*/ 2304548 w 12166600"/>
                <a:gd name="connsiteY3702" fmla="*/ 830844 h 2770404"/>
                <a:gd name="connsiteX3703" fmla="*/ 2300029 w 12166600"/>
                <a:gd name="connsiteY3703" fmla="*/ 842663 h 2770404"/>
                <a:gd name="connsiteX3704" fmla="*/ 2285571 w 12166600"/>
                <a:gd name="connsiteY3704" fmla="*/ 900846 h 2770404"/>
                <a:gd name="connsiteX3705" fmla="*/ 2285571 w 12166600"/>
                <a:gd name="connsiteY3705" fmla="*/ 915392 h 2770404"/>
                <a:gd name="connsiteX3706" fmla="*/ 2285571 w 12166600"/>
                <a:gd name="connsiteY3706" fmla="*/ 922665 h 2770404"/>
                <a:gd name="connsiteX3707" fmla="*/ 2285571 w 12166600"/>
                <a:gd name="connsiteY3707" fmla="*/ 937211 h 2770404"/>
                <a:gd name="connsiteX3708" fmla="*/ 2278344 w 12166600"/>
                <a:gd name="connsiteY3708" fmla="*/ 966303 h 2770404"/>
                <a:gd name="connsiteX3709" fmla="*/ 2271115 w 12166600"/>
                <a:gd name="connsiteY3709" fmla="*/ 1017213 h 2770404"/>
                <a:gd name="connsiteX3710" fmla="*/ 2271115 w 12166600"/>
                <a:gd name="connsiteY3710" fmla="*/ 1024486 h 2770404"/>
                <a:gd name="connsiteX3711" fmla="*/ 2278344 w 12166600"/>
                <a:gd name="connsiteY3711" fmla="*/ 1031759 h 2770404"/>
                <a:gd name="connsiteX3712" fmla="*/ 2285571 w 12166600"/>
                <a:gd name="connsiteY3712" fmla="*/ 1046305 h 2770404"/>
                <a:gd name="connsiteX3713" fmla="*/ 2285571 w 12166600"/>
                <a:gd name="connsiteY3713" fmla="*/ 1024486 h 2770404"/>
                <a:gd name="connsiteX3714" fmla="*/ 2292800 w 12166600"/>
                <a:gd name="connsiteY3714" fmla="*/ 1002667 h 2770404"/>
                <a:gd name="connsiteX3715" fmla="*/ 2300029 w 12166600"/>
                <a:gd name="connsiteY3715" fmla="*/ 951757 h 2770404"/>
                <a:gd name="connsiteX3716" fmla="*/ 2307259 w 12166600"/>
                <a:gd name="connsiteY3716" fmla="*/ 908119 h 2770404"/>
                <a:gd name="connsiteX3717" fmla="*/ 2307259 w 12166600"/>
                <a:gd name="connsiteY3717" fmla="*/ 900846 h 2770404"/>
                <a:gd name="connsiteX3718" fmla="*/ 2307259 w 12166600"/>
                <a:gd name="connsiteY3718" fmla="*/ 886300 h 2770404"/>
                <a:gd name="connsiteX3719" fmla="*/ 2314488 w 12166600"/>
                <a:gd name="connsiteY3719" fmla="*/ 864482 h 2770404"/>
                <a:gd name="connsiteX3720" fmla="*/ 2314488 w 12166600"/>
                <a:gd name="connsiteY3720" fmla="*/ 835390 h 2770404"/>
                <a:gd name="connsiteX3721" fmla="*/ 2304548 w 12166600"/>
                <a:gd name="connsiteY3721" fmla="*/ 830844 h 2770404"/>
                <a:gd name="connsiteX3722" fmla="*/ 2176737 w 12166600"/>
                <a:gd name="connsiteY3722" fmla="*/ 827119 h 2770404"/>
                <a:gd name="connsiteX3723" fmla="*/ 2183407 w 12166600"/>
                <a:gd name="connsiteY3723" fmla="*/ 836013 h 2770404"/>
                <a:gd name="connsiteX3724" fmla="*/ 2176737 w 12166600"/>
                <a:gd name="connsiteY3724" fmla="*/ 836013 h 2770404"/>
                <a:gd name="connsiteX3725" fmla="*/ 2174514 w 12166600"/>
                <a:gd name="connsiteY3725" fmla="*/ 836013 h 2770404"/>
                <a:gd name="connsiteX3726" fmla="*/ 2170066 w 12166600"/>
                <a:gd name="connsiteY3726" fmla="*/ 836013 h 2770404"/>
                <a:gd name="connsiteX3727" fmla="*/ 2176737 w 12166600"/>
                <a:gd name="connsiteY3727" fmla="*/ 827119 h 2770404"/>
                <a:gd name="connsiteX3728" fmla="*/ 11725547 w 12166600"/>
                <a:gd name="connsiteY3728" fmla="*/ 821543 h 2770404"/>
                <a:gd name="connsiteX3729" fmla="*/ 11725547 w 12166600"/>
                <a:gd name="connsiteY3729" fmla="*/ 828813 h 2770404"/>
                <a:gd name="connsiteX3730" fmla="*/ 11718316 w 12166600"/>
                <a:gd name="connsiteY3730" fmla="*/ 836083 h 2770404"/>
                <a:gd name="connsiteX3731" fmla="*/ 11732777 w 12166600"/>
                <a:gd name="connsiteY3731" fmla="*/ 857894 h 2770404"/>
                <a:gd name="connsiteX3732" fmla="*/ 11732777 w 12166600"/>
                <a:gd name="connsiteY3732" fmla="*/ 843354 h 2770404"/>
                <a:gd name="connsiteX3733" fmla="*/ 11732777 w 12166600"/>
                <a:gd name="connsiteY3733" fmla="*/ 836083 h 2770404"/>
                <a:gd name="connsiteX3734" fmla="*/ 11725547 w 12166600"/>
                <a:gd name="connsiteY3734" fmla="*/ 821543 h 2770404"/>
                <a:gd name="connsiteX3735" fmla="*/ 11595400 w 12166600"/>
                <a:gd name="connsiteY3735" fmla="*/ 821543 h 2770404"/>
                <a:gd name="connsiteX3736" fmla="*/ 11595400 w 12166600"/>
                <a:gd name="connsiteY3736" fmla="*/ 828813 h 2770404"/>
                <a:gd name="connsiteX3737" fmla="*/ 11595400 w 12166600"/>
                <a:gd name="connsiteY3737" fmla="*/ 836083 h 2770404"/>
                <a:gd name="connsiteX3738" fmla="*/ 11595400 w 12166600"/>
                <a:gd name="connsiteY3738" fmla="*/ 857894 h 2770404"/>
                <a:gd name="connsiteX3739" fmla="*/ 11602630 w 12166600"/>
                <a:gd name="connsiteY3739" fmla="*/ 843354 h 2770404"/>
                <a:gd name="connsiteX3740" fmla="*/ 11609861 w 12166600"/>
                <a:gd name="connsiteY3740" fmla="*/ 836083 h 2770404"/>
                <a:gd name="connsiteX3741" fmla="*/ 11602630 w 12166600"/>
                <a:gd name="connsiteY3741" fmla="*/ 828813 h 2770404"/>
                <a:gd name="connsiteX3742" fmla="*/ 11595400 w 12166600"/>
                <a:gd name="connsiteY3742" fmla="*/ 821543 h 2770404"/>
                <a:gd name="connsiteX3743" fmla="*/ 5018279 w 12166600"/>
                <a:gd name="connsiteY3743" fmla="*/ 813778 h 2770404"/>
                <a:gd name="connsiteX3744" fmla="*/ 5018279 w 12166600"/>
                <a:gd name="connsiteY3744" fmla="*/ 836012 h 2770404"/>
                <a:gd name="connsiteX3745" fmla="*/ 5018279 w 12166600"/>
                <a:gd name="connsiteY3745" fmla="*/ 813778 h 2770404"/>
                <a:gd name="connsiteX3746" fmla="*/ 11653243 w 12166600"/>
                <a:gd name="connsiteY3746" fmla="*/ 807002 h 2770404"/>
                <a:gd name="connsiteX3747" fmla="*/ 11660473 w 12166600"/>
                <a:gd name="connsiteY3747" fmla="*/ 821543 h 2770404"/>
                <a:gd name="connsiteX3748" fmla="*/ 11667704 w 12166600"/>
                <a:gd name="connsiteY3748" fmla="*/ 814272 h 2770404"/>
                <a:gd name="connsiteX3749" fmla="*/ 11667704 w 12166600"/>
                <a:gd name="connsiteY3749" fmla="*/ 807002 h 2770404"/>
                <a:gd name="connsiteX3750" fmla="*/ 11660473 w 12166600"/>
                <a:gd name="connsiteY3750" fmla="*/ 807002 h 2770404"/>
                <a:gd name="connsiteX3751" fmla="*/ 11653243 w 12166600"/>
                <a:gd name="connsiteY3751" fmla="*/ 807002 h 2770404"/>
                <a:gd name="connsiteX3752" fmla="*/ 11602630 w 12166600"/>
                <a:gd name="connsiteY3752" fmla="*/ 807002 h 2770404"/>
                <a:gd name="connsiteX3753" fmla="*/ 11617091 w 12166600"/>
                <a:gd name="connsiteY3753" fmla="*/ 828813 h 2770404"/>
                <a:gd name="connsiteX3754" fmla="*/ 11617091 w 12166600"/>
                <a:gd name="connsiteY3754" fmla="*/ 821543 h 2770404"/>
                <a:gd name="connsiteX3755" fmla="*/ 11624321 w 12166600"/>
                <a:gd name="connsiteY3755" fmla="*/ 814272 h 2770404"/>
                <a:gd name="connsiteX3756" fmla="*/ 11631552 w 12166600"/>
                <a:gd name="connsiteY3756" fmla="*/ 807002 h 2770404"/>
                <a:gd name="connsiteX3757" fmla="*/ 11617091 w 12166600"/>
                <a:gd name="connsiteY3757" fmla="*/ 807002 h 2770404"/>
                <a:gd name="connsiteX3758" fmla="*/ 11609861 w 12166600"/>
                <a:gd name="connsiteY3758" fmla="*/ 807002 h 2770404"/>
                <a:gd name="connsiteX3759" fmla="*/ 11602630 w 12166600"/>
                <a:gd name="connsiteY3759" fmla="*/ 807002 h 2770404"/>
                <a:gd name="connsiteX3760" fmla="*/ 2176737 w 12166600"/>
                <a:gd name="connsiteY3760" fmla="*/ 804885 h 2770404"/>
                <a:gd name="connsiteX3761" fmla="*/ 2179239 w 12166600"/>
                <a:gd name="connsiteY3761" fmla="*/ 811555 h 2770404"/>
                <a:gd name="connsiteX3762" fmla="*/ 2176737 w 12166600"/>
                <a:gd name="connsiteY3762" fmla="*/ 818225 h 2770404"/>
                <a:gd name="connsiteX3763" fmla="*/ 2178961 w 12166600"/>
                <a:gd name="connsiteY3763" fmla="*/ 822672 h 2770404"/>
                <a:gd name="connsiteX3764" fmla="*/ 2176737 w 12166600"/>
                <a:gd name="connsiteY3764" fmla="*/ 827119 h 2770404"/>
                <a:gd name="connsiteX3765" fmla="*/ 2174514 w 12166600"/>
                <a:gd name="connsiteY3765" fmla="*/ 822672 h 2770404"/>
                <a:gd name="connsiteX3766" fmla="*/ 2176737 w 12166600"/>
                <a:gd name="connsiteY3766" fmla="*/ 818226 h 2770404"/>
                <a:gd name="connsiteX3767" fmla="*/ 2174236 w 12166600"/>
                <a:gd name="connsiteY3767" fmla="*/ 811555 h 2770404"/>
                <a:gd name="connsiteX3768" fmla="*/ 2176737 w 12166600"/>
                <a:gd name="connsiteY3768" fmla="*/ 804885 h 2770404"/>
                <a:gd name="connsiteX3769" fmla="*/ 2264788 w 12166600"/>
                <a:gd name="connsiteY3769" fmla="*/ 796298 h 2770404"/>
                <a:gd name="connsiteX3770" fmla="*/ 2263885 w 12166600"/>
                <a:gd name="connsiteY3770" fmla="*/ 799025 h 2770404"/>
                <a:gd name="connsiteX3771" fmla="*/ 2256656 w 12166600"/>
                <a:gd name="connsiteY3771" fmla="*/ 813571 h 2770404"/>
                <a:gd name="connsiteX3772" fmla="*/ 2249428 w 12166600"/>
                <a:gd name="connsiteY3772" fmla="*/ 864482 h 2770404"/>
                <a:gd name="connsiteX3773" fmla="*/ 2249428 w 12166600"/>
                <a:gd name="connsiteY3773" fmla="*/ 879028 h 2770404"/>
                <a:gd name="connsiteX3774" fmla="*/ 2242198 w 12166600"/>
                <a:gd name="connsiteY3774" fmla="*/ 900846 h 2770404"/>
                <a:gd name="connsiteX3775" fmla="*/ 2234970 w 12166600"/>
                <a:gd name="connsiteY3775" fmla="*/ 922665 h 2770404"/>
                <a:gd name="connsiteX3776" fmla="*/ 2242198 w 12166600"/>
                <a:gd name="connsiteY3776" fmla="*/ 929938 h 2770404"/>
                <a:gd name="connsiteX3777" fmla="*/ 2242198 w 12166600"/>
                <a:gd name="connsiteY3777" fmla="*/ 944484 h 2770404"/>
                <a:gd name="connsiteX3778" fmla="*/ 2263885 w 12166600"/>
                <a:gd name="connsiteY3778" fmla="*/ 951757 h 2770404"/>
                <a:gd name="connsiteX3779" fmla="*/ 2263885 w 12166600"/>
                <a:gd name="connsiteY3779" fmla="*/ 937211 h 2770404"/>
                <a:gd name="connsiteX3780" fmla="*/ 2263885 w 12166600"/>
                <a:gd name="connsiteY3780" fmla="*/ 929938 h 2770404"/>
                <a:gd name="connsiteX3781" fmla="*/ 2271115 w 12166600"/>
                <a:gd name="connsiteY3781" fmla="*/ 922665 h 2770404"/>
                <a:gd name="connsiteX3782" fmla="*/ 2271115 w 12166600"/>
                <a:gd name="connsiteY3782" fmla="*/ 915392 h 2770404"/>
                <a:gd name="connsiteX3783" fmla="*/ 2278344 w 12166600"/>
                <a:gd name="connsiteY3783" fmla="*/ 857209 h 2770404"/>
                <a:gd name="connsiteX3784" fmla="*/ 2278344 w 12166600"/>
                <a:gd name="connsiteY3784" fmla="*/ 842663 h 2770404"/>
                <a:gd name="connsiteX3785" fmla="*/ 2285571 w 12166600"/>
                <a:gd name="connsiteY3785" fmla="*/ 835390 h 2770404"/>
                <a:gd name="connsiteX3786" fmla="*/ 2271115 w 12166600"/>
                <a:gd name="connsiteY3786" fmla="*/ 799025 h 2770404"/>
                <a:gd name="connsiteX3787" fmla="*/ 2264788 w 12166600"/>
                <a:gd name="connsiteY3787" fmla="*/ 796298 h 2770404"/>
                <a:gd name="connsiteX3788" fmla="*/ 11703856 w 12166600"/>
                <a:gd name="connsiteY3788" fmla="*/ 777921 h 2770404"/>
                <a:gd name="connsiteX3789" fmla="*/ 11696625 w 12166600"/>
                <a:gd name="connsiteY3789" fmla="*/ 785191 h 2770404"/>
                <a:gd name="connsiteX3790" fmla="*/ 11696625 w 12166600"/>
                <a:gd name="connsiteY3790" fmla="*/ 792462 h 2770404"/>
                <a:gd name="connsiteX3791" fmla="*/ 11703856 w 12166600"/>
                <a:gd name="connsiteY3791" fmla="*/ 792462 h 2770404"/>
                <a:gd name="connsiteX3792" fmla="*/ 11718316 w 12166600"/>
                <a:gd name="connsiteY3792" fmla="*/ 792462 h 2770404"/>
                <a:gd name="connsiteX3793" fmla="*/ 11703856 w 12166600"/>
                <a:gd name="connsiteY3793" fmla="*/ 777921 h 2770404"/>
                <a:gd name="connsiteX3794" fmla="*/ 2225030 w 12166600"/>
                <a:gd name="connsiteY3794" fmla="*/ 759933 h 2770404"/>
                <a:gd name="connsiteX3795" fmla="*/ 2213284 w 12166600"/>
                <a:gd name="connsiteY3795" fmla="*/ 777207 h 2770404"/>
                <a:gd name="connsiteX3796" fmla="*/ 2206055 w 12166600"/>
                <a:gd name="connsiteY3796" fmla="*/ 791752 h 2770404"/>
                <a:gd name="connsiteX3797" fmla="*/ 2198825 w 12166600"/>
                <a:gd name="connsiteY3797" fmla="*/ 842663 h 2770404"/>
                <a:gd name="connsiteX3798" fmla="*/ 2198825 w 12166600"/>
                <a:gd name="connsiteY3798" fmla="*/ 864482 h 2770404"/>
                <a:gd name="connsiteX3799" fmla="*/ 2191597 w 12166600"/>
                <a:gd name="connsiteY3799" fmla="*/ 871755 h 2770404"/>
                <a:gd name="connsiteX3800" fmla="*/ 2198825 w 12166600"/>
                <a:gd name="connsiteY3800" fmla="*/ 871755 h 2770404"/>
                <a:gd name="connsiteX3801" fmla="*/ 2213284 w 12166600"/>
                <a:gd name="connsiteY3801" fmla="*/ 886300 h 2770404"/>
                <a:gd name="connsiteX3802" fmla="*/ 2227741 w 12166600"/>
                <a:gd name="connsiteY3802" fmla="*/ 900846 h 2770404"/>
                <a:gd name="connsiteX3803" fmla="*/ 2227741 w 12166600"/>
                <a:gd name="connsiteY3803" fmla="*/ 886300 h 2770404"/>
                <a:gd name="connsiteX3804" fmla="*/ 2227741 w 12166600"/>
                <a:gd name="connsiteY3804" fmla="*/ 879028 h 2770404"/>
                <a:gd name="connsiteX3805" fmla="*/ 2242198 w 12166600"/>
                <a:gd name="connsiteY3805" fmla="*/ 813571 h 2770404"/>
                <a:gd name="connsiteX3806" fmla="*/ 2242198 w 12166600"/>
                <a:gd name="connsiteY3806" fmla="*/ 799025 h 2770404"/>
                <a:gd name="connsiteX3807" fmla="*/ 2242198 w 12166600"/>
                <a:gd name="connsiteY3807" fmla="*/ 769934 h 2770404"/>
                <a:gd name="connsiteX3808" fmla="*/ 2225030 w 12166600"/>
                <a:gd name="connsiteY3808" fmla="*/ 759933 h 2770404"/>
                <a:gd name="connsiteX3809" fmla="*/ 11725547 w 12166600"/>
                <a:gd name="connsiteY3809" fmla="*/ 748840 h 2770404"/>
                <a:gd name="connsiteX3810" fmla="*/ 11718316 w 12166600"/>
                <a:gd name="connsiteY3810" fmla="*/ 756110 h 2770404"/>
                <a:gd name="connsiteX3811" fmla="*/ 11718316 w 12166600"/>
                <a:gd name="connsiteY3811" fmla="*/ 763380 h 2770404"/>
                <a:gd name="connsiteX3812" fmla="*/ 11711086 w 12166600"/>
                <a:gd name="connsiteY3812" fmla="*/ 763380 h 2770404"/>
                <a:gd name="connsiteX3813" fmla="*/ 11725547 w 12166600"/>
                <a:gd name="connsiteY3813" fmla="*/ 777921 h 2770404"/>
                <a:gd name="connsiteX3814" fmla="*/ 11725547 w 12166600"/>
                <a:gd name="connsiteY3814" fmla="*/ 770651 h 2770404"/>
                <a:gd name="connsiteX3815" fmla="*/ 11725547 w 12166600"/>
                <a:gd name="connsiteY3815" fmla="*/ 763380 h 2770404"/>
                <a:gd name="connsiteX3816" fmla="*/ 11725547 w 12166600"/>
                <a:gd name="connsiteY3816" fmla="*/ 748840 h 2770404"/>
                <a:gd name="connsiteX3817" fmla="*/ 11602630 w 12166600"/>
                <a:gd name="connsiteY3817" fmla="*/ 748840 h 2770404"/>
                <a:gd name="connsiteX3818" fmla="*/ 11595400 w 12166600"/>
                <a:gd name="connsiteY3818" fmla="*/ 763380 h 2770404"/>
                <a:gd name="connsiteX3819" fmla="*/ 11595400 w 12166600"/>
                <a:gd name="connsiteY3819" fmla="*/ 777921 h 2770404"/>
                <a:gd name="connsiteX3820" fmla="*/ 11602630 w 12166600"/>
                <a:gd name="connsiteY3820" fmla="*/ 770651 h 2770404"/>
                <a:gd name="connsiteX3821" fmla="*/ 11609861 w 12166600"/>
                <a:gd name="connsiteY3821" fmla="*/ 763380 h 2770404"/>
                <a:gd name="connsiteX3822" fmla="*/ 11602630 w 12166600"/>
                <a:gd name="connsiteY3822" fmla="*/ 756110 h 2770404"/>
                <a:gd name="connsiteX3823" fmla="*/ 11602630 w 12166600"/>
                <a:gd name="connsiteY3823" fmla="*/ 748840 h 2770404"/>
                <a:gd name="connsiteX3824" fmla="*/ 11602630 w 12166600"/>
                <a:gd name="connsiteY3824" fmla="*/ 741570 h 2770404"/>
                <a:gd name="connsiteX3825" fmla="*/ 11617091 w 12166600"/>
                <a:gd name="connsiteY3825" fmla="*/ 756110 h 2770404"/>
                <a:gd name="connsiteX3826" fmla="*/ 11617091 w 12166600"/>
                <a:gd name="connsiteY3826" fmla="*/ 748840 h 2770404"/>
                <a:gd name="connsiteX3827" fmla="*/ 11624321 w 12166600"/>
                <a:gd name="connsiteY3827" fmla="*/ 741570 h 2770404"/>
                <a:gd name="connsiteX3828" fmla="*/ 11617091 w 12166600"/>
                <a:gd name="connsiteY3828" fmla="*/ 741570 h 2770404"/>
                <a:gd name="connsiteX3829" fmla="*/ 11609861 w 12166600"/>
                <a:gd name="connsiteY3829" fmla="*/ 741570 h 2770404"/>
                <a:gd name="connsiteX3830" fmla="*/ 11653243 w 12166600"/>
                <a:gd name="connsiteY3830" fmla="*/ 734299 h 2770404"/>
                <a:gd name="connsiteX3831" fmla="*/ 11660473 w 12166600"/>
                <a:gd name="connsiteY3831" fmla="*/ 748840 h 2770404"/>
                <a:gd name="connsiteX3832" fmla="*/ 11667704 w 12166600"/>
                <a:gd name="connsiteY3832" fmla="*/ 741570 h 2770404"/>
                <a:gd name="connsiteX3833" fmla="*/ 11667704 w 12166600"/>
                <a:gd name="connsiteY3833" fmla="*/ 734299 h 2770404"/>
                <a:gd name="connsiteX3834" fmla="*/ 11660473 w 12166600"/>
                <a:gd name="connsiteY3834" fmla="*/ 734299 h 2770404"/>
                <a:gd name="connsiteX3835" fmla="*/ 11653243 w 12166600"/>
                <a:gd name="connsiteY3835" fmla="*/ 734299 h 2770404"/>
                <a:gd name="connsiteX3836" fmla="*/ 2177138 w 12166600"/>
                <a:gd name="connsiteY3836" fmla="*/ 729023 h 2770404"/>
                <a:gd name="connsiteX3837" fmla="*/ 2155452 w 12166600"/>
                <a:gd name="connsiteY3837" fmla="*/ 748115 h 2770404"/>
                <a:gd name="connsiteX3838" fmla="*/ 2148224 w 12166600"/>
                <a:gd name="connsiteY3838" fmla="*/ 777207 h 2770404"/>
                <a:gd name="connsiteX3839" fmla="*/ 2148224 w 12166600"/>
                <a:gd name="connsiteY3839" fmla="*/ 791752 h 2770404"/>
                <a:gd name="connsiteX3840" fmla="*/ 2140994 w 12166600"/>
                <a:gd name="connsiteY3840" fmla="*/ 828117 h 2770404"/>
                <a:gd name="connsiteX3841" fmla="*/ 2140994 w 12166600"/>
                <a:gd name="connsiteY3841" fmla="*/ 835390 h 2770404"/>
                <a:gd name="connsiteX3842" fmla="*/ 2126537 w 12166600"/>
                <a:gd name="connsiteY3842" fmla="*/ 886300 h 2770404"/>
                <a:gd name="connsiteX3843" fmla="*/ 2126537 w 12166600"/>
                <a:gd name="connsiteY3843" fmla="*/ 900846 h 2770404"/>
                <a:gd name="connsiteX3844" fmla="*/ 2148224 w 12166600"/>
                <a:gd name="connsiteY3844" fmla="*/ 879028 h 2770404"/>
                <a:gd name="connsiteX3845" fmla="*/ 2155452 w 12166600"/>
                <a:gd name="connsiteY3845" fmla="*/ 871755 h 2770404"/>
                <a:gd name="connsiteX3846" fmla="*/ 2169909 w 12166600"/>
                <a:gd name="connsiteY3846" fmla="*/ 864482 h 2770404"/>
                <a:gd name="connsiteX3847" fmla="*/ 2177138 w 12166600"/>
                <a:gd name="connsiteY3847" fmla="*/ 857209 h 2770404"/>
                <a:gd name="connsiteX3848" fmla="*/ 2178042 w 12166600"/>
                <a:gd name="connsiteY3848" fmla="*/ 856300 h 2770404"/>
                <a:gd name="connsiteX3849" fmla="*/ 2178391 w 12166600"/>
                <a:gd name="connsiteY3849" fmla="*/ 855948 h 2770404"/>
                <a:gd name="connsiteX3850" fmla="*/ 2180753 w 12166600"/>
                <a:gd name="connsiteY3850" fmla="*/ 853573 h 2770404"/>
                <a:gd name="connsiteX3851" fmla="*/ 2184368 w 12166600"/>
                <a:gd name="connsiteY3851" fmla="*/ 849936 h 2770404"/>
                <a:gd name="connsiteX3852" fmla="*/ 2191597 w 12166600"/>
                <a:gd name="connsiteY3852" fmla="*/ 806298 h 2770404"/>
                <a:gd name="connsiteX3853" fmla="*/ 2198825 w 12166600"/>
                <a:gd name="connsiteY3853" fmla="*/ 769934 h 2770404"/>
                <a:gd name="connsiteX3854" fmla="*/ 2198825 w 12166600"/>
                <a:gd name="connsiteY3854" fmla="*/ 755388 h 2770404"/>
                <a:gd name="connsiteX3855" fmla="*/ 2198825 w 12166600"/>
                <a:gd name="connsiteY3855" fmla="*/ 748115 h 2770404"/>
                <a:gd name="connsiteX3856" fmla="*/ 2177138 w 12166600"/>
                <a:gd name="connsiteY3856" fmla="*/ 729023 h 2770404"/>
                <a:gd name="connsiteX3857" fmla="*/ 11703856 w 12166600"/>
                <a:gd name="connsiteY3857" fmla="*/ 705218 h 2770404"/>
                <a:gd name="connsiteX3858" fmla="*/ 11696625 w 12166600"/>
                <a:gd name="connsiteY3858" fmla="*/ 712488 h 2770404"/>
                <a:gd name="connsiteX3859" fmla="*/ 11696625 w 12166600"/>
                <a:gd name="connsiteY3859" fmla="*/ 719759 h 2770404"/>
                <a:gd name="connsiteX3860" fmla="*/ 11689395 w 12166600"/>
                <a:gd name="connsiteY3860" fmla="*/ 727029 h 2770404"/>
                <a:gd name="connsiteX3861" fmla="*/ 11696625 w 12166600"/>
                <a:gd name="connsiteY3861" fmla="*/ 719759 h 2770404"/>
                <a:gd name="connsiteX3862" fmla="*/ 11703856 w 12166600"/>
                <a:gd name="connsiteY3862" fmla="*/ 719759 h 2770404"/>
                <a:gd name="connsiteX3863" fmla="*/ 11711086 w 12166600"/>
                <a:gd name="connsiteY3863" fmla="*/ 719759 h 2770404"/>
                <a:gd name="connsiteX3864" fmla="*/ 11718316 w 12166600"/>
                <a:gd name="connsiteY3864" fmla="*/ 719759 h 2770404"/>
                <a:gd name="connsiteX3865" fmla="*/ 11703856 w 12166600"/>
                <a:gd name="connsiteY3865" fmla="*/ 705218 h 2770404"/>
                <a:gd name="connsiteX3866" fmla="*/ 11617091 w 12166600"/>
                <a:gd name="connsiteY3866" fmla="*/ 705218 h 2770404"/>
                <a:gd name="connsiteX3867" fmla="*/ 11617091 w 12166600"/>
                <a:gd name="connsiteY3867" fmla="*/ 712488 h 2770404"/>
                <a:gd name="connsiteX3868" fmla="*/ 11609861 w 12166600"/>
                <a:gd name="connsiteY3868" fmla="*/ 719759 h 2770404"/>
                <a:gd name="connsiteX3869" fmla="*/ 11609861 w 12166600"/>
                <a:gd name="connsiteY3869" fmla="*/ 727029 h 2770404"/>
                <a:gd name="connsiteX3870" fmla="*/ 11631552 w 12166600"/>
                <a:gd name="connsiteY3870" fmla="*/ 727029 h 2770404"/>
                <a:gd name="connsiteX3871" fmla="*/ 11624321 w 12166600"/>
                <a:gd name="connsiteY3871" fmla="*/ 719759 h 2770404"/>
                <a:gd name="connsiteX3872" fmla="*/ 11617091 w 12166600"/>
                <a:gd name="connsiteY3872" fmla="*/ 705218 h 2770404"/>
                <a:gd name="connsiteX3873" fmla="*/ 1719009 w 12166600"/>
                <a:gd name="connsiteY3873" fmla="*/ 700841 h 2770404"/>
                <a:gd name="connsiteX3874" fmla="*/ 1700034 w 12166600"/>
                <a:gd name="connsiteY3874" fmla="*/ 726296 h 2770404"/>
                <a:gd name="connsiteX3875" fmla="*/ 1700034 w 12166600"/>
                <a:gd name="connsiteY3875" fmla="*/ 733569 h 2770404"/>
                <a:gd name="connsiteX3876" fmla="*/ 1678347 w 12166600"/>
                <a:gd name="connsiteY3876" fmla="*/ 813571 h 2770404"/>
                <a:gd name="connsiteX3877" fmla="*/ 1663889 w 12166600"/>
                <a:gd name="connsiteY3877" fmla="*/ 849936 h 2770404"/>
                <a:gd name="connsiteX3878" fmla="*/ 1649432 w 12166600"/>
                <a:gd name="connsiteY3878" fmla="*/ 900846 h 2770404"/>
                <a:gd name="connsiteX3879" fmla="*/ 1671118 w 12166600"/>
                <a:gd name="connsiteY3879" fmla="*/ 893573 h 2770404"/>
                <a:gd name="connsiteX3880" fmla="*/ 1692805 w 12166600"/>
                <a:gd name="connsiteY3880" fmla="*/ 828117 h 2770404"/>
                <a:gd name="connsiteX3881" fmla="*/ 1700034 w 12166600"/>
                <a:gd name="connsiteY3881" fmla="*/ 806298 h 2770404"/>
                <a:gd name="connsiteX3882" fmla="*/ 1721721 w 12166600"/>
                <a:gd name="connsiteY3882" fmla="*/ 719023 h 2770404"/>
                <a:gd name="connsiteX3883" fmla="*/ 1719009 w 12166600"/>
                <a:gd name="connsiteY3883" fmla="*/ 700841 h 2770404"/>
                <a:gd name="connsiteX3884" fmla="*/ 2109369 w 12166600"/>
                <a:gd name="connsiteY3884" fmla="*/ 694477 h 2770404"/>
                <a:gd name="connsiteX3885" fmla="*/ 2090392 w 12166600"/>
                <a:gd name="connsiteY3885" fmla="*/ 719023 h 2770404"/>
                <a:gd name="connsiteX3886" fmla="*/ 2083163 w 12166600"/>
                <a:gd name="connsiteY3886" fmla="*/ 726296 h 2770404"/>
                <a:gd name="connsiteX3887" fmla="*/ 2075934 w 12166600"/>
                <a:gd name="connsiteY3887" fmla="*/ 762661 h 2770404"/>
                <a:gd name="connsiteX3888" fmla="*/ 2068706 w 12166600"/>
                <a:gd name="connsiteY3888" fmla="*/ 799025 h 2770404"/>
                <a:gd name="connsiteX3889" fmla="*/ 2061477 w 12166600"/>
                <a:gd name="connsiteY3889" fmla="*/ 828117 h 2770404"/>
                <a:gd name="connsiteX3890" fmla="*/ 2061477 w 12166600"/>
                <a:gd name="connsiteY3890" fmla="*/ 842663 h 2770404"/>
                <a:gd name="connsiteX3891" fmla="*/ 2054248 w 12166600"/>
                <a:gd name="connsiteY3891" fmla="*/ 886300 h 2770404"/>
                <a:gd name="connsiteX3892" fmla="*/ 2061477 w 12166600"/>
                <a:gd name="connsiteY3892" fmla="*/ 886300 h 2770404"/>
                <a:gd name="connsiteX3893" fmla="*/ 2104850 w 12166600"/>
                <a:gd name="connsiteY3893" fmla="*/ 900846 h 2770404"/>
                <a:gd name="connsiteX3894" fmla="*/ 2119309 w 12166600"/>
                <a:gd name="connsiteY3894" fmla="*/ 849936 h 2770404"/>
                <a:gd name="connsiteX3895" fmla="*/ 2119309 w 12166600"/>
                <a:gd name="connsiteY3895" fmla="*/ 820844 h 2770404"/>
                <a:gd name="connsiteX3896" fmla="*/ 2126537 w 12166600"/>
                <a:gd name="connsiteY3896" fmla="*/ 806298 h 2770404"/>
                <a:gd name="connsiteX3897" fmla="*/ 2126537 w 12166600"/>
                <a:gd name="connsiteY3897" fmla="*/ 791752 h 2770404"/>
                <a:gd name="connsiteX3898" fmla="*/ 2140994 w 12166600"/>
                <a:gd name="connsiteY3898" fmla="*/ 733569 h 2770404"/>
                <a:gd name="connsiteX3899" fmla="*/ 2140994 w 12166600"/>
                <a:gd name="connsiteY3899" fmla="*/ 719023 h 2770404"/>
                <a:gd name="connsiteX3900" fmla="*/ 2133765 w 12166600"/>
                <a:gd name="connsiteY3900" fmla="*/ 697204 h 2770404"/>
                <a:gd name="connsiteX3901" fmla="*/ 2109369 w 12166600"/>
                <a:gd name="connsiteY3901" fmla="*/ 694477 h 2770404"/>
                <a:gd name="connsiteX3902" fmla="*/ 2238584 w 12166600"/>
                <a:gd name="connsiteY3902" fmla="*/ 690840 h 2770404"/>
                <a:gd name="connsiteX3903" fmla="*/ 2220512 w 12166600"/>
                <a:gd name="connsiteY3903" fmla="*/ 704477 h 2770404"/>
                <a:gd name="connsiteX3904" fmla="*/ 2234970 w 12166600"/>
                <a:gd name="connsiteY3904" fmla="*/ 719023 h 2770404"/>
                <a:gd name="connsiteX3905" fmla="*/ 2249428 w 12166600"/>
                <a:gd name="connsiteY3905" fmla="*/ 726296 h 2770404"/>
                <a:gd name="connsiteX3906" fmla="*/ 2256656 w 12166600"/>
                <a:gd name="connsiteY3906" fmla="*/ 733569 h 2770404"/>
                <a:gd name="connsiteX3907" fmla="*/ 2263885 w 12166600"/>
                <a:gd name="connsiteY3907" fmla="*/ 719023 h 2770404"/>
                <a:gd name="connsiteX3908" fmla="*/ 2256656 w 12166600"/>
                <a:gd name="connsiteY3908" fmla="*/ 704477 h 2770404"/>
                <a:gd name="connsiteX3909" fmla="*/ 2238584 w 12166600"/>
                <a:gd name="connsiteY3909" fmla="*/ 690840 h 2770404"/>
                <a:gd name="connsiteX3910" fmla="*/ 1772322 w 12166600"/>
                <a:gd name="connsiteY3910" fmla="*/ 689931 h 2770404"/>
                <a:gd name="connsiteX3911" fmla="*/ 1750636 w 12166600"/>
                <a:gd name="connsiteY3911" fmla="*/ 704477 h 2770404"/>
                <a:gd name="connsiteX3912" fmla="*/ 1743407 w 12166600"/>
                <a:gd name="connsiteY3912" fmla="*/ 719023 h 2770404"/>
                <a:gd name="connsiteX3913" fmla="*/ 1721721 w 12166600"/>
                <a:gd name="connsiteY3913" fmla="*/ 799025 h 2770404"/>
                <a:gd name="connsiteX3914" fmla="*/ 1714491 w 12166600"/>
                <a:gd name="connsiteY3914" fmla="*/ 813571 h 2770404"/>
                <a:gd name="connsiteX3915" fmla="*/ 1692805 w 12166600"/>
                <a:gd name="connsiteY3915" fmla="*/ 886300 h 2770404"/>
                <a:gd name="connsiteX3916" fmla="*/ 1714491 w 12166600"/>
                <a:gd name="connsiteY3916" fmla="*/ 879028 h 2770404"/>
                <a:gd name="connsiteX3917" fmla="*/ 1728949 w 12166600"/>
                <a:gd name="connsiteY3917" fmla="*/ 879028 h 2770404"/>
                <a:gd name="connsiteX3918" fmla="*/ 1728949 w 12166600"/>
                <a:gd name="connsiteY3918" fmla="*/ 871755 h 2770404"/>
                <a:gd name="connsiteX3919" fmla="*/ 1750636 w 12166600"/>
                <a:gd name="connsiteY3919" fmla="*/ 791752 h 2770404"/>
                <a:gd name="connsiteX3920" fmla="*/ 1772322 w 12166600"/>
                <a:gd name="connsiteY3920" fmla="*/ 711750 h 2770404"/>
                <a:gd name="connsiteX3921" fmla="*/ 1772322 w 12166600"/>
                <a:gd name="connsiteY3921" fmla="*/ 689931 h 2770404"/>
                <a:gd name="connsiteX3922" fmla="*/ 11718316 w 12166600"/>
                <a:gd name="connsiteY3922" fmla="*/ 683407 h 2770404"/>
                <a:gd name="connsiteX3923" fmla="*/ 11711086 w 12166600"/>
                <a:gd name="connsiteY3923" fmla="*/ 690677 h 2770404"/>
                <a:gd name="connsiteX3924" fmla="*/ 11718316 w 12166600"/>
                <a:gd name="connsiteY3924" fmla="*/ 705218 h 2770404"/>
                <a:gd name="connsiteX3925" fmla="*/ 11718316 w 12166600"/>
                <a:gd name="connsiteY3925" fmla="*/ 690677 h 2770404"/>
                <a:gd name="connsiteX3926" fmla="*/ 11718316 w 12166600"/>
                <a:gd name="connsiteY3926" fmla="*/ 683407 h 2770404"/>
                <a:gd name="connsiteX3927" fmla="*/ 11682164 w 12166600"/>
                <a:gd name="connsiteY3927" fmla="*/ 683407 h 2770404"/>
                <a:gd name="connsiteX3928" fmla="*/ 11682164 w 12166600"/>
                <a:gd name="connsiteY3928" fmla="*/ 697948 h 2770404"/>
                <a:gd name="connsiteX3929" fmla="*/ 11682164 w 12166600"/>
                <a:gd name="connsiteY3929" fmla="*/ 705218 h 2770404"/>
                <a:gd name="connsiteX3930" fmla="*/ 11689395 w 12166600"/>
                <a:gd name="connsiteY3930" fmla="*/ 705218 h 2770404"/>
                <a:gd name="connsiteX3931" fmla="*/ 11696625 w 12166600"/>
                <a:gd name="connsiteY3931" fmla="*/ 697948 h 2770404"/>
                <a:gd name="connsiteX3932" fmla="*/ 11682164 w 12166600"/>
                <a:gd name="connsiteY3932" fmla="*/ 683407 h 2770404"/>
                <a:gd name="connsiteX3933" fmla="*/ 11602630 w 12166600"/>
                <a:gd name="connsiteY3933" fmla="*/ 683407 h 2770404"/>
                <a:gd name="connsiteX3934" fmla="*/ 11602630 w 12166600"/>
                <a:gd name="connsiteY3934" fmla="*/ 697948 h 2770404"/>
                <a:gd name="connsiteX3935" fmla="*/ 11602630 w 12166600"/>
                <a:gd name="connsiteY3935" fmla="*/ 705218 h 2770404"/>
                <a:gd name="connsiteX3936" fmla="*/ 11609861 w 12166600"/>
                <a:gd name="connsiteY3936" fmla="*/ 697948 h 2770404"/>
                <a:gd name="connsiteX3937" fmla="*/ 2015393 w 12166600"/>
                <a:gd name="connsiteY3937" fmla="*/ 675386 h 2770404"/>
                <a:gd name="connsiteX3938" fmla="*/ 1996418 w 12166600"/>
                <a:gd name="connsiteY3938" fmla="*/ 697204 h 2770404"/>
                <a:gd name="connsiteX3939" fmla="*/ 1981959 w 12166600"/>
                <a:gd name="connsiteY3939" fmla="*/ 777207 h 2770404"/>
                <a:gd name="connsiteX3940" fmla="*/ 1974730 w 12166600"/>
                <a:gd name="connsiteY3940" fmla="*/ 799025 h 2770404"/>
                <a:gd name="connsiteX3941" fmla="*/ 1967501 w 12166600"/>
                <a:gd name="connsiteY3941" fmla="*/ 835390 h 2770404"/>
                <a:gd name="connsiteX3942" fmla="*/ 1960273 w 12166600"/>
                <a:gd name="connsiteY3942" fmla="*/ 864482 h 2770404"/>
                <a:gd name="connsiteX3943" fmla="*/ 2003646 w 12166600"/>
                <a:gd name="connsiteY3943" fmla="*/ 871755 h 2770404"/>
                <a:gd name="connsiteX3944" fmla="*/ 2018103 w 12166600"/>
                <a:gd name="connsiteY3944" fmla="*/ 871755 h 2770404"/>
                <a:gd name="connsiteX3945" fmla="*/ 2025332 w 12166600"/>
                <a:gd name="connsiteY3945" fmla="*/ 871755 h 2770404"/>
                <a:gd name="connsiteX3946" fmla="*/ 2025332 w 12166600"/>
                <a:gd name="connsiteY3946" fmla="*/ 857209 h 2770404"/>
                <a:gd name="connsiteX3947" fmla="*/ 2039790 w 12166600"/>
                <a:gd name="connsiteY3947" fmla="*/ 791752 h 2770404"/>
                <a:gd name="connsiteX3948" fmla="*/ 2039790 w 12166600"/>
                <a:gd name="connsiteY3948" fmla="*/ 784479 h 2770404"/>
                <a:gd name="connsiteX3949" fmla="*/ 2047019 w 12166600"/>
                <a:gd name="connsiteY3949" fmla="*/ 755388 h 2770404"/>
                <a:gd name="connsiteX3950" fmla="*/ 2061477 w 12166600"/>
                <a:gd name="connsiteY3950" fmla="*/ 711750 h 2770404"/>
                <a:gd name="connsiteX3951" fmla="*/ 2039790 w 12166600"/>
                <a:gd name="connsiteY3951" fmla="*/ 675386 h 2770404"/>
                <a:gd name="connsiteX3952" fmla="*/ 2015393 w 12166600"/>
                <a:gd name="connsiteY3952" fmla="*/ 675386 h 2770404"/>
                <a:gd name="connsiteX3953" fmla="*/ 1817503 w 12166600"/>
                <a:gd name="connsiteY3953" fmla="*/ 673567 h 2770404"/>
                <a:gd name="connsiteX3954" fmla="*/ 1794009 w 12166600"/>
                <a:gd name="connsiteY3954" fmla="*/ 704477 h 2770404"/>
                <a:gd name="connsiteX3955" fmla="*/ 1772322 w 12166600"/>
                <a:gd name="connsiteY3955" fmla="*/ 784479 h 2770404"/>
                <a:gd name="connsiteX3956" fmla="*/ 1772322 w 12166600"/>
                <a:gd name="connsiteY3956" fmla="*/ 791752 h 2770404"/>
                <a:gd name="connsiteX3957" fmla="*/ 1750636 w 12166600"/>
                <a:gd name="connsiteY3957" fmla="*/ 857209 h 2770404"/>
                <a:gd name="connsiteX3958" fmla="*/ 1743407 w 12166600"/>
                <a:gd name="connsiteY3958" fmla="*/ 871755 h 2770404"/>
                <a:gd name="connsiteX3959" fmla="*/ 1786780 w 12166600"/>
                <a:gd name="connsiteY3959" fmla="*/ 864482 h 2770404"/>
                <a:gd name="connsiteX3960" fmla="*/ 1794009 w 12166600"/>
                <a:gd name="connsiteY3960" fmla="*/ 828117 h 2770404"/>
                <a:gd name="connsiteX3961" fmla="*/ 1808468 w 12166600"/>
                <a:gd name="connsiteY3961" fmla="*/ 784479 h 2770404"/>
                <a:gd name="connsiteX3962" fmla="*/ 1815695 w 12166600"/>
                <a:gd name="connsiteY3962" fmla="*/ 748115 h 2770404"/>
                <a:gd name="connsiteX3963" fmla="*/ 1830153 w 12166600"/>
                <a:gd name="connsiteY3963" fmla="*/ 697204 h 2770404"/>
                <a:gd name="connsiteX3964" fmla="*/ 1817503 w 12166600"/>
                <a:gd name="connsiteY3964" fmla="*/ 673567 h 2770404"/>
                <a:gd name="connsiteX3965" fmla="*/ 11653243 w 12166600"/>
                <a:gd name="connsiteY3965" fmla="*/ 668867 h 2770404"/>
                <a:gd name="connsiteX3966" fmla="*/ 11660473 w 12166600"/>
                <a:gd name="connsiteY3966" fmla="*/ 676137 h 2770404"/>
                <a:gd name="connsiteX3967" fmla="*/ 11667704 w 12166600"/>
                <a:gd name="connsiteY3967" fmla="*/ 668867 h 2770404"/>
                <a:gd name="connsiteX3968" fmla="*/ 11653243 w 12166600"/>
                <a:gd name="connsiteY3968" fmla="*/ 668867 h 2770404"/>
                <a:gd name="connsiteX3969" fmla="*/ 1878044 w 12166600"/>
                <a:gd name="connsiteY3969" fmla="*/ 663567 h 2770404"/>
                <a:gd name="connsiteX3970" fmla="*/ 1844611 w 12166600"/>
                <a:gd name="connsiteY3970" fmla="*/ 697204 h 2770404"/>
                <a:gd name="connsiteX3971" fmla="*/ 1837382 w 12166600"/>
                <a:gd name="connsiteY3971" fmla="*/ 740842 h 2770404"/>
                <a:gd name="connsiteX3972" fmla="*/ 1822924 w 12166600"/>
                <a:gd name="connsiteY3972" fmla="*/ 777207 h 2770404"/>
                <a:gd name="connsiteX3973" fmla="*/ 1815695 w 12166600"/>
                <a:gd name="connsiteY3973" fmla="*/ 820844 h 2770404"/>
                <a:gd name="connsiteX3974" fmla="*/ 1801238 w 12166600"/>
                <a:gd name="connsiteY3974" fmla="*/ 864482 h 2770404"/>
                <a:gd name="connsiteX3975" fmla="*/ 1851840 w 12166600"/>
                <a:gd name="connsiteY3975" fmla="*/ 857209 h 2770404"/>
                <a:gd name="connsiteX3976" fmla="*/ 1873526 w 12166600"/>
                <a:gd name="connsiteY3976" fmla="*/ 777207 h 2770404"/>
                <a:gd name="connsiteX3977" fmla="*/ 1895213 w 12166600"/>
                <a:gd name="connsiteY3977" fmla="*/ 704477 h 2770404"/>
                <a:gd name="connsiteX3978" fmla="*/ 1895213 w 12166600"/>
                <a:gd name="connsiteY3978" fmla="*/ 689931 h 2770404"/>
                <a:gd name="connsiteX3979" fmla="*/ 1878044 w 12166600"/>
                <a:gd name="connsiteY3979" fmla="*/ 663567 h 2770404"/>
                <a:gd name="connsiteX3980" fmla="*/ 1960273 w 12166600"/>
                <a:gd name="connsiteY3980" fmla="*/ 660840 h 2770404"/>
                <a:gd name="connsiteX3981" fmla="*/ 1916899 w 12166600"/>
                <a:gd name="connsiteY3981" fmla="*/ 689931 h 2770404"/>
                <a:gd name="connsiteX3982" fmla="*/ 1895213 w 12166600"/>
                <a:gd name="connsiteY3982" fmla="*/ 762661 h 2770404"/>
                <a:gd name="connsiteX3983" fmla="*/ 1895213 w 12166600"/>
                <a:gd name="connsiteY3983" fmla="*/ 769934 h 2770404"/>
                <a:gd name="connsiteX3984" fmla="*/ 1873526 w 12166600"/>
                <a:gd name="connsiteY3984" fmla="*/ 857209 h 2770404"/>
                <a:gd name="connsiteX3985" fmla="*/ 1887984 w 12166600"/>
                <a:gd name="connsiteY3985" fmla="*/ 857209 h 2770404"/>
                <a:gd name="connsiteX3986" fmla="*/ 1931357 w 12166600"/>
                <a:gd name="connsiteY3986" fmla="*/ 857209 h 2770404"/>
                <a:gd name="connsiteX3987" fmla="*/ 1938586 w 12166600"/>
                <a:gd name="connsiteY3987" fmla="*/ 828117 h 2770404"/>
                <a:gd name="connsiteX3988" fmla="*/ 1945815 w 12166600"/>
                <a:gd name="connsiteY3988" fmla="*/ 777207 h 2770404"/>
                <a:gd name="connsiteX3989" fmla="*/ 1960273 w 12166600"/>
                <a:gd name="connsiteY3989" fmla="*/ 726296 h 2770404"/>
                <a:gd name="connsiteX3990" fmla="*/ 1967501 w 12166600"/>
                <a:gd name="connsiteY3990" fmla="*/ 689931 h 2770404"/>
                <a:gd name="connsiteX3991" fmla="*/ 1960273 w 12166600"/>
                <a:gd name="connsiteY3991" fmla="*/ 660840 h 2770404"/>
                <a:gd name="connsiteX3992" fmla="*/ 11660473 w 12166600"/>
                <a:gd name="connsiteY3992" fmla="*/ 639785 h 2770404"/>
                <a:gd name="connsiteX3993" fmla="*/ 11653243 w 12166600"/>
                <a:gd name="connsiteY3993" fmla="*/ 647056 h 2770404"/>
                <a:gd name="connsiteX3994" fmla="*/ 11653243 w 12166600"/>
                <a:gd name="connsiteY3994" fmla="*/ 654326 h 2770404"/>
                <a:gd name="connsiteX3995" fmla="*/ 11660473 w 12166600"/>
                <a:gd name="connsiteY3995" fmla="*/ 654326 h 2770404"/>
                <a:gd name="connsiteX3996" fmla="*/ 11667704 w 12166600"/>
                <a:gd name="connsiteY3996" fmla="*/ 654326 h 2770404"/>
                <a:gd name="connsiteX3997" fmla="*/ 11660473 w 12166600"/>
                <a:gd name="connsiteY3997" fmla="*/ 639785 h 2770404"/>
                <a:gd name="connsiteX3998" fmla="*/ 11711086 w 12166600"/>
                <a:gd name="connsiteY3998" fmla="*/ 617975 h 2770404"/>
                <a:gd name="connsiteX3999" fmla="*/ 11703856 w 12166600"/>
                <a:gd name="connsiteY3999" fmla="*/ 625245 h 2770404"/>
                <a:gd name="connsiteX4000" fmla="*/ 11718316 w 12166600"/>
                <a:gd name="connsiteY4000" fmla="*/ 632515 h 2770404"/>
                <a:gd name="connsiteX4001" fmla="*/ 11711086 w 12166600"/>
                <a:gd name="connsiteY4001" fmla="*/ 625245 h 2770404"/>
                <a:gd name="connsiteX4002" fmla="*/ 11711086 w 12166600"/>
                <a:gd name="connsiteY4002" fmla="*/ 617975 h 2770404"/>
                <a:gd name="connsiteX4003" fmla="*/ 11682164 w 12166600"/>
                <a:gd name="connsiteY4003" fmla="*/ 610704 h 2770404"/>
                <a:gd name="connsiteX4004" fmla="*/ 11682164 w 12166600"/>
                <a:gd name="connsiteY4004" fmla="*/ 625245 h 2770404"/>
                <a:gd name="connsiteX4005" fmla="*/ 11682164 w 12166600"/>
                <a:gd name="connsiteY4005" fmla="*/ 632515 h 2770404"/>
                <a:gd name="connsiteX4006" fmla="*/ 11689395 w 12166600"/>
                <a:gd name="connsiteY4006" fmla="*/ 625245 h 2770404"/>
                <a:gd name="connsiteX4007" fmla="*/ 11682164 w 12166600"/>
                <a:gd name="connsiteY4007" fmla="*/ 610704 h 2770404"/>
                <a:gd name="connsiteX4008" fmla="*/ 11631552 w 12166600"/>
                <a:gd name="connsiteY4008" fmla="*/ 610704 h 2770404"/>
                <a:gd name="connsiteX4009" fmla="*/ 11631552 w 12166600"/>
                <a:gd name="connsiteY4009" fmla="*/ 617975 h 2770404"/>
                <a:gd name="connsiteX4010" fmla="*/ 11624321 w 12166600"/>
                <a:gd name="connsiteY4010" fmla="*/ 625245 h 2770404"/>
                <a:gd name="connsiteX4011" fmla="*/ 11638782 w 12166600"/>
                <a:gd name="connsiteY4011" fmla="*/ 639785 h 2770404"/>
                <a:gd name="connsiteX4012" fmla="*/ 11638782 w 12166600"/>
                <a:gd name="connsiteY4012" fmla="*/ 625245 h 2770404"/>
                <a:gd name="connsiteX4013" fmla="*/ 11638782 w 12166600"/>
                <a:gd name="connsiteY4013" fmla="*/ 617975 h 2770404"/>
                <a:gd name="connsiteX4014" fmla="*/ 11638782 w 12166600"/>
                <a:gd name="connsiteY4014" fmla="*/ 610704 h 2770404"/>
                <a:gd name="connsiteX4015" fmla="*/ 11631552 w 12166600"/>
                <a:gd name="connsiteY4015" fmla="*/ 610704 h 2770404"/>
                <a:gd name="connsiteX4016" fmla="*/ 11602630 w 12166600"/>
                <a:gd name="connsiteY4016" fmla="*/ 610704 h 2770404"/>
                <a:gd name="connsiteX4017" fmla="*/ 11602630 w 12166600"/>
                <a:gd name="connsiteY4017" fmla="*/ 625245 h 2770404"/>
                <a:gd name="connsiteX4018" fmla="*/ 11602630 w 12166600"/>
                <a:gd name="connsiteY4018" fmla="*/ 632515 h 2770404"/>
                <a:gd name="connsiteX4019" fmla="*/ 11609861 w 12166600"/>
                <a:gd name="connsiteY4019" fmla="*/ 625245 h 2770404"/>
                <a:gd name="connsiteX4020" fmla="*/ 11653243 w 12166600"/>
                <a:gd name="connsiteY4020" fmla="*/ 596164 h 2770404"/>
                <a:gd name="connsiteX4021" fmla="*/ 11660473 w 12166600"/>
                <a:gd name="connsiteY4021" fmla="*/ 610704 h 2770404"/>
                <a:gd name="connsiteX4022" fmla="*/ 11660473 w 12166600"/>
                <a:gd name="connsiteY4022" fmla="*/ 603434 h 2770404"/>
                <a:gd name="connsiteX4023" fmla="*/ 11667704 w 12166600"/>
                <a:gd name="connsiteY4023" fmla="*/ 596164 h 2770404"/>
                <a:gd name="connsiteX4024" fmla="*/ 11653243 w 12166600"/>
                <a:gd name="connsiteY4024" fmla="*/ 596164 h 2770404"/>
                <a:gd name="connsiteX4025" fmla="*/ 11609861 w 12166600"/>
                <a:gd name="connsiteY4025" fmla="*/ 596164 h 2770404"/>
                <a:gd name="connsiteX4026" fmla="*/ 11617091 w 12166600"/>
                <a:gd name="connsiteY4026" fmla="*/ 610704 h 2770404"/>
                <a:gd name="connsiteX4027" fmla="*/ 11624321 w 12166600"/>
                <a:gd name="connsiteY4027" fmla="*/ 603434 h 2770404"/>
                <a:gd name="connsiteX4028" fmla="*/ 11631552 w 12166600"/>
                <a:gd name="connsiteY4028" fmla="*/ 596164 h 2770404"/>
                <a:gd name="connsiteX4029" fmla="*/ 11624321 w 12166600"/>
                <a:gd name="connsiteY4029" fmla="*/ 596164 h 2770404"/>
                <a:gd name="connsiteX4030" fmla="*/ 11617091 w 12166600"/>
                <a:gd name="connsiteY4030" fmla="*/ 596164 h 2770404"/>
                <a:gd name="connsiteX4031" fmla="*/ 11609861 w 12166600"/>
                <a:gd name="connsiteY4031" fmla="*/ 596164 h 2770404"/>
                <a:gd name="connsiteX4032" fmla="*/ 2220738 w 12166600"/>
                <a:gd name="connsiteY4032" fmla="*/ 595724 h 2770404"/>
                <a:gd name="connsiteX4033" fmla="*/ 2213284 w 12166600"/>
                <a:gd name="connsiteY4033" fmla="*/ 602656 h 2770404"/>
                <a:gd name="connsiteX4034" fmla="*/ 2206055 w 12166600"/>
                <a:gd name="connsiteY4034" fmla="*/ 639021 h 2770404"/>
                <a:gd name="connsiteX4035" fmla="*/ 2206055 w 12166600"/>
                <a:gd name="connsiteY4035" fmla="*/ 653567 h 2770404"/>
                <a:gd name="connsiteX4036" fmla="*/ 2198825 w 12166600"/>
                <a:gd name="connsiteY4036" fmla="*/ 682658 h 2770404"/>
                <a:gd name="connsiteX4037" fmla="*/ 2206055 w 12166600"/>
                <a:gd name="connsiteY4037" fmla="*/ 682658 h 2770404"/>
                <a:gd name="connsiteX4038" fmla="*/ 2220512 w 12166600"/>
                <a:gd name="connsiteY4038" fmla="*/ 689931 h 2770404"/>
                <a:gd name="connsiteX4039" fmla="*/ 2220512 w 12166600"/>
                <a:gd name="connsiteY4039" fmla="*/ 668113 h 2770404"/>
                <a:gd name="connsiteX4040" fmla="*/ 2227741 w 12166600"/>
                <a:gd name="connsiteY4040" fmla="*/ 653567 h 2770404"/>
                <a:gd name="connsiteX4041" fmla="*/ 2227741 w 12166600"/>
                <a:gd name="connsiteY4041" fmla="*/ 639021 h 2770404"/>
                <a:gd name="connsiteX4042" fmla="*/ 2234970 w 12166600"/>
                <a:gd name="connsiteY4042" fmla="*/ 617202 h 2770404"/>
                <a:gd name="connsiteX4043" fmla="*/ 2220738 w 12166600"/>
                <a:gd name="connsiteY4043" fmla="*/ 595724 h 2770404"/>
                <a:gd name="connsiteX4044" fmla="*/ 2104850 w 12166600"/>
                <a:gd name="connsiteY4044" fmla="*/ 594474 h 2770404"/>
                <a:gd name="connsiteX4045" fmla="*/ 2075934 w 12166600"/>
                <a:gd name="connsiteY4045" fmla="*/ 617202 h 2770404"/>
                <a:gd name="connsiteX4046" fmla="*/ 2068706 w 12166600"/>
                <a:gd name="connsiteY4046" fmla="*/ 639021 h 2770404"/>
                <a:gd name="connsiteX4047" fmla="*/ 2083163 w 12166600"/>
                <a:gd name="connsiteY4047" fmla="*/ 646294 h 2770404"/>
                <a:gd name="connsiteX4048" fmla="*/ 2126537 w 12166600"/>
                <a:gd name="connsiteY4048" fmla="*/ 660840 h 2770404"/>
                <a:gd name="connsiteX4049" fmla="*/ 2133765 w 12166600"/>
                <a:gd name="connsiteY4049" fmla="*/ 631748 h 2770404"/>
                <a:gd name="connsiteX4050" fmla="*/ 2133765 w 12166600"/>
                <a:gd name="connsiteY4050" fmla="*/ 609929 h 2770404"/>
                <a:gd name="connsiteX4051" fmla="*/ 2104850 w 12166600"/>
                <a:gd name="connsiteY4051" fmla="*/ 594474 h 2770404"/>
                <a:gd name="connsiteX4052" fmla="*/ 1901651 w 12166600"/>
                <a:gd name="connsiteY4052" fmla="*/ 588565 h 2770404"/>
                <a:gd name="connsiteX4053" fmla="*/ 1851840 w 12166600"/>
                <a:gd name="connsiteY4053" fmla="*/ 617202 h 2770404"/>
                <a:gd name="connsiteX4054" fmla="*/ 1851840 w 12166600"/>
                <a:gd name="connsiteY4054" fmla="*/ 631748 h 2770404"/>
                <a:gd name="connsiteX4055" fmla="*/ 1859069 w 12166600"/>
                <a:gd name="connsiteY4055" fmla="*/ 631748 h 2770404"/>
                <a:gd name="connsiteX4056" fmla="*/ 1916899 w 12166600"/>
                <a:gd name="connsiteY4056" fmla="*/ 624475 h 2770404"/>
                <a:gd name="connsiteX4057" fmla="*/ 1916899 w 12166600"/>
                <a:gd name="connsiteY4057" fmla="*/ 617202 h 2770404"/>
                <a:gd name="connsiteX4058" fmla="*/ 1916899 w 12166600"/>
                <a:gd name="connsiteY4058" fmla="*/ 595383 h 2770404"/>
                <a:gd name="connsiteX4059" fmla="*/ 1901651 w 12166600"/>
                <a:gd name="connsiteY4059" fmla="*/ 588565 h 2770404"/>
                <a:gd name="connsiteX4060" fmla="*/ 3622911 w 12166600"/>
                <a:gd name="connsiteY4060" fmla="*/ 580837 h 2770404"/>
                <a:gd name="connsiteX4061" fmla="*/ 3622911 w 12166600"/>
                <a:gd name="connsiteY4061" fmla="*/ 588110 h 2770404"/>
                <a:gd name="connsiteX4062" fmla="*/ 3608454 w 12166600"/>
                <a:gd name="connsiteY4062" fmla="*/ 602656 h 2770404"/>
                <a:gd name="connsiteX4063" fmla="*/ 3622911 w 12166600"/>
                <a:gd name="connsiteY4063" fmla="*/ 580837 h 2770404"/>
                <a:gd name="connsiteX4064" fmla="*/ 3586766 w 12166600"/>
                <a:gd name="connsiteY4064" fmla="*/ 580837 h 2770404"/>
                <a:gd name="connsiteX4065" fmla="*/ 3601225 w 12166600"/>
                <a:gd name="connsiteY4065" fmla="*/ 602656 h 2770404"/>
                <a:gd name="connsiteX4066" fmla="*/ 3586766 w 12166600"/>
                <a:gd name="connsiteY4066" fmla="*/ 588110 h 2770404"/>
                <a:gd name="connsiteX4067" fmla="*/ 3586766 w 12166600"/>
                <a:gd name="connsiteY4067" fmla="*/ 580837 h 2770404"/>
                <a:gd name="connsiteX4068" fmla="*/ 11696625 w 12166600"/>
                <a:gd name="connsiteY4068" fmla="*/ 567083 h 2770404"/>
                <a:gd name="connsiteX4069" fmla="*/ 11689395 w 12166600"/>
                <a:gd name="connsiteY4069" fmla="*/ 574353 h 2770404"/>
                <a:gd name="connsiteX4070" fmla="*/ 11689395 w 12166600"/>
                <a:gd name="connsiteY4070" fmla="*/ 581623 h 2770404"/>
                <a:gd name="connsiteX4071" fmla="*/ 11696625 w 12166600"/>
                <a:gd name="connsiteY4071" fmla="*/ 581623 h 2770404"/>
                <a:gd name="connsiteX4072" fmla="*/ 11703856 w 12166600"/>
                <a:gd name="connsiteY4072" fmla="*/ 581623 h 2770404"/>
                <a:gd name="connsiteX4073" fmla="*/ 11660473 w 12166600"/>
                <a:gd name="connsiteY4073" fmla="*/ 567083 h 2770404"/>
                <a:gd name="connsiteX4074" fmla="*/ 11653243 w 12166600"/>
                <a:gd name="connsiteY4074" fmla="*/ 581623 h 2770404"/>
                <a:gd name="connsiteX4075" fmla="*/ 11667704 w 12166600"/>
                <a:gd name="connsiteY4075" fmla="*/ 581623 h 2770404"/>
                <a:gd name="connsiteX4076" fmla="*/ 11660473 w 12166600"/>
                <a:gd name="connsiteY4076" fmla="*/ 574353 h 2770404"/>
                <a:gd name="connsiteX4077" fmla="*/ 11660473 w 12166600"/>
                <a:gd name="connsiteY4077" fmla="*/ 567083 h 2770404"/>
                <a:gd name="connsiteX4078" fmla="*/ 11631552 w 12166600"/>
                <a:gd name="connsiteY4078" fmla="*/ 545272 h 2770404"/>
                <a:gd name="connsiteX4079" fmla="*/ 11631552 w 12166600"/>
                <a:gd name="connsiteY4079" fmla="*/ 552542 h 2770404"/>
                <a:gd name="connsiteX4080" fmla="*/ 11638782 w 12166600"/>
                <a:gd name="connsiteY4080" fmla="*/ 567083 h 2770404"/>
                <a:gd name="connsiteX4081" fmla="*/ 11638782 w 12166600"/>
                <a:gd name="connsiteY4081" fmla="*/ 545272 h 2770404"/>
                <a:gd name="connsiteX4082" fmla="*/ 11631552 w 12166600"/>
                <a:gd name="connsiteY4082" fmla="*/ 545272 h 2770404"/>
                <a:gd name="connsiteX4083" fmla="*/ 11711086 w 12166600"/>
                <a:gd name="connsiteY4083" fmla="*/ 538001 h 2770404"/>
                <a:gd name="connsiteX4084" fmla="*/ 11703856 w 12166600"/>
                <a:gd name="connsiteY4084" fmla="*/ 545272 h 2770404"/>
                <a:gd name="connsiteX4085" fmla="*/ 11703856 w 12166600"/>
                <a:gd name="connsiteY4085" fmla="*/ 552542 h 2770404"/>
                <a:gd name="connsiteX4086" fmla="*/ 11711086 w 12166600"/>
                <a:gd name="connsiteY4086" fmla="*/ 559812 h 2770404"/>
                <a:gd name="connsiteX4087" fmla="*/ 11711086 w 12166600"/>
                <a:gd name="connsiteY4087" fmla="*/ 552542 h 2770404"/>
                <a:gd name="connsiteX4088" fmla="*/ 11711086 w 12166600"/>
                <a:gd name="connsiteY4088" fmla="*/ 538001 h 2770404"/>
                <a:gd name="connsiteX4089" fmla="*/ 11682164 w 12166600"/>
                <a:gd name="connsiteY4089" fmla="*/ 523461 h 2770404"/>
                <a:gd name="connsiteX4090" fmla="*/ 11689395 w 12166600"/>
                <a:gd name="connsiteY4090" fmla="*/ 530731 h 2770404"/>
                <a:gd name="connsiteX4091" fmla="*/ 11696625 w 12166600"/>
                <a:gd name="connsiteY4091" fmla="*/ 538001 h 2770404"/>
                <a:gd name="connsiteX4092" fmla="*/ 11703856 w 12166600"/>
                <a:gd name="connsiteY4092" fmla="*/ 523461 h 2770404"/>
                <a:gd name="connsiteX4093" fmla="*/ 11696625 w 12166600"/>
                <a:gd name="connsiteY4093" fmla="*/ 523461 h 2770404"/>
                <a:gd name="connsiteX4094" fmla="*/ 11682164 w 12166600"/>
                <a:gd name="connsiteY4094" fmla="*/ 523461 h 2770404"/>
                <a:gd name="connsiteX4095" fmla="*/ 2006358 w 12166600"/>
                <a:gd name="connsiteY4095" fmla="*/ 519018 h 2770404"/>
                <a:gd name="connsiteX4096" fmla="*/ 1989188 w 12166600"/>
                <a:gd name="connsiteY4096" fmla="*/ 529927 h 2770404"/>
                <a:gd name="connsiteX4097" fmla="*/ 1989188 w 12166600"/>
                <a:gd name="connsiteY4097" fmla="*/ 551746 h 2770404"/>
                <a:gd name="connsiteX4098" fmla="*/ 1981959 w 12166600"/>
                <a:gd name="connsiteY4098" fmla="*/ 559019 h 2770404"/>
                <a:gd name="connsiteX4099" fmla="*/ 1974730 w 12166600"/>
                <a:gd name="connsiteY4099" fmla="*/ 595383 h 2770404"/>
                <a:gd name="connsiteX4100" fmla="*/ 2003646 w 12166600"/>
                <a:gd name="connsiteY4100" fmla="*/ 595383 h 2770404"/>
                <a:gd name="connsiteX4101" fmla="*/ 2010875 w 12166600"/>
                <a:gd name="connsiteY4101" fmla="*/ 566292 h 2770404"/>
                <a:gd name="connsiteX4102" fmla="*/ 2018103 w 12166600"/>
                <a:gd name="connsiteY4102" fmla="*/ 529927 h 2770404"/>
                <a:gd name="connsiteX4103" fmla="*/ 2006358 w 12166600"/>
                <a:gd name="connsiteY4103" fmla="*/ 519018 h 2770404"/>
                <a:gd name="connsiteX4104" fmla="*/ 11689395 w 12166600"/>
                <a:gd name="connsiteY4104" fmla="*/ 443488 h 2770404"/>
                <a:gd name="connsiteX4105" fmla="*/ 11689395 w 12166600"/>
                <a:gd name="connsiteY4105" fmla="*/ 450758 h 2770404"/>
                <a:gd name="connsiteX4106" fmla="*/ 11682164 w 12166600"/>
                <a:gd name="connsiteY4106" fmla="*/ 458028 h 2770404"/>
                <a:gd name="connsiteX4107" fmla="*/ 11696625 w 12166600"/>
                <a:gd name="connsiteY4107" fmla="*/ 458028 h 2770404"/>
                <a:gd name="connsiteX4108" fmla="*/ 11689395 w 12166600"/>
                <a:gd name="connsiteY4108" fmla="*/ 443488 h 2770404"/>
                <a:gd name="connsiteX4109" fmla="*/ 2034580 w 12166600"/>
                <a:gd name="connsiteY4109" fmla="*/ 435734 h 2770404"/>
                <a:gd name="connsiteX4110" fmla="*/ 2083163 w 12166600"/>
                <a:gd name="connsiteY4110" fmla="*/ 442652 h 2770404"/>
                <a:gd name="connsiteX4111" fmla="*/ 2133765 w 12166600"/>
                <a:gd name="connsiteY4111" fmla="*/ 457198 h 2770404"/>
                <a:gd name="connsiteX4112" fmla="*/ 2206055 w 12166600"/>
                <a:gd name="connsiteY4112" fmla="*/ 500835 h 2770404"/>
                <a:gd name="connsiteX4113" fmla="*/ 2249428 w 12166600"/>
                <a:gd name="connsiteY4113" fmla="*/ 537200 h 2770404"/>
                <a:gd name="connsiteX4114" fmla="*/ 2285571 w 12166600"/>
                <a:gd name="connsiteY4114" fmla="*/ 602656 h 2770404"/>
                <a:gd name="connsiteX4115" fmla="*/ 2292800 w 12166600"/>
                <a:gd name="connsiteY4115" fmla="*/ 624475 h 2770404"/>
                <a:gd name="connsiteX4116" fmla="*/ 2292800 w 12166600"/>
                <a:gd name="connsiteY4116" fmla="*/ 682658 h 2770404"/>
                <a:gd name="connsiteX4117" fmla="*/ 2285571 w 12166600"/>
                <a:gd name="connsiteY4117" fmla="*/ 697204 h 2770404"/>
                <a:gd name="connsiteX4118" fmla="*/ 2278344 w 12166600"/>
                <a:gd name="connsiteY4118" fmla="*/ 726296 h 2770404"/>
                <a:gd name="connsiteX4119" fmla="*/ 2271115 w 12166600"/>
                <a:gd name="connsiteY4119" fmla="*/ 748115 h 2770404"/>
                <a:gd name="connsiteX4120" fmla="*/ 2278344 w 12166600"/>
                <a:gd name="connsiteY4120" fmla="*/ 748115 h 2770404"/>
                <a:gd name="connsiteX4121" fmla="*/ 2300029 w 12166600"/>
                <a:gd name="connsiteY4121" fmla="*/ 777207 h 2770404"/>
                <a:gd name="connsiteX4122" fmla="*/ 2336173 w 12166600"/>
                <a:gd name="connsiteY4122" fmla="*/ 806298 h 2770404"/>
                <a:gd name="connsiteX4123" fmla="*/ 2343403 w 12166600"/>
                <a:gd name="connsiteY4123" fmla="*/ 813571 h 2770404"/>
                <a:gd name="connsiteX4124" fmla="*/ 2350632 w 12166600"/>
                <a:gd name="connsiteY4124" fmla="*/ 828117 h 2770404"/>
                <a:gd name="connsiteX4125" fmla="*/ 2350632 w 12166600"/>
                <a:gd name="connsiteY4125" fmla="*/ 857209 h 2770404"/>
                <a:gd name="connsiteX4126" fmla="*/ 2336173 w 12166600"/>
                <a:gd name="connsiteY4126" fmla="*/ 857209 h 2770404"/>
                <a:gd name="connsiteX4127" fmla="*/ 2328944 w 12166600"/>
                <a:gd name="connsiteY4127" fmla="*/ 871755 h 2770404"/>
                <a:gd name="connsiteX4128" fmla="*/ 2328944 w 12166600"/>
                <a:gd name="connsiteY4128" fmla="*/ 886300 h 2770404"/>
                <a:gd name="connsiteX4129" fmla="*/ 2328944 w 12166600"/>
                <a:gd name="connsiteY4129" fmla="*/ 900846 h 2770404"/>
                <a:gd name="connsiteX4130" fmla="*/ 2321717 w 12166600"/>
                <a:gd name="connsiteY4130" fmla="*/ 937211 h 2770404"/>
                <a:gd name="connsiteX4131" fmla="*/ 2314488 w 12166600"/>
                <a:gd name="connsiteY4131" fmla="*/ 988121 h 2770404"/>
                <a:gd name="connsiteX4132" fmla="*/ 2307259 w 12166600"/>
                <a:gd name="connsiteY4132" fmla="*/ 1017213 h 2770404"/>
                <a:gd name="connsiteX4133" fmla="*/ 2300029 w 12166600"/>
                <a:gd name="connsiteY4133" fmla="*/ 1053578 h 2770404"/>
                <a:gd name="connsiteX4134" fmla="*/ 2314488 w 12166600"/>
                <a:gd name="connsiteY4134" fmla="*/ 1068124 h 2770404"/>
                <a:gd name="connsiteX4135" fmla="*/ 2307259 w 12166600"/>
                <a:gd name="connsiteY4135" fmla="*/ 1097215 h 2770404"/>
                <a:gd name="connsiteX4136" fmla="*/ 2292800 w 12166600"/>
                <a:gd name="connsiteY4136" fmla="*/ 1104488 h 2770404"/>
                <a:gd name="connsiteX4137" fmla="*/ 2292800 w 12166600"/>
                <a:gd name="connsiteY4137" fmla="*/ 1126307 h 2770404"/>
                <a:gd name="connsiteX4138" fmla="*/ 2285571 w 12166600"/>
                <a:gd name="connsiteY4138" fmla="*/ 1148126 h 2770404"/>
                <a:gd name="connsiteX4139" fmla="*/ 2278344 w 12166600"/>
                <a:gd name="connsiteY4139" fmla="*/ 1199036 h 2770404"/>
                <a:gd name="connsiteX4140" fmla="*/ 2271115 w 12166600"/>
                <a:gd name="connsiteY4140" fmla="*/ 1249947 h 2770404"/>
                <a:gd name="connsiteX4141" fmla="*/ 2271115 w 12166600"/>
                <a:gd name="connsiteY4141" fmla="*/ 1286312 h 2770404"/>
                <a:gd name="connsiteX4142" fmla="*/ 2263885 w 12166600"/>
                <a:gd name="connsiteY4142" fmla="*/ 1308130 h 2770404"/>
                <a:gd name="connsiteX4143" fmla="*/ 2271115 w 12166600"/>
                <a:gd name="connsiteY4143" fmla="*/ 1315403 h 2770404"/>
                <a:gd name="connsiteX4144" fmla="*/ 2271115 w 12166600"/>
                <a:gd name="connsiteY4144" fmla="*/ 1344495 h 2770404"/>
                <a:gd name="connsiteX4145" fmla="*/ 2256656 w 12166600"/>
                <a:gd name="connsiteY4145" fmla="*/ 1351768 h 2770404"/>
                <a:gd name="connsiteX4146" fmla="*/ 2249428 w 12166600"/>
                <a:gd name="connsiteY4146" fmla="*/ 1409951 h 2770404"/>
                <a:gd name="connsiteX4147" fmla="*/ 2249428 w 12166600"/>
                <a:gd name="connsiteY4147" fmla="*/ 1417224 h 2770404"/>
                <a:gd name="connsiteX4148" fmla="*/ 2271115 w 12166600"/>
                <a:gd name="connsiteY4148" fmla="*/ 1431770 h 2770404"/>
                <a:gd name="connsiteX4149" fmla="*/ 2271115 w 12166600"/>
                <a:gd name="connsiteY4149" fmla="*/ 1439043 h 2770404"/>
                <a:gd name="connsiteX4150" fmla="*/ 2271115 w 12166600"/>
                <a:gd name="connsiteY4150" fmla="*/ 1453589 h 2770404"/>
                <a:gd name="connsiteX4151" fmla="*/ 2242198 w 12166600"/>
                <a:gd name="connsiteY4151" fmla="*/ 1475408 h 2770404"/>
                <a:gd name="connsiteX4152" fmla="*/ 2249428 w 12166600"/>
                <a:gd name="connsiteY4152" fmla="*/ 1737233 h 2770404"/>
                <a:gd name="connsiteX4153" fmla="*/ 2285571 w 12166600"/>
                <a:gd name="connsiteY4153" fmla="*/ 1759052 h 2770404"/>
                <a:gd name="connsiteX4154" fmla="*/ 2285571 w 12166600"/>
                <a:gd name="connsiteY4154" fmla="*/ 1780871 h 2770404"/>
                <a:gd name="connsiteX4155" fmla="*/ 2249428 w 12166600"/>
                <a:gd name="connsiteY4155" fmla="*/ 1802690 h 2770404"/>
                <a:gd name="connsiteX4156" fmla="*/ 2256656 w 12166600"/>
                <a:gd name="connsiteY4156" fmla="*/ 2079061 h 2770404"/>
                <a:gd name="connsiteX4157" fmla="*/ 2618100 w 12166600"/>
                <a:gd name="connsiteY4157" fmla="*/ 2079061 h 2770404"/>
                <a:gd name="connsiteX4158" fmla="*/ 2632557 w 12166600"/>
                <a:gd name="connsiteY4158" fmla="*/ 2079061 h 2770404"/>
                <a:gd name="connsiteX4159" fmla="*/ 2654244 w 12166600"/>
                <a:gd name="connsiteY4159" fmla="*/ 2079061 h 2770404"/>
                <a:gd name="connsiteX4160" fmla="*/ 2668702 w 12166600"/>
                <a:gd name="connsiteY4160" fmla="*/ 2079061 h 2770404"/>
                <a:gd name="connsiteX4161" fmla="*/ 2668702 w 12166600"/>
                <a:gd name="connsiteY4161" fmla="*/ 1977240 h 2770404"/>
                <a:gd name="connsiteX4162" fmla="*/ 2654244 w 12166600"/>
                <a:gd name="connsiteY4162" fmla="*/ 1962694 h 2770404"/>
                <a:gd name="connsiteX4163" fmla="*/ 2654244 w 12166600"/>
                <a:gd name="connsiteY4163" fmla="*/ 1948148 h 2770404"/>
                <a:gd name="connsiteX4164" fmla="*/ 2675931 w 12166600"/>
                <a:gd name="connsiteY4164" fmla="*/ 1933602 h 2770404"/>
                <a:gd name="connsiteX4165" fmla="*/ 2675931 w 12166600"/>
                <a:gd name="connsiteY4165" fmla="*/ 1773598 h 2770404"/>
                <a:gd name="connsiteX4166" fmla="*/ 2661473 w 12166600"/>
                <a:gd name="connsiteY4166" fmla="*/ 1766325 h 2770404"/>
                <a:gd name="connsiteX4167" fmla="*/ 2661473 w 12166600"/>
                <a:gd name="connsiteY4167" fmla="*/ 1751779 h 2770404"/>
                <a:gd name="connsiteX4168" fmla="*/ 2661473 w 12166600"/>
                <a:gd name="connsiteY4168" fmla="*/ 1744506 h 2770404"/>
                <a:gd name="connsiteX4169" fmla="*/ 2675931 w 12166600"/>
                <a:gd name="connsiteY4169" fmla="*/ 1737233 h 2770404"/>
                <a:gd name="connsiteX4170" fmla="*/ 2675931 w 12166600"/>
                <a:gd name="connsiteY4170" fmla="*/ 1722687 h 2770404"/>
                <a:gd name="connsiteX4171" fmla="*/ 2683159 w 12166600"/>
                <a:gd name="connsiteY4171" fmla="*/ 1606320 h 2770404"/>
                <a:gd name="connsiteX4172" fmla="*/ 2683159 w 12166600"/>
                <a:gd name="connsiteY4172" fmla="*/ 1562683 h 2770404"/>
                <a:gd name="connsiteX4173" fmla="*/ 2683159 w 12166600"/>
                <a:gd name="connsiteY4173" fmla="*/ 1555410 h 2770404"/>
                <a:gd name="connsiteX4174" fmla="*/ 2668702 w 12166600"/>
                <a:gd name="connsiteY4174" fmla="*/ 1540864 h 2770404"/>
                <a:gd name="connsiteX4175" fmla="*/ 2668702 w 12166600"/>
                <a:gd name="connsiteY4175" fmla="*/ 1526318 h 2770404"/>
                <a:gd name="connsiteX4176" fmla="*/ 2683159 w 12166600"/>
                <a:gd name="connsiteY4176" fmla="*/ 1511772 h 2770404"/>
                <a:gd name="connsiteX4177" fmla="*/ 2690388 w 12166600"/>
                <a:gd name="connsiteY4177" fmla="*/ 1468135 h 2770404"/>
                <a:gd name="connsiteX4178" fmla="*/ 2690388 w 12166600"/>
                <a:gd name="connsiteY4178" fmla="*/ 1475408 h 2770404"/>
                <a:gd name="connsiteX4179" fmla="*/ 2690388 w 12166600"/>
                <a:gd name="connsiteY4179" fmla="*/ 1511772 h 2770404"/>
                <a:gd name="connsiteX4180" fmla="*/ 2697617 w 12166600"/>
                <a:gd name="connsiteY4180" fmla="*/ 1511772 h 2770404"/>
                <a:gd name="connsiteX4181" fmla="*/ 2704846 w 12166600"/>
                <a:gd name="connsiteY4181" fmla="*/ 1511772 h 2770404"/>
                <a:gd name="connsiteX4182" fmla="*/ 2719304 w 12166600"/>
                <a:gd name="connsiteY4182" fmla="*/ 1511772 h 2770404"/>
                <a:gd name="connsiteX4183" fmla="*/ 2719304 w 12166600"/>
                <a:gd name="connsiteY4183" fmla="*/ 1475408 h 2770404"/>
                <a:gd name="connsiteX4184" fmla="*/ 2712075 w 12166600"/>
                <a:gd name="connsiteY4184" fmla="*/ 1468135 h 2770404"/>
                <a:gd name="connsiteX4185" fmla="*/ 2697617 w 12166600"/>
                <a:gd name="connsiteY4185" fmla="*/ 1468135 h 2770404"/>
                <a:gd name="connsiteX4186" fmla="*/ 2697617 w 12166600"/>
                <a:gd name="connsiteY4186" fmla="*/ 1475408 h 2770404"/>
                <a:gd name="connsiteX4187" fmla="*/ 2690388 w 12166600"/>
                <a:gd name="connsiteY4187" fmla="*/ 1468135 h 2770404"/>
                <a:gd name="connsiteX4188" fmla="*/ 2675931 w 12166600"/>
                <a:gd name="connsiteY4188" fmla="*/ 1468135 h 2770404"/>
                <a:gd name="connsiteX4189" fmla="*/ 2661473 w 12166600"/>
                <a:gd name="connsiteY4189" fmla="*/ 1453589 h 2770404"/>
                <a:gd name="connsiteX4190" fmla="*/ 2683159 w 12166600"/>
                <a:gd name="connsiteY4190" fmla="*/ 1446316 h 2770404"/>
                <a:gd name="connsiteX4191" fmla="*/ 2683159 w 12166600"/>
                <a:gd name="connsiteY4191" fmla="*/ 1439043 h 2770404"/>
                <a:gd name="connsiteX4192" fmla="*/ 2690388 w 12166600"/>
                <a:gd name="connsiteY4192" fmla="*/ 1439043 h 2770404"/>
                <a:gd name="connsiteX4193" fmla="*/ 2704846 w 12166600"/>
                <a:gd name="connsiteY4193" fmla="*/ 1409951 h 2770404"/>
                <a:gd name="connsiteX4194" fmla="*/ 2712075 w 12166600"/>
                <a:gd name="connsiteY4194" fmla="*/ 1402678 h 2770404"/>
                <a:gd name="connsiteX4195" fmla="*/ 2719304 w 12166600"/>
                <a:gd name="connsiteY4195" fmla="*/ 1402678 h 2770404"/>
                <a:gd name="connsiteX4196" fmla="*/ 2719304 w 12166600"/>
                <a:gd name="connsiteY4196" fmla="*/ 1395405 h 2770404"/>
                <a:gd name="connsiteX4197" fmla="*/ 2719529 w 12166600"/>
                <a:gd name="connsiteY4197" fmla="*/ 1395405 h 2770404"/>
                <a:gd name="connsiteX4198" fmla="*/ 2718141 w 12166600"/>
                <a:gd name="connsiteY4198" fmla="*/ 1395207 h 2770404"/>
                <a:gd name="connsiteX4199" fmla="*/ 2717029 w 12166600"/>
                <a:gd name="connsiteY4199" fmla="*/ 1387426 h 2770404"/>
                <a:gd name="connsiteX4200" fmla="*/ 2717029 w 12166600"/>
                <a:gd name="connsiteY4200" fmla="*/ 1387425 h 2770404"/>
                <a:gd name="connsiteX4201" fmla="*/ 2718141 w 12166600"/>
                <a:gd name="connsiteY4201" fmla="*/ 1379644 h 2770404"/>
                <a:gd name="connsiteX4202" fmla="*/ 2725923 w 12166600"/>
                <a:gd name="connsiteY4202" fmla="*/ 1378532 h 2770404"/>
                <a:gd name="connsiteX4203" fmla="*/ 2725923 w 12166600"/>
                <a:gd name="connsiteY4203" fmla="*/ 1386314 h 2770404"/>
                <a:gd name="connsiteX4204" fmla="*/ 2725923 w 12166600"/>
                <a:gd name="connsiteY4204" fmla="*/ 1387425 h 2770404"/>
                <a:gd name="connsiteX4205" fmla="*/ 2725923 w 12166600"/>
                <a:gd name="connsiteY4205" fmla="*/ 1387426 h 2770404"/>
                <a:gd name="connsiteX4206" fmla="*/ 2725923 w 12166600"/>
                <a:gd name="connsiteY4206" fmla="*/ 1395207 h 2770404"/>
                <a:gd name="connsiteX4207" fmla="*/ 2725923 w 12166600"/>
                <a:gd name="connsiteY4207" fmla="*/ 1395405 h 2770404"/>
                <a:gd name="connsiteX4208" fmla="*/ 2726532 w 12166600"/>
                <a:gd name="connsiteY4208" fmla="*/ 1395405 h 2770404"/>
                <a:gd name="connsiteX4209" fmla="*/ 2726532 w 12166600"/>
                <a:gd name="connsiteY4209" fmla="*/ 1402678 h 2770404"/>
                <a:gd name="connsiteX4210" fmla="*/ 2733761 w 12166600"/>
                <a:gd name="connsiteY4210" fmla="*/ 1402678 h 2770404"/>
                <a:gd name="connsiteX4211" fmla="*/ 2748219 w 12166600"/>
                <a:gd name="connsiteY4211" fmla="*/ 1409951 h 2770404"/>
                <a:gd name="connsiteX4212" fmla="*/ 2755447 w 12166600"/>
                <a:gd name="connsiteY4212" fmla="*/ 1424497 h 2770404"/>
                <a:gd name="connsiteX4213" fmla="*/ 2755447 w 12166600"/>
                <a:gd name="connsiteY4213" fmla="*/ 1439043 h 2770404"/>
                <a:gd name="connsiteX4214" fmla="*/ 2762676 w 12166600"/>
                <a:gd name="connsiteY4214" fmla="*/ 1439043 h 2770404"/>
                <a:gd name="connsiteX4215" fmla="*/ 2762676 w 12166600"/>
                <a:gd name="connsiteY4215" fmla="*/ 1446316 h 2770404"/>
                <a:gd name="connsiteX4216" fmla="*/ 2784364 w 12166600"/>
                <a:gd name="connsiteY4216" fmla="*/ 1453589 h 2770404"/>
                <a:gd name="connsiteX4217" fmla="*/ 2769905 w 12166600"/>
                <a:gd name="connsiteY4217" fmla="*/ 1468135 h 2770404"/>
                <a:gd name="connsiteX4218" fmla="*/ 2755447 w 12166600"/>
                <a:gd name="connsiteY4218" fmla="*/ 1468135 h 2770404"/>
                <a:gd name="connsiteX4219" fmla="*/ 2762676 w 12166600"/>
                <a:gd name="connsiteY4219" fmla="*/ 1511772 h 2770404"/>
                <a:gd name="connsiteX4220" fmla="*/ 2777134 w 12166600"/>
                <a:gd name="connsiteY4220" fmla="*/ 1526318 h 2770404"/>
                <a:gd name="connsiteX4221" fmla="*/ 2777134 w 12166600"/>
                <a:gd name="connsiteY4221" fmla="*/ 1540864 h 2770404"/>
                <a:gd name="connsiteX4222" fmla="*/ 2762676 w 12166600"/>
                <a:gd name="connsiteY4222" fmla="*/ 1555410 h 2770404"/>
                <a:gd name="connsiteX4223" fmla="*/ 2762676 w 12166600"/>
                <a:gd name="connsiteY4223" fmla="*/ 1737233 h 2770404"/>
                <a:gd name="connsiteX4224" fmla="*/ 2784364 w 12166600"/>
                <a:gd name="connsiteY4224" fmla="*/ 1751779 h 2770404"/>
                <a:gd name="connsiteX4225" fmla="*/ 2784364 w 12166600"/>
                <a:gd name="connsiteY4225" fmla="*/ 1766325 h 2770404"/>
                <a:gd name="connsiteX4226" fmla="*/ 2762676 w 12166600"/>
                <a:gd name="connsiteY4226" fmla="*/ 1773598 h 2770404"/>
                <a:gd name="connsiteX4227" fmla="*/ 2769905 w 12166600"/>
                <a:gd name="connsiteY4227" fmla="*/ 1933602 h 2770404"/>
                <a:gd name="connsiteX4228" fmla="*/ 2791593 w 12166600"/>
                <a:gd name="connsiteY4228" fmla="*/ 1948148 h 2770404"/>
                <a:gd name="connsiteX4229" fmla="*/ 2791593 w 12166600"/>
                <a:gd name="connsiteY4229" fmla="*/ 1962694 h 2770404"/>
                <a:gd name="connsiteX4230" fmla="*/ 2769905 w 12166600"/>
                <a:gd name="connsiteY4230" fmla="*/ 1977240 h 2770404"/>
                <a:gd name="connsiteX4231" fmla="*/ 2769905 w 12166600"/>
                <a:gd name="connsiteY4231" fmla="*/ 2086334 h 2770404"/>
                <a:gd name="connsiteX4232" fmla="*/ 2842194 w 12166600"/>
                <a:gd name="connsiteY4232" fmla="*/ 2086334 h 2770404"/>
                <a:gd name="connsiteX4233" fmla="*/ 2849423 w 12166600"/>
                <a:gd name="connsiteY4233" fmla="*/ 1526318 h 2770404"/>
                <a:gd name="connsiteX4234" fmla="*/ 2849423 w 12166600"/>
                <a:gd name="connsiteY4234" fmla="*/ 1446316 h 2770404"/>
                <a:gd name="connsiteX4235" fmla="*/ 2842194 w 12166600"/>
                <a:gd name="connsiteY4235" fmla="*/ 1439043 h 2770404"/>
                <a:gd name="connsiteX4236" fmla="*/ 2849423 w 12166600"/>
                <a:gd name="connsiteY4236" fmla="*/ 1439043 h 2770404"/>
                <a:gd name="connsiteX4237" fmla="*/ 2849423 w 12166600"/>
                <a:gd name="connsiteY4237" fmla="*/ 1431770 h 2770404"/>
                <a:gd name="connsiteX4238" fmla="*/ 2834966 w 12166600"/>
                <a:gd name="connsiteY4238" fmla="*/ 1424497 h 2770404"/>
                <a:gd name="connsiteX4239" fmla="*/ 2842194 w 12166600"/>
                <a:gd name="connsiteY4239" fmla="*/ 1417224 h 2770404"/>
                <a:gd name="connsiteX4240" fmla="*/ 2856652 w 12166600"/>
                <a:gd name="connsiteY4240" fmla="*/ 1409951 h 2770404"/>
                <a:gd name="connsiteX4241" fmla="*/ 2863880 w 12166600"/>
                <a:gd name="connsiteY4241" fmla="*/ 1417224 h 2770404"/>
                <a:gd name="connsiteX4242" fmla="*/ 2871110 w 12166600"/>
                <a:gd name="connsiteY4242" fmla="*/ 1424497 h 2770404"/>
                <a:gd name="connsiteX4243" fmla="*/ 2863880 w 12166600"/>
                <a:gd name="connsiteY4243" fmla="*/ 1431770 h 2770404"/>
                <a:gd name="connsiteX4244" fmla="*/ 2863880 w 12166600"/>
                <a:gd name="connsiteY4244" fmla="*/ 1439043 h 2770404"/>
                <a:gd name="connsiteX4245" fmla="*/ 2863880 w 12166600"/>
                <a:gd name="connsiteY4245" fmla="*/ 1446316 h 2770404"/>
                <a:gd name="connsiteX4246" fmla="*/ 2863880 w 12166600"/>
                <a:gd name="connsiteY4246" fmla="*/ 1526318 h 2770404"/>
                <a:gd name="connsiteX4247" fmla="*/ 2885567 w 12166600"/>
                <a:gd name="connsiteY4247" fmla="*/ 1519045 h 2770404"/>
                <a:gd name="connsiteX4248" fmla="*/ 2885567 w 12166600"/>
                <a:gd name="connsiteY4248" fmla="*/ 1366314 h 2770404"/>
                <a:gd name="connsiteX4249" fmla="*/ 2892796 w 12166600"/>
                <a:gd name="connsiteY4249" fmla="*/ 1359041 h 2770404"/>
                <a:gd name="connsiteX4250" fmla="*/ 2885567 w 12166600"/>
                <a:gd name="connsiteY4250" fmla="*/ 1351768 h 2770404"/>
                <a:gd name="connsiteX4251" fmla="*/ 2878338 w 12166600"/>
                <a:gd name="connsiteY4251" fmla="*/ 1344495 h 2770404"/>
                <a:gd name="connsiteX4252" fmla="*/ 2885567 w 12166600"/>
                <a:gd name="connsiteY4252" fmla="*/ 1344495 h 2770404"/>
                <a:gd name="connsiteX4253" fmla="*/ 2885567 w 12166600"/>
                <a:gd name="connsiteY4253" fmla="*/ 1337222 h 2770404"/>
                <a:gd name="connsiteX4254" fmla="*/ 2892796 w 12166600"/>
                <a:gd name="connsiteY4254" fmla="*/ 1329949 h 2770404"/>
                <a:gd name="connsiteX4255" fmla="*/ 2892796 w 12166600"/>
                <a:gd name="connsiteY4255" fmla="*/ 1322676 h 2770404"/>
                <a:gd name="connsiteX4256" fmla="*/ 2892796 w 12166600"/>
                <a:gd name="connsiteY4256" fmla="*/ 1315403 h 2770404"/>
                <a:gd name="connsiteX4257" fmla="*/ 2892796 w 12166600"/>
                <a:gd name="connsiteY4257" fmla="*/ 1308130 h 2770404"/>
                <a:gd name="connsiteX4258" fmla="*/ 2900025 w 12166600"/>
                <a:gd name="connsiteY4258" fmla="*/ 1300857 h 2770404"/>
                <a:gd name="connsiteX4259" fmla="*/ 2900025 w 12166600"/>
                <a:gd name="connsiteY4259" fmla="*/ 1308130 h 2770404"/>
                <a:gd name="connsiteX4260" fmla="*/ 2900025 w 12166600"/>
                <a:gd name="connsiteY4260" fmla="*/ 1315403 h 2770404"/>
                <a:gd name="connsiteX4261" fmla="*/ 2900025 w 12166600"/>
                <a:gd name="connsiteY4261" fmla="*/ 1322676 h 2770404"/>
                <a:gd name="connsiteX4262" fmla="*/ 2900025 w 12166600"/>
                <a:gd name="connsiteY4262" fmla="*/ 1329949 h 2770404"/>
                <a:gd name="connsiteX4263" fmla="*/ 2907253 w 12166600"/>
                <a:gd name="connsiteY4263" fmla="*/ 1337222 h 2770404"/>
                <a:gd name="connsiteX4264" fmla="*/ 2907253 w 12166600"/>
                <a:gd name="connsiteY4264" fmla="*/ 1344495 h 2770404"/>
                <a:gd name="connsiteX4265" fmla="*/ 2914482 w 12166600"/>
                <a:gd name="connsiteY4265" fmla="*/ 1344495 h 2770404"/>
                <a:gd name="connsiteX4266" fmla="*/ 2907253 w 12166600"/>
                <a:gd name="connsiteY4266" fmla="*/ 1351768 h 2770404"/>
                <a:gd name="connsiteX4267" fmla="*/ 2900025 w 12166600"/>
                <a:gd name="connsiteY4267" fmla="*/ 1359041 h 2770404"/>
                <a:gd name="connsiteX4268" fmla="*/ 2907253 w 12166600"/>
                <a:gd name="connsiteY4268" fmla="*/ 1366314 h 2770404"/>
                <a:gd name="connsiteX4269" fmla="*/ 2907253 w 12166600"/>
                <a:gd name="connsiteY4269" fmla="*/ 1439043 h 2770404"/>
                <a:gd name="connsiteX4270" fmla="*/ 2936170 w 12166600"/>
                <a:gd name="connsiteY4270" fmla="*/ 1439043 h 2770404"/>
                <a:gd name="connsiteX4271" fmla="*/ 2950626 w 12166600"/>
                <a:gd name="connsiteY4271" fmla="*/ 1453589 h 2770404"/>
                <a:gd name="connsiteX4272" fmla="*/ 2965085 w 12166600"/>
                <a:gd name="connsiteY4272" fmla="*/ 1475408 h 2770404"/>
                <a:gd name="connsiteX4273" fmla="*/ 2965085 w 12166600"/>
                <a:gd name="connsiteY4273" fmla="*/ 1460862 h 2770404"/>
                <a:gd name="connsiteX4274" fmla="*/ 2965085 w 12166600"/>
                <a:gd name="connsiteY4274" fmla="*/ 1453589 h 2770404"/>
                <a:gd name="connsiteX4275" fmla="*/ 2957855 w 12166600"/>
                <a:gd name="connsiteY4275" fmla="*/ 1446316 h 2770404"/>
                <a:gd name="connsiteX4276" fmla="*/ 2965085 w 12166600"/>
                <a:gd name="connsiteY4276" fmla="*/ 1439043 h 2770404"/>
                <a:gd name="connsiteX4277" fmla="*/ 2972314 w 12166600"/>
                <a:gd name="connsiteY4277" fmla="*/ 1431770 h 2770404"/>
                <a:gd name="connsiteX4278" fmla="*/ 2979543 w 12166600"/>
                <a:gd name="connsiteY4278" fmla="*/ 1439043 h 2770404"/>
                <a:gd name="connsiteX4279" fmla="*/ 2986772 w 12166600"/>
                <a:gd name="connsiteY4279" fmla="*/ 1446316 h 2770404"/>
                <a:gd name="connsiteX4280" fmla="*/ 2979543 w 12166600"/>
                <a:gd name="connsiteY4280" fmla="*/ 1453589 h 2770404"/>
                <a:gd name="connsiteX4281" fmla="*/ 2979543 w 12166600"/>
                <a:gd name="connsiteY4281" fmla="*/ 1460862 h 2770404"/>
                <a:gd name="connsiteX4282" fmla="*/ 2979543 w 12166600"/>
                <a:gd name="connsiteY4282" fmla="*/ 1489954 h 2770404"/>
                <a:gd name="connsiteX4283" fmla="*/ 2986772 w 12166600"/>
                <a:gd name="connsiteY4283" fmla="*/ 1497227 h 2770404"/>
                <a:gd name="connsiteX4284" fmla="*/ 3008458 w 12166600"/>
                <a:gd name="connsiteY4284" fmla="*/ 1497227 h 2770404"/>
                <a:gd name="connsiteX4285" fmla="*/ 3008458 w 12166600"/>
                <a:gd name="connsiteY4285" fmla="*/ 1409951 h 2770404"/>
                <a:gd name="connsiteX4286" fmla="*/ 3008458 w 12166600"/>
                <a:gd name="connsiteY4286" fmla="*/ 1402678 h 2770404"/>
                <a:gd name="connsiteX4287" fmla="*/ 3008458 w 12166600"/>
                <a:gd name="connsiteY4287" fmla="*/ 1395405 h 2770404"/>
                <a:gd name="connsiteX4288" fmla="*/ 3001229 w 12166600"/>
                <a:gd name="connsiteY4288" fmla="*/ 1388133 h 2770404"/>
                <a:gd name="connsiteX4289" fmla="*/ 3008458 w 12166600"/>
                <a:gd name="connsiteY4289" fmla="*/ 1388133 h 2770404"/>
                <a:gd name="connsiteX4290" fmla="*/ 3008458 w 12166600"/>
                <a:gd name="connsiteY4290" fmla="*/ 1380860 h 2770404"/>
                <a:gd name="connsiteX4291" fmla="*/ 3015687 w 12166600"/>
                <a:gd name="connsiteY4291" fmla="*/ 1373587 h 2770404"/>
                <a:gd name="connsiteX4292" fmla="*/ 3022916 w 12166600"/>
                <a:gd name="connsiteY4292" fmla="*/ 1380860 h 2770404"/>
                <a:gd name="connsiteX4293" fmla="*/ 3022916 w 12166600"/>
                <a:gd name="connsiteY4293" fmla="*/ 1388133 h 2770404"/>
                <a:gd name="connsiteX4294" fmla="*/ 3030145 w 12166600"/>
                <a:gd name="connsiteY4294" fmla="*/ 1388133 h 2770404"/>
                <a:gd name="connsiteX4295" fmla="*/ 3022916 w 12166600"/>
                <a:gd name="connsiteY4295" fmla="*/ 1402678 h 2770404"/>
                <a:gd name="connsiteX4296" fmla="*/ 3022916 w 12166600"/>
                <a:gd name="connsiteY4296" fmla="*/ 1409951 h 2770404"/>
                <a:gd name="connsiteX4297" fmla="*/ 3022916 w 12166600"/>
                <a:gd name="connsiteY4297" fmla="*/ 1489954 h 2770404"/>
                <a:gd name="connsiteX4298" fmla="*/ 3044602 w 12166600"/>
                <a:gd name="connsiteY4298" fmla="*/ 1489954 h 2770404"/>
                <a:gd name="connsiteX4299" fmla="*/ 3073517 w 12166600"/>
                <a:gd name="connsiteY4299" fmla="*/ 1489954 h 2770404"/>
                <a:gd name="connsiteX4300" fmla="*/ 3080746 w 12166600"/>
                <a:gd name="connsiteY4300" fmla="*/ 1424497 h 2770404"/>
                <a:gd name="connsiteX4301" fmla="*/ 3051831 w 12166600"/>
                <a:gd name="connsiteY4301" fmla="*/ 1417224 h 2770404"/>
                <a:gd name="connsiteX4302" fmla="*/ 3030145 w 12166600"/>
                <a:gd name="connsiteY4302" fmla="*/ 1388133 h 2770404"/>
                <a:gd name="connsiteX4303" fmla="*/ 3059060 w 12166600"/>
                <a:gd name="connsiteY4303" fmla="*/ 1366314 h 2770404"/>
                <a:gd name="connsiteX4304" fmla="*/ 3066289 w 12166600"/>
                <a:gd name="connsiteY4304" fmla="*/ 1366314 h 2770404"/>
                <a:gd name="connsiteX4305" fmla="*/ 3066289 w 12166600"/>
                <a:gd name="connsiteY4305" fmla="*/ 1337222 h 2770404"/>
                <a:gd name="connsiteX4306" fmla="*/ 3080746 w 12166600"/>
                <a:gd name="connsiteY4306" fmla="*/ 1337222 h 2770404"/>
                <a:gd name="connsiteX4307" fmla="*/ 3124119 w 12166600"/>
                <a:gd name="connsiteY4307" fmla="*/ 1264493 h 2770404"/>
                <a:gd name="connsiteX4308" fmla="*/ 3145805 w 12166600"/>
                <a:gd name="connsiteY4308" fmla="*/ 1257220 h 2770404"/>
                <a:gd name="connsiteX4309" fmla="*/ 3174721 w 12166600"/>
                <a:gd name="connsiteY4309" fmla="*/ 1242674 h 2770404"/>
                <a:gd name="connsiteX4310" fmla="*/ 3174721 w 12166600"/>
                <a:gd name="connsiteY4310" fmla="*/ 1235401 h 2770404"/>
                <a:gd name="connsiteX4311" fmla="*/ 3181951 w 12166600"/>
                <a:gd name="connsiteY4311" fmla="*/ 1228128 h 2770404"/>
                <a:gd name="connsiteX4312" fmla="*/ 3189179 w 12166600"/>
                <a:gd name="connsiteY4312" fmla="*/ 1242674 h 2770404"/>
                <a:gd name="connsiteX4313" fmla="*/ 3218094 w 12166600"/>
                <a:gd name="connsiteY4313" fmla="*/ 1257220 h 2770404"/>
                <a:gd name="connsiteX4314" fmla="*/ 3247010 w 12166600"/>
                <a:gd name="connsiteY4314" fmla="*/ 1271766 h 2770404"/>
                <a:gd name="connsiteX4315" fmla="*/ 3283155 w 12166600"/>
                <a:gd name="connsiteY4315" fmla="*/ 1315403 h 2770404"/>
                <a:gd name="connsiteX4316" fmla="*/ 3283155 w 12166600"/>
                <a:gd name="connsiteY4316" fmla="*/ 1235401 h 2770404"/>
                <a:gd name="connsiteX4317" fmla="*/ 3275926 w 12166600"/>
                <a:gd name="connsiteY4317" fmla="*/ 1177218 h 2770404"/>
                <a:gd name="connsiteX4318" fmla="*/ 3333757 w 12166600"/>
                <a:gd name="connsiteY4318" fmla="*/ 995394 h 2770404"/>
                <a:gd name="connsiteX4319" fmla="*/ 3463875 w 12166600"/>
                <a:gd name="connsiteY4319" fmla="*/ 879028 h 2770404"/>
                <a:gd name="connsiteX4320" fmla="*/ 3463875 w 12166600"/>
                <a:gd name="connsiteY4320" fmla="*/ 871755 h 2770404"/>
                <a:gd name="connsiteX4321" fmla="*/ 3471105 w 12166600"/>
                <a:gd name="connsiteY4321" fmla="*/ 871755 h 2770404"/>
                <a:gd name="connsiteX4322" fmla="*/ 3463875 w 12166600"/>
                <a:gd name="connsiteY4322" fmla="*/ 857209 h 2770404"/>
                <a:gd name="connsiteX4323" fmla="*/ 3471105 w 12166600"/>
                <a:gd name="connsiteY4323" fmla="*/ 857209 h 2770404"/>
                <a:gd name="connsiteX4324" fmla="*/ 3471105 w 12166600"/>
                <a:gd name="connsiteY4324" fmla="*/ 849936 h 2770404"/>
                <a:gd name="connsiteX4325" fmla="*/ 3485562 w 12166600"/>
                <a:gd name="connsiteY4325" fmla="*/ 849936 h 2770404"/>
                <a:gd name="connsiteX4326" fmla="*/ 3485562 w 12166600"/>
                <a:gd name="connsiteY4326" fmla="*/ 842663 h 2770404"/>
                <a:gd name="connsiteX4327" fmla="*/ 3500021 w 12166600"/>
                <a:gd name="connsiteY4327" fmla="*/ 842663 h 2770404"/>
                <a:gd name="connsiteX4328" fmla="*/ 3507249 w 12166600"/>
                <a:gd name="connsiteY4328" fmla="*/ 835390 h 2770404"/>
                <a:gd name="connsiteX4329" fmla="*/ 3543393 w 12166600"/>
                <a:gd name="connsiteY4329" fmla="*/ 813571 h 2770404"/>
                <a:gd name="connsiteX4330" fmla="*/ 3572308 w 12166600"/>
                <a:gd name="connsiteY4330" fmla="*/ 784479 h 2770404"/>
                <a:gd name="connsiteX4331" fmla="*/ 3579537 w 12166600"/>
                <a:gd name="connsiteY4331" fmla="*/ 777207 h 2770404"/>
                <a:gd name="connsiteX4332" fmla="*/ 3586766 w 12166600"/>
                <a:gd name="connsiteY4332" fmla="*/ 762661 h 2770404"/>
                <a:gd name="connsiteX4333" fmla="*/ 3601225 w 12166600"/>
                <a:gd name="connsiteY4333" fmla="*/ 748115 h 2770404"/>
                <a:gd name="connsiteX4334" fmla="*/ 3586766 w 12166600"/>
                <a:gd name="connsiteY4334" fmla="*/ 733569 h 2770404"/>
                <a:gd name="connsiteX4335" fmla="*/ 3601225 w 12166600"/>
                <a:gd name="connsiteY4335" fmla="*/ 719023 h 2770404"/>
                <a:gd name="connsiteX4336" fmla="*/ 3601225 w 12166600"/>
                <a:gd name="connsiteY4336" fmla="*/ 711750 h 2770404"/>
                <a:gd name="connsiteX4337" fmla="*/ 3586766 w 12166600"/>
                <a:gd name="connsiteY4337" fmla="*/ 697204 h 2770404"/>
                <a:gd name="connsiteX4338" fmla="*/ 3601225 w 12166600"/>
                <a:gd name="connsiteY4338" fmla="*/ 668113 h 2770404"/>
                <a:gd name="connsiteX4339" fmla="*/ 3601225 w 12166600"/>
                <a:gd name="connsiteY4339" fmla="*/ 660840 h 2770404"/>
                <a:gd name="connsiteX4340" fmla="*/ 3593996 w 12166600"/>
                <a:gd name="connsiteY4340" fmla="*/ 653567 h 2770404"/>
                <a:gd name="connsiteX4341" fmla="*/ 3601225 w 12166600"/>
                <a:gd name="connsiteY4341" fmla="*/ 653567 h 2770404"/>
                <a:gd name="connsiteX4342" fmla="*/ 3601225 w 12166600"/>
                <a:gd name="connsiteY4342" fmla="*/ 646294 h 2770404"/>
                <a:gd name="connsiteX4343" fmla="*/ 3593996 w 12166600"/>
                <a:gd name="connsiteY4343" fmla="*/ 639021 h 2770404"/>
                <a:gd name="connsiteX4344" fmla="*/ 3601225 w 12166600"/>
                <a:gd name="connsiteY4344" fmla="*/ 624475 h 2770404"/>
                <a:gd name="connsiteX4345" fmla="*/ 3601225 w 12166600"/>
                <a:gd name="connsiteY4345" fmla="*/ 617202 h 2770404"/>
                <a:gd name="connsiteX4346" fmla="*/ 3601225 w 12166600"/>
                <a:gd name="connsiteY4346" fmla="*/ 609929 h 2770404"/>
                <a:gd name="connsiteX4347" fmla="*/ 3601225 w 12166600"/>
                <a:gd name="connsiteY4347" fmla="*/ 602656 h 2770404"/>
                <a:gd name="connsiteX4348" fmla="*/ 3601225 w 12166600"/>
                <a:gd name="connsiteY4348" fmla="*/ 595383 h 2770404"/>
                <a:gd name="connsiteX4349" fmla="*/ 3601225 w 12166600"/>
                <a:gd name="connsiteY4349" fmla="*/ 588110 h 2770404"/>
                <a:gd name="connsiteX4350" fmla="*/ 3601225 w 12166600"/>
                <a:gd name="connsiteY4350" fmla="*/ 580837 h 2770404"/>
                <a:gd name="connsiteX4351" fmla="*/ 3601225 w 12166600"/>
                <a:gd name="connsiteY4351" fmla="*/ 577201 h 2770404"/>
                <a:gd name="connsiteX4352" fmla="*/ 3601225 w 12166600"/>
                <a:gd name="connsiteY4352" fmla="*/ 574474 h 2770404"/>
                <a:gd name="connsiteX4353" fmla="*/ 3601225 w 12166600"/>
                <a:gd name="connsiteY4353" fmla="*/ 573565 h 2770404"/>
                <a:gd name="connsiteX4354" fmla="*/ 3608454 w 12166600"/>
                <a:gd name="connsiteY4354" fmla="*/ 566292 h 2770404"/>
                <a:gd name="connsiteX4355" fmla="*/ 3608454 w 12166600"/>
                <a:gd name="connsiteY4355" fmla="*/ 573565 h 2770404"/>
                <a:gd name="connsiteX4356" fmla="*/ 3608454 w 12166600"/>
                <a:gd name="connsiteY4356" fmla="*/ 574474 h 2770404"/>
                <a:gd name="connsiteX4357" fmla="*/ 3608454 w 12166600"/>
                <a:gd name="connsiteY4357" fmla="*/ 577201 h 2770404"/>
                <a:gd name="connsiteX4358" fmla="*/ 3608454 w 12166600"/>
                <a:gd name="connsiteY4358" fmla="*/ 580837 h 2770404"/>
                <a:gd name="connsiteX4359" fmla="*/ 3608454 w 12166600"/>
                <a:gd name="connsiteY4359" fmla="*/ 588110 h 2770404"/>
                <a:gd name="connsiteX4360" fmla="*/ 3608454 w 12166600"/>
                <a:gd name="connsiteY4360" fmla="*/ 595383 h 2770404"/>
                <a:gd name="connsiteX4361" fmla="*/ 3608454 w 12166600"/>
                <a:gd name="connsiteY4361" fmla="*/ 602656 h 2770404"/>
                <a:gd name="connsiteX4362" fmla="*/ 3608454 w 12166600"/>
                <a:gd name="connsiteY4362" fmla="*/ 609929 h 2770404"/>
                <a:gd name="connsiteX4363" fmla="*/ 3608454 w 12166600"/>
                <a:gd name="connsiteY4363" fmla="*/ 617202 h 2770404"/>
                <a:gd name="connsiteX4364" fmla="*/ 3608454 w 12166600"/>
                <a:gd name="connsiteY4364" fmla="*/ 624475 h 2770404"/>
                <a:gd name="connsiteX4365" fmla="*/ 3615682 w 12166600"/>
                <a:gd name="connsiteY4365" fmla="*/ 639021 h 2770404"/>
                <a:gd name="connsiteX4366" fmla="*/ 3608454 w 12166600"/>
                <a:gd name="connsiteY4366" fmla="*/ 646294 h 2770404"/>
                <a:gd name="connsiteX4367" fmla="*/ 3608454 w 12166600"/>
                <a:gd name="connsiteY4367" fmla="*/ 653567 h 2770404"/>
                <a:gd name="connsiteX4368" fmla="*/ 3608454 w 12166600"/>
                <a:gd name="connsiteY4368" fmla="*/ 660840 h 2770404"/>
                <a:gd name="connsiteX4369" fmla="*/ 3608454 w 12166600"/>
                <a:gd name="connsiteY4369" fmla="*/ 668113 h 2770404"/>
                <a:gd name="connsiteX4370" fmla="*/ 3622911 w 12166600"/>
                <a:gd name="connsiteY4370" fmla="*/ 697204 h 2770404"/>
                <a:gd name="connsiteX4371" fmla="*/ 3608454 w 12166600"/>
                <a:gd name="connsiteY4371" fmla="*/ 711750 h 2770404"/>
                <a:gd name="connsiteX4372" fmla="*/ 3608454 w 12166600"/>
                <a:gd name="connsiteY4372" fmla="*/ 719023 h 2770404"/>
                <a:gd name="connsiteX4373" fmla="*/ 3622911 w 12166600"/>
                <a:gd name="connsiteY4373" fmla="*/ 733569 h 2770404"/>
                <a:gd name="connsiteX4374" fmla="*/ 3608454 w 12166600"/>
                <a:gd name="connsiteY4374" fmla="*/ 748115 h 2770404"/>
                <a:gd name="connsiteX4375" fmla="*/ 3622911 w 12166600"/>
                <a:gd name="connsiteY4375" fmla="*/ 762661 h 2770404"/>
                <a:gd name="connsiteX4376" fmla="*/ 3630140 w 12166600"/>
                <a:gd name="connsiteY4376" fmla="*/ 777207 h 2770404"/>
                <a:gd name="connsiteX4377" fmla="*/ 3637369 w 12166600"/>
                <a:gd name="connsiteY4377" fmla="*/ 784479 h 2770404"/>
                <a:gd name="connsiteX4378" fmla="*/ 3673513 w 12166600"/>
                <a:gd name="connsiteY4378" fmla="*/ 813571 h 2770404"/>
                <a:gd name="connsiteX4379" fmla="*/ 3709657 w 12166600"/>
                <a:gd name="connsiteY4379" fmla="*/ 835390 h 2770404"/>
                <a:gd name="connsiteX4380" fmla="*/ 3709657 w 12166600"/>
                <a:gd name="connsiteY4380" fmla="*/ 842663 h 2770404"/>
                <a:gd name="connsiteX4381" fmla="*/ 3731343 w 12166600"/>
                <a:gd name="connsiteY4381" fmla="*/ 842663 h 2770404"/>
                <a:gd name="connsiteX4382" fmla="*/ 3731343 w 12166600"/>
                <a:gd name="connsiteY4382" fmla="*/ 849936 h 2770404"/>
                <a:gd name="connsiteX4383" fmla="*/ 3745801 w 12166600"/>
                <a:gd name="connsiteY4383" fmla="*/ 849936 h 2770404"/>
                <a:gd name="connsiteX4384" fmla="*/ 3738572 w 12166600"/>
                <a:gd name="connsiteY4384" fmla="*/ 864482 h 2770404"/>
                <a:gd name="connsiteX4385" fmla="*/ 3753030 w 12166600"/>
                <a:gd name="connsiteY4385" fmla="*/ 864482 h 2770404"/>
                <a:gd name="connsiteX4386" fmla="*/ 3745801 w 12166600"/>
                <a:gd name="connsiteY4386" fmla="*/ 871755 h 2770404"/>
                <a:gd name="connsiteX4387" fmla="*/ 3753030 w 12166600"/>
                <a:gd name="connsiteY4387" fmla="*/ 871755 h 2770404"/>
                <a:gd name="connsiteX4388" fmla="*/ 3745801 w 12166600"/>
                <a:gd name="connsiteY4388" fmla="*/ 879028 h 2770404"/>
                <a:gd name="connsiteX4389" fmla="*/ 3933751 w 12166600"/>
                <a:gd name="connsiteY4389" fmla="*/ 1177218 h 2770404"/>
                <a:gd name="connsiteX4390" fmla="*/ 3912066 w 12166600"/>
                <a:gd name="connsiteY4390" fmla="*/ 1293584 h 2770404"/>
                <a:gd name="connsiteX4391" fmla="*/ 3912066 w 12166600"/>
                <a:gd name="connsiteY4391" fmla="*/ 1322676 h 2770404"/>
                <a:gd name="connsiteX4392" fmla="*/ 3948210 w 12166600"/>
                <a:gd name="connsiteY4392" fmla="*/ 1271766 h 2770404"/>
                <a:gd name="connsiteX4393" fmla="*/ 3969895 w 12166600"/>
                <a:gd name="connsiteY4393" fmla="*/ 1257220 h 2770404"/>
                <a:gd name="connsiteX4394" fmla="*/ 3998812 w 12166600"/>
                <a:gd name="connsiteY4394" fmla="*/ 1242674 h 2770404"/>
                <a:gd name="connsiteX4395" fmla="*/ 4006040 w 12166600"/>
                <a:gd name="connsiteY4395" fmla="*/ 1235401 h 2770404"/>
                <a:gd name="connsiteX4396" fmla="*/ 4008427 w 12166600"/>
                <a:gd name="connsiteY4396" fmla="*/ 1235401 h 2770404"/>
                <a:gd name="connsiteX4397" fmla="*/ 4006618 w 12166600"/>
                <a:gd name="connsiteY4397" fmla="*/ 1231785 h 2770404"/>
                <a:gd name="connsiteX4398" fmla="*/ 4008843 w 12166600"/>
                <a:gd name="connsiteY4398" fmla="*/ 1227338 h 2770404"/>
                <a:gd name="connsiteX4399" fmla="*/ 4011066 w 12166600"/>
                <a:gd name="connsiteY4399" fmla="*/ 1231785 h 2770404"/>
                <a:gd name="connsiteX4400" fmla="*/ 4009259 w 12166600"/>
                <a:gd name="connsiteY4400" fmla="*/ 1235401 h 2770404"/>
                <a:gd name="connsiteX4401" fmla="*/ 4013269 w 12166600"/>
                <a:gd name="connsiteY4401" fmla="*/ 1235401 h 2770404"/>
                <a:gd name="connsiteX4402" fmla="*/ 4020498 w 12166600"/>
                <a:gd name="connsiteY4402" fmla="*/ 1242674 h 2770404"/>
                <a:gd name="connsiteX4403" fmla="*/ 4049413 w 12166600"/>
                <a:gd name="connsiteY4403" fmla="*/ 1257220 h 2770404"/>
                <a:gd name="connsiteX4404" fmla="*/ 4071100 w 12166600"/>
                <a:gd name="connsiteY4404" fmla="*/ 1271766 h 2770404"/>
                <a:gd name="connsiteX4405" fmla="*/ 4114474 w 12166600"/>
                <a:gd name="connsiteY4405" fmla="*/ 1337222 h 2770404"/>
                <a:gd name="connsiteX4406" fmla="*/ 4121703 w 12166600"/>
                <a:gd name="connsiteY4406" fmla="*/ 1344495 h 2770404"/>
                <a:gd name="connsiteX4407" fmla="*/ 4121703 w 12166600"/>
                <a:gd name="connsiteY4407" fmla="*/ 1366314 h 2770404"/>
                <a:gd name="connsiteX4408" fmla="*/ 4150617 w 12166600"/>
                <a:gd name="connsiteY4408" fmla="*/ 1380860 h 2770404"/>
                <a:gd name="connsiteX4409" fmla="*/ 4165075 w 12166600"/>
                <a:gd name="connsiteY4409" fmla="*/ 1388133 h 2770404"/>
                <a:gd name="connsiteX4410" fmla="*/ 4172304 w 12166600"/>
                <a:gd name="connsiteY4410" fmla="*/ 1380860 h 2770404"/>
                <a:gd name="connsiteX4411" fmla="*/ 4172304 w 12166600"/>
                <a:gd name="connsiteY4411" fmla="*/ 1373587 h 2770404"/>
                <a:gd name="connsiteX4412" fmla="*/ 4172304 w 12166600"/>
                <a:gd name="connsiteY4412" fmla="*/ 1366314 h 2770404"/>
                <a:gd name="connsiteX4413" fmla="*/ 4172304 w 12166600"/>
                <a:gd name="connsiteY4413" fmla="*/ 1359041 h 2770404"/>
                <a:gd name="connsiteX4414" fmla="*/ 4179534 w 12166600"/>
                <a:gd name="connsiteY4414" fmla="*/ 1351768 h 2770404"/>
                <a:gd name="connsiteX4415" fmla="*/ 4179534 w 12166600"/>
                <a:gd name="connsiteY4415" fmla="*/ 1359041 h 2770404"/>
                <a:gd name="connsiteX4416" fmla="*/ 4179534 w 12166600"/>
                <a:gd name="connsiteY4416" fmla="*/ 1366314 h 2770404"/>
                <a:gd name="connsiteX4417" fmla="*/ 4179534 w 12166600"/>
                <a:gd name="connsiteY4417" fmla="*/ 1373587 h 2770404"/>
                <a:gd name="connsiteX4418" fmla="*/ 4179534 w 12166600"/>
                <a:gd name="connsiteY4418" fmla="*/ 1380860 h 2770404"/>
                <a:gd name="connsiteX4419" fmla="*/ 4186761 w 12166600"/>
                <a:gd name="connsiteY4419" fmla="*/ 1388133 h 2770404"/>
                <a:gd name="connsiteX4420" fmla="*/ 4193990 w 12166600"/>
                <a:gd name="connsiteY4420" fmla="*/ 1395405 h 2770404"/>
                <a:gd name="connsiteX4421" fmla="*/ 4186761 w 12166600"/>
                <a:gd name="connsiteY4421" fmla="*/ 1402678 h 2770404"/>
                <a:gd name="connsiteX4422" fmla="*/ 4179534 w 12166600"/>
                <a:gd name="connsiteY4422" fmla="*/ 1409951 h 2770404"/>
                <a:gd name="connsiteX4423" fmla="*/ 4186761 w 12166600"/>
                <a:gd name="connsiteY4423" fmla="*/ 1409951 h 2770404"/>
                <a:gd name="connsiteX4424" fmla="*/ 4186761 w 12166600"/>
                <a:gd name="connsiteY4424" fmla="*/ 1417224 h 2770404"/>
                <a:gd name="connsiteX4425" fmla="*/ 4186761 w 12166600"/>
                <a:gd name="connsiteY4425" fmla="*/ 1497227 h 2770404"/>
                <a:gd name="connsiteX4426" fmla="*/ 4208448 w 12166600"/>
                <a:gd name="connsiteY4426" fmla="*/ 1504499 h 2770404"/>
                <a:gd name="connsiteX4427" fmla="*/ 4215677 w 12166600"/>
                <a:gd name="connsiteY4427" fmla="*/ 1489954 h 2770404"/>
                <a:gd name="connsiteX4428" fmla="*/ 4215677 w 12166600"/>
                <a:gd name="connsiteY4428" fmla="*/ 1460862 h 2770404"/>
                <a:gd name="connsiteX4429" fmla="*/ 4215677 w 12166600"/>
                <a:gd name="connsiteY4429" fmla="*/ 1453589 h 2770404"/>
                <a:gd name="connsiteX4430" fmla="*/ 4208448 w 12166600"/>
                <a:gd name="connsiteY4430" fmla="*/ 1446316 h 2770404"/>
                <a:gd name="connsiteX4431" fmla="*/ 4215677 w 12166600"/>
                <a:gd name="connsiteY4431" fmla="*/ 1446316 h 2770404"/>
                <a:gd name="connsiteX4432" fmla="*/ 4222905 w 12166600"/>
                <a:gd name="connsiteY4432" fmla="*/ 1439043 h 2770404"/>
                <a:gd name="connsiteX4433" fmla="*/ 4230134 w 12166600"/>
                <a:gd name="connsiteY4433" fmla="*/ 1446316 h 2770404"/>
                <a:gd name="connsiteX4434" fmla="*/ 4237363 w 12166600"/>
                <a:gd name="connsiteY4434" fmla="*/ 1446316 h 2770404"/>
                <a:gd name="connsiteX4435" fmla="*/ 4230134 w 12166600"/>
                <a:gd name="connsiteY4435" fmla="*/ 1453589 h 2770404"/>
                <a:gd name="connsiteX4436" fmla="*/ 4222905 w 12166600"/>
                <a:gd name="connsiteY4436" fmla="*/ 1460862 h 2770404"/>
                <a:gd name="connsiteX4437" fmla="*/ 4230134 w 12166600"/>
                <a:gd name="connsiteY4437" fmla="*/ 1460862 h 2770404"/>
                <a:gd name="connsiteX4438" fmla="*/ 4230134 w 12166600"/>
                <a:gd name="connsiteY4438" fmla="*/ 1475408 h 2770404"/>
                <a:gd name="connsiteX4439" fmla="*/ 4251821 w 12166600"/>
                <a:gd name="connsiteY4439" fmla="*/ 1446316 h 2770404"/>
                <a:gd name="connsiteX4440" fmla="*/ 4259050 w 12166600"/>
                <a:gd name="connsiteY4440" fmla="*/ 1446316 h 2770404"/>
                <a:gd name="connsiteX4441" fmla="*/ 4287965 w 12166600"/>
                <a:gd name="connsiteY4441" fmla="*/ 1446316 h 2770404"/>
                <a:gd name="connsiteX4442" fmla="*/ 4287965 w 12166600"/>
                <a:gd name="connsiteY4442" fmla="*/ 1373587 h 2770404"/>
                <a:gd name="connsiteX4443" fmla="*/ 4287965 w 12166600"/>
                <a:gd name="connsiteY4443" fmla="*/ 1366314 h 2770404"/>
                <a:gd name="connsiteX4444" fmla="*/ 4287965 w 12166600"/>
                <a:gd name="connsiteY4444" fmla="*/ 1359041 h 2770404"/>
                <a:gd name="connsiteX4445" fmla="*/ 4280736 w 12166600"/>
                <a:gd name="connsiteY4445" fmla="*/ 1351768 h 2770404"/>
                <a:gd name="connsiteX4446" fmla="*/ 4287965 w 12166600"/>
                <a:gd name="connsiteY4446" fmla="*/ 1344495 h 2770404"/>
                <a:gd name="connsiteX4447" fmla="*/ 4295194 w 12166600"/>
                <a:gd name="connsiteY4447" fmla="*/ 1337222 h 2770404"/>
                <a:gd name="connsiteX4448" fmla="*/ 4309652 w 12166600"/>
                <a:gd name="connsiteY4448" fmla="*/ 1344495 h 2770404"/>
                <a:gd name="connsiteX4449" fmla="*/ 4316881 w 12166600"/>
                <a:gd name="connsiteY4449" fmla="*/ 1351768 h 2770404"/>
                <a:gd name="connsiteX4450" fmla="*/ 4302423 w 12166600"/>
                <a:gd name="connsiteY4450" fmla="*/ 1359041 h 2770404"/>
                <a:gd name="connsiteX4451" fmla="*/ 4302423 w 12166600"/>
                <a:gd name="connsiteY4451" fmla="*/ 1366314 h 2770404"/>
                <a:gd name="connsiteX4452" fmla="*/ 4302423 w 12166600"/>
                <a:gd name="connsiteY4452" fmla="*/ 1373587 h 2770404"/>
                <a:gd name="connsiteX4453" fmla="*/ 4302423 w 12166600"/>
                <a:gd name="connsiteY4453" fmla="*/ 1526318 h 2770404"/>
                <a:gd name="connsiteX4454" fmla="*/ 4331338 w 12166600"/>
                <a:gd name="connsiteY4454" fmla="*/ 1526318 h 2770404"/>
                <a:gd name="connsiteX4455" fmla="*/ 4331338 w 12166600"/>
                <a:gd name="connsiteY4455" fmla="*/ 1446316 h 2770404"/>
                <a:gd name="connsiteX4456" fmla="*/ 4324109 w 12166600"/>
                <a:gd name="connsiteY4456" fmla="*/ 1439043 h 2770404"/>
                <a:gd name="connsiteX4457" fmla="*/ 4316881 w 12166600"/>
                <a:gd name="connsiteY4457" fmla="*/ 1424497 h 2770404"/>
                <a:gd name="connsiteX4458" fmla="*/ 4324109 w 12166600"/>
                <a:gd name="connsiteY4458" fmla="*/ 1424497 h 2770404"/>
                <a:gd name="connsiteX4459" fmla="*/ 4331338 w 12166600"/>
                <a:gd name="connsiteY4459" fmla="*/ 1409951 h 2770404"/>
                <a:gd name="connsiteX4460" fmla="*/ 4338567 w 12166600"/>
                <a:gd name="connsiteY4460" fmla="*/ 1409951 h 2770404"/>
                <a:gd name="connsiteX4461" fmla="*/ 4345796 w 12166600"/>
                <a:gd name="connsiteY4461" fmla="*/ 1424497 h 2770404"/>
                <a:gd name="connsiteX4462" fmla="*/ 4353025 w 12166600"/>
                <a:gd name="connsiteY4462" fmla="*/ 1424497 h 2770404"/>
                <a:gd name="connsiteX4463" fmla="*/ 4345796 w 12166600"/>
                <a:gd name="connsiteY4463" fmla="*/ 1439043 h 2770404"/>
                <a:gd name="connsiteX4464" fmla="*/ 4345796 w 12166600"/>
                <a:gd name="connsiteY4464" fmla="*/ 1446316 h 2770404"/>
                <a:gd name="connsiteX4465" fmla="*/ 4345796 w 12166600"/>
                <a:gd name="connsiteY4465" fmla="*/ 1533591 h 2770404"/>
                <a:gd name="connsiteX4466" fmla="*/ 4338567 w 12166600"/>
                <a:gd name="connsiteY4466" fmla="*/ 2086334 h 2770404"/>
                <a:gd name="connsiteX4467" fmla="*/ 4367483 w 12166600"/>
                <a:gd name="connsiteY4467" fmla="*/ 2086334 h 2770404"/>
                <a:gd name="connsiteX4468" fmla="*/ 4374712 w 12166600"/>
                <a:gd name="connsiteY4468" fmla="*/ 2086334 h 2770404"/>
                <a:gd name="connsiteX4469" fmla="*/ 4403627 w 12166600"/>
                <a:gd name="connsiteY4469" fmla="*/ 2086334 h 2770404"/>
                <a:gd name="connsiteX4470" fmla="*/ 4418085 w 12166600"/>
                <a:gd name="connsiteY4470" fmla="*/ 2086334 h 2770404"/>
                <a:gd name="connsiteX4471" fmla="*/ 4418085 w 12166600"/>
                <a:gd name="connsiteY4471" fmla="*/ 1984513 h 2770404"/>
                <a:gd name="connsiteX4472" fmla="*/ 4396398 w 12166600"/>
                <a:gd name="connsiteY4472" fmla="*/ 1969967 h 2770404"/>
                <a:gd name="connsiteX4473" fmla="*/ 4396398 w 12166600"/>
                <a:gd name="connsiteY4473" fmla="*/ 1955421 h 2770404"/>
                <a:gd name="connsiteX4474" fmla="*/ 4418085 w 12166600"/>
                <a:gd name="connsiteY4474" fmla="*/ 1940875 h 2770404"/>
                <a:gd name="connsiteX4475" fmla="*/ 4425314 w 12166600"/>
                <a:gd name="connsiteY4475" fmla="*/ 1780871 h 2770404"/>
                <a:gd name="connsiteX4476" fmla="*/ 4418085 w 12166600"/>
                <a:gd name="connsiteY4476" fmla="*/ 1780871 h 2770404"/>
                <a:gd name="connsiteX4477" fmla="*/ 4410856 w 12166600"/>
                <a:gd name="connsiteY4477" fmla="*/ 1766325 h 2770404"/>
                <a:gd name="connsiteX4478" fmla="*/ 4410856 w 12166600"/>
                <a:gd name="connsiteY4478" fmla="*/ 1759052 h 2770404"/>
                <a:gd name="connsiteX4479" fmla="*/ 4410856 w 12166600"/>
                <a:gd name="connsiteY4479" fmla="*/ 1751779 h 2770404"/>
                <a:gd name="connsiteX4480" fmla="*/ 4425314 w 12166600"/>
                <a:gd name="connsiteY4480" fmla="*/ 1744506 h 2770404"/>
                <a:gd name="connsiteX4481" fmla="*/ 4425314 w 12166600"/>
                <a:gd name="connsiteY4481" fmla="*/ 1729960 h 2770404"/>
                <a:gd name="connsiteX4482" fmla="*/ 4425314 w 12166600"/>
                <a:gd name="connsiteY4482" fmla="*/ 1613593 h 2770404"/>
                <a:gd name="connsiteX4483" fmla="*/ 4432542 w 12166600"/>
                <a:gd name="connsiteY4483" fmla="*/ 1562683 h 2770404"/>
                <a:gd name="connsiteX4484" fmla="*/ 4410856 w 12166600"/>
                <a:gd name="connsiteY4484" fmla="*/ 1548137 h 2770404"/>
                <a:gd name="connsiteX4485" fmla="*/ 4410856 w 12166600"/>
                <a:gd name="connsiteY4485" fmla="*/ 1533591 h 2770404"/>
                <a:gd name="connsiteX4486" fmla="*/ 4432542 w 12166600"/>
                <a:gd name="connsiteY4486" fmla="*/ 1519045 h 2770404"/>
                <a:gd name="connsiteX4487" fmla="*/ 4432542 w 12166600"/>
                <a:gd name="connsiteY4487" fmla="*/ 1475408 h 2770404"/>
                <a:gd name="connsiteX4488" fmla="*/ 4425314 w 12166600"/>
                <a:gd name="connsiteY4488" fmla="*/ 1475408 h 2770404"/>
                <a:gd name="connsiteX4489" fmla="*/ 4410856 w 12166600"/>
                <a:gd name="connsiteY4489" fmla="*/ 1460862 h 2770404"/>
                <a:gd name="connsiteX4490" fmla="*/ 4432542 w 12166600"/>
                <a:gd name="connsiteY4490" fmla="*/ 1453589 h 2770404"/>
                <a:gd name="connsiteX4491" fmla="*/ 4432542 w 12166600"/>
                <a:gd name="connsiteY4491" fmla="*/ 1446316 h 2770404"/>
                <a:gd name="connsiteX4492" fmla="*/ 4432542 w 12166600"/>
                <a:gd name="connsiteY4492" fmla="*/ 1439043 h 2770404"/>
                <a:gd name="connsiteX4493" fmla="*/ 4454229 w 12166600"/>
                <a:gd name="connsiteY4493" fmla="*/ 1409951 h 2770404"/>
                <a:gd name="connsiteX4494" fmla="*/ 4468687 w 12166600"/>
                <a:gd name="connsiteY4494" fmla="*/ 1402678 h 2770404"/>
                <a:gd name="connsiteX4495" fmla="*/ 4475916 w 12166600"/>
                <a:gd name="connsiteY4495" fmla="*/ 1402678 h 2770404"/>
                <a:gd name="connsiteX4496" fmla="*/ 4483144 w 12166600"/>
                <a:gd name="connsiteY4496" fmla="*/ 1409951 h 2770404"/>
                <a:gd name="connsiteX4497" fmla="*/ 4490373 w 12166600"/>
                <a:gd name="connsiteY4497" fmla="*/ 1417224 h 2770404"/>
                <a:gd name="connsiteX4498" fmla="*/ 4504831 w 12166600"/>
                <a:gd name="connsiteY4498" fmla="*/ 1431770 h 2770404"/>
                <a:gd name="connsiteX4499" fmla="*/ 4504831 w 12166600"/>
                <a:gd name="connsiteY4499" fmla="*/ 1439043 h 2770404"/>
                <a:gd name="connsiteX4500" fmla="*/ 4504831 w 12166600"/>
                <a:gd name="connsiteY4500" fmla="*/ 1446316 h 2770404"/>
                <a:gd name="connsiteX4501" fmla="*/ 4504831 w 12166600"/>
                <a:gd name="connsiteY4501" fmla="*/ 1453589 h 2770404"/>
                <a:gd name="connsiteX4502" fmla="*/ 4526518 w 12166600"/>
                <a:gd name="connsiteY4502" fmla="*/ 1460862 h 2770404"/>
                <a:gd name="connsiteX4503" fmla="*/ 4512060 w 12166600"/>
                <a:gd name="connsiteY4503" fmla="*/ 1475408 h 2770404"/>
                <a:gd name="connsiteX4504" fmla="*/ 4504831 w 12166600"/>
                <a:gd name="connsiteY4504" fmla="*/ 1475408 h 2770404"/>
                <a:gd name="connsiteX4505" fmla="*/ 4504831 w 12166600"/>
                <a:gd name="connsiteY4505" fmla="*/ 1519045 h 2770404"/>
                <a:gd name="connsiteX4506" fmla="*/ 4526518 w 12166600"/>
                <a:gd name="connsiteY4506" fmla="*/ 1533591 h 2770404"/>
                <a:gd name="connsiteX4507" fmla="*/ 4526518 w 12166600"/>
                <a:gd name="connsiteY4507" fmla="*/ 1548137 h 2770404"/>
                <a:gd name="connsiteX4508" fmla="*/ 4504831 w 12166600"/>
                <a:gd name="connsiteY4508" fmla="*/ 1562683 h 2770404"/>
                <a:gd name="connsiteX4509" fmla="*/ 4512060 w 12166600"/>
                <a:gd name="connsiteY4509" fmla="*/ 1744506 h 2770404"/>
                <a:gd name="connsiteX4510" fmla="*/ 4526518 w 12166600"/>
                <a:gd name="connsiteY4510" fmla="*/ 1759052 h 2770404"/>
                <a:gd name="connsiteX4511" fmla="*/ 4526518 w 12166600"/>
                <a:gd name="connsiteY4511" fmla="*/ 1773598 h 2770404"/>
                <a:gd name="connsiteX4512" fmla="*/ 4512060 w 12166600"/>
                <a:gd name="connsiteY4512" fmla="*/ 1780871 h 2770404"/>
                <a:gd name="connsiteX4513" fmla="*/ 4512060 w 12166600"/>
                <a:gd name="connsiteY4513" fmla="*/ 1940875 h 2770404"/>
                <a:gd name="connsiteX4514" fmla="*/ 4533746 w 12166600"/>
                <a:gd name="connsiteY4514" fmla="*/ 1955421 h 2770404"/>
                <a:gd name="connsiteX4515" fmla="*/ 4533746 w 12166600"/>
                <a:gd name="connsiteY4515" fmla="*/ 1969967 h 2770404"/>
                <a:gd name="connsiteX4516" fmla="*/ 4519289 w 12166600"/>
                <a:gd name="connsiteY4516" fmla="*/ 1984513 h 2770404"/>
                <a:gd name="connsiteX4517" fmla="*/ 4519289 w 12166600"/>
                <a:gd name="connsiteY4517" fmla="*/ 2086334 h 2770404"/>
                <a:gd name="connsiteX4518" fmla="*/ 4830130 w 12166600"/>
                <a:gd name="connsiteY4518" fmla="*/ 2093607 h 2770404"/>
                <a:gd name="connsiteX4519" fmla="*/ 4837358 w 12166600"/>
                <a:gd name="connsiteY4519" fmla="*/ 2093607 h 2770404"/>
                <a:gd name="connsiteX4520" fmla="*/ 4859045 w 12166600"/>
                <a:gd name="connsiteY4520" fmla="*/ 2093607 h 2770404"/>
                <a:gd name="connsiteX4521" fmla="*/ 4895189 w 12166600"/>
                <a:gd name="connsiteY4521" fmla="*/ 2093607 h 2770404"/>
                <a:gd name="connsiteX4522" fmla="*/ 4916876 w 12166600"/>
                <a:gd name="connsiteY4522" fmla="*/ 2093607 h 2770404"/>
                <a:gd name="connsiteX4523" fmla="*/ 4924105 w 12166600"/>
                <a:gd name="connsiteY4523" fmla="*/ 2093607 h 2770404"/>
                <a:gd name="connsiteX4524" fmla="*/ 4931334 w 12166600"/>
                <a:gd name="connsiteY4524" fmla="*/ 2093607 h 2770404"/>
                <a:gd name="connsiteX4525" fmla="*/ 4931334 w 12166600"/>
                <a:gd name="connsiteY4525" fmla="*/ 2064515 h 2770404"/>
                <a:gd name="connsiteX4526" fmla="*/ 4931334 w 12166600"/>
                <a:gd name="connsiteY4526" fmla="*/ 1984513 h 2770404"/>
                <a:gd name="connsiteX4527" fmla="*/ 4938563 w 12166600"/>
                <a:gd name="connsiteY4527" fmla="*/ 1809962 h 2770404"/>
                <a:gd name="connsiteX4528" fmla="*/ 4909647 w 12166600"/>
                <a:gd name="connsiteY4528" fmla="*/ 1788144 h 2770404"/>
                <a:gd name="connsiteX4529" fmla="*/ 4909647 w 12166600"/>
                <a:gd name="connsiteY4529" fmla="*/ 1766325 h 2770404"/>
                <a:gd name="connsiteX4530" fmla="*/ 4938563 w 12166600"/>
                <a:gd name="connsiteY4530" fmla="*/ 1744506 h 2770404"/>
                <a:gd name="connsiteX4531" fmla="*/ 4945791 w 12166600"/>
                <a:gd name="connsiteY4531" fmla="*/ 1489954 h 2770404"/>
                <a:gd name="connsiteX4532" fmla="*/ 4938563 w 12166600"/>
                <a:gd name="connsiteY4532" fmla="*/ 1482681 h 2770404"/>
                <a:gd name="connsiteX4533" fmla="*/ 4916876 w 12166600"/>
                <a:gd name="connsiteY4533" fmla="*/ 1468135 h 2770404"/>
                <a:gd name="connsiteX4534" fmla="*/ 4916876 w 12166600"/>
                <a:gd name="connsiteY4534" fmla="*/ 1446316 h 2770404"/>
                <a:gd name="connsiteX4535" fmla="*/ 4924105 w 12166600"/>
                <a:gd name="connsiteY4535" fmla="*/ 1446316 h 2770404"/>
                <a:gd name="connsiteX4536" fmla="*/ 4924105 w 12166600"/>
                <a:gd name="connsiteY4536" fmla="*/ 1439043 h 2770404"/>
                <a:gd name="connsiteX4537" fmla="*/ 4945791 w 12166600"/>
                <a:gd name="connsiteY4537" fmla="*/ 1424497 h 2770404"/>
                <a:gd name="connsiteX4538" fmla="*/ 4945791 w 12166600"/>
                <a:gd name="connsiteY4538" fmla="*/ 1395405 h 2770404"/>
                <a:gd name="connsiteX4539" fmla="*/ 4953020 w 12166600"/>
                <a:gd name="connsiteY4539" fmla="*/ 1213582 h 2770404"/>
                <a:gd name="connsiteX4540" fmla="*/ 4953020 w 12166600"/>
                <a:gd name="connsiteY4540" fmla="*/ 1140853 h 2770404"/>
                <a:gd name="connsiteX4541" fmla="*/ 4953020 w 12166600"/>
                <a:gd name="connsiteY4541" fmla="*/ 1126307 h 2770404"/>
                <a:gd name="connsiteX4542" fmla="*/ 4924105 w 12166600"/>
                <a:gd name="connsiteY4542" fmla="*/ 1104488 h 2770404"/>
                <a:gd name="connsiteX4543" fmla="*/ 4924105 w 12166600"/>
                <a:gd name="connsiteY4543" fmla="*/ 1082670 h 2770404"/>
                <a:gd name="connsiteX4544" fmla="*/ 4960249 w 12166600"/>
                <a:gd name="connsiteY4544" fmla="*/ 1060851 h 2770404"/>
                <a:gd name="connsiteX4545" fmla="*/ 4960249 w 12166600"/>
                <a:gd name="connsiteY4545" fmla="*/ 988121 h 2770404"/>
                <a:gd name="connsiteX4546" fmla="*/ 4945791 w 12166600"/>
                <a:gd name="connsiteY4546" fmla="*/ 988121 h 2770404"/>
                <a:gd name="connsiteX4547" fmla="*/ 4924105 w 12166600"/>
                <a:gd name="connsiteY4547" fmla="*/ 966303 h 2770404"/>
                <a:gd name="connsiteX4548" fmla="*/ 4953020 w 12166600"/>
                <a:gd name="connsiteY4548" fmla="*/ 951757 h 2770404"/>
                <a:gd name="connsiteX4549" fmla="*/ 4953020 w 12166600"/>
                <a:gd name="connsiteY4549" fmla="*/ 937211 h 2770404"/>
                <a:gd name="connsiteX4550" fmla="*/ 4960249 w 12166600"/>
                <a:gd name="connsiteY4550" fmla="*/ 929938 h 2770404"/>
                <a:gd name="connsiteX4551" fmla="*/ 4989165 w 12166600"/>
                <a:gd name="connsiteY4551" fmla="*/ 886300 h 2770404"/>
                <a:gd name="connsiteX4552" fmla="*/ 4996393 w 12166600"/>
                <a:gd name="connsiteY4552" fmla="*/ 886300 h 2770404"/>
                <a:gd name="connsiteX4553" fmla="*/ 5010851 w 12166600"/>
                <a:gd name="connsiteY4553" fmla="*/ 871755 h 2770404"/>
                <a:gd name="connsiteX4554" fmla="*/ 5018080 w 12166600"/>
                <a:gd name="connsiteY4554" fmla="*/ 871755 h 2770404"/>
                <a:gd name="connsiteX4555" fmla="*/ 5025309 w 12166600"/>
                <a:gd name="connsiteY4555" fmla="*/ 871755 h 2770404"/>
                <a:gd name="connsiteX4556" fmla="*/ 5039767 w 12166600"/>
                <a:gd name="connsiteY4556" fmla="*/ 886300 h 2770404"/>
                <a:gd name="connsiteX4557" fmla="*/ 5054224 w 12166600"/>
                <a:gd name="connsiteY4557" fmla="*/ 893573 h 2770404"/>
                <a:gd name="connsiteX4558" fmla="*/ 5075911 w 12166600"/>
                <a:gd name="connsiteY4558" fmla="*/ 922665 h 2770404"/>
                <a:gd name="connsiteX4559" fmla="*/ 5075911 w 12166600"/>
                <a:gd name="connsiteY4559" fmla="*/ 937211 h 2770404"/>
                <a:gd name="connsiteX4560" fmla="*/ 5083140 w 12166600"/>
                <a:gd name="connsiteY4560" fmla="*/ 937211 h 2770404"/>
                <a:gd name="connsiteX4561" fmla="*/ 5083140 w 12166600"/>
                <a:gd name="connsiteY4561" fmla="*/ 951757 h 2770404"/>
                <a:gd name="connsiteX4562" fmla="*/ 5112055 w 12166600"/>
                <a:gd name="connsiteY4562" fmla="*/ 966303 h 2770404"/>
                <a:gd name="connsiteX4563" fmla="*/ 5090369 w 12166600"/>
                <a:gd name="connsiteY4563" fmla="*/ 988121 h 2770404"/>
                <a:gd name="connsiteX4564" fmla="*/ 5075911 w 12166600"/>
                <a:gd name="connsiteY4564" fmla="*/ 988121 h 2770404"/>
                <a:gd name="connsiteX4565" fmla="*/ 5075911 w 12166600"/>
                <a:gd name="connsiteY4565" fmla="*/ 1060851 h 2770404"/>
                <a:gd name="connsiteX4566" fmla="*/ 5112055 w 12166600"/>
                <a:gd name="connsiteY4566" fmla="*/ 1082670 h 2770404"/>
                <a:gd name="connsiteX4567" fmla="*/ 5112055 w 12166600"/>
                <a:gd name="connsiteY4567" fmla="*/ 1104488 h 2770404"/>
                <a:gd name="connsiteX4568" fmla="*/ 5083140 w 12166600"/>
                <a:gd name="connsiteY4568" fmla="*/ 1126307 h 2770404"/>
                <a:gd name="connsiteX4569" fmla="*/ 5090369 w 12166600"/>
                <a:gd name="connsiteY4569" fmla="*/ 1424497 h 2770404"/>
                <a:gd name="connsiteX4570" fmla="*/ 5112055 w 12166600"/>
                <a:gd name="connsiteY4570" fmla="*/ 1446316 h 2770404"/>
                <a:gd name="connsiteX4571" fmla="*/ 5112055 w 12166600"/>
                <a:gd name="connsiteY4571" fmla="*/ 1468135 h 2770404"/>
                <a:gd name="connsiteX4572" fmla="*/ 5090369 w 12166600"/>
                <a:gd name="connsiteY4572" fmla="*/ 1489954 h 2770404"/>
                <a:gd name="connsiteX4573" fmla="*/ 5097597 w 12166600"/>
                <a:gd name="connsiteY4573" fmla="*/ 1729960 h 2770404"/>
                <a:gd name="connsiteX4574" fmla="*/ 5184344 w 12166600"/>
                <a:gd name="connsiteY4574" fmla="*/ 1679050 h 2770404"/>
                <a:gd name="connsiteX4575" fmla="*/ 5256632 w 12166600"/>
                <a:gd name="connsiteY4575" fmla="*/ 1664504 h 2770404"/>
                <a:gd name="connsiteX4576" fmla="*/ 5451812 w 12166600"/>
                <a:gd name="connsiteY4576" fmla="*/ 1664504 h 2770404"/>
                <a:gd name="connsiteX4577" fmla="*/ 5704822 w 12166600"/>
                <a:gd name="connsiteY4577" fmla="*/ 1657231 h 2770404"/>
                <a:gd name="connsiteX4578" fmla="*/ 5950603 w 12166600"/>
                <a:gd name="connsiteY4578" fmla="*/ 1657231 h 2770404"/>
                <a:gd name="connsiteX4579" fmla="*/ 6203613 w 12166600"/>
                <a:gd name="connsiteY4579" fmla="*/ 1649958 h 2770404"/>
                <a:gd name="connsiteX4580" fmla="*/ 6659031 w 12166600"/>
                <a:gd name="connsiteY4580" fmla="*/ 1642685 h 2770404"/>
                <a:gd name="connsiteX4581" fmla="*/ 6948186 w 12166600"/>
                <a:gd name="connsiteY4581" fmla="*/ 1642685 h 2770404"/>
                <a:gd name="connsiteX4582" fmla="*/ 7208424 w 12166600"/>
                <a:gd name="connsiteY4582" fmla="*/ 1635412 h 2770404"/>
                <a:gd name="connsiteX4583" fmla="*/ 7461435 w 12166600"/>
                <a:gd name="connsiteY4583" fmla="*/ 1635412 h 2770404"/>
                <a:gd name="connsiteX4584" fmla="*/ 7699987 w 12166600"/>
                <a:gd name="connsiteY4584" fmla="*/ 1839054 h 2770404"/>
                <a:gd name="connsiteX4585" fmla="*/ 7699987 w 12166600"/>
                <a:gd name="connsiteY4585" fmla="*/ 1875419 h 2770404"/>
                <a:gd name="connsiteX4586" fmla="*/ 8502390 w 12166600"/>
                <a:gd name="connsiteY4586" fmla="*/ 2275430 h 2770404"/>
                <a:gd name="connsiteX4587" fmla="*/ 8451788 w 12166600"/>
                <a:gd name="connsiteY4587" fmla="*/ 2733624 h 2770404"/>
                <a:gd name="connsiteX4588" fmla="*/ 8119261 w 12166600"/>
                <a:gd name="connsiteY4588" fmla="*/ 2733624 h 2770404"/>
                <a:gd name="connsiteX4589" fmla="*/ 7924082 w 12166600"/>
                <a:gd name="connsiteY4589" fmla="*/ 2457253 h 2770404"/>
                <a:gd name="connsiteX4590" fmla="*/ 7924082 w 12166600"/>
                <a:gd name="connsiteY4590" fmla="*/ 2740897 h 2770404"/>
                <a:gd name="connsiteX4591" fmla="*/ 5545787 w 12166600"/>
                <a:gd name="connsiteY4591" fmla="*/ 2748170 h 2770404"/>
                <a:gd name="connsiteX4592" fmla="*/ 5545787 w 12166600"/>
                <a:gd name="connsiteY4592" fmla="*/ 2471799 h 2770404"/>
                <a:gd name="connsiteX4593" fmla="*/ 5430125 w 12166600"/>
                <a:gd name="connsiteY4593" fmla="*/ 2369978 h 2770404"/>
                <a:gd name="connsiteX4594" fmla="*/ 5278319 w 12166600"/>
                <a:gd name="connsiteY4594" fmla="*/ 2377251 h 2770404"/>
                <a:gd name="connsiteX4595" fmla="*/ 5169886 w 12166600"/>
                <a:gd name="connsiteY4595" fmla="*/ 2479072 h 2770404"/>
                <a:gd name="connsiteX4596" fmla="*/ 5177115 w 12166600"/>
                <a:gd name="connsiteY4596" fmla="*/ 2748170 h 2770404"/>
                <a:gd name="connsiteX4597" fmla="*/ 4887961 w 12166600"/>
                <a:gd name="connsiteY4597" fmla="*/ 2748170 h 2770404"/>
                <a:gd name="connsiteX4598" fmla="*/ 2054248 w 12166600"/>
                <a:gd name="connsiteY4598" fmla="*/ 2704533 h 2770404"/>
                <a:gd name="connsiteX4599" fmla="*/ 2054248 w 12166600"/>
                <a:gd name="connsiteY4599" fmla="*/ 2683055 h 2770404"/>
                <a:gd name="connsiteX4600" fmla="*/ 2054248 w 12166600"/>
                <a:gd name="connsiteY4600" fmla="*/ 2682714 h 2770404"/>
                <a:gd name="connsiteX4601" fmla="*/ 2047019 w 12166600"/>
                <a:gd name="connsiteY4601" fmla="*/ 2704533 h 2770404"/>
                <a:gd name="connsiteX4602" fmla="*/ 2010875 w 12166600"/>
                <a:gd name="connsiteY4602" fmla="*/ 2704533 h 2770404"/>
                <a:gd name="connsiteX4603" fmla="*/ 2018103 w 12166600"/>
                <a:gd name="connsiteY4603" fmla="*/ 2668168 h 2770404"/>
                <a:gd name="connsiteX4604" fmla="*/ 2018103 w 12166600"/>
                <a:gd name="connsiteY4604" fmla="*/ 2617257 h 2770404"/>
                <a:gd name="connsiteX4605" fmla="*/ 1909671 w 12166600"/>
                <a:gd name="connsiteY4605" fmla="*/ 2646349 h 2770404"/>
                <a:gd name="connsiteX4606" fmla="*/ 1902442 w 12166600"/>
                <a:gd name="connsiteY4606" fmla="*/ 2689987 h 2770404"/>
                <a:gd name="connsiteX4607" fmla="*/ 1895213 w 12166600"/>
                <a:gd name="connsiteY4607" fmla="*/ 2704533 h 2770404"/>
                <a:gd name="connsiteX4608" fmla="*/ 1859069 w 12166600"/>
                <a:gd name="connsiteY4608" fmla="*/ 2704533 h 2770404"/>
                <a:gd name="connsiteX4609" fmla="*/ 1873526 w 12166600"/>
                <a:gd name="connsiteY4609" fmla="*/ 2639076 h 2770404"/>
                <a:gd name="connsiteX4610" fmla="*/ 1859069 w 12166600"/>
                <a:gd name="connsiteY4610" fmla="*/ 2544528 h 2770404"/>
                <a:gd name="connsiteX4611" fmla="*/ 1728949 w 12166600"/>
                <a:gd name="connsiteY4611" fmla="*/ 2602712 h 2770404"/>
                <a:gd name="connsiteX4612" fmla="*/ 1721721 w 12166600"/>
                <a:gd name="connsiteY4612" fmla="*/ 2631803 h 2770404"/>
                <a:gd name="connsiteX4613" fmla="*/ 1707262 w 12166600"/>
                <a:gd name="connsiteY4613" fmla="*/ 2704533 h 2770404"/>
                <a:gd name="connsiteX4614" fmla="*/ 1671118 w 12166600"/>
                <a:gd name="connsiteY4614" fmla="*/ 2711805 h 2770404"/>
                <a:gd name="connsiteX4615" fmla="*/ 1678347 w 12166600"/>
                <a:gd name="connsiteY4615" fmla="*/ 2660895 h 2770404"/>
                <a:gd name="connsiteX4616" fmla="*/ 1700034 w 12166600"/>
                <a:gd name="connsiteY4616" fmla="*/ 2580893 h 2770404"/>
                <a:gd name="connsiteX4617" fmla="*/ 1685577 w 12166600"/>
                <a:gd name="connsiteY4617" fmla="*/ 2508163 h 2770404"/>
                <a:gd name="connsiteX4618" fmla="*/ 1671118 w 12166600"/>
                <a:gd name="connsiteY4618" fmla="*/ 2486345 h 2770404"/>
                <a:gd name="connsiteX4619" fmla="*/ 1649432 w 12166600"/>
                <a:gd name="connsiteY4619" fmla="*/ 2471799 h 2770404"/>
                <a:gd name="connsiteX4620" fmla="*/ 1526541 w 12166600"/>
                <a:gd name="connsiteY4620" fmla="*/ 2544528 h 2770404"/>
                <a:gd name="connsiteX4621" fmla="*/ 1526541 w 12166600"/>
                <a:gd name="connsiteY4621" fmla="*/ 2551801 h 2770404"/>
                <a:gd name="connsiteX4622" fmla="*/ 1519312 w 12166600"/>
                <a:gd name="connsiteY4622" fmla="*/ 2588166 h 2770404"/>
                <a:gd name="connsiteX4623" fmla="*/ 1512083 w 12166600"/>
                <a:gd name="connsiteY4623" fmla="*/ 2617257 h 2770404"/>
                <a:gd name="connsiteX4624" fmla="*/ 1490397 w 12166600"/>
                <a:gd name="connsiteY4624" fmla="*/ 2711805 h 2770404"/>
                <a:gd name="connsiteX4625" fmla="*/ 1454252 w 12166600"/>
                <a:gd name="connsiteY4625" fmla="*/ 2719078 h 2770404"/>
                <a:gd name="connsiteX4626" fmla="*/ 1468710 w 12166600"/>
                <a:gd name="connsiteY4626" fmla="*/ 2646349 h 2770404"/>
                <a:gd name="connsiteX4627" fmla="*/ 1475939 w 12166600"/>
                <a:gd name="connsiteY4627" fmla="*/ 2609984 h 2770404"/>
                <a:gd name="connsiteX4628" fmla="*/ 1483168 w 12166600"/>
                <a:gd name="connsiteY4628" fmla="*/ 2580893 h 2770404"/>
                <a:gd name="connsiteX4629" fmla="*/ 1490397 w 12166600"/>
                <a:gd name="connsiteY4629" fmla="*/ 2551801 h 2770404"/>
                <a:gd name="connsiteX4630" fmla="*/ 1490397 w 12166600"/>
                <a:gd name="connsiteY4630" fmla="*/ 2493618 h 2770404"/>
                <a:gd name="connsiteX4631" fmla="*/ 1425337 w 12166600"/>
                <a:gd name="connsiteY4631" fmla="*/ 2442707 h 2770404"/>
                <a:gd name="connsiteX4632" fmla="*/ 1360277 w 12166600"/>
                <a:gd name="connsiteY4632" fmla="*/ 2479072 h 2770404"/>
                <a:gd name="connsiteX4633" fmla="*/ 1345820 w 12166600"/>
                <a:gd name="connsiteY4633" fmla="*/ 2515436 h 2770404"/>
                <a:gd name="connsiteX4634" fmla="*/ 1324133 w 12166600"/>
                <a:gd name="connsiteY4634" fmla="*/ 2602712 h 2770404"/>
                <a:gd name="connsiteX4635" fmla="*/ 1309675 w 12166600"/>
                <a:gd name="connsiteY4635" fmla="*/ 2689987 h 2770404"/>
                <a:gd name="connsiteX4636" fmla="*/ 1302446 w 12166600"/>
                <a:gd name="connsiteY4636" fmla="*/ 2726351 h 2770404"/>
                <a:gd name="connsiteX4637" fmla="*/ 1259073 w 12166600"/>
                <a:gd name="connsiteY4637" fmla="*/ 2726351 h 2770404"/>
                <a:gd name="connsiteX4638" fmla="*/ 1259073 w 12166600"/>
                <a:gd name="connsiteY4638" fmla="*/ 2719078 h 2770404"/>
                <a:gd name="connsiteX4639" fmla="*/ 1280760 w 12166600"/>
                <a:gd name="connsiteY4639" fmla="*/ 2631803 h 2770404"/>
                <a:gd name="connsiteX4640" fmla="*/ 1309675 w 12166600"/>
                <a:gd name="connsiteY4640" fmla="*/ 2515436 h 2770404"/>
                <a:gd name="connsiteX4641" fmla="*/ 1309675 w 12166600"/>
                <a:gd name="connsiteY4641" fmla="*/ 2508163 h 2770404"/>
                <a:gd name="connsiteX4642" fmla="*/ 1316904 w 12166600"/>
                <a:gd name="connsiteY4642" fmla="*/ 2464526 h 2770404"/>
                <a:gd name="connsiteX4643" fmla="*/ 1309675 w 12166600"/>
                <a:gd name="connsiteY4643" fmla="*/ 2428161 h 2770404"/>
                <a:gd name="connsiteX4644" fmla="*/ 1266302 w 12166600"/>
                <a:gd name="connsiteY4644" fmla="*/ 2406342 h 2770404"/>
                <a:gd name="connsiteX4645" fmla="*/ 1230158 w 12166600"/>
                <a:gd name="connsiteY4645" fmla="*/ 2428161 h 2770404"/>
                <a:gd name="connsiteX4646" fmla="*/ 1208471 w 12166600"/>
                <a:gd name="connsiteY4646" fmla="*/ 2486345 h 2770404"/>
                <a:gd name="connsiteX4647" fmla="*/ 1201242 w 12166600"/>
                <a:gd name="connsiteY4647" fmla="*/ 2500890 h 2770404"/>
                <a:gd name="connsiteX4648" fmla="*/ 1194013 w 12166600"/>
                <a:gd name="connsiteY4648" fmla="*/ 2544528 h 2770404"/>
                <a:gd name="connsiteX4649" fmla="*/ 1179556 w 12166600"/>
                <a:gd name="connsiteY4649" fmla="*/ 2595439 h 2770404"/>
                <a:gd name="connsiteX4650" fmla="*/ 1150640 w 12166600"/>
                <a:gd name="connsiteY4650" fmla="*/ 2711805 h 2770404"/>
                <a:gd name="connsiteX4651" fmla="*/ 1150640 w 12166600"/>
                <a:gd name="connsiteY4651" fmla="*/ 2733624 h 2770404"/>
                <a:gd name="connsiteX4652" fmla="*/ 1107267 w 12166600"/>
                <a:gd name="connsiteY4652" fmla="*/ 2733624 h 2770404"/>
                <a:gd name="connsiteX4653" fmla="*/ 1136183 w 12166600"/>
                <a:gd name="connsiteY4653" fmla="*/ 2624530 h 2770404"/>
                <a:gd name="connsiteX4654" fmla="*/ 1143411 w 12166600"/>
                <a:gd name="connsiteY4654" fmla="*/ 2573620 h 2770404"/>
                <a:gd name="connsiteX4655" fmla="*/ 1157869 w 12166600"/>
                <a:gd name="connsiteY4655" fmla="*/ 2529982 h 2770404"/>
                <a:gd name="connsiteX4656" fmla="*/ 1165098 w 12166600"/>
                <a:gd name="connsiteY4656" fmla="*/ 2479072 h 2770404"/>
                <a:gd name="connsiteX4657" fmla="*/ 1172327 w 12166600"/>
                <a:gd name="connsiteY4657" fmla="*/ 2464526 h 2770404"/>
                <a:gd name="connsiteX4658" fmla="*/ 1201242 w 12166600"/>
                <a:gd name="connsiteY4658" fmla="*/ 2369978 h 2770404"/>
                <a:gd name="connsiteX4659" fmla="*/ 1208471 w 12166600"/>
                <a:gd name="connsiteY4659" fmla="*/ 2333613 h 2770404"/>
                <a:gd name="connsiteX4660" fmla="*/ 1201242 w 12166600"/>
                <a:gd name="connsiteY4660" fmla="*/ 2319067 h 2770404"/>
                <a:gd name="connsiteX4661" fmla="*/ 1215700 w 12166600"/>
                <a:gd name="connsiteY4661" fmla="*/ 2304522 h 2770404"/>
                <a:gd name="connsiteX4662" fmla="*/ 1230158 w 12166600"/>
                <a:gd name="connsiteY4662" fmla="*/ 2253611 h 2770404"/>
                <a:gd name="connsiteX4663" fmla="*/ 1259073 w 12166600"/>
                <a:gd name="connsiteY4663" fmla="*/ 2144517 h 2770404"/>
                <a:gd name="connsiteX4664" fmla="*/ 1273531 w 12166600"/>
                <a:gd name="connsiteY4664" fmla="*/ 2115425 h 2770404"/>
                <a:gd name="connsiteX4665" fmla="*/ 1280760 w 12166600"/>
                <a:gd name="connsiteY4665" fmla="*/ 2079061 h 2770404"/>
                <a:gd name="connsiteX4666" fmla="*/ 1295218 w 12166600"/>
                <a:gd name="connsiteY4666" fmla="*/ 2042696 h 2770404"/>
                <a:gd name="connsiteX4667" fmla="*/ 1295218 w 12166600"/>
                <a:gd name="connsiteY4667" fmla="*/ 2028150 h 2770404"/>
                <a:gd name="connsiteX4668" fmla="*/ 1287989 w 12166600"/>
                <a:gd name="connsiteY4668" fmla="*/ 2006331 h 2770404"/>
                <a:gd name="connsiteX4669" fmla="*/ 1309675 w 12166600"/>
                <a:gd name="connsiteY4669" fmla="*/ 1984513 h 2770404"/>
                <a:gd name="connsiteX4670" fmla="*/ 1331362 w 12166600"/>
                <a:gd name="connsiteY4670" fmla="*/ 1919056 h 2770404"/>
                <a:gd name="connsiteX4671" fmla="*/ 1338591 w 12166600"/>
                <a:gd name="connsiteY4671" fmla="*/ 1882692 h 2770404"/>
                <a:gd name="connsiteX4672" fmla="*/ 1353048 w 12166600"/>
                <a:gd name="connsiteY4672" fmla="*/ 1846327 h 2770404"/>
                <a:gd name="connsiteX4673" fmla="*/ 1367507 w 12166600"/>
                <a:gd name="connsiteY4673" fmla="*/ 1788144 h 2770404"/>
                <a:gd name="connsiteX4674" fmla="*/ 1381964 w 12166600"/>
                <a:gd name="connsiteY4674" fmla="*/ 1737233 h 2770404"/>
                <a:gd name="connsiteX4675" fmla="*/ 1381964 w 12166600"/>
                <a:gd name="connsiteY4675" fmla="*/ 1729960 h 2770404"/>
                <a:gd name="connsiteX4676" fmla="*/ 1374736 w 12166600"/>
                <a:gd name="connsiteY4676" fmla="*/ 1722687 h 2770404"/>
                <a:gd name="connsiteX4677" fmla="*/ 1367507 w 12166600"/>
                <a:gd name="connsiteY4677" fmla="*/ 1708141 h 2770404"/>
                <a:gd name="connsiteX4678" fmla="*/ 1389193 w 12166600"/>
                <a:gd name="connsiteY4678" fmla="*/ 1686323 h 2770404"/>
                <a:gd name="connsiteX4679" fmla="*/ 1396422 w 12166600"/>
                <a:gd name="connsiteY4679" fmla="*/ 1686323 h 2770404"/>
                <a:gd name="connsiteX4680" fmla="*/ 1418108 w 12166600"/>
                <a:gd name="connsiteY4680" fmla="*/ 1628139 h 2770404"/>
                <a:gd name="connsiteX4681" fmla="*/ 1432566 w 12166600"/>
                <a:gd name="connsiteY4681" fmla="*/ 1584502 h 2770404"/>
                <a:gd name="connsiteX4682" fmla="*/ 1439795 w 12166600"/>
                <a:gd name="connsiteY4682" fmla="*/ 1548137 h 2770404"/>
                <a:gd name="connsiteX4683" fmla="*/ 1454252 w 12166600"/>
                <a:gd name="connsiteY4683" fmla="*/ 1497227 h 2770404"/>
                <a:gd name="connsiteX4684" fmla="*/ 1468710 w 12166600"/>
                <a:gd name="connsiteY4684" fmla="*/ 1453589 h 2770404"/>
                <a:gd name="connsiteX4685" fmla="*/ 1468710 w 12166600"/>
                <a:gd name="connsiteY4685" fmla="*/ 1446316 h 2770404"/>
                <a:gd name="connsiteX4686" fmla="*/ 1461481 w 12166600"/>
                <a:gd name="connsiteY4686" fmla="*/ 1439043 h 2770404"/>
                <a:gd name="connsiteX4687" fmla="*/ 1454252 w 12166600"/>
                <a:gd name="connsiteY4687" fmla="*/ 1424497 h 2770404"/>
                <a:gd name="connsiteX4688" fmla="*/ 1468710 w 12166600"/>
                <a:gd name="connsiteY4688" fmla="*/ 1402678 h 2770404"/>
                <a:gd name="connsiteX4689" fmla="*/ 1483168 w 12166600"/>
                <a:gd name="connsiteY4689" fmla="*/ 1402678 h 2770404"/>
                <a:gd name="connsiteX4690" fmla="*/ 1497627 w 12166600"/>
                <a:gd name="connsiteY4690" fmla="*/ 1359041 h 2770404"/>
                <a:gd name="connsiteX4691" fmla="*/ 1497627 w 12166600"/>
                <a:gd name="connsiteY4691" fmla="*/ 1351768 h 2770404"/>
                <a:gd name="connsiteX4692" fmla="*/ 1519312 w 12166600"/>
                <a:gd name="connsiteY4692" fmla="*/ 1279039 h 2770404"/>
                <a:gd name="connsiteX4693" fmla="*/ 1533770 w 12166600"/>
                <a:gd name="connsiteY4693" fmla="*/ 1228128 h 2770404"/>
                <a:gd name="connsiteX4694" fmla="*/ 1548228 w 12166600"/>
                <a:gd name="connsiteY4694" fmla="*/ 1191763 h 2770404"/>
                <a:gd name="connsiteX4695" fmla="*/ 1540999 w 12166600"/>
                <a:gd name="connsiteY4695" fmla="*/ 1184491 h 2770404"/>
                <a:gd name="connsiteX4696" fmla="*/ 1533770 w 12166600"/>
                <a:gd name="connsiteY4696" fmla="*/ 1177218 h 2770404"/>
                <a:gd name="connsiteX4697" fmla="*/ 1548228 w 12166600"/>
                <a:gd name="connsiteY4697" fmla="*/ 1148126 h 2770404"/>
                <a:gd name="connsiteX4698" fmla="*/ 1555456 w 12166600"/>
                <a:gd name="connsiteY4698" fmla="*/ 1148126 h 2770404"/>
                <a:gd name="connsiteX4699" fmla="*/ 1577143 w 12166600"/>
                <a:gd name="connsiteY4699" fmla="*/ 1089942 h 2770404"/>
                <a:gd name="connsiteX4700" fmla="*/ 1584372 w 12166600"/>
                <a:gd name="connsiteY4700" fmla="*/ 1053578 h 2770404"/>
                <a:gd name="connsiteX4701" fmla="*/ 1620516 w 12166600"/>
                <a:gd name="connsiteY4701" fmla="*/ 944484 h 2770404"/>
                <a:gd name="connsiteX4702" fmla="*/ 1613287 w 12166600"/>
                <a:gd name="connsiteY4702" fmla="*/ 944484 h 2770404"/>
                <a:gd name="connsiteX4703" fmla="*/ 1606058 w 12166600"/>
                <a:gd name="connsiteY4703" fmla="*/ 929938 h 2770404"/>
                <a:gd name="connsiteX4704" fmla="*/ 1620516 w 12166600"/>
                <a:gd name="connsiteY4704" fmla="*/ 908119 h 2770404"/>
                <a:gd name="connsiteX4705" fmla="*/ 1627745 w 12166600"/>
                <a:gd name="connsiteY4705" fmla="*/ 900846 h 2770404"/>
                <a:gd name="connsiteX4706" fmla="*/ 1642203 w 12166600"/>
                <a:gd name="connsiteY4706" fmla="*/ 864482 h 2770404"/>
                <a:gd name="connsiteX4707" fmla="*/ 1678347 w 12166600"/>
                <a:gd name="connsiteY4707" fmla="*/ 748115 h 2770404"/>
                <a:gd name="connsiteX4708" fmla="*/ 1685577 w 12166600"/>
                <a:gd name="connsiteY4708" fmla="*/ 711750 h 2770404"/>
                <a:gd name="connsiteX4709" fmla="*/ 1671118 w 12166600"/>
                <a:gd name="connsiteY4709" fmla="*/ 697204 h 2770404"/>
                <a:gd name="connsiteX4710" fmla="*/ 1685577 w 12166600"/>
                <a:gd name="connsiteY4710" fmla="*/ 668113 h 2770404"/>
                <a:gd name="connsiteX4711" fmla="*/ 1714491 w 12166600"/>
                <a:gd name="connsiteY4711" fmla="*/ 668113 h 2770404"/>
                <a:gd name="connsiteX4712" fmla="*/ 1794009 w 12166600"/>
                <a:gd name="connsiteY4712" fmla="*/ 646294 h 2770404"/>
                <a:gd name="connsiteX4713" fmla="*/ 1786780 w 12166600"/>
                <a:gd name="connsiteY4713" fmla="*/ 609929 h 2770404"/>
                <a:gd name="connsiteX4714" fmla="*/ 1801238 w 12166600"/>
                <a:gd name="connsiteY4714" fmla="*/ 566292 h 2770404"/>
                <a:gd name="connsiteX4715" fmla="*/ 2034580 w 12166600"/>
                <a:gd name="connsiteY4715" fmla="*/ 435734 h 2770404"/>
                <a:gd name="connsiteX4716" fmla="*/ 11682164 w 12166600"/>
                <a:gd name="connsiteY4716" fmla="*/ 399866 h 2770404"/>
                <a:gd name="connsiteX4717" fmla="*/ 11689395 w 12166600"/>
                <a:gd name="connsiteY4717" fmla="*/ 414406 h 2770404"/>
                <a:gd name="connsiteX4718" fmla="*/ 11689395 w 12166600"/>
                <a:gd name="connsiteY4718" fmla="*/ 407136 h 2770404"/>
                <a:gd name="connsiteX4719" fmla="*/ 11696625 w 12166600"/>
                <a:gd name="connsiteY4719" fmla="*/ 399866 h 2770404"/>
                <a:gd name="connsiteX4720" fmla="*/ 11682164 w 12166600"/>
                <a:gd name="connsiteY4720" fmla="*/ 399866 h 2770404"/>
                <a:gd name="connsiteX4721" fmla="*/ 11674934 w 12166600"/>
                <a:gd name="connsiteY4721" fmla="*/ 327163 h 2770404"/>
                <a:gd name="connsiteX4722" fmla="*/ 11674934 w 12166600"/>
                <a:gd name="connsiteY4722" fmla="*/ 341704 h 2770404"/>
                <a:gd name="connsiteX4723" fmla="*/ 11674934 w 12166600"/>
                <a:gd name="connsiteY4723" fmla="*/ 363514 h 2770404"/>
                <a:gd name="connsiteX4724" fmla="*/ 11674934 w 12166600"/>
                <a:gd name="connsiteY4724" fmla="*/ 378055 h 2770404"/>
                <a:gd name="connsiteX4725" fmla="*/ 11674934 w 12166600"/>
                <a:gd name="connsiteY4725" fmla="*/ 385325 h 2770404"/>
                <a:gd name="connsiteX4726" fmla="*/ 11682164 w 12166600"/>
                <a:gd name="connsiteY4726" fmla="*/ 385325 h 2770404"/>
                <a:gd name="connsiteX4727" fmla="*/ 11689395 w 12166600"/>
                <a:gd name="connsiteY4727" fmla="*/ 385325 h 2770404"/>
                <a:gd name="connsiteX4728" fmla="*/ 11689395 w 12166600"/>
                <a:gd name="connsiteY4728" fmla="*/ 378055 h 2770404"/>
                <a:gd name="connsiteX4729" fmla="*/ 11696625 w 12166600"/>
                <a:gd name="connsiteY4729" fmla="*/ 378055 h 2770404"/>
                <a:gd name="connsiteX4730" fmla="*/ 11696625 w 12166600"/>
                <a:gd name="connsiteY4730" fmla="*/ 363514 h 2770404"/>
                <a:gd name="connsiteX4731" fmla="*/ 11696625 w 12166600"/>
                <a:gd name="connsiteY4731" fmla="*/ 348974 h 2770404"/>
                <a:gd name="connsiteX4732" fmla="*/ 11696625 w 12166600"/>
                <a:gd name="connsiteY4732" fmla="*/ 334433 h 2770404"/>
                <a:gd name="connsiteX4733" fmla="*/ 11696625 w 12166600"/>
                <a:gd name="connsiteY4733" fmla="*/ 327163 h 2770404"/>
                <a:gd name="connsiteX4734" fmla="*/ 11689395 w 12166600"/>
                <a:gd name="connsiteY4734" fmla="*/ 327163 h 2770404"/>
                <a:gd name="connsiteX4735" fmla="*/ 11674934 w 12166600"/>
                <a:gd name="connsiteY4735" fmla="*/ 327163 h 2770404"/>
                <a:gd name="connsiteX4736" fmla="*/ 11646013 w 12166600"/>
                <a:gd name="connsiteY4736" fmla="*/ 327163 h 2770404"/>
                <a:gd name="connsiteX4737" fmla="*/ 11646013 w 12166600"/>
                <a:gd name="connsiteY4737" fmla="*/ 341704 h 2770404"/>
                <a:gd name="connsiteX4738" fmla="*/ 11646013 w 12166600"/>
                <a:gd name="connsiteY4738" fmla="*/ 348974 h 2770404"/>
                <a:gd name="connsiteX4739" fmla="*/ 11646013 w 12166600"/>
                <a:gd name="connsiteY4739" fmla="*/ 370785 h 2770404"/>
                <a:gd name="connsiteX4740" fmla="*/ 11646013 w 12166600"/>
                <a:gd name="connsiteY4740" fmla="*/ 378055 h 2770404"/>
                <a:gd name="connsiteX4741" fmla="*/ 11646013 w 12166600"/>
                <a:gd name="connsiteY4741" fmla="*/ 385325 h 2770404"/>
                <a:gd name="connsiteX4742" fmla="*/ 11660473 w 12166600"/>
                <a:gd name="connsiteY4742" fmla="*/ 385325 h 2770404"/>
                <a:gd name="connsiteX4743" fmla="*/ 11660473 w 12166600"/>
                <a:gd name="connsiteY4743" fmla="*/ 378055 h 2770404"/>
                <a:gd name="connsiteX4744" fmla="*/ 11660473 w 12166600"/>
                <a:gd name="connsiteY4744" fmla="*/ 363514 h 2770404"/>
                <a:gd name="connsiteX4745" fmla="*/ 11660473 w 12166600"/>
                <a:gd name="connsiteY4745" fmla="*/ 356244 h 2770404"/>
                <a:gd name="connsiteX4746" fmla="*/ 11660473 w 12166600"/>
                <a:gd name="connsiteY4746" fmla="*/ 327163 h 2770404"/>
                <a:gd name="connsiteX4747" fmla="*/ 11646013 w 12166600"/>
                <a:gd name="connsiteY4747" fmla="*/ 327163 h 2770404"/>
                <a:gd name="connsiteX4748" fmla="*/ 11617091 w 12166600"/>
                <a:gd name="connsiteY4748" fmla="*/ 327163 h 2770404"/>
                <a:gd name="connsiteX4749" fmla="*/ 11617091 w 12166600"/>
                <a:gd name="connsiteY4749" fmla="*/ 334433 h 2770404"/>
                <a:gd name="connsiteX4750" fmla="*/ 11617091 w 12166600"/>
                <a:gd name="connsiteY4750" fmla="*/ 341704 h 2770404"/>
                <a:gd name="connsiteX4751" fmla="*/ 11609861 w 12166600"/>
                <a:gd name="connsiteY4751" fmla="*/ 370785 h 2770404"/>
                <a:gd name="connsiteX4752" fmla="*/ 11609861 w 12166600"/>
                <a:gd name="connsiteY4752" fmla="*/ 378055 h 2770404"/>
                <a:gd name="connsiteX4753" fmla="*/ 11624321 w 12166600"/>
                <a:gd name="connsiteY4753" fmla="*/ 385325 h 2770404"/>
                <a:gd name="connsiteX4754" fmla="*/ 11631552 w 12166600"/>
                <a:gd name="connsiteY4754" fmla="*/ 385325 h 2770404"/>
                <a:gd name="connsiteX4755" fmla="*/ 11638782 w 12166600"/>
                <a:gd name="connsiteY4755" fmla="*/ 385325 h 2770404"/>
                <a:gd name="connsiteX4756" fmla="*/ 11631552 w 12166600"/>
                <a:gd name="connsiteY4756" fmla="*/ 363514 h 2770404"/>
                <a:gd name="connsiteX4757" fmla="*/ 11631552 w 12166600"/>
                <a:gd name="connsiteY4757" fmla="*/ 356244 h 2770404"/>
                <a:gd name="connsiteX4758" fmla="*/ 11631552 w 12166600"/>
                <a:gd name="connsiteY4758" fmla="*/ 341704 h 2770404"/>
                <a:gd name="connsiteX4759" fmla="*/ 11631552 w 12166600"/>
                <a:gd name="connsiteY4759" fmla="*/ 327163 h 2770404"/>
                <a:gd name="connsiteX4760" fmla="*/ 11624321 w 12166600"/>
                <a:gd name="connsiteY4760" fmla="*/ 327163 h 2770404"/>
                <a:gd name="connsiteX4761" fmla="*/ 11617091 w 12166600"/>
                <a:gd name="connsiteY4761" fmla="*/ 327163 h 2770404"/>
                <a:gd name="connsiteX4762" fmla="*/ 11725547 w 12166600"/>
                <a:gd name="connsiteY4762" fmla="*/ 305352 h 2770404"/>
                <a:gd name="connsiteX4763" fmla="*/ 11725547 w 12166600"/>
                <a:gd name="connsiteY4763" fmla="*/ 319893 h 2770404"/>
                <a:gd name="connsiteX4764" fmla="*/ 11725547 w 12166600"/>
                <a:gd name="connsiteY4764" fmla="*/ 341704 h 2770404"/>
                <a:gd name="connsiteX4765" fmla="*/ 11718316 w 12166600"/>
                <a:gd name="connsiteY4765" fmla="*/ 356244 h 2770404"/>
                <a:gd name="connsiteX4766" fmla="*/ 11718316 w 12166600"/>
                <a:gd name="connsiteY4766" fmla="*/ 363514 h 2770404"/>
                <a:gd name="connsiteX4767" fmla="*/ 11725547 w 12166600"/>
                <a:gd name="connsiteY4767" fmla="*/ 363514 h 2770404"/>
                <a:gd name="connsiteX4768" fmla="*/ 11732777 w 12166600"/>
                <a:gd name="connsiteY4768" fmla="*/ 348974 h 2770404"/>
                <a:gd name="connsiteX4769" fmla="*/ 11732777 w 12166600"/>
                <a:gd name="connsiteY4769" fmla="*/ 319893 h 2770404"/>
                <a:gd name="connsiteX4770" fmla="*/ 11732777 w 12166600"/>
                <a:gd name="connsiteY4770" fmla="*/ 305352 h 2770404"/>
                <a:gd name="connsiteX4771" fmla="*/ 11725547 w 12166600"/>
                <a:gd name="connsiteY4771" fmla="*/ 305352 h 2770404"/>
                <a:gd name="connsiteX4772" fmla="*/ 11595400 w 12166600"/>
                <a:gd name="connsiteY4772" fmla="*/ 305352 h 2770404"/>
                <a:gd name="connsiteX4773" fmla="*/ 11595400 w 12166600"/>
                <a:gd name="connsiteY4773" fmla="*/ 312622 h 2770404"/>
                <a:gd name="connsiteX4774" fmla="*/ 11609861 w 12166600"/>
                <a:gd name="connsiteY4774" fmla="*/ 312622 h 2770404"/>
                <a:gd name="connsiteX4775" fmla="*/ 11617091 w 12166600"/>
                <a:gd name="connsiteY4775" fmla="*/ 312622 h 2770404"/>
                <a:gd name="connsiteX4776" fmla="*/ 11638782 w 12166600"/>
                <a:gd name="connsiteY4776" fmla="*/ 312622 h 2770404"/>
                <a:gd name="connsiteX4777" fmla="*/ 11646013 w 12166600"/>
                <a:gd name="connsiteY4777" fmla="*/ 312622 h 2770404"/>
                <a:gd name="connsiteX4778" fmla="*/ 11660473 w 12166600"/>
                <a:gd name="connsiteY4778" fmla="*/ 312622 h 2770404"/>
                <a:gd name="connsiteX4779" fmla="*/ 11667704 w 12166600"/>
                <a:gd name="connsiteY4779" fmla="*/ 312622 h 2770404"/>
                <a:gd name="connsiteX4780" fmla="*/ 11674934 w 12166600"/>
                <a:gd name="connsiteY4780" fmla="*/ 312622 h 2770404"/>
                <a:gd name="connsiteX4781" fmla="*/ 11689395 w 12166600"/>
                <a:gd name="connsiteY4781" fmla="*/ 312622 h 2770404"/>
                <a:gd name="connsiteX4782" fmla="*/ 11703856 w 12166600"/>
                <a:gd name="connsiteY4782" fmla="*/ 312622 h 2770404"/>
                <a:gd name="connsiteX4783" fmla="*/ 11711086 w 12166600"/>
                <a:gd name="connsiteY4783" fmla="*/ 312622 h 2770404"/>
                <a:gd name="connsiteX4784" fmla="*/ 11711086 w 12166600"/>
                <a:gd name="connsiteY4784" fmla="*/ 305352 h 2770404"/>
                <a:gd name="connsiteX4785" fmla="*/ 11682164 w 12166600"/>
                <a:gd name="connsiteY4785" fmla="*/ 305352 h 2770404"/>
                <a:gd name="connsiteX4786" fmla="*/ 11660473 w 12166600"/>
                <a:gd name="connsiteY4786" fmla="*/ 305352 h 2770404"/>
                <a:gd name="connsiteX4787" fmla="*/ 11653243 w 12166600"/>
                <a:gd name="connsiteY4787" fmla="*/ 305352 h 2770404"/>
                <a:gd name="connsiteX4788" fmla="*/ 11638782 w 12166600"/>
                <a:gd name="connsiteY4788" fmla="*/ 305352 h 2770404"/>
                <a:gd name="connsiteX4789" fmla="*/ 11609861 w 12166600"/>
                <a:gd name="connsiteY4789" fmla="*/ 305352 h 2770404"/>
                <a:gd name="connsiteX4790" fmla="*/ 11602630 w 12166600"/>
                <a:gd name="connsiteY4790" fmla="*/ 305352 h 2770404"/>
                <a:gd name="connsiteX4791" fmla="*/ 11595400 w 12166600"/>
                <a:gd name="connsiteY4791" fmla="*/ 305352 h 2770404"/>
                <a:gd name="connsiteX4792" fmla="*/ 11617091 w 12166600"/>
                <a:gd name="connsiteY4792" fmla="*/ 276271 h 2770404"/>
                <a:gd name="connsiteX4793" fmla="*/ 11609861 w 12166600"/>
                <a:gd name="connsiteY4793" fmla="*/ 283541 h 2770404"/>
                <a:gd name="connsiteX4794" fmla="*/ 11595400 w 12166600"/>
                <a:gd name="connsiteY4794" fmla="*/ 283541 h 2770404"/>
                <a:gd name="connsiteX4795" fmla="*/ 11595400 w 12166600"/>
                <a:gd name="connsiteY4795" fmla="*/ 290811 h 2770404"/>
                <a:gd name="connsiteX4796" fmla="*/ 11624321 w 12166600"/>
                <a:gd name="connsiteY4796" fmla="*/ 290811 h 2770404"/>
                <a:gd name="connsiteX4797" fmla="*/ 11638782 w 12166600"/>
                <a:gd name="connsiteY4797" fmla="*/ 290811 h 2770404"/>
                <a:gd name="connsiteX4798" fmla="*/ 11646013 w 12166600"/>
                <a:gd name="connsiteY4798" fmla="*/ 290811 h 2770404"/>
                <a:gd name="connsiteX4799" fmla="*/ 11667704 w 12166600"/>
                <a:gd name="connsiteY4799" fmla="*/ 290811 h 2770404"/>
                <a:gd name="connsiteX4800" fmla="*/ 11711086 w 12166600"/>
                <a:gd name="connsiteY4800" fmla="*/ 290811 h 2770404"/>
                <a:gd name="connsiteX4801" fmla="*/ 11711086 w 12166600"/>
                <a:gd name="connsiteY4801" fmla="*/ 283541 h 2770404"/>
                <a:gd name="connsiteX4802" fmla="*/ 11703856 w 12166600"/>
                <a:gd name="connsiteY4802" fmla="*/ 283541 h 2770404"/>
                <a:gd name="connsiteX4803" fmla="*/ 11689395 w 12166600"/>
                <a:gd name="connsiteY4803" fmla="*/ 276271 h 2770404"/>
                <a:gd name="connsiteX4804" fmla="*/ 11653243 w 12166600"/>
                <a:gd name="connsiteY4804" fmla="*/ 276271 h 2770404"/>
                <a:gd name="connsiteX4805" fmla="*/ 11631552 w 12166600"/>
                <a:gd name="connsiteY4805" fmla="*/ 276271 h 2770404"/>
                <a:gd name="connsiteX4806" fmla="*/ 11624321 w 12166600"/>
                <a:gd name="connsiteY4806" fmla="*/ 276271 h 2770404"/>
                <a:gd name="connsiteX4807" fmla="*/ 11617091 w 12166600"/>
                <a:gd name="connsiteY4807" fmla="*/ 276271 h 2770404"/>
                <a:gd name="connsiteX4808" fmla="*/ 11653243 w 12166600"/>
                <a:gd name="connsiteY4808" fmla="*/ 225379 h 2770404"/>
                <a:gd name="connsiteX4809" fmla="*/ 11602630 w 12166600"/>
                <a:gd name="connsiteY4809" fmla="*/ 232649 h 2770404"/>
                <a:gd name="connsiteX4810" fmla="*/ 11595400 w 12166600"/>
                <a:gd name="connsiteY4810" fmla="*/ 232649 h 2770404"/>
                <a:gd name="connsiteX4811" fmla="*/ 11595400 w 12166600"/>
                <a:gd name="connsiteY4811" fmla="*/ 239919 h 2770404"/>
                <a:gd name="connsiteX4812" fmla="*/ 11595400 w 12166600"/>
                <a:gd name="connsiteY4812" fmla="*/ 254460 h 2770404"/>
                <a:gd name="connsiteX4813" fmla="*/ 11595400 w 12166600"/>
                <a:gd name="connsiteY4813" fmla="*/ 269001 h 2770404"/>
                <a:gd name="connsiteX4814" fmla="*/ 11609861 w 12166600"/>
                <a:gd name="connsiteY4814" fmla="*/ 269001 h 2770404"/>
                <a:gd name="connsiteX4815" fmla="*/ 11617091 w 12166600"/>
                <a:gd name="connsiteY4815" fmla="*/ 269001 h 2770404"/>
                <a:gd name="connsiteX4816" fmla="*/ 11624321 w 12166600"/>
                <a:gd name="connsiteY4816" fmla="*/ 269001 h 2770404"/>
                <a:gd name="connsiteX4817" fmla="*/ 11638782 w 12166600"/>
                <a:gd name="connsiteY4817" fmla="*/ 261730 h 2770404"/>
                <a:gd name="connsiteX4818" fmla="*/ 11653243 w 12166600"/>
                <a:gd name="connsiteY4818" fmla="*/ 261730 h 2770404"/>
                <a:gd name="connsiteX4819" fmla="*/ 11689395 w 12166600"/>
                <a:gd name="connsiteY4819" fmla="*/ 261730 h 2770404"/>
                <a:gd name="connsiteX4820" fmla="*/ 11703856 w 12166600"/>
                <a:gd name="connsiteY4820" fmla="*/ 269001 h 2770404"/>
                <a:gd name="connsiteX4821" fmla="*/ 11711086 w 12166600"/>
                <a:gd name="connsiteY4821" fmla="*/ 269001 h 2770404"/>
                <a:gd name="connsiteX4822" fmla="*/ 11711086 w 12166600"/>
                <a:gd name="connsiteY4822" fmla="*/ 225379 h 2770404"/>
                <a:gd name="connsiteX4823" fmla="*/ 11667704 w 12166600"/>
                <a:gd name="connsiteY4823" fmla="*/ 225379 h 2770404"/>
                <a:gd name="connsiteX4824" fmla="*/ 11653243 w 12166600"/>
                <a:gd name="connsiteY4824" fmla="*/ 225379 h 2770404"/>
                <a:gd name="connsiteX4825" fmla="*/ 11566478 w 12166600"/>
                <a:gd name="connsiteY4825" fmla="*/ 196298 h 2770404"/>
                <a:gd name="connsiteX4826" fmla="*/ 11566478 w 12166600"/>
                <a:gd name="connsiteY4826" fmla="*/ 218109 h 2770404"/>
                <a:gd name="connsiteX4827" fmla="*/ 11588169 w 12166600"/>
                <a:gd name="connsiteY4827" fmla="*/ 218109 h 2770404"/>
                <a:gd name="connsiteX4828" fmla="*/ 11638782 w 12166600"/>
                <a:gd name="connsiteY4828" fmla="*/ 218109 h 2770404"/>
                <a:gd name="connsiteX4829" fmla="*/ 11653243 w 12166600"/>
                <a:gd name="connsiteY4829" fmla="*/ 218109 h 2770404"/>
                <a:gd name="connsiteX4830" fmla="*/ 11718316 w 12166600"/>
                <a:gd name="connsiteY4830" fmla="*/ 210838 h 2770404"/>
                <a:gd name="connsiteX4831" fmla="*/ 11740007 w 12166600"/>
                <a:gd name="connsiteY4831" fmla="*/ 210838 h 2770404"/>
                <a:gd name="connsiteX4832" fmla="*/ 11740007 w 12166600"/>
                <a:gd name="connsiteY4832" fmla="*/ 196298 h 2770404"/>
                <a:gd name="connsiteX4833" fmla="*/ 11631552 w 12166600"/>
                <a:gd name="connsiteY4833" fmla="*/ 196298 h 2770404"/>
                <a:gd name="connsiteX4834" fmla="*/ 11617091 w 12166600"/>
                <a:gd name="connsiteY4834" fmla="*/ 196298 h 2770404"/>
                <a:gd name="connsiteX4835" fmla="*/ 11566478 w 12166600"/>
                <a:gd name="connsiteY4835" fmla="*/ 196298 h 2770404"/>
                <a:gd name="connsiteX4836" fmla="*/ 133821 w 12166600"/>
                <a:gd name="connsiteY4836" fmla="*/ 90064 h 2770404"/>
                <a:gd name="connsiteX4837" fmla="*/ 144671 w 12166600"/>
                <a:gd name="connsiteY4837" fmla="*/ 91770 h 2770404"/>
                <a:gd name="connsiteX4838" fmla="*/ 159139 w 12166600"/>
                <a:gd name="connsiteY4838" fmla="*/ 128164 h 2770404"/>
                <a:gd name="connsiteX4839" fmla="*/ 188073 w 12166600"/>
                <a:gd name="connsiteY4839" fmla="*/ 120885 h 2770404"/>
                <a:gd name="connsiteX4840" fmla="*/ 217007 w 12166600"/>
                <a:gd name="connsiteY4840" fmla="*/ 99049 h 2770404"/>
                <a:gd name="connsiteX4841" fmla="*/ 217007 w 12166600"/>
                <a:gd name="connsiteY4841" fmla="*/ 128164 h 2770404"/>
                <a:gd name="connsiteX4842" fmla="*/ 173606 w 12166600"/>
                <a:gd name="connsiteY4842" fmla="*/ 186395 h 2770404"/>
                <a:gd name="connsiteX4843" fmla="*/ 151905 w 12166600"/>
                <a:gd name="connsiteY4843" fmla="*/ 215511 h 2770404"/>
                <a:gd name="connsiteX4844" fmla="*/ 151905 w 12166600"/>
                <a:gd name="connsiteY4844" fmla="*/ 230069 h 2770404"/>
                <a:gd name="connsiteX4845" fmla="*/ 159139 w 12166600"/>
                <a:gd name="connsiteY4845" fmla="*/ 244627 h 2770404"/>
                <a:gd name="connsiteX4846" fmla="*/ 188073 w 12166600"/>
                <a:gd name="connsiteY4846" fmla="*/ 237348 h 2770404"/>
                <a:gd name="connsiteX4847" fmla="*/ 195306 w 12166600"/>
                <a:gd name="connsiteY4847" fmla="*/ 251905 h 2770404"/>
                <a:gd name="connsiteX4848" fmla="*/ 217007 w 12166600"/>
                <a:gd name="connsiteY4848" fmla="*/ 244627 h 2770404"/>
                <a:gd name="connsiteX4849" fmla="*/ 209773 w 12166600"/>
                <a:gd name="connsiteY4849" fmla="*/ 259184 h 2770404"/>
                <a:gd name="connsiteX4850" fmla="*/ 224241 w 12166600"/>
                <a:gd name="connsiteY4850" fmla="*/ 259184 h 2770404"/>
                <a:gd name="connsiteX4851" fmla="*/ 209773 w 12166600"/>
                <a:gd name="connsiteY4851" fmla="*/ 281021 h 2770404"/>
                <a:gd name="connsiteX4852" fmla="*/ 224241 w 12166600"/>
                <a:gd name="connsiteY4852" fmla="*/ 317416 h 2770404"/>
                <a:gd name="connsiteX4853" fmla="*/ 209773 w 12166600"/>
                <a:gd name="connsiteY4853" fmla="*/ 346531 h 2770404"/>
                <a:gd name="connsiteX4854" fmla="*/ 159139 w 12166600"/>
                <a:gd name="connsiteY4854" fmla="*/ 361089 h 2770404"/>
                <a:gd name="connsiteX4855" fmla="*/ 166372 w 12166600"/>
                <a:gd name="connsiteY4855" fmla="*/ 375647 h 2770404"/>
                <a:gd name="connsiteX4856" fmla="*/ 151905 w 12166600"/>
                <a:gd name="connsiteY4856" fmla="*/ 390205 h 2770404"/>
                <a:gd name="connsiteX4857" fmla="*/ 151905 w 12166600"/>
                <a:gd name="connsiteY4857" fmla="*/ 426599 h 2770404"/>
                <a:gd name="connsiteX4858" fmla="*/ 166372 w 12166600"/>
                <a:gd name="connsiteY4858" fmla="*/ 441157 h 2770404"/>
                <a:gd name="connsiteX4859" fmla="*/ 202540 w 12166600"/>
                <a:gd name="connsiteY4859" fmla="*/ 513946 h 2770404"/>
                <a:gd name="connsiteX4860" fmla="*/ 224241 w 12166600"/>
                <a:gd name="connsiteY4860" fmla="*/ 608571 h 2770404"/>
                <a:gd name="connsiteX4861" fmla="*/ 260408 w 12166600"/>
                <a:gd name="connsiteY4861" fmla="*/ 710476 h 2770404"/>
                <a:gd name="connsiteX4862" fmla="*/ 318277 w 12166600"/>
                <a:gd name="connsiteY4862" fmla="*/ 892448 h 2770404"/>
                <a:gd name="connsiteX4863" fmla="*/ 405079 w 12166600"/>
                <a:gd name="connsiteY4863" fmla="*/ 885170 h 2770404"/>
                <a:gd name="connsiteX4864" fmla="*/ 434014 w 12166600"/>
                <a:gd name="connsiteY4864" fmla="*/ 877891 h 2770404"/>
                <a:gd name="connsiteX4865" fmla="*/ 448481 w 12166600"/>
                <a:gd name="connsiteY4865" fmla="*/ 848775 h 2770404"/>
                <a:gd name="connsiteX4866" fmla="*/ 434014 w 12166600"/>
                <a:gd name="connsiteY4866" fmla="*/ 841496 h 2770404"/>
                <a:gd name="connsiteX4867" fmla="*/ 311043 w 12166600"/>
                <a:gd name="connsiteY4867" fmla="*/ 746870 h 2770404"/>
                <a:gd name="connsiteX4868" fmla="*/ 448481 w 12166600"/>
                <a:gd name="connsiteY4868" fmla="*/ 819659 h 2770404"/>
                <a:gd name="connsiteX4869" fmla="*/ 462948 w 12166600"/>
                <a:gd name="connsiteY4869" fmla="*/ 826938 h 2770404"/>
                <a:gd name="connsiteX4870" fmla="*/ 499116 w 12166600"/>
                <a:gd name="connsiteY4870" fmla="*/ 805102 h 2770404"/>
                <a:gd name="connsiteX4871" fmla="*/ 484649 w 12166600"/>
                <a:gd name="connsiteY4871" fmla="*/ 768707 h 2770404"/>
                <a:gd name="connsiteX4872" fmla="*/ 441247 w 12166600"/>
                <a:gd name="connsiteY4872" fmla="*/ 659524 h 2770404"/>
                <a:gd name="connsiteX4873" fmla="*/ 499116 w 12166600"/>
                <a:gd name="connsiteY4873" fmla="*/ 746870 h 2770404"/>
                <a:gd name="connsiteX4874" fmla="*/ 520816 w 12166600"/>
                <a:gd name="connsiteY4874" fmla="*/ 783265 h 2770404"/>
                <a:gd name="connsiteX4875" fmla="*/ 535283 w 12166600"/>
                <a:gd name="connsiteY4875" fmla="*/ 805102 h 2770404"/>
                <a:gd name="connsiteX4876" fmla="*/ 564218 w 12166600"/>
                <a:gd name="connsiteY4876" fmla="*/ 805102 h 2770404"/>
                <a:gd name="connsiteX4877" fmla="*/ 571451 w 12166600"/>
                <a:gd name="connsiteY4877" fmla="*/ 805102 h 2770404"/>
                <a:gd name="connsiteX4878" fmla="*/ 593152 w 12166600"/>
                <a:gd name="connsiteY4878" fmla="*/ 775986 h 2770404"/>
                <a:gd name="connsiteX4879" fmla="*/ 629320 w 12166600"/>
                <a:gd name="connsiteY4879" fmla="*/ 695918 h 2770404"/>
                <a:gd name="connsiteX4880" fmla="*/ 622086 w 12166600"/>
                <a:gd name="connsiteY4880" fmla="*/ 725034 h 2770404"/>
                <a:gd name="connsiteX4881" fmla="*/ 607619 w 12166600"/>
                <a:gd name="connsiteY4881" fmla="*/ 819659 h 2770404"/>
                <a:gd name="connsiteX4882" fmla="*/ 629320 w 12166600"/>
                <a:gd name="connsiteY4882" fmla="*/ 834217 h 2770404"/>
                <a:gd name="connsiteX4883" fmla="*/ 643787 w 12166600"/>
                <a:gd name="connsiteY4883" fmla="*/ 841496 h 2770404"/>
                <a:gd name="connsiteX4884" fmla="*/ 773991 w 12166600"/>
                <a:gd name="connsiteY4884" fmla="*/ 783265 h 2770404"/>
                <a:gd name="connsiteX4885" fmla="*/ 665487 w 12166600"/>
                <a:gd name="connsiteY4885" fmla="*/ 863333 h 2770404"/>
                <a:gd name="connsiteX4886" fmla="*/ 687188 w 12166600"/>
                <a:gd name="connsiteY4886" fmla="*/ 892448 h 2770404"/>
                <a:gd name="connsiteX4887" fmla="*/ 846326 w 12166600"/>
                <a:gd name="connsiteY4887" fmla="*/ 885170 h 2770404"/>
                <a:gd name="connsiteX4888" fmla="*/ 701655 w 12166600"/>
                <a:gd name="connsiteY4888" fmla="*/ 921564 h 2770404"/>
                <a:gd name="connsiteX4889" fmla="*/ 708889 w 12166600"/>
                <a:gd name="connsiteY4889" fmla="*/ 943401 h 2770404"/>
                <a:gd name="connsiteX4890" fmla="*/ 708889 w 12166600"/>
                <a:gd name="connsiteY4890" fmla="*/ 987074 h 2770404"/>
                <a:gd name="connsiteX4891" fmla="*/ 701655 w 12166600"/>
                <a:gd name="connsiteY4891" fmla="*/ 987074 h 2770404"/>
                <a:gd name="connsiteX4892" fmla="*/ 701655 w 12166600"/>
                <a:gd name="connsiteY4892" fmla="*/ 1016190 h 2770404"/>
                <a:gd name="connsiteX4893" fmla="*/ 723356 w 12166600"/>
                <a:gd name="connsiteY4893" fmla="*/ 1038026 h 2770404"/>
                <a:gd name="connsiteX4894" fmla="*/ 716122 w 12166600"/>
                <a:gd name="connsiteY4894" fmla="*/ 1088979 h 2770404"/>
                <a:gd name="connsiteX4895" fmla="*/ 730589 w 12166600"/>
                <a:gd name="connsiteY4895" fmla="*/ 1125373 h 2770404"/>
                <a:gd name="connsiteX4896" fmla="*/ 708889 w 12166600"/>
                <a:gd name="connsiteY4896" fmla="*/ 1139931 h 2770404"/>
                <a:gd name="connsiteX4897" fmla="*/ 716122 w 12166600"/>
                <a:gd name="connsiteY4897" fmla="*/ 1154489 h 2770404"/>
                <a:gd name="connsiteX4898" fmla="*/ 773991 w 12166600"/>
                <a:gd name="connsiteY4898" fmla="*/ 1205441 h 2770404"/>
                <a:gd name="connsiteX4899" fmla="*/ 795691 w 12166600"/>
                <a:gd name="connsiteY4899" fmla="*/ 1234557 h 2770404"/>
                <a:gd name="connsiteX4900" fmla="*/ 831859 w 12166600"/>
                <a:gd name="connsiteY4900" fmla="*/ 1263672 h 2770404"/>
                <a:gd name="connsiteX4901" fmla="*/ 875260 w 12166600"/>
                <a:gd name="connsiteY4901" fmla="*/ 1329182 h 2770404"/>
                <a:gd name="connsiteX4902" fmla="*/ 940362 w 12166600"/>
                <a:gd name="connsiteY4902" fmla="*/ 1445645 h 2770404"/>
                <a:gd name="connsiteX4903" fmla="*/ 962063 w 12166600"/>
                <a:gd name="connsiteY4903" fmla="*/ 1460202 h 2770404"/>
                <a:gd name="connsiteX4904" fmla="*/ 998231 w 12166600"/>
                <a:gd name="connsiteY4904" fmla="*/ 1387413 h 2770404"/>
                <a:gd name="connsiteX4905" fmla="*/ 1034398 w 12166600"/>
                <a:gd name="connsiteY4905" fmla="*/ 1394692 h 2770404"/>
                <a:gd name="connsiteX4906" fmla="*/ 1070566 w 12166600"/>
                <a:gd name="connsiteY4906" fmla="*/ 1460202 h 2770404"/>
                <a:gd name="connsiteX4907" fmla="*/ 1034398 w 12166600"/>
                <a:gd name="connsiteY4907" fmla="*/ 1554828 h 2770404"/>
                <a:gd name="connsiteX4908" fmla="*/ 1048866 w 12166600"/>
                <a:gd name="connsiteY4908" fmla="*/ 1576665 h 2770404"/>
                <a:gd name="connsiteX4909" fmla="*/ 1056099 w 12166600"/>
                <a:gd name="connsiteY4909" fmla="*/ 1605781 h 2770404"/>
                <a:gd name="connsiteX4910" fmla="*/ 1070566 w 12166600"/>
                <a:gd name="connsiteY4910" fmla="*/ 1664012 h 2770404"/>
                <a:gd name="connsiteX4911" fmla="*/ 1085034 w 12166600"/>
                <a:gd name="connsiteY4911" fmla="*/ 1751359 h 2770404"/>
                <a:gd name="connsiteX4912" fmla="*/ 1063334 w 12166600"/>
                <a:gd name="connsiteY4912" fmla="*/ 1838705 h 2770404"/>
                <a:gd name="connsiteX4913" fmla="*/ 1019932 w 12166600"/>
                <a:gd name="connsiteY4913" fmla="*/ 1947889 h 2770404"/>
                <a:gd name="connsiteX4914" fmla="*/ 933129 w 12166600"/>
                <a:gd name="connsiteY4914" fmla="*/ 1984283 h 2770404"/>
                <a:gd name="connsiteX4915" fmla="*/ 896961 w 12166600"/>
                <a:gd name="connsiteY4915" fmla="*/ 1969726 h 2770404"/>
                <a:gd name="connsiteX4916" fmla="*/ 933129 w 12166600"/>
                <a:gd name="connsiteY4916" fmla="*/ 2435575 h 2770404"/>
                <a:gd name="connsiteX4917" fmla="*/ 925895 w 12166600"/>
                <a:gd name="connsiteY4917" fmla="*/ 2471969 h 2770404"/>
                <a:gd name="connsiteX4918" fmla="*/ 933129 w 12166600"/>
                <a:gd name="connsiteY4918" fmla="*/ 2573874 h 2770404"/>
                <a:gd name="connsiteX4919" fmla="*/ 918662 w 12166600"/>
                <a:gd name="connsiteY4919" fmla="*/ 2617547 h 2770404"/>
                <a:gd name="connsiteX4920" fmla="*/ 911428 w 12166600"/>
                <a:gd name="connsiteY4920" fmla="*/ 2690336 h 2770404"/>
                <a:gd name="connsiteX4921" fmla="*/ 918662 w 12166600"/>
                <a:gd name="connsiteY4921" fmla="*/ 2748567 h 2770404"/>
                <a:gd name="connsiteX4922" fmla="*/ 788458 w 12166600"/>
                <a:gd name="connsiteY4922" fmla="*/ 2755846 h 2770404"/>
                <a:gd name="connsiteX4923" fmla="*/ 535283 w 12166600"/>
                <a:gd name="connsiteY4923" fmla="*/ 2763125 h 2770404"/>
                <a:gd name="connsiteX4924" fmla="*/ 354445 w 12166600"/>
                <a:gd name="connsiteY4924" fmla="*/ 2770404 h 2770404"/>
                <a:gd name="connsiteX4925" fmla="*/ 361678 w 12166600"/>
                <a:gd name="connsiteY4925" fmla="*/ 2683057 h 2770404"/>
                <a:gd name="connsiteX4926" fmla="*/ 361678 w 12166600"/>
                <a:gd name="connsiteY4926" fmla="*/ 2610268 h 2770404"/>
                <a:gd name="connsiteX4927" fmla="*/ 339977 w 12166600"/>
                <a:gd name="connsiteY4927" fmla="*/ 2530201 h 2770404"/>
                <a:gd name="connsiteX4928" fmla="*/ 311043 w 12166600"/>
                <a:gd name="connsiteY4928" fmla="*/ 2428296 h 2770404"/>
                <a:gd name="connsiteX4929" fmla="*/ 296576 w 12166600"/>
                <a:gd name="connsiteY4929" fmla="*/ 2340949 h 2770404"/>
                <a:gd name="connsiteX4930" fmla="*/ 289343 w 12166600"/>
                <a:gd name="connsiteY4930" fmla="*/ 2180814 h 2770404"/>
                <a:gd name="connsiteX4931" fmla="*/ 282109 w 12166600"/>
                <a:gd name="connsiteY4931" fmla="*/ 2137140 h 2770404"/>
                <a:gd name="connsiteX4932" fmla="*/ 274875 w 12166600"/>
                <a:gd name="connsiteY4932" fmla="*/ 2100746 h 2770404"/>
                <a:gd name="connsiteX4933" fmla="*/ 260408 w 12166600"/>
                <a:gd name="connsiteY4933" fmla="*/ 2057072 h 2770404"/>
                <a:gd name="connsiteX4934" fmla="*/ 253175 w 12166600"/>
                <a:gd name="connsiteY4934" fmla="*/ 1940610 h 2770404"/>
                <a:gd name="connsiteX4935" fmla="*/ 260408 w 12166600"/>
                <a:gd name="connsiteY4935" fmla="*/ 1816869 h 2770404"/>
                <a:gd name="connsiteX4936" fmla="*/ 245941 w 12166600"/>
                <a:gd name="connsiteY4936" fmla="*/ 1780474 h 2770404"/>
                <a:gd name="connsiteX4937" fmla="*/ 245941 w 12166600"/>
                <a:gd name="connsiteY4937" fmla="*/ 1620338 h 2770404"/>
                <a:gd name="connsiteX4938" fmla="*/ 311043 w 12166600"/>
                <a:gd name="connsiteY4938" fmla="*/ 1482039 h 2770404"/>
                <a:gd name="connsiteX4939" fmla="*/ 296576 w 12166600"/>
                <a:gd name="connsiteY4939" fmla="*/ 1438366 h 2770404"/>
                <a:gd name="connsiteX4940" fmla="*/ 274875 w 12166600"/>
                <a:gd name="connsiteY4940" fmla="*/ 1351019 h 2770404"/>
                <a:gd name="connsiteX4941" fmla="*/ 253175 w 12166600"/>
                <a:gd name="connsiteY4941" fmla="*/ 1300067 h 2770404"/>
                <a:gd name="connsiteX4942" fmla="*/ 238708 w 12166600"/>
                <a:gd name="connsiteY4942" fmla="*/ 1263672 h 2770404"/>
                <a:gd name="connsiteX4943" fmla="*/ 238708 w 12166600"/>
                <a:gd name="connsiteY4943" fmla="*/ 1256393 h 2770404"/>
                <a:gd name="connsiteX4944" fmla="*/ 202540 w 12166600"/>
                <a:gd name="connsiteY4944" fmla="*/ 1249114 h 2770404"/>
                <a:gd name="connsiteX4945" fmla="*/ 188073 w 12166600"/>
                <a:gd name="connsiteY4945" fmla="*/ 1241835 h 2770404"/>
                <a:gd name="connsiteX4946" fmla="*/ 188073 w 12166600"/>
                <a:gd name="connsiteY4946" fmla="*/ 1176325 h 2770404"/>
                <a:gd name="connsiteX4947" fmla="*/ 224241 w 12166600"/>
                <a:gd name="connsiteY4947" fmla="*/ 1059863 h 2770404"/>
                <a:gd name="connsiteX4948" fmla="*/ 217007 w 12166600"/>
                <a:gd name="connsiteY4948" fmla="*/ 994353 h 2770404"/>
                <a:gd name="connsiteX4949" fmla="*/ 180839 w 12166600"/>
                <a:gd name="connsiteY4949" fmla="*/ 892448 h 2770404"/>
                <a:gd name="connsiteX4950" fmla="*/ 144671 w 12166600"/>
                <a:gd name="connsiteY4950" fmla="*/ 717755 h 2770404"/>
                <a:gd name="connsiteX4951" fmla="*/ 130204 w 12166600"/>
                <a:gd name="connsiteY4951" fmla="*/ 652245 h 2770404"/>
                <a:gd name="connsiteX4952" fmla="*/ 115737 w 12166600"/>
                <a:gd name="connsiteY4952" fmla="*/ 674082 h 2770404"/>
                <a:gd name="connsiteX4953" fmla="*/ 94037 w 12166600"/>
                <a:gd name="connsiteY4953" fmla="*/ 644966 h 2770404"/>
                <a:gd name="connsiteX4954" fmla="*/ 86803 w 12166600"/>
                <a:gd name="connsiteY4954" fmla="*/ 623129 h 2770404"/>
                <a:gd name="connsiteX4955" fmla="*/ 72336 w 12166600"/>
                <a:gd name="connsiteY4955" fmla="*/ 594014 h 2770404"/>
                <a:gd name="connsiteX4956" fmla="*/ 79570 w 12166600"/>
                <a:gd name="connsiteY4956" fmla="*/ 579456 h 2770404"/>
                <a:gd name="connsiteX4957" fmla="*/ 86803 w 12166600"/>
                <a:gd name="connsiteY4957" fmla="*/ 557619 h 2770404"/>
                <a:gd name="connsiteX4958" fmla="*/ 79570 w 12166600"/>
                <a:gd name="connsiteY4958" fmla="*/ 513946 h 2770404"/>
                <a:gd name="connsiteX4959" fmla="*/ 65102 w 12166600"/>
                <a:gd name="connsiteY4959" fmla="*/ 499388 h 2770404"/>
                <a:gd name="connsiteX4960" fmla="*/ 72336 w 12166600"/>
                <a:gd name="connsiteY4960" fmla="*/ 477551 h 2770404"/>
                <a:gd name="connsiteX4961" fmla="*/ 57869 w 12166600"/>
                <a:gd name="connsiteY4961" fmla="*/ 455715 h 2770404"/>
                <a:gd name="connsiteX4962" fmla="*/ 65102 w 12166600"/>
                <a:gd name="connsiteY4962" fmla="*/ 441157 h 2770404"/>
                <a:gd name="connsiteX4963" fmla="*/ 57869 w 12166600"/>
                <a:gd name="connsiteY4963" fmla="*/ 419320 h 2770404"/>
                <a:gd name="connsiteX4964" fmla="*/ 72336 w 12166600"/>
                <a:gd name="connsiteY4964" fmla="*/ 412041 h 2770404"/>
                <a:gd name="connsiteX4965" fmla="*/ 72336 w 12166600"/>
                <a:gd name="connsiteY4965" fmla="*/ 397483 h 2770404"/>
                <a:gd name="connsiteX4966" fmla="*/ 65102 w 12166600"/>
                <a:gd name="connsiteY4966" fmla="*/ 382926 h 2770404"/>
                <a:gd name="connsiteX4967" fmla="*/ 50635 w 12166600"/>
                <a:gd name="connsiteY4967" fmla="*/ 353810 h 2770404"/>
                <a:gd name="connsiteX4968" fmla="*/ 36168 w 12166600"/>
                <a:gd name="connsiteY4968" fmla="*/ 353810 h 2770404"/>
                <a:gd name="connsiteX4969" fmla="*/ 7234 w 12166600"/>
                <a:gd name="connsiteY4969" fmla="*/ 331973 h 2770404"/>
                <a:gd name="connsiteX4970" fmla="*/ 7234 w 12166600"/>
                <a:gd name="connsiteY4970" fmla="*/ 317416 h 2770404"/>
                <a:gd name="connsiteX4971" fmla="*/ 14468 w 12166600"/>
                <a:gd name="connsiteY4971" fmla="*/ 288300 h 2770404"/>
                <a:gd name="connsiteX4972" fmla="*/ 0 w 12166600"/>
                <a:gd name="connsiteY4972" fmla="*/ 259184 h 2770404"/>
                <a:gd name="connsiteX4973" fmla="*/ 14468 w 12166600"/>
                <a:gd name="connsiteY4973" fmla="*/ 266463 h 2770404"/>
                <a:gd name="connsiteX4974" fmla="*/ 7234 w 12166600"/>
                <a:gd name="connsiteY4974" fmla="*/ 251905 h 2770404"/>
                <a:gd name="connsiteX4975" fmla="*/ 28935 w 12166600"/>
                <a:gd name="connsiteY4975" fmla="*/ 251905 h 2770404"/>
                <a:gd name="connsiteX4976" fmla="*/ 28935 w 12166600"/>
                <a:gd name="connsiteY4976" fmla="*/ 237348 h 2770404"/>
                <a:gd name="connsiteX4977" fmla="*/ 57869 w 12166600"/>
                <a:gd name="connsiteY4977" fmla="*/ 244627 h 2770404"/>
                <a:gd name="connsiteX4978" fmla="*/ 65102 w 12166600"/>
                <a:gd name="connsiteY4978" fmla="*/ 230069 h 2770404"/>
                <a:gd name="connsiteX4979" fmla="*/ 86803 w 12166600"/>
                <a:gd name="connsiteY4979" fmla="*/ 237348 h 2770404"/>
                <a:gd name="connsiteX4980" fmla="*/ 72336 w 12166600"/>
                <a:gd name="connsiteY4980" fmla="*/ 215511 h 2770404"/>
                <a:gd name="connsiteX4981" fmla="*/ 65102 w 12166600"/>
                <a:gd name="connsiteY4981" fmla="*/ 142722 h 2770404"/>
                <a:gd name="connsiteX4982" fmla="*/ 101270 w 12166600"/>
                <a:gd name="connsiteY4982" fmla="*/ 113606 h 2770404"/>
                <a:gd name="connsiteX4983" fmla="*/ 133821 w 12166600"/>
                <a:gd name="connsiteY4983" fmla="*/ 90064 h 2770404"/>
                <a:gd name="connsiteX4984" fmla="*/ 11653243 w 12166600"/>
                <a:gd name="connsiteY4984" fmla="*/ 14540 h 2770404"/>
                <a:gd name="connsiteX4985" fmla="*/ 11646013 w 12166600"/>
                <a:gd name="connsiteY4985" fmla="*/ 21811 h 2770404"/>
                <a:gd name="connsiteX4986" fmla="*/ 11646013 w 12166600"/>
                <a:gd name="connsiteY4986" fmla="*/ 36351 h 2770404"/>
                <a:gd name="connsiteX4987" fmla="*/ 11624321 w 12166600"/>
                <a:gd name="connsiteY4987" fmla="*/ 152676 h 2770404"/>
                <a:gd name="connsiteX4988" fmla="*/ 11609861 w 12166600"/>
                <a:gd name="connsiteY4988" fmla="*/ 174487 h 2770404"/>
                <a:gd name="connsiteX4989" fmla="*/ 11602630 w 12166600"/>
                <a:gd name="connsiteY4989" fmla="*/ 181757 h 2770404"/>
                <a:gd name="connsiteX4990" fmla="*/ 11617091 w 12166600"/>
                <a:gd name="connsiteY4990" fmla="*/ 181757 h 2770404"/>
                <a:gd name="connsiteX4991" fmla="*/ 11703856 w 12166600"/>
                <a:gd name="connsiteY4991" fmla="*/ 181757 h 2770404"/>
                <a:gd name="connsiteX4992" fmla="*/ 11682164 w 12166600"/>
                <a:gd name="connsiteY4992" fmla="*/ 152676 h 2770404"/>
                <a:gd name="connsiteX4993" fmla="*/ 11653243 w 12166600"/>
                <a:gd name="connsiteY4993" fmla="*/ 36351 h 2770404"/>
                <a:gd name="connsiteX4994" fmla="*/ 11653243 w 12166600"/>
                <a:gd name="connsiteY4994" fmla="*/ 21811 h 2770404"/>
                <a:gd name="connsiteX4995" fmla="*/ 11653243 w 12166600"/>
                <a:gd name="connsiteY4995" fmla="*/ 14540 h 2770404"/>
                <a:gd name="connsiteX4996" fmla="*/ 11653243 w 12166600"/>
                <a:gd name="connsiteY4996" fmla="*/ 0 h 2770404"/>
                <a:gd name="connsiteX4997" fmla="*/ 11667704 w 12166600"/>
                <a:gd name="connsiteY4997" fmla="*/ 14540 h 2770404"/>
                <a:gd name="connsiteX4998" fmla="*/ 11667704 w 12166600"/>
                <a:gd name="connsiteY4998" fmla="*/ 36351 h 2770404"/>
                <a:gd name="connsiteX4999" fmla="*/ 11689395 w 12166600"/>
                <a:gd name="connsiteY4999" fmla="*/ 145406 h 2770404"/>
                <a:gd name="connsiteX5000" fmla="*/ 11747238 w 12166600"/>
                <a:gd name="connsiteY5000" fmla="*/ 181757 h 2770404"/>
                <a:gd name="connsiteX5001" fmla="*/ 11754468 w 12166600"/>
                <a:gd name="connsiteY5001" fmla="*/ 189027 h 2770404"/>
                <a:gd name="connsiteX5002" fmla="*/ 11754468 w 12166600"/>
                <a:gd name="connsiteY5002" fmla="*/ 218109 h 2770404"/>
                <a:gd name="connsiteX5003" fmla="*/ 11747238 w 12166600"/>
                <a:gd name="connsiteY5003" fmla="*/ 225379 h 2770404"/>
                <a:gd name="connsiteX5004" fmla="*/ 11725547 w 12166600"/>
                <a:gd name="connsiteY5004" fmla="*/ 225379 h 2770404"/>
                <a:gd name="connsiteX5005" fmla="*/ 11725547 w 12166600"/>
                <a:gd name="connsiteY5005" fmla="*/ 269001 h 2770404"/>
                <a:gd name="connsiteX5006" fmla="*/ 11747238 w 12166600"/>
                <a:gd name="connsiteY5006" fmla="*/ 290811 h 2770404"/>
                <a:gd name="connsiteX5007" fmla="*/ 11747238 w 12166600"/>
                <a:gd name="connsiteY5007" fmla="*/ 298082 h 2770404"/>
                <a:gd name="connsiteX5008" fmla="*/ 11747238 w 12166600"/>
                <a:gd name="connsiteY5008" fmla="*/ 305352 h 2770404"/>
                <a:gd name="connsiteX5009" fmla="*/ 11747238 w 12166600"/>
                <a:gd name="connsiteY5009" fmla="*/ 319893 h 2770404"/>
                <a:gd name="connsiteX5010" fmla="*/ 11740007 w 12166600"/>
                <a:gd name="connsiteY5010" fmla="*/ 356244 h 2770404"/>
                <a:gd name="connsiteX5011" fmla="*/ 11732777 w 12166600"/>
                <a:gd name="connsiteY5011" fmla="*/ 370785 h 2770404"/>
                <a:gd name="connsiteX5012" fmla="*/ 11725547 w 12166600"/>
                <a:gd name="connsiteY5012" fmla="*/ 378055 h 2770404"/>
                <a:gd name="connsiteX5013" fmla="*/ 11718316 w 12166600"/>
                <a:gd name="connsiteY5013" fmla="*/ 385325 h 2770404"/>
                <a:gd name="connsiteX5014" fmla="*/ 11711086 w 12166600"/>
                <a:gd name="connsiteY5014" fmla="*/ 392596 h 2770404"/>
                <a:gd name="connsiteX5015" fmla="*/ 11711086 w 12166600"/>
                <a:gd name="connsiteY5015" fmla="*/ 399866 h 2770404"/>
                <a:gd name="connsiteX5016" fmla="*/ 11711086 w 12166600"/>
                <a:gd name="connsiteY5016" fmla="*/ 414406 h 2770404"/>
                <a:gd name="connsiteX5017" fmla="*/ 11718316 w 12166600"/>
                <a:gd name="connsiteY5017" fmla="*/ 428947 h 2770404"/>
                <a:gd name="connsiteX5018" fmla="*/ 11718316 w 12166600"/>
                <a:gd name="connsiteY5018" fmla="*/ 443488 h 2770404"/>
                <a:gd name="connsiteX5019" fmla="*/ 11718316 w 12166600"/>
                <a:gd name="connsiteY5019" fmla="*/ 465298 h 2770404"/>
                <a:gd name="connsiteX5020" fmla="*/ 11718316 w 12166600"/>
                <a:gd name="connsiteY5020" fmla="*/ 479839 h 2770404"/>
                <a:gd name="connsiteX5021" fmla="*/ 11718316 w 12166600"/>
                <a:gd name="connsiteY5021" fmla="*/ 494380 h 2770404"/>
                <a:gd name="connsiteX5022" fmla="*/ 11718316 w 12166600"/>
                <a:gd name="connsiteY5022" fmla="*/ 501650 h 2770404"/>
                <a:gd name="connsiteX5023" fmla="*/ 11718316 w 12166600"/>
                <a:gd name="connsiteY5023" fmla="*/ 516191 h 2770404"/>
                <a:gd name="connsiteX5024" fmla="*/ 11725547 w 12166600"/>
                <a:gd name="connsiteY5024" fmla="*/ 538001 h 2770404"/>
                <a:gd name="connsiteX5025" fmla="*/ 11725547 w 12166600"/>
                <a:gd name="connsiteY5025" fmla="*/ 545272 h 2770404"/>
                <a:gd name="connsiteX5026" fmla="*/ 11725547 w 12166600"/>
                <a:gd name="connsiteY5026" fmla="*/ 559812 h 2770404"/>
                <a:gd name="connsiteX5027" fmla="*/ 11725547 w 12166600"/>
                <a:gd name="connsiteY5027" fmla="*/ 567083 h 2770404"/>
                <a:gd name="connsiteX5028" fmla="*/ 11725547 w 12166600"/>
                <a:gd name="connsiteY5028" fmla="*/ 574353 h 2770404"/>
                <a:gd name="connsiteX5029" fmla="*/ 11725547 w 12166600"/>
                <a:gd name="connsiteY5029" fmla="*/ 588893 h 2770404"/>
                <a:gd name="connsiteX5030" fmla="*/ 11725547 w 12166600"/>
                <a:gd name="connsiteY5030" fmla="*/ 603434 h 2770404"/>
                <a:gd name="connsiteX5031" fmla="*/ 11725547 w 12166600"/>
                <a:gd name="connsiteY5031" fmla="*/ 610704 h 2770404"/>
                <a:gd name="connsiteX5032" fmla="*/ 11725547 w 12166600"/>
                <a:gd name="connsiteY5032" fmla="*/ 617975 h 2770404"/>
                <a:gd name="connsiteX5033" fmla="*/ 11725547 w 12166600"/>
                <a:gd name="connsiteY5033" fmla="*/ 625245 h 2770404"/>
                <a:gd name="connsiteX5034" fmla="*/ 11725547 w 12166600"/>
                <a:gd name="connsiteY5034" fmla="*/ 632515 h 2770404"/>
                <a:gd name="connsiteX5035" fmla="*/ 11725547 w 12166600"/>
                <a:gd name="connsiteY5035" fmla="*/ 639785 h 2770404"/>
                <a:gd name="connsiteX5036" fmla="*/ 11732777 w 12166600"/>
                <a:gd name="connsiteY5036" fmla="*/ 661596 h 2770404"/>
                <a:gd name="connsiteX5037" fmla="*/ 11732777 w 12166600"/>
                <a:gd name="connsiteY5037" fmla="*/ 668867 h 2770404"/>
                <a:gd name="connsiteX5038" fmla="*/ 11732777 w 12166600"/>
                <a:gd name="connsiteY5038" fmla="*/ 676137 h 2770404"/>
                <a:gd name="connsiteX5039" fmla="*/ 11732777 w 12166600"/>
                <a:gd name="connsiteY5039" fmla="*/ 683407 h 2770404"/>
                <a:gd name="connsiteX5040" fmla="*/ 11732777 w 12166600"/>
                <a:gd name="connsiteY5040" fmla="*/ 690677 h 2770404"/>
                <a:gd name="connsiteX5041" fmla="*/ 11732777 w 12166600"/>
                <a:gd name="connsiteY5041" fmla="*/ 705218 h 2770404"/>
                <a:gd name="connsiteX5042" fmla="*/ 11732777 w 12166600"/>
                <a:gd name="connsiteY5042" fmla="*/ 719759 h 2770404"/>
                <a:gd name="connsiteX5043" fmla="*/ 11732777 w 12166600"/>
                <a:gd name="connsiteY5043" fmla="*/ 727029 h 2770404"/>
                <a:gd name="connsiteX5044" fmla="*/ 11740007 w 12166600"/>
                <a:gd name="connsiteY5044" fmla="*/ 748840 h 2770404"/>
                <a:gd name="connsiteX5045" fmla="*/ 11740007 w 12166600"/>
                <a:gd name="connsiteY5045" fmla="*/ 756110 h 2770404"/>
                <a:gd name="connsiteX5046" fmla="*/ 11740007 w 12166600"/>
                <a:gd name="connsiteY5046" fmla="*/ 763380 h 2770404"/>
                <a:gd name="connsiteX5047" fmla="*/ 11740007 w 12166600"/>
                <a:gd name="connsiteY5047" fmla="*/ 770651 h 2770404"/>
                <a:gd name="connsiteX5048" fmla="*/ 11740007 w 12166600"/>
                <a:gd name="connsiteY5048" fmla="*/ 777921 h 2770404"/>
                <a:gd name="connsiteX5049" fmla="*/ 11740007 w 12166600"/>
                <a:gd name="connsiteY5049" fmla="*/ 785191 h 2770404"/>
                <a:gd name="connsiteX5050" fmla="*/ 11740007 w 12166600"/>
                <a:gd name="connsiteY5050" fmla="*/ 792462 h 2770404"/>
                <a:gd name="connsiteX5051" fmla="*/ 11740007 w 12166600"/>
                <a:gd name="connsiteY5051" fmla="*/ 799732 h 2770404"/>
                <a:gd name="connsiteX5052" fmla="*/ 11740007 w 12166600"/>
                <a:gd name="connsiteY5052" fmla="*/ 807002 h 2770404"/>
                <a:gd name="connsiteX5053" fmla="*/ 11740007 w 12166600"/>
                <a:gd name="connsiteY5053" fmla="*/ 814272 h 2770404"/>
                <a:gd name="connsiteX5054" fmla="*/ 11740007 w 12166600"/>
                <a:gd name="connsiteY5054" fmla="*/ 828813 h 2770404"/>
                <a:gd name="connsiteX5055" fmla="*/ 11747238 w 12166600"/>
                <a:gd name="connsiteY5055" fmla="*/ 850624 h 2770404"/>
                <a:gd name="connsiteX5056" fmla="*/ 11747238 w 12166600"/>
                <a:gd name="connsiteY5056" fmla="*/ 857894 h 2770404"/>
                <a:gd name="connsiteX5057" fmla="*/ 11747238 w 12166600"/>
                <a:gd name="connsiteY5057" fmla="*/ 865164 h 2770404"/>
                <a:gd name="connsiteX5058" fmla="*/ 11747238 w 12166600"/>
                <a:gd name="connsiteY5058" fmla="*/ 872435 h 2770404"/>
                <a:gd name="connsiteX5059" fmla="*/ 11747238 w 12166600"/>
                <a:gd name="connsiteY5059" fmla="*/ 879705 h 2770404"/>
                <a:gd name="connsiteX5060" fmla="*/ 11747238 w 12166600"/>
                <a:gd name="connsiteY5060" fmla="*/ 894246 h 2770404"/>
                <a:gd name="connsiteX5061" fmla="*/ 11747238 w 12166600"/>
                <a:gd name="connsiteY5061" fmla="*/ 908786 h 2770404"/>
                <a:gd name="connsiteX5062" fmla="*/ 11747238 w 12166600"/>
                <a:gd name="connsiteY5062" fmla="*/ 930597 h 2770404"/>
                <a:gd name="connsiteX5063" fmla="*/ 11747238 w 12166600"/>
                <a:gd name="connsiteY5063" fmla="*/ 937867 h 2770404"/>
                <a:gd name="connsiteX5064" fmla="*/ 11754468 w 12166600"/>
                <a:gd name="connsiteY5064" fmla="*/ 945138 h 2770404"/>
                <a:gd name="connsiteX5065" fmla="*/ 11754468 w 12166600"/>
                <a:gd name="connsiteY5065" fmla="*/ 952408 h 2770404"/>
                <a:gd name="connsiteX5066" fmla="*/ 11754468 w 12166600"/>
                <a:gd name="connsiteY5066" fmla="*/ 959678 h 2770404"/>
                <a:gd name="connsiteX5067" fmla="*/ 11754468 w 12166600"/>
                <a:gd name="connsiteY5067" fmla="*/ 974219 h 2770404"/>
                <a:gd name="connsiteX5068" fmla="*/ 11754468 w 12166600"/>
                <a:gd name="connsiteY5068" fmla="*/ 988759 h 2770404"/>
                <a:gd name="connsiteX5069" fmla="*/ 11754468 w 12166600"/>
                <a:gd name="connsiteY5069" fmla="*/ 1017841 h 2770404"/>
                <a:gd name="connsiteX5070" fmla="*/ 11761699 w 12166600"/>
                <a:gd name="connsiteY5070" fmla="*/ 1032381 h 2770404"/>
                <a:gd name="connsiteX5071" fmla="*/ 11761699 w 12166600"/>
                <a:gd name="connsiteY5071" fmla="*/ 1046922 h 2770404"/>
                <a:gd name="connsiteX5072" fmla="*/ 11761699 w 12166600"/>
                <a:gd name="connsiteY5072" fmla="*/ 1061462 h 2770404"/>
                <a:gd name="connsiteX5073" fmla="*/ 11761699 w 12166600"/>
                <a:gd name="connsiteY5073" fmla="*/ 1076003 h 2770404"/>
                <a:gd name="connsiteX5074" fmla="*/ 11761699 w 12166600"/>
                <a:gd name="connsiteY5074" fmla="*/ 1083273 h 2770404"/>
                <a:gd name="connsiteX5075" fmla="*/ 11761699 w 12166600"/>
                <a:gd name="connsiteY5075" fmla="*/ 1097814 h 2770404"/>
                <a:gd name="connsiteX5076" fmla="*/ 11761699 w 12166600"/>
                <a:gd name="connsiteY5076" fmla="*/ 1112354 h 2770404"/>
                <a:gd name="connsiteX5077" fmla="*/ 11768929 w 12166600"/>
                <a:gd name="connsiteY5077" fmla="*/ 1126895 h 2770404"/>
                <a:gd name="connsiteX5078" fmla="*/ 11768929 w 12166600"/>
                <a:gd name="connsiteY5078" fmla="*/ 1141436 h 2770404"/>
                <a:gd name="connsiteX5079" fmla="*/ 11768929 w 12166600"/>
                <a:gd name="connsiteY5079" fmla="*/ 1155976 h 2770404"/>
                <a:gd name="connsiteX5080" fmla="*/ 11768929 w 12166600"/>
                <a:gd name="connsiteY5080" fmla="*/ 1170517 h 2770404"/>
                <a:gd name="connsiteX5081" fmla="*/ 11768929 w 12166600"/>
                <a:gd name="connsiteY5081" fmla="*/ 1177787 h 2770404"/>
                <a:gd name="connsiteX5082" fmla="*/ 11768929 w 12166600"/>
                <a:gd name="connsiteY5082" fmla="*/ 1185057 h 2770404"/>
                <a:gd name="connsiteX5083" fmla="*/ 11768929 w 12166600"/>
                <a:gd name="connsiteY5083" fmla="*/ 1199598 h 2770404"/>
                <a:gd name="connsiteX5084" fmla="*/ 11776159 w 12166600"/>
                <a:gd name="connsiteY5084" fmla="*/ 1228679 h 2770404"/>
                <a:gd name="connsiteX5085" fmla="*/ 11776159 w 12166600"/>
                <a:gd name="connsiteY5085" fmla="*/ 1243220 h 2770404"/>
                <a:gd name="connsiteX5086" fmla="*/ 11776159 w 12166600"/>
                <a:gd name="connsiteY5086" fmla="*/ 1272301 h 2770404"/>
                <a:gd name="connsiteX5087" fmla="*/ 11783390 w 12166600"/>
                <a:gd name="connsiteY5087" fmla="*/ 1301382 h 2770404"/>
                <a:gd name="connsiteX5088" fmla="*/ 11783390 w 12166600"/>
                <a:gd name="connsiteY5088" fmla="*/ 1308652 h 2770404"/>
                <a:gd name="connsiteX5089" fmla="*/ 11783390 w 12166600"/>
                <a:gd name="connsiteY5089" fmla="*/ 1315922 h 2770404"/>
                <a:gd name="connsiteX5090" fmla="*/ 11783390 w 12166600"/>
                <a:gd name="connsiteY5090" fmla="*/ 1323193 h 2770404"/>
                <a:gd name="connsiteX5091" fmla="*/ 11783390 w 12166600"/>
                <a:gd name="connsiteY5091" fmla="*/ 1337733 h 2770404"/>
                <a:gd name="connsiteX5092" fmla="*/ 11790620 w 12166600"/>
                <a:gd name="connsiteY5092" fmla="*/ 1359544 h 2770404"/>
                <a:gd name="connsiteX5093" fmla="*/ 11790620 w 12166600"/>
                <a:gd name="connsiteY5093" fmla="*/ 1381355 h 2770404"/>
                <a:gd name="connsiteX5094" fmla="*/ 11790620 w 12166600"/>
                <a:gd name="connsiteY5094" fmla="*/ 1388625 h 2770404"/>
                <a:gd name="connsiteX5095" fmla="*/ 11790620 w 12166600"/>
                <a:gd name="connsiteY5095" fmla="*/ 1395896 h 2770404"/>
                <a:gd name="connsiteX5096" fmla="*/ 11790620 w 12166600"/>
                <a:gd name="connsiteY5096" fmla="*/ 1410436 h 2770404"/>
                <a:gd name="connsiteX5097" fmla="*/ 11797851 w 12166600"/>
                <a:gd name="connsiteY5097" fmla="*/ 1432247 h 2770404"/>
                <a:gd name="connsiteX5098" fmla="*/ 11797851 w 12166600"/>
                <a:gd name="connsiteY5098" fmla="*/ 1446788 h 2770404"/>
                <a:gd name="connsiteX5099" fmla="*/ 11797851 w 12166600"/>
                <a:gd name="connsiteY5099" fmla="*/ 1468599 h 2770404"/>
                <a:gd name="connsiteX5100" fmla="*/ 11797851 w 12166600"/>
                <a:gd name="connsiteY5100" fmla="*/ 1483139 h 2770404"/>
                <a:gd name="connsiteX5101" fmla="*/ 11805081 w 12166600"/>
                <a:gd name="connsiteY5101" fmla="*/ 1504950 h 2770404"/>
                <a:gd name="connsiteX5102" fmla="*/ 11805081 w 12166600"/>
                <a:gd name="connsiteY5102" fmla="*/ 1534031 h 2770404"/>
                <a:gd name="connsiteX5103" fmla="*/ 11812311 w 12166600"/>
                <a:gd name="connsiteY5103" fmla="*/ 1570383 h 2770404"/>
                <a:gd name="connsiteX5104" fmla="*/ 11812311 w 12166600"/>
                <a:gd name="connsiteY5104" fmla="*/ 1584923 h 2770404"/>
                <a:gd name="connsiteX5105" fmla="*/ 11812311 w 12166600"/>
                <a:gd name="connsiteY5105" fmla="*/ 1606734 h 2770404"/>
                <a:gd name="connsiteX5106" fmla="*/ 11819542 w 12166600"/>
                <a:gd name="connsiteY5106" fmla="*/ 1628545 h 2770404"/>
                <a:gd name="connsiteX5107" fmla="*/ 11826772 w 12166600"/>
                <a:gd name="connsiteY5107" fmla="*/ 1679437 h 2770404"/>
                <a:gd name="connsiteX5108" fmla="*/ 11826772 w 12166600"/>
                <a:gd name="connsiteY5108" fmla="*/ 1686707 h 2770404"/>
                <a:gd name="connsiteX5109" fmla="*/ 11834002 w 12166600"/>
                <a:gd name="connsiteY5109" fmla="*/ 1723059 h 2770404"/>
                <a:gd name="connsiteX5110" fmla="*/ 11834002 w 12166600"/>
                <a:gd name="connsiteY5110" fmla="*/ 1752140 h 2770404"/>
                <a:gd name="connsiteX5111" fmla="*/ 11841233 w 12166600"/>
                <a:gd name="connsiteY5111" fmla="*/ 1795762 h 2770404"/>
                <a:gd name="connsiteX5112" fmla="*/ 11841233 w 12166600"/>
                <a:gd name="connsiteY5112" fmla="*/ 1803032 h 2770404"/>
                <a:gd name="connsiteX5113" fmla="*/ 11855694 w 12166600"/>
                <a:gd name="connsiteY5113" fmla="*/ 1875735 h 2770404"/>
                <a:gd name="connsiteX5114" fmla="*/ 11855694 w 12166600"/>
                <a:gd name="connsiteY5114" fmla="*/ 1890275 h 2770404"/>
                <a:gd name="connsiteX5115" fmla="*/ 11870154 w 12166600"/>
                <a:gd name="connsiteY5115" fmla="*/ 1890275 h 2770404"/>
                <a:gd name="connsiteX5116" fmla="*/ 11906306 w 12166600"/>
                <a:gd name="connsiteY5116" fmla="*/ 1890275 h 2770404"/>
                <a:gd name="connsiteX5117" fmla="*/ 11913537 w 12166600"/>
                <a:gd name="connsiteY5117" fmla="*/ 1897546 h 2770404"/>
                <a:gd name="connsiteX5118" fmla="*/ 11913537 w 12166600"/>
                <a:gd name="connsiteY5118" fmla="*/ 1912086 h 2770404"/>
                <a:gd name="connsiteX5119" fmla="*/ 11913537 w 12166600"/>
                <a:gd name="connsiteY5119" fmla="*/ 1926627 h 2770404"/>
                <a:gd name="connsiteX5120" fmla="*/ 11906306 w 12166600"/>
                <a:gd name="connsiteY5120" fmla="*/ 1933897 h 2770404"/>
                <a:gd name="connsiteX5121" fmla="*/ 11899076 w 12166600"/>
                <a:gd name="connsiteY5121" fmla="*/ 1962978 h 2770404"/>
                <a:gd name="connsiteX5122" fmla="*/ 11891845 w 12166600"/>
                <a:gd name="connsiteY5122" fmla="*/ 1999330 h 2770404"/>
                <a:gd name="connsiteX5123" fmla="*/ 11884615 w 12166600"/>
                <a:gd name="connsiteY5123" fmla="*/ 2013870 h 2770404"/>
                <a:gd name="connsiteX5124" fmla="*/ 11884615 w 12166600"/>
                <a:gd name="connsiteY5124" fmla="*/ 2021141 h 2770404"/>
                <a:gd name="connsiteX5125" fmla="*/ 11906306 w 12166600"/>
                <a:gd name="connsiteY5125" fmla="*/ 2101114 h 2770404"/>
                <a:gd name="connsiteX5126" fmla="*/ 11927997 w 12166600"/>
                <a:gd name="connsiteY5126" fmla="*/ 2166547 h 2770404"/>
                <a:gd name="connsiteX5127" fmla="*/ 11942458 w 12166600"/>
                <a:gd name="connsiteY5127" fmla="*/ 2224709 h 2770404"/>
                <a:gd name="connsiteX5128" fmla="*/ 11949689 w 12166600"/>
                <a:gd name="connsiteY5128" fmla="*/ 2246520 h 2770404"/>
                <a:gd name="connsiteX5129" fmla="*/ 11956919 w 12166600"/>
                <a:gd name="connsiteY5129" fmla="*/ 2253790 h 2770404"/>
                <a:gd name="connsiteX5130" fmla="*/ 11956919 w 12166600"/>
                <a:gd name="connsiteY5130" fmla="*/ 2261060 h 2770404"/>
                <a:gd name="connsiteX5131" fmla="*/ 11964149 w 12166600"/>
                <a:gd name="connsiteY5131" fmla="*/ 2282871 h 2770404"/>
                <a:gd name="connsiteX5132" fmla="*/ 11978610 w 12166600"/>
                <a:gd name="connsiteY5132" fmla="*/ 2311952 h 2770404"/>
                <a:gd name="connsiteX5133" fmla="*/ 11993071 w 12166600"/>
                <a:gd name="connsiteY5133" fmla="*/ 2341034 h 2770404"/>
                <a:gd name="connsiteX5134" fmla="*/ 12000301 w 12166600"/>
                <a:gd name="connsiteY5134" fmla="*/ 2370115 h 2770404"/>
                <a:gd name="connsiteX5135" fmla="*/ 12014762 w 12166600"/>
                <a:gd name="connsiteY5135" fmla="*/ 2391926 h 2770404"/>
                <a:gd name="connsiteX5136" fmla="*/ 12029223 w 12166600"/>
                <a:gd name="connsiteY5136" fmla="*/ 2421007 h 2770404"/>
                <a:gd name="connsiteX5137" fmla="*/ 12036453 w 12166600"/>
                <a:gd name="connsiteY5137" fmla="*/ 2435547 h 2770404"/>
                <a:gd name="connsiteX5138" fmla="*/ 12058144 w 12166600"/>
                <a:gd name="connsiteY5138" fmla="*/ 2479169 h 2770404"/>
                <a:gd name="connsiteX5139" fmla="*/ 12079835 w 12166600"/>
                <a:gd name="connsiteY5139" fmla="*/ 2479169 h 2770404"/>
                <a:gd name="connsiteX5140" fmla="*/ 12087066 w 12166600"/>
                <a:gd name="connsiteY5140" fmla="*/ 2479169 h 2770404"/>
                <a:gd name="connsiteX5141" fmla="*/ 12094296 w 12166600"/>
                <a:gd name="connsiteY5141" fmla="*/ 2479169 h 2770404"/>
                <a:gd name="connsiteX5142" fmla="*/ 12101527 w 12166600"/>
                <a:gd name="connsiteY5142" fmla="*/ 2486439 h 2770404"/>
                <a:gd name="connsiteX5143" fmla="*/ 12101527 w 12166600"/>
                <a:gd name="connsiteY5143" fmla="*/ 2493710 h 2770404"/>
                <a:gd name="connsiteX5144" fmla="*/ 12101527 w 12166600"/>
                <a:gd name="connsiteY5144" fmla="*/ 2522791 h 2770404"/>
                <a:gd name="connsiteX5145" fmla="*/ 12101527 w 12166600"/>
                <a:gd name="connsiteY5145" fmla="*/ 2537331 h 2770404"/>
                <a:gd name="connsiteX5146" fmla="*/ 12101527 w 12166600"/>
                <a:gd name="connsiteY5146" fmla="*/ 2559142 h 2770404"/>
                <a:gd name="connsiteX5147" fmla="*/ 12101527 w 12166600"/>
                <a:gd name="connsiteY5147" fmla="*/ 2566413 h 2770404"/>
                <a:gd name="connsiteX5148" fmla="*/ 12101527 w 12166600"/>
                <a:gd name="connsiteY5148" fmla="*/ 2573683 h 2770404"/>
                <a:gd name="connsiteX5149" fmla="*/ 12101527 w 12166600"/>
                <a:gd name="connsiteY5149" fmla="*/ 2580953 h 2770404"/>
                <a:gd name="connsiteX5150" fmla="*/ 12101527 w 12166600"/>
                <a:gd name="connsiteY5150" fmla="*/ 2595494 h 2770404"/>
                <a:gd name="connsiteX5151" fmla="*/ 12101527 w 12166600"/>
                <a:gd name="connsiteY5151" fmla="*/ 2610034 h 2770404"/>
                <a:gd name="connsiteX5152" fmla="*/ 12101527 w 12166600"/>
                <a:gd name="connsiteY5152" fmla="*/ 2624575 h 2770404"/>
                <a:gd name="connsiteX5153" fmla="*/ 12101527 w 12166600"/>
                <a:gd name="connsiteY5153" fmla="*/ 2631845 h 2770404"/>
                <a:gd name="connsiteX5154" fmla="*/ 12101527 w 12166600"/>
                <a:gd name="connsiteY5154" fmla="*/ 2639116 h 2770404"/>
                <a:gd name="connsiteX5155" fmla="*/ 12115987 w 12166600"/>
                <a:gd name="connsiteY5155" fmla="*/ 2660926 h 2770404"/>
                <a:gd name="connsiteX5156" fmla="*/ 12137679 w 12166600"/>
                <a:gd name="connsiteY5156" fmla="*/ 2697278 h 2770404"/>
                <a:gd name="connsiteX5157" fmla="*/ 12152139 w 12166600"/>
                <a:gd name="connsiteY5157" fmla="*/ 2711819 h 2770404"/>
                <a:gd name="connsiteX5158" fmla="*/ 12159370 w 12166600"/>
                <a:gd name="connsiteY5158" fmla="*/ 2733630 h 2770404"/>
                <a:gd name="connsiteX5159" fmla="*/ 12166600 w 12166600"/>
                <a:gd name="connsiteY5159" fmla="*/ 2740900 h 2770404"/>
                <a:gd name="connsiteX5160" fmla="*/ 12166600 w 12166600"/>
                <a:gd name="connsiteY5160" fmla="*/ 2748170 h 2770404"/>
                <a:gd name="connsiteX5161" fmla="*/ 11978610 w 12166600"/>
                <a:gd name="connsiteY5161" fmla="*/ 2748170 h 2770404"/>
                <a:gd name="connsiteX5162" fmla="*/ 11971380 w 12166600"/>
                <a:gd name="connsiteY5162" fmla="*/ 2733630 h 2770404"/>
                <a:gd name="connsiteX5163" fmla="*/ 11964149 w 12166600"/>
                <a:gd name="connsiteY5163" fmla="*/ 2740900 h 2770404"/>
                <a:gd name="connsiteX5164" fmla="*/ 11964149 w 12166600"/>
                <a:gd name="connsiteY5164" fmla="*/ 2748170 h 2770404"/>
                <a:gd name="connsiteX5165" fmla="*/ 11949689 w 12166600"/>
                <a:gd name="connsiteY5165" fmla="*/ 2748170 h 2770404"/>
                <a:gd name="connsiteX5166" fmla="*/ 11949689 w 12166600"/>
                <a:gd name="connsiteY5166" fmla="*/ 2740900 h 2770404"/>
                <a:gd name="connsiteX5167" fmla="*/ 11956919 w 12166600"/>
                <a:gd name="connsiteY5167" fmla="*/ 2733630 h 2770404"/>
                <a:gd name="connsiteX5168" fmla="*/ 11964149 w 12166600"/>
                <a:gd name="connsiteY5168" fmla="*/ 2726359 h 2770404"/>
                <a:gd name="connsiteX5169" fmla="*/ 11949689 w 12166600"/>
                <a:gd name="connsiteY5169" fmla="*/ 2726359 h 2770404"/>
                <a:gd name="connsiteX5170" fmla="*/ 11942458 w 12166600"/>
                <a:gd name="connsiteY5170" fmla="*/ 2726359 h 2770404"/>
                <a:gd name="connsiteX5171" fmla="*/ 11935228 w 12166600"/>
                <a:gd name="connsiteY5171" fmla="*/ 2726359 h 2770404"/>
                <a:gd name="connsiteX5172" fmla="*/ 11927997 w 12166600"/>
                <a:gd name="connsiteY5172" fmla="*/ 2726359 h 2770404"/>
                <a:gd name="connsiteX5173" fmla="*/ 11920767 w 12166600"/>
                <a:gd name="connsiteY5173" fmla="*/ 2726359 h 2770404"/>
                <a:gd name="connsiteX5174" fmla="*/ 11913537 w 12166600"/>
                <a:gd name="connsiteY5174" fmla="*/ 2733630 h 2770404"/>
                <a:gd name="connsiteX5175" fmla="*/ 11913537 w 12166600"/>
                <a:gd name="connsiteY5175" fmla="*/ 2740900 h 2770404"/>
                <a:gd name="connsiteX5176" fmla="*/ 11906306 w 12166600"/>
                <a:gd name="connsiteY5176" fmla="*/ 2748170 h 2770404"/>
                <a:gd name="connsiteX5177" fmla="*/ 11891845 w 12166600"/>
                <a:gd name="connsiteY5177" fmla="*/ 2748170 h 2770404"/>
                <a:gd name="connsiteX5178" fmla="*/ 11891845 w 12166600"/>
                <a:gd name="connsiteY5178" fmla="*/ 2740900 h 2770404"/>
                <a:gd name="connsiteX5179" fmla="*/ 11899076 w 12166600"/>
                <a:gd name="connsiteY5179" fmla="*/ 2733630 h 2770404"/>
                <a:gd name="connsiteX5180" fmla="*/ 11899076 w 12166600"/>
                <a:gd name="connsiteY5180" fmla="*/ 2726359 h 2770404"/>
                <a:gd name="connsiteX5181" fmla="*/ 11884615 w 12166600"/>
                <a:gd name="connsiteY5181" fmla="*/ 2726359 h 2770404"/>
                <a:gd name="connsiteX5182" fmla="*/ 11877385 w 12166600"/>
                <a:gd name="connsiteY5182" fmla="*/ 2726359 h 2770404"/>
                <a:gd name="connsiteX5183" fmla="*/ 11855694 w 12166600"/>
                <a:gd name="connsiteY5183" fmla="*/ 2726359 h 2770404"/>
                <a:gd name="connsiteX5184" fmla="*/ 11855694 w 12166600"/>
                <a:gd name="connsiteY5184" fmla="*/ 2733630 h 2770404"/>
                <a:gd name="connsiteX5185" fmla="*/ 11848463 w 12166600"/>
                <a:gd name="connsiteY5185" fmla="*/ 2740900 h 2770404"/>
                <a:gd name="connsiteX5186" fmla="*/ 11855694 w 12166600"/>
                <a:gd name="connsiteY5186" fmla="*/ 2740900 h 2770404"/>
                <a:gd name="connsiteX5187" fmla="*/ 11870154 w 12166600"/>
                <a:gd name="connsiteY5187" fmla="*/ 2748170 h 2770404"/>
                <a:gd name="connsiteX5188" fmla="*/ 11826772 w 12166600"/>
                <a:gd name="connsiteY5188" fmla="*/ 2748170 h 2770404"/>
                <a:gd name="connsiteX5189" fmla="*/ 11819542 w 12166600"/>
                <a:gd name="connsiteY5189" fmla="*/ 2748170 h 2770404"/>
                <a:gd name="connsiteX5190" fmla="*/ 11812311 w 12166600"/>
                <a:gd name="connsiteY5190" fmla="*/ 2740900 h 2770404"/>
                <a:gd name="connsiteX5191" fmla="*/ 11805081 w 12166600"/>
                <a:gd name="connsiteY5191" fmla="*/ 2740900 h 2770404"/>
                <a:gd name="connsiteX5192" fmla="*/ 11790620 w 12166600"/>
                <a:gd name="connsiteY5192" fmla="*/ 2740900 h 2770404"/>
                <a:gd name="connsiteX5193" fmla="*/ 11790620 w 12166600"/>
                <a:gd name="connsiteY5193" fmla="*/ 2748170 h 2770404"/>
                <a:gd name="connsiteX5194" fmla="*/ 11776159 w 12166600"/>
                <a:gd name="connsiteY5194" fmla="*/ 2748170 h 2770404"/>
                <a:gd name="connsiteX5195" fmla="*/ 11776159 w 12166600"/>
                <a:gd name="connsiteY5195" fmla="*/ 2733630 h 2770404"/>
                <a:gd name="connsiteX5196" fmla="*/ 11761699 w 12166600"/>
                <a:gd name="connsiteY5196" fmla="*/ 2733630 h 2770404"/>
                <a:gd name="connsiteX5197" fmla="*/ 11740007 w 12166600"/>
                <a:gd name="connsiteY5197" fmla="*/ 2733630 h 2770404"/>
                <a:gd name="connsiteX5198" fmla="*/ 11732777 w 12166600"/>
                <a:gd name="connsiteY5198" fmla="*/ 2733630 h 2770404"/>
                <a:gd name="connsiteX5199" fmla="*/ 11725547 w 12166600"/>
                <a:gd name="connsiteY5199" fmla="*/ 2740900 h 2770404"/>
                <a:gd name="connsiteX5200" fmla="*/ 11725547 w 12166600"/>
                <a:gd name="connsiteY5200" fmla="*/ 2748170 h 2770404"/>
                <a:gd name="connsiteX5201" fmla="*/ 11595400 w 12166600"/>
                <a:gd name="connsiteY5201" fmla="*/ 2748170 h 2770404"/>
                <a:gd name="connsiteX5202" fmla="*/ 11595400 w 12166600"/>
                <a:gd name="connsiteY5202" fmla="*/ 2740900 h 2770404"/>
                <a:gd name="connsiteX5203" fmla="*/ 11588169 w 12166600"/>
                <a:gd name="connsiteY5203" fmla="*/ 2740900 h 2770404"/>
                <a:gd name="connsiteX5204" fmla="*/ 11573709 w 12166600"/>
                <a:gd name="connsiteY5204" fmla="*/ 2748170 h 2770404"/>
                <a:gd name="connsiteX5205" fmla="*/ 11523096 w 12166600"/>
                <a:gd name="connsiteY5205" fmla="*/ 2748170 h 2770404"/>
                <a:gd name="connsiteX5206" fmla="*/ 11530326 w 12166600"/>
                <a:gd name="connsiteY5206" fmla="*/ 2740900 h 2770404"/>
                <a:gd name="connsiteX5207" fmla="*/ 11530326 w 12166600"/>
                <a:gd name="connsiteY5207" fmla="*/ 2733630 h 2770404"/>
                <a:gd name="connsiteX5208" fmla="*/ 11523096 w 12166600"/>
                <a:gd name="connsiteY5208" fmla="*/ 2733630 h 2770404"/>
                <a:gd name="connsiteX5209" fmla="*/ 11508635 w 12166600"/>
                <a:gd name="connsiteY5209" fmla="*/ 2733630 h 2770404"/>
                <a:gd name="connsiteX5210" fmla="*/ 11501405 w 12166600"/>
                <a:gd name="connsiteY5210" fmla="*/ 2733630 h 2770404"/>
                <a:gd name="connsiteX5211" fmla="*/ 11479714 w 12166600"/>
                <a:gd name="connsiteY5211" fmla="*/ 2733630 h 2770404"/>
                <a:gd name="connsiteX5212" fmla="*/ 11486944 w 12166600"/>
                <a:gd name="connsiteY5212" fmla="*/ 2748170 h 2770404"/>
                <a:gd name="connsiteX5213" fmla="*/ 11472483 w 12166600"/>
                <a:gd name="connsiteY5213" fmla="*/ 2748170 h 2770404"/>
                <a:gd name="connsiteX5214" fmla="*/ 11465253 w 12166600"/>
                <a:gd name="connsiteY5214" fmla="*/ 2733630 h 2770404"/>
                <a:gd name="connsiteX5215" fmla="*/ 11450792 w 12166600"/>
                <a:gd name="connsiteY5215" fmla="*/ 2733630 h 2770404"/>
                <a:gd name="connsiteX5216" fmla="*/ 11429101 w 12166600"/>
                <a:gd name="connsiteY5216" fmla="*/ 2733630 h 2770404"/>
                <a:gd name="connsiteX5217" fmla="*/ 11421871 w 12166600"/>
                <a:gd name="connsiteY5217" fmla="*/ 2733630 h 2770404"/>
                <a:gd name="connsiteX5218" fmla="*/ 11421871 w 12166600"/>
                <a:gd name="connsiteY5218" fmla="*/ 2740900 h 2770404"/>
                <a:gd name="connsiteX5219" fmla="*/ 11429101 w 12166600"/>
                <a:gd name="connsiteY5219" fmla="*/ 2748170 h 2770404"/>
                <a:gd name="connsiteX5220" fmla="*/ 11414640 w 12166600"/>
                <a:gd name="connsiteY5220" fmla="*/ 2748170 h 2770404"/>
                <a:gd name="connsiteX5221" fmla="*/ 11407410 w 12166600"/>
                <a:gd name="connsiteY5221" fmla="*/ 2740900 h 2770404"/>
                <a:gd name="connsiteX5222" fmla="*/ 11407410 w 12166600"/>
                <a:gd name="connsiteY5222" fmla="*/ 2748170 h 2770404"/>
                <a:gd name="connsiteX5223" fmla="*/ 11378488 w 12166600"/>
                <a:gd name="connsiteY5223" fmla="*/ 2748170 h 2770404"/>
                <a:gd name="connsiteX5224" fmla="*/ 11219420 w 12166600"/>
                <a:gd name="connsiteY5224" fmla="*/ 2748170 h 2770404"/>
                <a:gd name="connsiteX5225" fmla="*/ 11226650 w 12166600"/>
                <a:gd name="connsiteY5225" fmla="*/ 2733630 h 2770404"/>
                <a:gd name="connsiteX5226" fmla="*/ 11233881 w 12166600"/>
                <a:gd name="connsiteY5226" fmla="*/ 2726359 h 2770404"/>
                <a:gd name="connsiteX5227" fmla="*/ 11241111 w 12166600"/>
                <a:gd name="connsiteY5227" fmla="*/ 2711819 h 2770404"/>
                <a:gd name="connsiteX5228" fmla="*/ 11248342 w 12166600"/>
                <a:gd name="connsiteY5228" fmla="*/ 2697278 h 2770404"/>
                <a:gd name="connsiteX5229" fmla="*/ 11255572 w 12166600"/>
                <a:gd name="connsiteY5229" fmla="*/ 2690008 h 2770404"/>
                <a:gd name="connsiteX5230" fmla="*/ 11262802 w 12166600"/>
                <a:gd name="connsiteY5230" fmla="*/ 2675467 h 2770404"/>
                <a:gd name="connsiteX5231" fmla="*/ 11270033 w 12166600"/>
                <a:gd name="connsiteY5231" fmla="*/ 2668197 h 2770404"/>
                <a:gd name="connsiteX5232" fmla="*/ 11270033 w 12166600"/>
                <a:gd name="connsiteY5232" fmla="*/ 2660926 h 2770404"/>
                <a:gd name="connsiteX5233" fmla="*/ 11277263 w 12166600"/>
                <a:gd name="connsiteY5233" fmla="*/ 2653656 h 2770404"/>
                <a:gd name="connsiteX5234" fmla="*/ 11277263 w 12166600"/>
                <a:gd name="connsiteY5234" fmla="*/ 2639116 h 2770404"/>
                <a:gd name="connsiteX5235" fmla="*/ 11277263 w 12166600"/>
                <a:gd name="connsiteY5235" fmla="*/ 2624575 h 2770404"/>
                <a:gd name="connsiteX5236" fmla="*/ 11277263 w 12166600"/>
                <a:gd name="connsiteY5236" fmla="*/ 2602764 h 2770404"/>
                <a:gd name="connsiteX5237" fmla="*/ 11277263 w 12166600"/>
                <a:gd name="connsiteY5237" fmla="*/ 2588223 h 2770404"/>
                <a:gd name="connsiteX5238" fmla="*/ 11277263 w 12166600"/>
                <a:gd name="connsiteY5238" fmla="*/ 2573683 h 2770404"/>
                <a:gd name="connsiteX5239" fmla="*/ 11277263 w 12166600"/>
                <a:gd name="connsiteY5239" fmla="*/ 2566413 h 2770404"/>
                <a:gd name="connsiteX5240" fmla="*/ 11277263 w 12166600"/>
                <a:gd name="connsiteY5240" fmla="*/ 2559142 h 2770404"/>
                <a:gd name="connsiteX5241" fmla="*/ 11277263 w 12166600"/>
                <a:gd name="connsiteY5241" fmla="*/ 2522791 h 2770404"/>
                <a:gd name="connsiteX5242" fmla="*/ 11277263 w 12166600"/>
                <a:gd name="connsiteY5242" fmla="*/ 2515521 h 2770404"/>
                <a:gd name="connsiteX5243" fmla="*/ 11277263 w 12166600"/>
                <a:gd name="connsiteY5243" fmla="*/ 2500980 h 2770404"/>
                <a:gd name="connsiteX5244" fmla="*/ 11277263 w 12166600"/>
                <a:gd name="connsiteY5244" fmla="*/ 2493710 h 2770404"/>
                <a:gd name="connsiteX5245" fmla="*/ 11284493 w 12166600"/>
                <a:gd name="connsiteY5245" fmla="*/ 2493710 h 2770404"/>
                <a:gd name="connsiteX5246" fmla="*/ 11298954 w 12166600"/>
                <a:gd name="connsiteY5246" fmla="*/ 2493710 h 2770404"/>
                <a:gd name="connsiteX5247" fmla="*/ 11306185 w 12166600"/>
                <a:gd name="connsiteY5247" fmla="*/ 2493710 h 2770404"/>
                <a:gd name="connsiteX5248" fmla="*/ 11313415 w 12166600"/>
                <a:gd name="connsiteY5248" fmla="*/ 2493710 h 2770404"/>
                <a:gd name="connsiteX5249" fmla="*/ 11320645 w 12166600"/>
                <a:gd name="connsiteY5249" fmla="*/ 2493710 h 2770404"/>
                <a:gd name="connsiteX5250" fmla="*/ 11320645 w 12166600"/>
                <a:gd name="connsiteY5250" fmla="*/ 2479169 h 2770404"/>
                <a:gd name="connsiteX5251" fmla="*/ 11327876 w 12166600"/>
                <a:gd name="connsiteY5251" fmla="*/ 2471899 h 2770404"/>
                <a:gd name="connsiteX5252" fmla="*/ 11327876 w 12166600"/>
                <a:gd name="connsiteY5252" fmla="*/ 2464629 h 2770404"/>
                <a:gd name="connsiteX5253" fmla="*/ 11335106 w 12166600"/>
                <a:gd name="connsiteY5253" fmla="*/ 2457358 h 2770404"/>
                <a:gd name="connsiteX5254" fmla="*/ 11335106 w 12166600"/>
                <a:gd name="connsiteY5254" fmla="*/ 2450088 h 2770404"/>
                <a:gd name="connsiteX5255" fmla="*/ 11342336 w 12166600"/>
                <a:gd name="connsiteY5255" fmla="*/ 2442818 h 2770404"/>
                <a:gd name="connsiteX5256" fmla="*/ 11342336 w 12166600"/>
                <a:gd name="connsiteY5256" fmla="*/ 2435547 h 2770404"/>
                <a:gd name="connsiteX5257" fmla="*/ 11349567 w 12166600"/>
                <a:gd name="connsiteY5257" fmla="*/ 2428277 h 2770404"/>
                <a:gd name="connsiteX5258" fmla="*/ 11349567 w 12166600"/>
                <a:gd name="connsiteY5258" fmla="*/ 2421007 h 2770404"/>
                <a:gd name="connsiteX5259" fmla="*/ 11356797 w 12166600"/>
                <a:gd name="connsiteY5259" fmla="*/ 2399196 h 2770404"/>
                <a:gd name="connsiteX5260" fmla="*/ 11364028 w 12166600"/>
                <a:gd name="connsiteY5260" fmla="*/ 2399196 h 2770404"/>
                <a:gd name="connsiteX5261" fmla="*/ 11364028 w 12166600"/>
                <a:gd name="connsiteY5261" fmla="*/ 2391926 h 2770404"/>
                <a:gd name="connsiteX5262" fmla="*/ 11364028 w 12166600"/>
                <a:gd name="connsiteY5262" fmla="*/ 2384655 h 2770404"/>
                <a:gd name="connsiteX5263" fmla="*/ 11371258 w 12166600"/>
                <a:gd name="connsiteY5263" fmla="*/ 2384655 h 2770404"/>
                <a:gd name="connsiteX5264" fmla="*/ 11371258 w 12166600"/>
                <a:gd name="connsiteY5264" fmla="*/ 2370115 h 2770404"/>
                <a:gd name="connsiteX5265" fmla="*/ 11378488 w 12166600"/>
                <a:gd name="connsiteY5265" fmla="*/ 2362844 h 2770404"/>
                <a:gd name="connsiteX5266" fmla="*/ 11378488 w 12166600"/>
                <a:gd name="connsiteY5266" fmla="*/ 2355574 h 2770404"/>
                <a:gd name="connsiteX5267" fmla="*/ 11378488 w 12166600"/>
                <a:gd name="connsiteY5267" fmla="*/ 2348304 h 2770404"/>
                <a:gd name="connsiteX5268" fmla="*/ 11385719 w 12166600"/>
                <a:gd name="connsiteY5268" fmla="*/ 2341034 h 2770404"/>
                <a:gd name="connsiteX5269" fmla="*/ 11385719 w 12166600"/>
                <a:gd name="connsiteY5269" fmla="*/ 2333763 h 2770404"/>
                <a:gd name="connsiteX5270" fmla="*/ 11392949 w 12166600"/>
                <a:gd name="connsiteY5270" fmla="*/ 2319223 h 2770404"/>
                <a:gd name="connsiteX5271" fmla="*/ 11392949 w 12166600"/>
                <a:gd name="connsiteY5271" fmla="*/ 2311952 h 2770404"/>
                <a:gd name="connsiteX5272" fmla="*/ 11400180 w 12166600"/>
                <a:gd name="connsiteY5272" fmla="*/ 2304682 h 2770404"/>
                <a:gd name="connsiteX5273" fmla="*/ 11400180 w 12166600"/>
                <a:gd name="connsiteY5273" fmla="*/ 2297412 h 2770404"/>
                <a:gd name="connsiteX5274" fmla="*/ 11407410 w 12166600"/>
                <a:gd name="connsiteY5274" fmla="*/ 2282871 h 2770404"/>
                <a:gd name="connsiteX5275" fmla="*/ 11407410 w 12166600"/>
                <a:gd name="connsiteY5275" fmla="*/ 2275601 h 2770404"/>
                <a:gd name="connsiteX5276" fmla="*/ 11407410 w 12166600"/>
                <a:gd name="connsiteY5276" fmla="*/ 2268331 h 2770404"/>
                <a:gd name="connsiteX5277" fmla="*/ 11414640 w 12166600"/>
                <a:gd name="connsiteY5277" fmla="*/ 2261060 h 2770404"/>
                <a:gd name="connsiteX5278" fmla="*/ 11414640 w 12166600"/>
                <a:gd name="connsiteY5278" fmla="*/ 2253790 h 2770404"/>
                <a:gd name="connsiteX5279" fmla="*/ 11421871 w 12166600"/>
                <a:gd name="connsiteY5279" fmla="*/ 2239250 h 2770404"/>
                <a:gd name="connsiteX5280" fmla="*/ 11421871 w 12166600"/>
                <a:gd name="connsiteY5280" fmla="*/ 2231979 h 2770404"/>
                <a:gd name="connsiteX5281" fmla="*/ 11429101 w 12166600"/>
                <a:gd name="connsiteY5281" fmla="*/ 2217439 h 2770404"/>
                <a:gd name="connsiteX5282" fmla="*/ 11429101 w 12166600"/>
                <a:gd name="connsiteY5282" fmla="*/ 2210168 h 2770404"/>
                <a:gd name="connsiteX5283" fmla="*/ 11436331 w 12166600"/>
                <a:gd name="connsiteY5283" fmla="*/ 2202898 h 2770404"/>
                <a:gd name="connsiteX5284" fmla="*/ 11436331 w 12166600"/>
                <a:gd name="connsiteY5284" fmla="*/ 2195628 h 2770404"/>
                <a:gd name="connsiteX5285" fmla="*/ 11436331 w 12166600"/>
                <a:gd name="connsiteY5285" fmla="*/ 2188357 h 2770404"/>
                <a:gd name="connsiteX5286" fmla="*/ 11436331 w 12166600"/>
                <a:gd name="connsiteY5286" fmla="*/ 2181087 h 2770404"/>
                <a:gd name="connsiteX5287" fmla="*/ 11443562 w 12166600"/>
                <a:gd name="connsiteY5287" fmla="*/ 2173817 h 2770404"/>
                <a:gd name="connsiteX5288" fmla="*/ 11443562 w 12166600"/>
                <a:gd name="connsiteY5288" fmla="*/ 2166547 h 2770404"/>
                <a:gd name="connsiteX5289" fmla="*/ 11443562 w 12166600"/>
                <a:gd name="connsiteY5289" fmla="*/ 2159276 h 2770404"/>
                <a:gd name="connsiteX5290" fmla="*/ 11443562 w 12166600"/>
                <a:gd name="connsiteY5290" fmla="*/ 2152006 h 2770404"/>
                <a:gd name="connsiteX5291" fmla="*/ 11450792 w 12166600"/>
                <a:gd name="connsiteY5291" fmla="*/ 2137465 h 2770404"/>
                <a:gd name="connsiteX5292" fmla="*/ 11450792 w 12166600"/>
                <a:gd name="connsiteY5292" fmla="*/ 2130195 h 2770404"/>
                <a:gd name="connsiteX5293" fmla="*/ 11450792 w 12166600"/>
                <a:gd name="connsiteY5293" fmla="*/ 2122925 h 2770404"/>
                <a:gd name="connsiteX5294" fmla="*/ 11458023 w 12166600"/>
                <a:gd name="connsiteY5294" fmla="*/ 2115655 h 2770404"/>
                <a:gd name="connsiteX5295" fmla="*/ 11458023 w 12166600"/>
                <a:gd name="connsiteY5295" fmla="*/ 2108384 h 2770404"/>
                <a:gd name="connsiteX5296" fmla="*/ 11458023 w 12166600"/>
                <a:gd name="connsiteY5296" fmla="*/ 2101114 h 2770404"/>
                <a:gd name="connsiteX5297" fmla="*/ 11458023 w 12166600"/>
                <a:gd name="connsiteY5297" fmla="*/ 2093844 h 2770404"/>
                <a:gd name="connsiteX5298" fmla="*/ 11465253 w 12166600"/>
                <a:gd name="connsiteY5298" fmla="*/ 2086573 h 2770404"/>
                <a:gd name="connsiteX5299" fmla="*/ 11465253 w 12166600"/>
                <a:gd name="connsiteY5299" fmla="*/ 2079303 h 2770404"/>
                <a:gd name="connsiteX5300" fmla="*/ 11465253 w 12166600"/>
                <a:gd name="connsiteY5300" fmla="*/ 2064762 h 2770404"/>
                <a:gd name="connsiteX5301" fmla="*/ 11472483 w 12166600"/>
                <a:gd name="connsiteY5301" fmla="*/ 2057492 h 2770404"/>
                <a:gd name="connsiteX5302" fmla="*/ 11472483 w 12166600"/>
                <a:gd name="connsiteY5302" fmla="*/ 2042952 h 2770404"/>
                <a:gd name="connsiteX5303" fmla="*/ 11472483 w 12166600"/>
                <a:gd name="connsiteY5303" fmla="*/ 2035681 h 2770404"/>
                <a:gd name="connsiteX5304" fmla="*/ 11472483 w 12166600"/>
                <a:gd name="connsiteY5304" fmla="*/ 2028411 h 2770404"/>
                <a:gd name="connsiteX5305" fmla="*/ 11472483 w 12166600"/>
                <a:gd name="connsiteY5305" fmla="*/ 2013870 h 2770404"/>
                <a:gd name="connsiteX5306" fmla="*/ 11465253 w 12166600"/>
                <a:gd name="connsiteY5306" fmla="*/ 2006600 h 2770404"/>
                <a:gd name="connsiteX5307" fmla="*/ 11458023 w 12166600"/>
                <a:gd name="connsiteY5307" fmla="*/ 1984789 h 2770404"/>
                <a:gd name="connsiteX5308" fmla="*/ 11458023 w 12166600"/>
                <a:gd name="connsiteY5308" fmla="*/ 1970249 h 2770404"/>
                <a:gd name="connsiteX5309" fmla="*/ 11458023 w 12166600"/>
                <a:gd name="connsiteY5309" fmla="*/ 1962978 h 2770404"/>
                <a:gd name="connsiteX5310" fmla="*/ 11450792 w 12166600"/>
                <a:gd name="connsiteY5310" fmla="*/ 1948438 h 2770404"/>
                <a:gd name="connsiteX5311" fmla="*/ 11443562 w 12166600"/>
                <a:gd name="connsiteY5311" fmla="*/ 1919357 h 2770404"/>
                <a:gd name="connsiteX5312" fmla="*/ 11443562 w 12166600"/>
                <a:gd name="connsiteY5312" fmla="*/ 1904816 h 2770404"/>
                <a:gd name="connsiteX5313" fmla="*/ 11450792 w 12166600"/>
                <a:gd name="connsiteY5313" fmla="*/ 1897546 h 2770404"/>
                <a:gd name="connsiteX5314" fmla="*/ 11458023 w 12166600"/>
                <a:gd name="connsiteY5314" fmla="*/ 1897546 h 2770404"/>
                <a:gd name="connsiteX5315" fmla="*/ 11465253 w 12166600"/>
                <a:gd name="connsiteY5315" fmla="*/ 1897546 h 2770404"/>
                <a:gd name="connsiteX5316" fmla="*/ 11479714 w 12166600"/>
                <a:gd name="connsiteY5316" fmla="*/ 1897546 h 2770404"/>
                <a:gd name="connsiteX5317" fmla="*/ 11501405 w 12166600"/>
                <a:gd name="connsiteY5317" fmla="*/ 1897546 h 2770404"/>
                <a:gd name="connsiteX5318" fmla="*/ 11501405 w 12166600"/>
                <a:gd name="connsiteY5318" fmla="*/ 1883005 h 2770404"/>
                <a:gd name="connsiteX5319" fmla="*/ 11501405 w 12166600"/>
                <a:gd name="connsiteY5319" fmla="*/ 1861194 h 2770404"/>
                <a:gd name="connsiteX5320" fmla="*/ 11508635 w 12166600"/>
                <a:gd name="connsiteY5320" fmla="*/ 1846654 h 2770404"/>
                <a:gd name="connsiteX5321" fmla="*/ 11508635 w 12166600"/>
                <a:gd name="connsiteY5321" fmla="*/ 1839383 h 2770404"/>
                <a:gd name="connsiteX5322" fmla="*/ 11508635 w 12166600"/>
                <a:gd name="connsiteY5322" fmla="*/ 1832113 h 2770404"/>
                <a:gd name="connsiteX5323" fmla="*/ 11508635 w 12166600"/>
                <a:gd name="connsiteY5323" fmla="*/ 1824843 h 2770404"/>
                <a:gd name="connsiteX5324" fmla="*/ 11508635 w 12166600"/>
                <a:gd name="connsiteY5324" fmla="*/ 1817573 h 2770404"/>
                <a:gd name="connsiteX5325" fmla="*/ 11515866 w 12166600"/>
                <a:gd name="connsiteY5325" fmla="*/ 1781221 h 2770404"/>
                <a:gd name="connsiteX5326" fmla="*/ 11523096 w 12166600"/>
                <a:gd name="connsiteY5326" fmla="*/ 1737599 h 2770404"/>
                <a:gd name="connsiteX5327" fmla="*/ 11523096 w 12166600"/>
                <a:gd name="connsiteY5327" fmla="*/ 1679437 h 2770404"/>
                <a:gd name="connsiteX5328" fmla="*/ 11530326 w 12166600"/>
                <a:gd name="connsiteY5328" fmla="*/ 1664896 h 2770404"/>
                <a:gd name="connsiteX5329" fmla="*/ 11530326 w 12166600"/>
                <a:gd name="connsiteY5329" fmla="*/ 1621275 h 2770404"/>
                <a:gd name="connsiteX5330" fmla="*/ 11537557 w 12166600"/>
                <a:gd name="connsiteY5330" fmla="*/ 1584923 h 2770404"/>
                <a:gd name="connsiteX5331" fmla="*/ 11537557 w 12166600"/>
                <a:gd name="connsiteY5331" fmla="*/ 1577653 h 2770404"/>
                <a:gd name="connsiteX5332" fmla="*/ 11544787 w 12166600"/>
                <a:gd name="connsiteY5332" fmla="*/ 1512220 h 2770404"/>
                <a:gd name="connsiteX5333" fmla="*/ 11544787 w 12166600"/>
                <a:gd name="connsiteY5333" fmla="*/ 1475869 h 2770404"/>
                <a:gd name="connsiteX5334" fmla="*/ 11544787 w 12166600"/>
                <a:gd name="connsiteY5334" fmla="*/ 1454058 h 2770404"/>
                <a:gd name="connsiteX5335" fmla="*/ 11552018 w 12166600"/>
                <a:gd name="connsiteY5335" fmla="*/ 1417707 h 2770404"/>
                <a:gd name="connsiteX5336" fmla="*/ 11552018 w 12166600"/>
                <a:gd name="connsiteY5336" fmla="*/ 1395896 h 2770404"/>
                <a:gd name="connsiteX5337" fmla="*/ 11552018 w 12166600"/>
                <a:gd name="connsiteY5337" fmla="*/ 1388625 h 2770404"/>
                <a:gd name="connsiteX5338" fmla="*/ 11552018 w 12166600"/>
                <a:gd name="connsiteY5338" fmla="*/ 1381355 h 2770404"/>
                <a:gd name="connsiteX5339" fmla="*/ 11552018 w 12166600"/>
                <a:gd name="connsiteY5339" fmla="*/ 1359544 h 2770404"/>
                <a:gd name="connsiteX5340" fmla="*/ 11552018 w 12166600"/>
                <a:gd name="connsiteY5340" fmla="*/ 1345004 h 2770404"/>
                <a:gd name="connsiteX5341" fmla="*/ 11559248 w 12166600"/>
                <a:gd name="connsiteY5341" fmla="*/ 1301382 h 2770404"/>
                <a:gd name="connsiteX5342" fmla="*/ 11559248 w 12166600"/>
                <a:gd name="connsiteY5342" fmla="*/ 1279571 h 2770404"/>
                <a:gd name="connsiteX5343" fmla="*/ 11559248 w 12166600"/>
                <a:gd name="connsiteY5343" fmla="*/ 1257760 h 2770404"/>
                <a:gd name="connsiteX5344" fmla="*/ 11559248 w 12166600"/>
                <a:gd name="connsiteY5344" fmla="*/ 1221409 h 2770404"/>
                <a:gd name="connsiteX5345" fmla="*/ 11566478 w 12166600"/>
                <a:gd name="connsiteY5345" fmla="*/ 1214138 h 2770404"/>
                <a:gd name="connsiteX5346" fmla="*/ 11566478 w 12166600"/>
                <a:gd name="connsiteY5346" fmla="*/ 1199598 h 2770404"/>
                <a:gd name="connsiteX5347" fmla="*/ 11566478 w 12166600"/>
                <a:gd name="connsiteY5347" fmla="*/ 1177787 h 2770404"/>
                <a:gd name="connsiteX5348" fmla="*/ 11566478 w 12166600"/>
                <a:gd name="connsiteY5348" fmla="*/ 1155976 h 2770404"/>
                <a:gd name="connsiteX5349" fmla="*/ 11566478 w 12166600"/>
                <a:gd name="connsiteY5349" fmla="*/ 1134165 h 2770404"/>
                <a:gd name="connsiteX5350" fmla="*/ 11566478 w 12166600"/>
                <a:gd name="connsiteY5350" fmla="*/ 1126895 h 2770404"/>
                <a:gd name="connsiteX5351" fmla="*/ 11566478 w 12166600"/>
                <a:gd name="connsiteY5351" fmla="*/ 1097814 h 2770404"/>
                <a:gd name="connsiteX5352" fmla="*/ 11573709 w 12166600"/>
                <a:gd name="connsiteY5352" fmla="*/ 1076003 h 2770404"/>
                <a:gd name="connsiteX5353" fmla="*/ 11573709 w 12166600"/>
                <a:gd name="connsiteY5353" fmla="*/ 1054192 h 2770404"/>
                <a:gd name="connsiteX5354" fmla="*/ 11573709 w 12166600"/>
                <a:gd name="connsiteY5354" fmla="*/ 1039651 h 2770404"/>
                <a:gd name="connsiteX5355" fmla="*/ 11573709 w 12166600"/>
                <a:gd name="connsiteY5355" fmla="*/ 1010570 h 2770404"/>
                <a:gd name="connsiteX5356" fmla="*/ 11573709 w 12166600"/>
                <a:gd name="connsiteY5356" fmla="*/ 1003300 h 2770404"/>
                <a:gd name="connsiteX5357" fmla="*/ 11573709 w 12166600"/>
                <a:gd name="connsiteY5357" fmla="*/ 996030 h 2770404"/>
                <a:gd name="connsiteX5358" fmla="*/ 11573709 w 12166600"/>
                <a:gd name="connsiteY5358" fmla="*/ 988759 h 2770404"/>
                <a:gd name="connsiteX5359" fmla="*/ 11573709 w 12166600"/>
                <a:gd name="connsiteY5359" fmla="*/ 974219 h 2770404"/>
                <a:gd name="connsiteX5360" fmla="*/ 11573709 w 12166600"/>
                <a:gd name="connsiteY5360" fmla="*/ 945138 h 2770404"/>
                <a:gd name="connsiteX5361" fmla="*/ 11580939 w 12166600"/>
                <a:gd name="connsiteY5361" fmla="*/ 937867 h 2770404"/>
                <a:gd name="connsiteX5362" fmla="*/ 11580939 w 12166600"/>
                <a:gd name="connsiteY5362" fmla="*/ 923327 h 2770404"/>
                <a:gd name="connsiteX5363" fmla="*/ 11580939 w 12166600"/>
                <a:gd name="connsiteY5363" fmla="*/ 908786 h 2770404"/>
                <a:gd name="connsiteX5364" fmla="*/ 11580939 w 12166600"/>
                <a:gd name="connsiteY5364" fmla="*/ 894246 h 2770404"/>
                <a:gd name="connsiteX5365" fmla="*/ 11580939 w 12166600"/>
                <a:gd name="connsiteY5365" fmla="*/ 879705 h 2770404"/>
                <a:gd name="connsiteX5366" fmla="*/ 11580939 w 12166600"/>
                <a:gd name="connsiteY5366" fmla="*/ 865164 h 2770404"/>
                <a:gd name="connsiteX5367" fmla="*/ 11580939 w 12166600"/>
                <a:gd name="connsiteY5367" fmla="*/ 850624 h 2770404"/>
                <a:gd name="connsiteX5368" fmla="*/ 11580939 w 12166600"/>
                <a:gd name="connsiteY5368" fmla="*/ 828813 h 2770404"/>
                <a:gd name="connsiteX5369" fmla="*/ 11580939 w 12166600"/>
                <a:gd name="connsiteY5369" fmla="*/ 814272 h 2770404"/>
                <a:gd name="connsiteX5370" fmla="*/ 11580939 w 12166600"/>
                <a:gd name="connsiteY5370" fmla="*/ 807002 h 2770404"/>
                <a:gd name="connsiteX5371" fmla="*/ 11580939 w 12166600"/>
                <a:gd name="connsiteY5371" fmla="*/ 792462 h 2770404"/>
                <a:gd name="connsiteX5372" fmla="*/ 11580939 w 12166600"/>
                <a:gd name="connsiteY5372" fmla="*/ 785191 h 2770404"/>
                <a:gd name="connsiteX5373" fmla="*/ 11588169 w 12166600"/>
                <a:gd name="connsiteY5373" fmla="*/ 777921 h 2770404"/>
                <a:gd name="connsiteX5374" fmla="*/ 11588169 w 12166600"/>
                <a:gd name="connsiteY5374" fmla="*/ 756110 h 2770404"/>
                <a:gd name="connsiteX5375" fmla="*/ 11588169 w 12166600"/>
                <a:gd name="connsiteY5375" fmla="*/ 741570 h 2770404"/>
                <a:gd name="connsiteX5376" fmla="*/ 11588169 w 12166600"/>
                <a:gd name="connsiteY5376" fmla="*/ 734299 h 2770404"/>
                <a:gd name="connsiteX5377" fmla="*/ 11588169 w 12166600"/>
                <a:gd name="connsiteY5377" fmla="*/ 727029 h 2770404"/>
                <a:gd name="connsiteX5378" fmla="*/ 11588169 w 12166600"/>
                <a:gd name="connsiteY5378" fmla="*/ 719759 h 2770404"/>
                <a:gd name="connsiteX5379" fmla="*/ 11588169 w 12166600"/>
                <a:gd name="connsiteY5379" fmla="*/ 712488 h 2770404"/>
                <a:gd name="connsiteX5380" fmla="*/ 11588169 w 12166600"/>
                <a:gd name="connsiteY5380" fmla="*/ 705218 h 2770404"/>
                <a:gd name="connsiteX5381" fmla="*/ 11588169 w 12166600"/>
                <a:gd name="connsiteY5381" fmla="*/ 683407 h 2770404"/>
                <a:gd name="connsiteX5382" fmla="*/ 11588169 w 12166600"/>
                <a:gd name="connsiteY5382" fmla="*/ 676137 h 2770404"/>
                <a:gd name="connsiteX5383" fmla="*/ 11588169 w 12166600"/>
                <a:gd name="connsiteY5383" fmla="*/ 661596 h 2770404"/>
                <a:gd name="connsiteX5384" fmla="*/ 11588169 w 12166600"/>
                <a:gd name="connsiteY5384" fmla="*/ 654326 h 2770404"/>
                <a:gd name="connsiteX5385" fmla="*/ 11588169 w 12166600"/>
                <a:gd name="connsiteY5385" fmla="*/ 639785 h 2770404"/>
                <a:gd name="connsiteX5386" fmla="*/ 11588169 w 12166600"/>
                <a:gd name="connsiteY5386" fmla="*/ 632515 h 2770404"/>
                <a:gd name="connsiteX5387" fmla="*/ 11588169 w 12166600"/>
                <a:gd name="connsiteY5387" fmla="*/ 625245 h 2770404"/>
                <a:gd name="connsiteX5388" fmla="*/ 11588169 w 12166600"/>
                <a:gd name="connsiteY5388" fmla="*/ 617975 h 2770404"/>
                <a:gd name="connsiteX5389" fmla="*/ 11588169 w 12166600"/>
                <a:gd name="connsiteY5389" fmla="*/ 610704 h 2770404"/>
                <a:gd name="connsiteX5390" fmla="*/ 11595400 w 12166600"/>
                <a:gd name="connsiteY5390" fmla="*/ 588893 h 2770404"/>
                <a:gd name="connsiteX5391" fmla="*/ 11595400 w 12166600"/>
                <a:gd name="connsiteY5391" fmla="*/ 574353 h 2770404"/>
                <a:gd name="connsiteX5392" fmla="*/ 11595400 w 12166600"/>
                <a:gd name="connsiteY5392" fmla="*/ 559812 h 2770404"/>
                <a:gd name="connsiteX5393" fmla="*/ 11595400 w 12166600"/>
                <a:gd name="connsiteY5393" fmla="*/ 552542 h 2770404"/>
                <a:gd name="connsiteX5394" fmla="*/ 11595400 w 12166600"/>
                <a:gd name="connsiteY5394" fmla="*/ 538001 h 2770404"/>
                <a:gd name="connsiteX5395" fmla="*/ 11595400 w 12166600"/>
                <a:gd name="connsiteY5395" fmla="*/ 523461 h 2770404"/>
                <a:gd name="connsiteX5396" fmla="*/ 11595400 w 12166600"/>
                <a:gd name="connsiteY5396" fmla="*/ 516191 h 2770404"/>
                <a:gd name="connsiteX5397" fmla="*/ 11595400 w 12166600"/>
                <a:gd name="connsiteY5397" fmla="*/ 508920 h 2770404"/>
                <a:gd name="connsiteX5398" fmla="*/ 11595400 w 12166600"/>
                <a:gd name="connsiteY5398" fmla="*/ 501650 h 2770404"/>
                <a:gd name="connsiteX5399" fmla="*/ 11595400 w 12166600"/>
                <a:gd name="connsiteY5399" fmla="*/ 494380 h 2770404"/>
                <a:gd name="connsiteX5400" fmla="*/ 11595400 w 12166600"/>
                <a:gd name="connsiteY5400" fmla="*/ 487109 h 2770404"/>
                <a:gd name="connsiteX5401" fmla="*/ 11595400 w 12166600"/>
                <a:gd name="connsiteY5401" fmla="*/ 479839 h 2770404"/>
                <a:gd name="connsiteX5402" fmla="*/ 11595400 w 12166600"/>
                <a:gd name="connsiteY5402" fmla="*/ 472569 h 2770404"/>
                <a:gd name="connsiteX5403" fmla="*/ 11595400 w 12166600"/>
                <a:gd name="connsiteY5403" fmla="*/ 458028 h 2770404"/>
                <a:gd name="connsiteX5404" fmla="*/ 11595400 w 12166600"/>
                <a:gd name="connsiteY5404" fmla="*/ 443488 h 2770404"/>
                <a:gd name="connsiteX5405" fmla="*/ 11595400 w 12166600"/>
                <a:gd name="connsiteY5405" fmla="*/ 428947 h 2770404"/>
                <a:gd name="connsiteX5406" fmla="*/ 11595400 w 12166600"/>
                <a:gd name="connsiteY5406" fmla="*/ 421677 h 2770404"/>
                <a:gd name="connsiteX5407" fmla="*/ 11595400 w 12166600"/>
                <a:gd name="connsiteY5407" fmla="*/ 399866 h 2770404"/>
                <a:gd name="connsiteX5408" fmla="*/ 11595400 w 12166600"/>
                <a:gd name="connsiteY5408" fmla="*/ 392596 h 2770404"/>
                <a:gd name="connsiteX5409" fmla="*/ 11595400 w 12166600"/>
                <a:gd name="connsiteY5409" fmla="*/ 385325 h 2770404"/>
                <a:gd name="connsiteX5410" fmla="*/ 11566478 w 12166600"/>
                <a:gd name="connsiteY5410" fmla="*/ 356244 h 2770404"/>
                <a:gd name="connsiteX5411" fmla="*/ 11566478 w 12166600"/>
                <a:gd name="connsiteY5411" fmla="*/ 348974 h 2770404"/>
                <a:gd name="connsiteX5412" fmla="*/ 11559248 w 12166600"/>
                <a:gd name="connsiteY5412" fmla="*/ 334433 h 2770404"/>
                <a:gd name="connsiteX5413" fmla="*/ 11559248 w 12166600"/>
                <a:gd name="connsiteY5413" fmla="*/ 319893 h 2770404"/>
                <a:gd name="connsiteX5414" fmla="*/ 11559248 w 12166600"/>
                <a:gd name="connsiteY5414" fmla="*/ 298082 h 2770404"/>
                <a:gd name="connsiteX5415" fmla="*/ 11559248 w 12166600"/>
                <a:gd name="connsiteY5415" fmla="*/ 290811 h 2770404"/>
                <a:gd name="connsiteX5416" fmla="*/ 11559248 w 12166600"/>
                <a:gd name="connsiteY5416" fmla="*/ 283541 h 2770404"/>
                <a:gd name="connsiteX5417" fmla="*/ 11573709 w 12166600"/>
                <a:gd name="connsiteY5417" fmla="*/ 276271 h 2770404"/>
                <a:gd name="connsiteX5418" fmla="*/ 11580939 w 12166600"/>
                <a:gd name="connsiteY5418" fmla="*/ 276271 h 2770404"/>
                <a:gd name="connsiteX5419" fmla="*/ 11580939 w 12166600"/>
                <a:gd name="connsiteY5419" fmla="*/ 254460 h 2770404"/>
                <a:gd name="connsiteX5420" fmla="*/ 11580939 w 12166600"/>
                <a:gd name="connsiteY5420" fmla="*/ 239919 h 2770404"/>
                <a:gd name="connsiteX5421" fmla="*/ 11580939 w 12166600"/>
                <a:gd name="connsiteY5421" fmla="*/ 232649 h 2770404"/>
                <a:gd name="connsiteX5422" fmla="*/ 11566478 w 12166600"/>
                <a:gd name="connsiteY5422" fmla="*/ 232649 h 2770404"/>
                <a:gd name="connsiteX5423" fmla="*/ 11559248 w 12166600"/>
                <a:gd name="connsiteY5423" fmla="*/ 232649 h 2770404"/>
                <a:gd name="connsiteX5424" fmla="*/ 11552018 w 12166600"/>
                <a:gd name="connsiteY5424" fmla="*/ 225379 h 2770404"/>
                <a:gd name="connsiteX5425" fmla="*/ 11552018 w 12166600"/>
                <a:gd name="connsiteY5425" fmla="*/ 218109 h 2770404"/>
                <a:gd name="connsiteX5426" fmla="*/ 11552018 w 12166600"/>
                <a:gd name="connsiteY5426" fmla="*/ 203568 h 2770404"/>
                <a:gd name="connsiteX5427" fmla="*/ 11552018 w 12166600"/>
                <a:gd name="connsiteY5427" fmla="*/ 189027 h 2770404"/>
                <a:gd name="connsiteX5428" fmla="*/ 11559248 w 12166600"/>
                <a:gd name="connsiteY5428" fmla="*/ 181757 h 2770404"/>
                <a:gd name="connsiteX5429" fmla="*/ 11588169 w 12166600"/>
                <a:gd name="connsiteY5429" fmla="*/ 174487 h 2770404"/>
                <a:gd name="connsiteX5430" fmla="*/ 11595400 w 12166600"/>
                <a:gd name="connsiteY5430" fmla="*/ 167216 h 2770404"/>
                <a:gd name="connsiteX5431" fmla="*/ 11609861 w 12166600"/>
                <a:gd name="connsiteY5431" fmla="*/ 145406 h 2770404"/>
                <a:gd name="connsiteX5432" fmla="*/ 11631552 w 12166600"/>
                <a:gd name="connsiteY5432" fmla="*/ 36351 h 2770404"/>
                <a:gd name="connsiteX5433" fmla="*/ 11638782 w 12166600"/>
                <a:gd name="connsiteY5433" fmla="*/ 14540 h 2770404"/>
                <a:gd name="connsiteX5434" fmla="*/ 11653243 w 12166600"/>
                <a:gd name="connsiteY5434" fmla="*/ 0 h 2770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</a:cxnLst>
              <a:rect l="l" t="t" r="r" b="b"/>
              <a:pathLst>
                <a:path w="12166600" h="2770404">
                  <a:moveTo>
                    <a:pt x="11392949" y="2704548"/>
                  </a:moveTo>
                  <a:cubicBezTo>
                    <a:pt x="11392949" y="2704548"/>
                    <a:pt x="11392949" y="2704548"/>
                    <a:pt x="11378488" y="2719089"/>
                  </a:cubicBezTo>
                  <a:lnTo>
                    <a:pt x="11385719" y="2719089"/>
                  </a:lnTo>
                  <a:lnTo>
                    <a:pt x="11400180" y="2719089"/>
                  </a:lnTo>
                  <a:cubicBezTo>
                    <a:pt x="11400180" y="2719089"/>
                    <a:pt x="11400180" y="2719089"/>
                    <a:pt x="11400180" y="2711819"/>
                  </a:cubicBezTo>
                  <a:cubicBezTo>
                    <a:pt x="11400180" y="2711819"/>
                    <a:pt x="11400180" y="2711819"/>
                    <a:pt x="11392949" y="2704548"/>
                  </a:cubicBezTo>
                  <a:close/>
                  <a:moveTo>
                    <a:pt x="11342336" y="2704548"/>
                  </a:moveTo>
                  <a:cubicBezTo>
                    <a:pt x="11342336" y="2704548"/>
                    <a:pt x="11342336" y="2704548"/>
                    <a:pt x="11327876" y="2719089"/>
                  </a:cubicBezTo>
                  <a:cubicBezTo>
                    <a:pt x="11327876" y="2719089"/>
                    <a:pt x="11327876" y="2719089"/>
                    <a:pt x="11320645" y="2719089"/>
                  </a:cubicBezTo>
                  <a:cubicBezTo>
                    <a:pt x="11320645" y="2719089"/>
                    <a:pt x="11320645" y="2719089"/>
                    <a:pt x="11320645" y="2726359"/>
                  </a:cubicBezTo>
                  <a:cubicBezTo>
                    <a:pt x="11320645" y="2726359"/>
                    <a:pt x="11320645" y="2726359"/>
                    <a:pt x="11327876" y="2726359"/>
                  </a:cubicBezTo>
                  <a:cubicBezTo>
                    <a:pt x="11327876" y="2726359"/>
                    <a:pt x="11327876" y="2726359"/>
                    <a:pt x="11335106" y="2726359"/>
                  </a:cubicBezTo>
                  <a:lnTo>
                    <a:pt x="11349567" y="2726359"/>
                  </a:lnTo>
                  <a:cubicBezTo>
                    <a:pt x="11349567" y="2726359"/>
                    <a:pt x="11349567" y="2726359"/>
                    <a:pt x="11342336" y="2704548"/>
                  </a:cubicBezTo>
                  <a:close/>
                  <a:moveTo>
                    <a:pt x="11284493" y="2704548"/>
                  </a:moveTo>
                  <a:cubicBezTo>
                    <a:pt x="11284493" y="2704548"/>
                    <a:pt x="11284493" y="2704548"/>
                    <a:pt x="11277263" y="2711819"/>
                  </a:cubicBezTo>
                  <a:cubicBezTo>
                    <a:pt x="11277263" y="2711819"/>
                    <a:pt x="11277263" y="2711819"/>
                    <a:pt x="11270033" y="2711819"/>
                  </a:cubicBezTo>
                  <a:cubicBezTo>
                    <a:pt x="11270033" y="2711819"/>
                    <a:pt x="11270033" y="2711819"/>
                    <a:pt x="11270033" y="2719089"/>
                  </a:cubicBezTo>
                  <a:cubicBezTo>
                    <a:pt x="11270033" y="2719089"/>
                    <a:pt x="11270033" y="2719089"/>
                    <a:pt x="11255572" y="2726359"/>
                  </a:cubicBezTo>
                  <a:cubicBezTo>
                    <a:pt x="11255572" y="2726359"/>
                    <a:pt x="11255572" y="2726359"/>
                    <a:pt x="11277263" y="2726359"/>
                  </a:cubicBezTo>
                  <a:cubicBezTo>
                    <a:pt x="11277263" y="2726359"/>
                    <a:pt x="11277263" y="2726359"/>
                    <a:pt x="11284493" y="2726359"/>
                  </a:cubicBezTo>
                  <a:lnTo>
                    <a:pt x="11291724" y="2726359"/>
                  </a:lnTo>
                  <a:cubicBezTo>
                    <a:pt x="11291724" y="2726359"/>
                    <a:pt x="11291724" y="2726359"/>
                    <a:pt x="11291724" y="2719089"/>
                  </a:cubicBezTo>
                  <a:cubicBezTo>
                    <a:pt x="11291724" y="2719089"/>
                    <a:pt x="11291724" y="2719089"/>
                    <a:pt x="11284493" y="2704548"/>
                  </a:cubicBezTo>
                  <a:close/>
                  <a:moveTo>
                    <a:pt x="11450792" y="2697278"/>
                  </a:moveTo>
                  <a:cubicBezTo>
                    <a:pt x="11450792" y="2697278"/>
                    <a:pt x="11450792" y="2697278"/>
                    <a:pt x="11443562" y="2711819"/>
                  </a:cubicBezTo>
                  <a:cubicBezTo>
                    <a:pt x="11443562" y="2711819"/>
                    <a:pt x="11443562" y="2711819"/>
                    <a:pt x="11436331" y="2719089"/>
                  </a:cubicBezTo>
                  <a:cubicBezTo>
                    <a:pt x="11436331" y="2719089"/>
                    <a:pt x="11436331" y="2719089"/>
                    <a:pt x="11450792" y="2719089"/>
                  </a:cubicBezTo>
                  <a:lnTo>
                    <a:pt x="11458023" y="2719089"/>
                  </a:lnTo>
                  <a:cubicBezTo>
                    <a:pt x="11458023" y="2719089"/>
                    <a:pt x="11458023" y="2719089"/>
                    <a:pt x="11450792" y="2697278"/>
                  </a:cubicBezTo>
                  <a:close/>
                  <a:moveTo>
                    <a:pt x="12036453" y="2690008"/>
                  </a:moveTo>
                  <a:cubicBezTo>
                    <a:pt x="12036453" y="2690008"/>
                    <a:pt x="12036453" y="2690008"/>
                    <a:pt x="12036453" y="2704548"/>
                  </a:cubicBezTo>
                  <a:cubicBezTo>
                    <a:pt x="12036453" y="2704548"/>
                    <a:pt x="12036453" y="2704548"/>
                    <a:pt x="12036453" y="2711819"/>
                  </a:cubicBezTo>
                  <a:cubicBezTo>
                    <a:pt x="12036453" y="2711819"/>
                    <a:pt x="12036453" y="2711819"/>
                    <a:pt x="12043683" y="2711819"/>
                  </a:cubicBezTo>
                  <a:cubicBezTo>
                    <a:pt x="12043683" y="2711819"/>
                    <a:pt x="12043683" y="2711819"/>
                    <a:pt x="12058144" y="2711819"/>
                  </a:cubicBezTo>
                  <a:lnTo>
                    <a:pt x="12065375" y="2711819"/>
                  </a:lnTo>
                  <a:cubicBezTo>
                    <a:pt x="12065375" y="2711819"/>
                    <a:pt x="12065375" y="2711819"/>
                    <a:pt x="12043683" y="2697278"/>
                  </a:cubicBezTo>
                  <a:cubicBezTo>
                    <a:pt x="12043683" y="2697278"/>
                    <a:pt x="12043683" y="2697278"/>
                    <a:pt x="12036453" y="2690008"/>
                  </a:cubicBezTo>
                  <a:close/>
                  <a:moveTo>
                    <a:pt x="11927997" y="2690008"/>
                  </a:moveTo>
                  <a:cubicBezTo>
                    <a:pt x="11927997" y="2690008"/>
                    <a:pt x="11927997" y="2690008"/>
                    <a:pt x="11927997" y="2704548"/>
                  </a:cubicBezTo>
                  <a:cubicBezTo>
                    <a:pt x="11927997" y="2704548"/>
                    <a:pt x="11927997" y="2704548"/>
                    <a:pt x="11920767" y="2704548"/>
                  </a:cubicBezTo>
                  <a:cubicBezTo>
                    <a:pt x="11920767" y="2704548"/>
                    <a:pt x="11920767" y="2704548"/>
                    <a:pt x="11920767" y="2711819"/>
                  </a:cubicBezTo>
                  <a:cubicBezTo>
                    <a:pt x="11920767" y="2711819"/>
                    <a:pt x="11920767" y="2711819"/>
                    <a:pt x="11927997" y="2711819"/>
                  </a:cubicBezTo>
                  <a:cubicBezTo>
                    <a:pt x="11927997" y="2711819"/>
                    <a:pt x="11927997" y="2711819"/>
                    <a:pt x="11935228" y="2711819"/>
                  </a:cubicBezTo>
                  <a:cubicBezTo>
                    <a:pt x="11935228" y="2711819"/>
                    <a:pt x="11935228" y="2711819"/>
                    <a:pt x="11949689" y="2711819"/>
                  </a:cubicBezTo>
                  <a:lnTo>
                    <a:pt x="11956919" y="2711819"/>
                  </a:lnTo>
                  <a:cubicBezTo>
                    <a:pt x="11956919" y="2711819"/>
                    <a:pt x="11956919" y="2711819"/>
                    <a:pt x="11935228" y="2697278"/>
                  </a:cubicBezTo>
                  <a:cubicBezTo>
                    <a:pt x="11935228" y="2697278"/>
                    <a:pt x="11935228" y="2697278"/>
                    <a:pt x="11927997" y="2690008"/>
                  </a:cubicBezTo>
                  <a:close/>
                  <a:moveTo>
                    <a:pt x="11870154" y="2690008"/>
                  </a:moveTo>
                  <a:cubicBezTo>
                    <a:pt x="11870154" y="2690008"/>
                    <a:pt x="11870154" y="2690008"/>
                    <a:pt x="11862924" y="2697278"/>
                  </a:cubicBezTo>
                  <a:cubicBezTo>
                    <a:pt x="11862924" y="2697278"/>
                    <a:pt x="11862924" y="2697278"/>
                    <a:pt x="11862924" y="2704548"/>
                  </a:cubicBezTo>
                  <a:cubicBezTo>
                    <a:pt x="11862924" y="2704548"/>
                    <a:pt x="11862924" y="2704548"/>
                    <a:pt x="11862924" y="2711819"/>
                  </a:cubicBezTo>
                  <a:cubicBezTo>
                    <a:pt x="11862924" y="2711819"/>
                    <a:pt x="11862924" y="2711819"/>
                    <a:pt x="11870154" y="2711819"/>
                  </a:cubicBezTo>
                  <a:cubicBezTo>
                    <a:pt x="11870154" y="2711819"/>
                    <a:pt x="11870154" y="2711819"/>
                    <a:pt x="11884615" y="2711819"/>
                  </a:cubicBezTo>
                  <a:lnTo>
                    <a:pt x="11899076" y="2711819"/>
                  </a:lnTo>
                  <a:cubicBezTo>
                    <a:pt x="11899076" y="2711819"/>
                    <a:pt x="11899076" y="2711819"/>
                    <a:pt x="11870154" y="2690008"/>
                  </a:cubicBezTo>
                  <a:close/>
                  <a:moveTo>
                    <a:pt x="11812311" y="2690008"/>
                  </a:moveTo>
                  <a:cubicBezTo>
                    <a:pt x="11812311" y="2690008"/>
                    <a:pt x="11812311" y="2690008"/>
                    <a:pt x="11805081" y="2697278"/>
                  </a:cubicBezTo>
                  <a:cubicBezTo>
                    <a:pt x="11805081" y="2697278"/>
                    <a:pt x="11805081" y="2697278"/>
                    <a:pt x="11805081" y="2704548"/>
                  </a:cubicBezTo>
                  <a:cubicBezTo>
                    <a:pt x="11805081" y="2704548"/>
                    <a:pt x="11805081" y="2704548"/>
                    <a:pt x="11797851" y="2711819"/>
                  </a:cubicBezTo>
                  <a:cubicBezTo>
                    <a:pt x="11797851" y="2711819"/>
                    <a:pt x="11797851" y="2711819"/>
                    <a:pt x="11797851" y="2719089"/>
                  </a:cubicBezTo>
                  <a:cubicBezTo>
                    <a:pt x="11797851" y="2719089"/>
                    <a:pt x="11797851" y="2719089"/>
                    <a:pt x="11812311" y="2719089"/>
                  </a:cubicBezTo>
                  <a:cubicBezTo>
                    <a:pt x="11812311" y="2719089"/>
                    <a:pt x="11812311" y="2719089"/>
                    <a:pt x="11819542" y="2719089"/>
                  </a:cubicBezTo>
                  <a:cubicBezTo>
                    <a:pt x="11819542" y="2719089"/>
                    <a:pt x="11819542" y="2719089"/>
                    <a:pt x="11826772" y="2711819"/>
                  </a:cubicBezTo>
                  <a:lnTo>
                    <a:pt x="11834002" y="2711819"/>
                  </a:lnTo>
                  <a:cubicBezTo>
                    <a:pt x="11834002" y="2711819"/>
                    <a:pt x="11834002" y="2711819"/>
                    <a:pt x="11812311" y="2690008"/>
                  </a:cubicBezTo>
                  <a:close/>
                  <a:moveTo>
                    <a:pt x="11747238" y="2690008"/>
                  </a:moveTo>
                  <a:cubicBezTo>
                    <a:pt x="11747238" y="2690008"/>
                    <a:pt x="11747238" y="2690008"/>
                    <a:pt x="11747238" y="2697278"/>
                  </a:cubicBezTo>
                  <a:cubicBezTo>
                    <a:pt x="11747238" y="2697278"/>
                    <a:pt x="11747238" y="2697278"/>
                    <a:pt x="11740007" y="2704548"/>
                  </a:cubicBezTo>
                  <a:cubicBezTo>
                    <a:pt x="11740007" y="2704548"/>
                    <a:pt x="11740007" y="2704548"/>
                    <a:pt x="11740007" y="2711819"/>
                  </a:cubicBezTo>
                  <a:cubicBezTo>
                    <a:pt x="11740007" y="2711819"/>
                    <a:pt x="11740007" y="2711819"/>
                    <a:pt x="11732777" y="2719089"/>
                  </a:cubicBezTo>
                  <a:cubicBezTo>
                    <a:pt x="11732777" y="2719089"/>
                    <a:pt x="11732777" y="2719089"/>
                    <a:pt x="11740007" y="2719089"/>
                  </a:cubicBezTo>
                  <a:cubicBezTo>
                    <a:pt x="11740007" y="2719089"/>
                    <a:pt x="11740007" y="2719089"/>
                    <a:pt x="11754468" y="2719089"/>
                  </a:cubicBezTo>
                  <a:cubicBezTo>
                    <a:pt x="11754468" y="2719089"/>
                    <a:pt x="11754468" y="2719089"/>
                    <a:pt x="11761699" y="2719089"/>
                  </a:cubicBezTo>
                  <a:lnTo>
                    <a:pt x="11768929" y="2719089"/>
                  </a:lnTo>
                  <a:cubicBezTo>
                    <a:pt x="11768929" y="2719089"/>
                    <a:pt x="11768929" y="2719089"/>
                    <a:pt x="11747238" y="2690008"/>
                  </a:cubicBezTo>
                  <a:close/>
                  <a:moveTo>
                    <a:pt x="11689395" y="2690008"/>
                  </a:moveTo>
                  <a:cubicBezTo>
                    <a:pt x="11689395" y="2690008"/>
                    <a:pt x="11689395" y="2690008"/>
                    <a:pt x="11689395" y="2697278"/>
                  </a:cubicBezTo>
                  <a:cubicBezTo>
                    <a:pt x="11689395" y="2697278"/>
                    <a:pt x="11689395" y="2697278"/>
                    <a:pt x="11682164" y="2704548"/>
                  </a:cubicBezTo>
                  <a:cubicBezTo>
                    <a:pt x="11682164" y="2704548"/>
                    <a:pt x="11682164" y="2704548"/>
                    <a:pt x="11674934" y="2719089"/>
                  </a:cubicBezTo>
                  <a:cubicBezTo>
                    <a:pt x="11674934" y="2719089"/>
                    <a:pt x="11674934" y="2719089"/>
                    <a:pt x="11689395" y="2719089"/>
                  </a:cubicBezTo>
                  <a:cubicBezTo>
                    <a:pt x="11689395" y="2719089"/>
                    <a:pt x="11689395" y="2719089"/>
                    <a:pt x="11696625" y="2719089"/>
                  </a:cubicBezTo>
                  <a:cubicBezTo>
                    <a:pt x="11696625" y="2719089"/>
                    <a:pt x="11696625" y="2719089"/>
                    <a:pt x="11703856" y="2719089"/>
                  </a:cubicBezTo>
                  <a:lnTo>
                    <a:pt x="11711086" y="2719089"/>
                  </a:lnTo>
                  <a:cubicBezTo>
                    <a:pt x="11711086" y="2719089"/>
                    <a:pt x="11711086" y="2719089"/>
                    <a:pt x="11703856" y="2711819"/>
                  </a:cubicBezTo>
                  <a:cubicBezTo>
                    <a:pt x="11703856" y="2711819"/>
                    <a:pt x="11703856" y="2711819"/>
                    <a:pt x="11689395" y="2690008"/>
                  </a:cubicBezTo>
                  <a:close/>
                  <a:moveTo>
                    <a:pt x="11653243" y="2675467"/>
                  </a:moveTo>
                  <a:cubicBezTo>
                    <a:pt x="11653243" y="2675467"/>
                    <a:pt x="11653243" y="2675467"/>
                    <a:pt x="11638782" y="2682738"/>
                  </a:cubicBezTo>
                  <a:cubicBezTo>
                    <a:pt x="11638782" y="2682738"/>
                    <a:pt x="11638782" y="2682738"/>
                    <a:pt x="11653243" y="2704548"/>
                  </a:cubicBezTo>
                  <a:cubicBezTo>
                    <a:pt x="11653243" y="2704548"/>
                    <a:pt x="11653243" y="2704548"/>
                    <a:pt x="11653243" y="2675467"/>
                  </a:cubicBezTo>
                  <a:close/>
                  <a:moveTo>
                    <a:pt x="11429101" y="2675467"/>
                  </a:moveTo>
                  <a:cubicBezTo>
                    <a:pt x="11429101" y="2675467"/>
                    <a:pt x="11429101" y="2675467"/>
                    <a:pt x="11414640" y="2690008"/>
                  </a:cubicBezTo>
                  <a:cubicBezTo>
                    <a:pt x="11414640" y="2690008"/>
                    <a:pt x="11414640" y="2690008"/>
                    <a:pt x="11407410" y="2690008"/>
                  </a:cubicBezTo>
                  <a:cubicBezTo>
                    <a:pt x="11407410" y="2690008"/>
                    <a:pt x="11407410" y="2690008"/>
                    <a:pt x="11414640" y="2704548"/>
                  </a:cubicBezTo>
                  <a:cubicBezTo>
                    <a:pt x="11414640" y="2704548"/>
                    <a:pt x="11414640" y="2704548"/>
                    <a:pt x="11414640" y="2697278"/>
                  </a:cubicBezTo>
                  <a:cubicBezTo>
                    <a:pt x="11414640" y="2697278"/>
                    <a:pt x="11414640" y="2697278"/>
                    <a:pt x="11421871" y="2690008"/>
                  </a:cubicBezTo>
                  <a:close/>
                  <a:moveTo>
                    <a:pt x="11335106" y="2675467"/>
                  </a:moveTo>
                  <a:cubicBezTo>
                    <a:pt x="11335106" y="2675467"/>
                    <a:pt x="11335106" y="2675467"/>
                    <a:pt x="11327876" y="2690008"/>
                  </a:cubicBezTo>
                  <a:lnTo>
                    <a:pt x="11320645" y="2704548"/>
                  </a:lnTo>
                  <a:cubicBezTo>
                    <a:pt x="11320645" y="2704548"/>
                    <a:pt x="11320645" y="2704548"/>
                    <a:pt x="11335106" y="2690008"/>
                  </a:cubicBezTo>
                  <a:cubicBezTo>
                    <a:pt x="11335106" y="2690008"/>
                    <a:pt x="11335106" y="2690008"/>
                    <a:pt x="11342336" y="2690008"/>
                  </a:cubicBezTo>
                  <a:cubicBezTo>
                    <a:pt x="11342336" y="2690008"/>
                    <a:pt x="11342336" y="2690008"/>
                    <a:pt x="11335106" y="2682738"/>
                  </a:cubicBezTo>
                  <a:cubicBezTo>
                    <a:pt x="11335106" y="2682738"/>
                    <a:pt x="11335106" y="2682738"/>
                    <a:pt x="11335106" y="2675467"/>
                  </a:cubicBezTo>
                  <a:close/>
                  <a:moveTo>
                    <a:pt x="12007532" y="2668197"/>
                  </a:moveTo>
                  <a:cubicBezTo>
                    <a:pt x="12007532" y="2668197"/>
                    <a:pt x="12007532" y="2668197"/>
                    <a:pt x="12021992" y="2690008"/>
                  </a:cubicBezTo>
                  <a:cubicBezTo>
                    <a:pt x="12021992" y="2690008"/>
                    <a:pt x="12021992" y="2690008"/>
                    <a:pt x="12021992" y="2697278"/>
                  </a:cubicBezTo>
                  <a:lnTo>
                    <a:pt x="12029223" y="2682738"/>
                  </a:lnTo>
                  <a:cubicBezTo>
                    <a:pt x="12029223" y="2682738"/>
                    <a:pt x="12029223" y="2682738"/>
                    <a:pt x="12007532" y="2668197"/>
                  </a:cubicBezTo>
                  <a:close/>
                  <a:moveTo>
                    <a:pt x="11935228" y="2668197"/>
                  </a:moveTo>
                  <a:cubicBezTo>
                    <a:pt x="11935228" y="2668197"/>
                    <a:pt x="11935228" y="2668197"/>
                    <a:pt x="11927997" y="2675467"/>
                  </a:cubicBezTo>
                  <a:cubicBezTo>
                    <a:pt x="11927997" y="2675467"/>
                    <a:pt x="11927997" y="2675467"/>
                    <a:pt x="11949689" y="2697278"/>
                  </a:cubicBezTo>
                  <a:cubicBezTo>
                    <a:pt x="11949689" y="2697278"/>
                    <a:pt x="11949689" y="2697278"/>
                    <a:pt x="11942458" y="2682738"/>
                  </a:cubicBezTo>
                  <a:close/>
                  <a:moveTo>
                    <a:pt x="11899076" y="2668197"/>
                  </a:moveTo>
                  <a:cubicBezTo>
                    <a:pt x="11899076" y="2668197"/>
                    <a:pt x="11899076" y="2668197"/>
                    <a:pt x="11906306" y="2682738"/>
                  </a:cubicBezTo>
                  <a:cubicBezTo>
                    <a:pt x="11906306" y="2682738"/>
                    <a:pt x="11906306" y="2682738"/>
                    <a:pt x="11906306" y="2690008"/>
                  </a:cubicBezTo>
                  <a:cubicBezTo>
                    <a:pt x="11906306" y="2690008"/>
                    <a:pt x="11906306" y="2690008"/>
                    <a:pt x="11913537" y="2697278"/>
                  </a:cubicBezTo>
                  <a:cubicBezTo>
                    <a:pt x="11913537" y="2697278"/>
                    <a:pt x="11913537" y="2697278"/>
                    <a:pt x="11913537" y="2690008"/>
                  </a:cubicBezTo>
                  <a:lnTo>
                    <a:pt x="11913537" y="2682738"/>
                  </a:lnTo>
                  <a:cubicBezTo>
                    <a:pt x="11913537" y="2682738"/>
                    <a:pt x="11913537" y="2682738"/>
                    <a:pt x="11899076" y="2668197"/>
                  </a:cubicBezTo>
                  <a:close/>
                  <a:moveTo>
                    <a:pt x="11841233" y="2668197"/>
                  </a:moveTo>
                  <a:cubicBezTo>
                    <a:pt x="11841233" y="2668197"/>
                    <a:pt x="11841233" y="2668197"/>
                    <a:pt x="11841233" y="2675467"/>
                  </a:cubicBezTo>
                  <a:cubicBezTo>
                    <a:pt x="11841233" y="2675467"/>
                    <a:pt x="11841233" y="2675467"/>
                    <a:pt x="11848463" y="2690008"/>
                  </a:cubicBezTo>
                  <a:cubicBezTo>
                    <a:pt x="11848463" y="2690008"/>
                    <a:pt x="11848463" y="2690008"/>
                    <a:pt x="11848463" y="2704548"/>
                  </a:cubicBezTo>
                  <a:cubicBezTo>
                    <a:pt x="11848463" y="2704548"/>
                    <a:pt x="11848463" y="2704548"/>
                    <a:pt x="11855694" y="2697278"/>
                  </a:cubicBezTo>
                  <a:cubicBezTo>
                    <a:pt x="11855694" y="2697278"/>
                    <a:pt x="11855694" y="2697278"/>
                    <a:pt x="11855694" y="2690008"/>
                  </a:cubicBezTo>
                  <a:lnTo>
                    <a:pt x="11855694" y="2682738"/>
                  </a:lnTo>
                  <a:cubicBezTo>
                    <a:pt x="11855694" y="2682738"/>
                    <a:pt x="11855694" y="2682738"/>
                    <a:pt x="11841233" y="2668197"/>
                  </a:cubicBezTo>
                  <a:close/>
                  <a:moveTo>
                    <a:pt x="11783390" y="2668197"/>
                  </a:moveTo>
                  <a:cubicBezTo>
                    <a:pt x="11783390" y="2668197"/>
                    <a:pt x="11783390" y="2668197"/>
                    <a:pt x="11783390" y="2675467"/>
                  </a:cubicBezTo>
                  <a:cubicBezTo>
                    <a:pt x="11783390" y="2675467"/>
                    <a:pt x="11783390" y="2675467"/>
                    <a:pt x="11783390" y="2682738"/>
                  </a:cubicBezTo>
                  <a:cubicBezTo>
                    <a:pt x="11783390" y="2682738"/>
                    <a:pt x="11783390" y="2682738"/>
                    <a:pt x="11790620" y="2690008"/>
                  </a:cubicBezTo>
                  <a:lnTo>
                    <a:pt x="11797851" y="2682738"/>
                  </a:lnTo>
                  <a:cubicBezTo>
                    <a:pt x="11797851" y="2682738"/>
                    <a:pt x="11797851" y="2682738"/>
                    <a:pt x="11783390" y="2668197"/>
                  </a:cubicBezTo>
                  <a:close/>
                  <a:moveTo>
                    <a:pt x="11761699" y="2668197"/>
                  </a:moveTo>
                  <a:cubicBezTo>
                    <a:pt x="11761699" y="2668197"/>
                    <a:pt x="11761699" y="2668197"/>
                    <a:pt x="11761699" y="2675467"/>
                  </a:cubicBezTo>
                  <a:cubicBezTo>
                    <a:pt x="11761699" y="2675467"/>
                    <a:pt x="11761699" y="2675467"/>
                    <a:pt x="11754468" y="2682738"/>
                  </a:cubicBezTo>
                  <a:lnTo>
                    <a:pt x="11776159" y="2697278"/>
                  </a:lnTo>
                  <a:cubicBezTo>
                    <a:pt x="11776159" y="2697278"/>
                    <a:pt x="11776159" y="2697278"/>
                    <a:pt x="11776159" y="2690008"/>
                  </a:cubicBezTo>
                  <a:cubicBezTo>
                    <a:pt x="11776159" y="2690008"/>
                    <a:pt x="11776159" y="2690008"/>
                    <a:pt x="11768929" y="2675467"/>
                  </a:cubicBezTo>
                  <a:cubicBezTo>
                    <a:pt x="11768929" y="2675467"/>
                    <a:pt x="11768929" y="2675467"/>
                    <a:pt x="11768929" y="2668197"/>
                  </a:cubicBezTo>
                  <a:cubicBezTo>
                    <a:pt x="11768929" y="2668197"/>
                    <a:pt x="11768929" y="2668197"/>
                    <a:pt x="11761699" y="2668197"/>
                  </a:cubicBezTo>
                  <a:close/>
                  <a:moveTo>
                    <a:pt x="11703856" y="2668197"/>
                  </a:moveTo>
                  <a:cubicBezTo>
                    <a:pt x="11703856" y="2668197"/>
                    <a:pt x="11703856" y="2668197"/>
                    <a:pt x="11703856" y="2682738"/>
                  </a:cubicBezTo>
                  <a:cubicBezTo>
                    <a:pt x="11703856" y="2682738"/>
                    <a:pt x="11703856" y="2682738"/>
                    <a:pt x="11696625" y="2682738"/>
                  </a:cubicBezTo>
                  <a:lnTo>
                    <a:pt x="11711086" y="2704548"/>
                  </a:lnTo>
                  <a:cubicBezTo>
                    <a:pt x="11711086" y="2704548"/>
                    <a:pt x="11711086" y="2704548"/>
                    <a:pt x="11711086" y="2690008"/>
                  </a:cubicBezTo>
                  <a:cubicBezTo>
                    <a:pt x="11711086" y="2690008"/>
                    <a:pt x="11711086" y="2690008"/>
                    <a:pt x="11711086" y="2675467"/>
                  </a:cubicBezTo>
                  <a:cubicBezTo>
                    <a:pt x="11711086" y="2675467"/>
                    <a:pt x="11711086" y="2675467"/>
                    <a:pt x="11711086" y="2668197"/>
                  </a:cubicBezTo>
                  <a:cubicBezTo>
                    <a:pt x="11711086" y="2668197"/>
                    <a:pt x="11711086" y="2668197"/>
                    <a:pt x="11703856" y="2668197"/>
                  </a:cubicBezTo>
                  <a:close/>
                  <a:moveTo>
                    <a:pt x="11667704" y="2668197"/>
                  </a:moveTo>
                  <a:cubicBezTo>
                    <a:pt x="11667704" y="2668197"/>
                    <a:pt x="11667704" y="2668197"/>
                    <a:pt x="11667704" y="2675467"/>
                  </a:cubicBezTo>
                  <a:cubicBezTo>
                    <a:pt x="11667704" y="2675467"/>
                    <a:pt x="11667704" y="2675467"/>
                    <a:pt x="11667704" y="2682738"/>
                  </a:cubicBezTo>
                  <a:cubicBezTo>
                    <a:pt x="11667704" y="2682738"/>
                    <a:pt x="11667704" y="2682738"/>
                    <a:pt x="11667704" y="2690008"/>
                  </a:cubicBezTo>
                  <a:lnTo>
                    <a:pt x="11667704" y="2704548"/>
                  </a:lnTo>
                  <a:cubicBezTo>
                    <a:pt x="11667704" y="2704548"/>
                    <a:pt x="11667704" y="2704548"/>
                    <a:pt x="11674934" y="2697278"/>
                  </a:cubicBezTo>
                  <a:cubicBezTo>
                    <a:pt x="11674934" y="2697278"/>
                    <a:pt x="11674934" y="2697278"/>
                    <a:pt x="11674934" y="2690008"/>
                  </a:cubicBezTo>
                  <a:cubicBezTo>
                    <a:pt x="11674934" y="2690008"/>
                    <a:pt x="11674934" y="2690008"/>
                    <a:pt x="11682164" y="2682738"/>
                  </a:cubicBezTo>
                  <a:cubicBezTo>
                    <a:pt x="11682164" y="2682738"/>
                    <a:pt x="11682164" y="2682738"/>
                    <a:pt x="11682164" y="2675467"/>
                  </a:cubicBezTo>
                  <a:cubicBezTo>
                    <a:pt x="11682164" y="2675467"/>
                    <a:pt x="11682164" y="2675467"/>
                    <a:pt x="11667704" y="2668197"/>
                  </a:cubicBezTo>
                  <a:close/>
                  <a:moveTo>
                    <a:pt x="11559248" y="2668197"/>
                  </a:moveTo>
                  <a:cubicBezTo>
                    <a:pt x="11559248" y="2668197"/>
                    <a:pt x="11559248" y="2668197"/>
                    <a:pt x="11552018" y="2675467"/>
                  </a:cubicBezTo>
                  <a:cubicBezTo>
                    <a:pt x="11552018" y="2675467"/>
                    <a:pt x="11552018" y="2675467"/>
                    <a:pt x="11552018" y="2682738"/>
                  </a:cubicBezTo>
                  <a:cubicBezTo>
                    <a:pt x="11552018" y="2682738"/>
                    <a:pt x="11552018" y="2682738"/>
                    <a:pt x="11552018" y="2690008"/>
                  </a:cubicBezTo>
                  <a:cubicBezTo>
                    <a:pt x="11552018" y="2690008"/>
                    <a:pt x="11552018" y="2690008"/>
                    <a:pt x="11552018" y="2697278"/>
                  </a:cubicBezTo>
                  <a:cubicBezTo>
                    <a:pt x="11552018" y="2697278"/>
                    <a:pt x="11552018" y="2697278"/>
                    <a:pt x="11544787" y="2704548"/>
                  </a:cubicBezTo>
                  <a:cubicBezTo>
                    <a:pt x="11544787" y="2704548"/>
                    <a:pt x="11544787" y="2704548"/>
                    <a:pt x="11552018" y="2697278"/>
                  </a:cubicBezTo>
                  <a:cubicBezTo>
                    <a:pt x="11552018" y="2697278"/>
                    <a:pt x="11552018" y="2697278"/>
                    <a:pt x="11559248" y="2690008"/>
                  </a:cubicBezTo>
                  <a:cubicBezTo>
                    <a:pt x="11559248" y="2690008"/>
                    <a:pt x="11559248" y="2690008"/>
                    <a:pt x="11566478" y="2682738"/>
                  </a:cubicBezTo>
                  <a:cubicBezTo>
                    <a:pt x="11566478" y="2682738"/>
                    <a:pt x="11566478" y="2682738"/>
                    <a:pt x="11559248" y="2668197"/>
                  </a:cubicBezTo>
                  <a:close/>
                  <a:moveTo>
                    <a:pt x="11392949" y="2668197"/>
                  </a:moveTo>
                  <a:cubicBezTo>
                    <a:pt x="11392949" y="2668197"/>
                    <a:pt x="11392949" y="2668197"/>
                    <a:pt x="11385719" y="2675467"/>
                  </a:cubicBezTo>
                  <a:lnTo>
                    <a:pt x="11378488" y="2690008"/>
                  </a:lnTo>
                  <a:cubicBezTo>
                    <a:pt x="11378488" y="2690008"/>
                    <a:pt x="11378488" y="2690008"/>
                    <a:pt x="11378488" y="2697278"/>
                  </a:cubicBezTo>
                  <a:cubicBezTo>
                    <a:pt x="11378488" y="2697278"/>
                    <a:pt x="11378488" y="2697278"/>
                    <a:pt x="11371258" y="2704548"/>
                  </a:cubicBezTo>
                  <a:cubicBezTo>
                    <a:pt x="11371258" y="2704548"/>
                    <a:pt x="11371258" y="2704548"/>
                    <a:pt x="11378488" y="2697278"/>
                  </a:cubicBezTo>
                  <a:cubicBezTo>
                    <a:pt x="11378488" y="2697278"/>
                    <a:pt x="11378488" y="2697278"/>
                    <a:pt x="11385719" y="2690008"/>
                  </a:cubicBezTo>
                  <a:cubicBezTo>
                    <a:pt x="11385719" y="2690008"/>
                    <a:pt x="11385719" y="2690008"/>
                    <a:pt x="11392949" y="2690008"/>
                  </a:cubicBezTo>
                  <a:cubicBezTo>
                    <a:pt x="11392949" y="2690008"/>
                    <a:pt x="11392949" y="2690008"/>
                    <a:pt x="11392949" y="2675467"/>
                  </a:cubicBezTo>
                  <a:cubicBezTo>
                    <a:pt x="11392949" y="2675467"/>
                    <a:pt x="11392949" y="2675467"/>
                    <a:pt x="11392949" y="2668197"/>
                  </a:cubicBezTo>
                  <a:close/>
                  <a:moveTo>
                    <a:pt x="11993071" y="2660926"/>
                  </a:moveTo>
                  <a:cubicBezTo>
                    <a:pt x="11993071" y="2660926"/>
                    <a:pt x="11993071" y="2660926"/>
                    <a:pt x="11985840" y="2668197"/>
                  </a:cubicBezTo>
                  <a:cubicBezTo>
                    <a:pt x="11985840" y="2668197"/>
                    <a:pt x="11985840" y="2668197"/>
                    <a:pt x="11985840" y="2675467"/>
                  </a:cubicBezTo>
                  <a:lnTo>
                    <a:pt x="12007532" y="2697278"/>
                  </a:lnTo>
                  <a:cubicBezTo>
                    <a:pt x="12007532" y="2697278"/>
                    <a:pt x="12007532" y="2697278"/>
                    <a:pt x="12000301" y="2682738"/>
                  </a:cubicBezTo>
                  <a:cubicBezTo>
                    <a:pt x="12000301" y="2682738"/>
                    <a:pt x="12000301" y="2682738"/>
                    <a:pt x="11993071" y="2668197"/>
                  </a:cubicBezTo>
                  <a:cubicBezTo>
                    <a:pt x="11993071" y="2668197"/>
                    <a:pt x="11993071" y="2668197"/>
                    <a:pt x="11993071" y="2660926"/>
                  </a:cubicBezTo>
                  <a:close/>
                  <a:moveTo>
                    <a:pt x="11877385" y="2660926"/>
                  </a:moveTo>
                  <a:cubicBezTo>
                    <a:pt x="11877385" y="2660926"/>
                    <a:pt x="11877385" y="2660926"/>
                    <a:pt x="11877385" y="2668197"/>
                  </a:cubicBezTo>
                  <a:cubicBezTo>
                    <a:pt x="11877385" y="2668197"/>
                    <a:pt x="11877385" y="2668197"/>
                    <a:pt x="11870154" y="2675467"/>
                  </a:cubicBezTo>
                  <a:cubicBezTo>
                    <a:pt x="11870154" y="2675467"/>
                    <a:pt x="11870154" y="2675467"/>
                    <a:pt x="11891845" y="2697278"/>
                  </a:cubicBezTo>
                  <a:lnTo>
                    <a:pt x="11884615" y="2682738"/>
                  </a:lnTo>
                  <a:cubicBezTo>
                    <a:pt x="11884615" y="2682738"/>
                    <a:pt x="11884615" y="2682738"/>
                    <a:pt x="11884615" y="2668197"/>
                  </a:cubicBezTo>
                  <a:cubicBezTo>
                    <a:pt x="11884615" y="2668197"/>
                    <a:pt x="11884615" y="2668197"/>
                    <a:pt x="11877385" y="2660926"/>
                  </a:cubicBezTo>
                  <a:close/>
                  <a:moveTo>
                    <a:pt x="11826772" y="2660926"/>
                  </a:moveTo>
                  <a:cubicBezTo>
                    <a:pt x="11826772" y="2660926"/>
                    <a:pt x="11826772" y="2660926"/>
                    <a:pt x="11819542" y="2668197"/>
                  </a:cubicBezTo>
                  <a:cubicBezTo>
                    <a:pt x="11819542" y="2668197"/>
                    <a:pt x="11819542" y="2668197"/>
                    <a:pt x="11812311" y="2675467"/>
                  </a:cubicBezTo>
                  <a:lnTo>
                    <a:pt x="11834002" y="2697278"/>
                  </a:lnTo>
                  <a:cubicBezTo>
                    <a:pt x="11834002" y="2697278"/>
                    <a:pt x="11834002" y="2697278"/>
                    <a:pt x="11826772" y="2682738"/>
                  </a:cubicBezTo>
                  <a:cubicBezTo>
                    <a:pt x="11826772" y="2682738"/>
                    <a:pt x="11826772" y="2682738"/>
                    <a:pt x="11826772" y="2668197"/>
                  </a:cubicBezTo>
                  <a:cubicBezTo>
                    <a:pt x="11826772" y="2668197"/>
                    <a:pt x="11826772" y="2668197"/>
                    <a:pt x="11826772" y="2660926"/>
                  </a:cubicBezTo>
                  <a:close/>
                  <a:moveTo>
                    <a:pt x="11291724" y="2660926"/>
                  </a:moveTo>
                  <a:cubicBezTo>
                    <a:pt x="11291724" y="2660926"/>
                    <a:pt x="11291724" y="2660926"/>
                    <a:pt x="11298954" y="2675467"/>
                  </a:cubicBezTo>
                  <a:cubicBezTo>
                    <a:pt x="11298954" y="2675467"/>
                    <a:pt x="11298954" y="2675467"/>
                    <a:pt x="11306185" y="2668197"/>
                  </a:cubicBezTo>
                  <a:lnTo>
                    <a:pt x="11320645" y="2660926"/>
                  </a:lnTo>
                  <a:cubicBezTo>
                    <a:pt x="11320645" y="2660926"/>
                    <a:pt x="11320645" y="2660926"/>
                    <a:pt x="11313415" y="2660926"/>
                  </a:cubicBezTo>
                  <a:cubicBezTo>
                    <a:pt x="11313415" y="2660926"/>
                    <a:pt x="11313415" y="2660926"/>
                    <a:pt x="11298954" y="2660926"/>
                  </a:cubicBezTo>
                  <a:cubicBezTo>
                    <a:pt x="11298954" y="2660926"/>
                    <a:pt x="11298954" y="2660926"/>
                    <a:pt x="11291724" y="2660926"/>
                  </a:cubicBezTo>
                  <a:close/>
                  <a:moveTo>
                    <a:pt x="11790620" y="2653656"/>
                  </a:moveTo>
                  <a:cubicBezTo>
                    <a:pt x="11790620" y="2653656"/>
                    <a:pt x="11790620" y="2653656"/>
                    <a:pt x="11805081" y="2668197"/>
                  </a:cubicBezTo>
                  <a:cubicBezTo>
                    <a:pt x="11805081" y="2668197"/>
                    <a:pt x="11805081" y="2668197"/>
                    <a:pt x="11805081" y="2660926"/>
                  </a:cubicBezTo>
                  <a:cubicBezTo>
                    <a:pt x="11805081" y="2660926"/>
                    <a:pt x="11805081" y="2660926"/>
                    <a:pt x="11812311" y="2653656"/>
                  </a:cubicBezTo>
                  <a:cubicBezTo>
                    <a:pt x="11812311" y="2653656"/>
                    <a:pt x="11812311" y="2653656"/>
                    <a:pt x="11805081" y="2653656"/>
                  </a:cubicBezTo>
                  <a:cubicBezTo>
                    <a:pt x="11805081" y="2653656"/>
                    <a:pt x="11805081" y="2653656"/>
                    <a:pt x="11797851" y="2653656"/>
                  </a:cubicBezTo>
                  <a:close/>
                  <a:moveTo>
                    <a:pt x="11674934" y="2653656"/>
                  </a:moveTo>
                  <a:cubicBezTo>
                    <a:pt x="11674934" y="2653656"/>
                    <a:pt x="11674934" y="2653656"/>
                    <a:pt x="11689395" y="2668197"/>
                  </a:cubicBezTo>
                  <a:cubicBezTo>
                    <a:pt x="11689395" y="2668197"/>
                    <a:pt x="11689395" y="2668197"/>
                    <a:pt x="11696625" y="2660926"/>
                  </a:cubicBezTo>
                  <a:cubicBezTo>
                    <a:pt x="11696625" y="2660926"/>
                    <a:pt x="11696625" y="2660926"/>
                    <a:pt x="11703856" y="2653656"/>
                  </a:cubicBezTo>
                  <a:cubicBezTo>
                    <a:pt x="11703856" y="2653656"/>
                    <a:pt x="11703856" y="2653656"/>
                    <a:pt x="11696625" y="2653656"/>
                  </a:cubicBezTo>
                  <a:cubicBezTo>
                    <a:pt x="11696625" y="2653656"/>
                    <a:pt x="11696625" y="2653656"/>
                    <a:pt x="11689395" y="2653656"/>
                  </a:cubicBezTo>
                  <a:close/>
                  <a:moveTo>
                    <a:pt x="11624321" y="2653656"/>
                  </a:moveTo>
                  <a:cubicBezTo>
                    <a:pt x="11624321" y="2653656"/>
                    <a:pt x="11624321" y="2653656"/>
                    <a:pt x="11631552" y="2668197"/>
                  </a:cubicBezTo>
                  <a:lnTo>
                    <a:pt x="11638782" y="2660926"/>
                  </a:lnTo>
                  <a:cubicBezTo>
                    <a:pt x="11638782" y="2660926"/>
                    <a:pt x="11638782" y="2660926"/>
                    <a:pt x="11646013" y="2660926"/>
                  </a:cubicBezTo>
                  <a:cubicBezTo>
                    <a:pt x="11646013" y="2660926"/>
                    <a:pt x="11646013" y="2660926"/>
                    <a:pt x="11646013" y="2653656"/>
                  </a:cubicBezTo>
                  <a:cubicBezTo>
                    <a:pt x="11646013" y="2653656"/>
                    <a:pt x="11646013" y="2653656"/>
                    <a:pt x="11638782" y="2653656"/>
                  </a:cubicBezTo>
                  <a:cubicBezTo>
                    <a:pt x="11638782" y="2653656"/>
                    <a:pt x="11638782" y="2653656"/>
                    <a:pt x="11631552" y="2653656"/>
                  </a:cubicBezTo>
                  <a:cubicBezTo>
                    <a:pt x="11631552" y="2653656"/>
                    <a:pt x="11631552" y="2653656"/>
                    <a:pt x="11624321" y="2653656"/>
                  </a:cubicBezTo>
                  <a:close/>
                  <a:moveTo>
                    <a:pt x="11566478" y="2653656"/>
                  </a:moveTo>
                  <a:cubicBezTo>
                    <a:pt x="11566478" y="2653656"/>
                    <a:pt x="11566478" y="2653656"/>
                    <a:pt x="11573709" y="2660926"/>
                  </a:cubicBezTo>
                  <a:cubicBezTo>
                    <a:pt x="11573709" y="2660926"/>
                    <a:pt x="11573709" y="2660926"/>
                    <a:pt x="11573709" y="2675467"/>
                  </a:cubicBezTo>
                  <a:cubicBezTo>
                    <a:pt x="11573709" y="2675467"/>
                    <a:pt x="11573709" y="2675467"/>
                    <a:pt x="11580939" y="2668197"/>
                  </a:cubicBezTo>
                  <a:cubicBezTo>
                    <a:pt x="11580939" y="2668197"/>
                    <a:pt x="11580939" y="2668197"/>
                    <a:pt x="11580939" y="2660926"/>
                  </a:cubicBezTo>
                  <a:cubicBezTo>
                    <a:pt x="11580939" y="2660926"/>
                    <a:pt x="11580939" y="2660926"/>
                    <a:pt x="11588169" y="2653656"/>
                  </a:cubicBezTo>
                  <a:cubicBezTo>
                    <a:pt x="11588169" y="2653656"/>
                    <a:pt x="11588169" y="2653656"/>
                    <a:pt x="11573709" y="2653656"/>
                  </a:cubicBezTo>
                  <a:cubicBezTo>
                    <a:pt x="11573709" y="2653656"/>
                    <a:pt x="11573709" y="2653656"/>
                    <a:pt x="11566478" y="2653656"/>
                  </a:cubicBezTo>
                  <a:close/>
                  <a:moveTo>
                    <a:pt x="11421871" y="2653656"/>
                  </a:moveTo>
                  <a:cubicBezTo>
                    <a:pt x="11421871" y="2653656"/>
                    <a:pt x="11421871" y="2653656"/>
                    <a:pt x="11400180" y="2660926"/>
                  </a:cubicBezTo>
                  <a:cubicBezTo>
                    <a:pt x="11400180" y="2660926"/>
                    <a:pt x="11400180" y="2660926"/>
                    <a:pt x="11407410" y="2675467"/>
                  </a:cubicBezTo>
                  <a:lnTo>
                    <a:pt x="11421871" y="2660926"/>
                  </a:lnTo>
                  <a:cubicBezTo>
                    <a:pt x="11421871" y="2660926"/>
                    <a:pt x="11421871" y="2660926"/>
                    <a:pt x="11429101" y="2653656"/>
                  </a:cubicBezTo>
                  <a:cubicBezTo>
                    <a:pt x="11429101" y="2653656"/>
                    <a:pt x="11429101" y="2653656"/>
                    <a:pt x="11421871" y="2653656"/>
                  </a:cubicBezTo>
                  <a:close/>
                  <a:moveTo>
                    <a:pt x="11580939" y="2624575"/>
                  </a:moveTo>
                  <a:cubicBezTo>
                    <a:pt x="11580939" y="2624575"/>
                    <a:pt x="11580939" y="2624575"/>
                    <a:pt x="11573709" y="2631845"/>
                  </a:cubicBezTo>
                  <a:cubicBezTo>
                    <a:pt x="11573709" y="2631845"/>
                    <a:pt x="11573709" y="2631845"/>
                    <a:pt x="11573709" y="2639116"/>
                  </a:cubicBezTo>
                  <a:cubicBezTo>
                    <a:pt x="11573709" y="2639116"/>
                    <a:pt x="11573709" y="2639116"/>
                    <a:pt x="11580939" y="2639116"/>
                  </a:cubicBezTo>
                  <a:cubicBezTo>
                    <a:pt x="11580939" y="2639116"/>
                    <a:pt x="11580939" y="2639116"/>
                    <a:pt x="11588169" y="2639116"/>
                  </a:cubicBezTo>
                  <a:lnTo>
                    <a:pt x="11595400" y="2639116"/>
                  </a:lnTo>
                  <a:cubicBezTo>
                    <a:pt x="11595400" y="2639116"/>
                    <a:pt x="11595400" y="2639116"/>
                    <a:pt x="11580939" y="2624575"/>
                  </a:cubicBezTo>
                  <a:close/>
                  <a:moveTo>
                    <a:pt x="11472483" y="2624575"/>
                  </a:moveTo>
                  <a:cubicBezTo>
                    <a:pt x="11472483" y="2624575"/>
                    <a:pt x="11472483" y="2624575"/>
                    <a:pt x="11465253" y="2631845"/>
                  </a:cubicBezTo>
                  <a:cubicBezTo>
                    <a:pt x="11465253" y="2631845"/>
                    <a:pt x="11465253" y="2631845"/>
                    <a:pt x="11465253" y="2639116"/>
                  </a:cubicBezTo>
                  <a:cubicBezTo>
                    <a:pt x="11465253" y="2639116"/>
                    <a:pt x="11465253" y="2639116"/>
                    <a:pt x="11458023" y="2639116"/>
                  </a:cubicBezTo>
                  <a:cubicBezTo>
                    <a:pt x="11458023" y="2639116"/>
                    <a:pt x="11458023" y="2639116"/>
                    <a:pt x="11458023" y="2646386"/>
                  </a:cubicBezTo>
                  <a:cubicBezTo>
                    <a:pt x="11458023" y="2646386"/>
                    <a:pt x="11458023" y="2646386"/>
                    <a:pt x="11465253" y="2646386"/>
                  </a:cubicBezTo>
                  <a:cubicBezTo>
                    <a:pt x="11465253" y="2646386"/>
                    <a:pt x="11465253" y="2646386"/>
                    <a:pt x="11479714" y="2639116"/>
                  </a:cubicBezTo>
                  <a:lnTo>
                    <a:pt x="11486944" y="2639116"/>
                  </a:lnTo>
                  <a:cubicBezTo>
                    <a:pt x="11486944" y="2639116"/>
                    <a:pt x="11486944" y="2639116"/>
                    <a:pt x="11479714" y="2624575"/>
                  </a:cubicBezTo>
                  <a:cubicBezTo>
                    <a:pt x="11479714" y="2624575"/>
                    <a:pt x="11479714" y="2624575"/>
                    <a:pt x="11472483" y="2624575"/>
                  </a:cubicBezTo>
                  <a:close/>
                  <a:moveTo>
                    <a:pt x="11364028" y="2624575"/>
                  </a:moveTo>
                  <a:cubicBezTo>
                    <a:pt x="11364028" y="2624575"/>
                    <a:pt x="11364028" y="2624575"/>
                    <a:pt x="11356797" y="2631845"/>
                  </a:cubicBezTo>
                  <a:cubicBezTo>
                    <a:pt x="11356797" y="2631845"/>
                    <a:pt x="11356797" y="2631845"/>
                    <a:pt x="11356797" y="2639116"/>
                  </a:cubicBezTo>
                  <a:cubicBezTo>
                    <a:pt x="11356797" y="2639116"/>
                    <a:pt x="11356797" y="2639116"/>
                    <a:pt x="11349567" y="2646386"/>
                  </a:cubicBezTo>
                  <a:cubicBezTo>
                    <a:pt x="11349567" y="2646386"/>
                    <a:pt x="11349567" y="2646386"/>
                    <a:pt x="11356797" y="2646386"/>
                  </a:cubicBezTo>
                  <a:lnTo>
                    <a:pt x="11371258" y="2646386"/>
                  </a:lnTo>
                  <a:cubicBezTo>
                    <a:pt x="11371258" y="2646386"/>
                    <a:pt x="11371258" y="2646386"/>
                    <a:pt x="11378488" y="2646386"/>
                  </a:cubicBezTo>
                  <a:cubicBezTo>
                    <a:pt x="11378488" y="2646386"/>
                    <a:pt x="11378488" y="2646386"/>
                    <a:pt x="11364028" y="2624575"/>
                  </a:cubicBezTo>
                  <a:close/>
                  <a:moveTo>
                    <a:pt x="11313415" y="2624575"/>
                  </a:moveTo>
                  <a:cubicBezTo>
                    <a:pt x="11313415" y="2624575"/>
                    <a:pt x="11313415" y="2624575"/>
                    <a:pt x="11306185" y="2631845"/>
                  </a:cubicBezTo>
                  <a:cubicBezTo>
                    <a:pt x="11306185" y="2631845"/>
                    <a:pt x="11306185" y="2631845"/>
                    <a:pt x="11298954" y="2646386"/>
                  </a:cubicBezTo>
                  <a:cubicBezTo>
                    <a:pt x="11298954" y="2646386"/>
                    <a:pt x="11298954" y="2646386"/>
                    <a:pt x="11320645" y="2646386"/>
                  </a:cubicBezTo>
                  <a:cubicBezTo>
                    <a:pt x="11320645" y="2646386"/>
                    <a:pt x="11320645" y="2646386"/>
                    <a:pt x="11327876" y="2646386"/>
                  </a:cubicBezTo>
                  <a:cubicBezTo>
                    <a:pt x="11327876" y="2646386"/>
                    <a:pt x="11327876" y="2646386"/>
                    <a:pt x="11313415" y="2624575"/>
                  </a:cubicBezTo>
                  <a:close/>
                  <a:moveTo>
                    <a:pt x="12014762" y="2617305"/>
                  </a:moveTo>
                  <a:cubicBezTo>
                    <a:pt x="12014762" y="2617305"/>
                    <a:pt x="12014762" y="2617305"/>
                    <a:pt x="12007532" y="2624575"/>
                  </a:cubicBezTo>
                  <a:cubicBezTo>
                    <a:pt x="12007532" y="2624575"/>
                    <a:pt x="12007532" y="2624575"/>
                    <a:pt x="12000301" y="2631845"/>
                  </a:cubicBezTo>
                  <a:cubicBezTo>
                    <a:pt x="12000301" y="2631845"/>
                    <a:pt x="12000301" y="2631845"/>
                    <a:pt x="12007532" y="2631845"/>
                  </a:cubicBezTo>
                  <a:cubicBezTo>
                    <a:pt x="12007532" y="2631845"/>
                    <a:pt x="12007532" y="2631845"/>
                    <a:pt x="12014762" y="2631845"/>
                  </a:cubicBezTo>
                  <a:lnTo>
                    <a:pt x="12029223" y="2631845"/>
                  </a:lnTo>
                  <a:cubicBezTo>
                    <a:pt x="12029223" y="2631845"/>
                    <a:pt x="12029223" y="2631845"/>
                    <a:pt x="12014762" y="2617305"/>
                  </a:cubicBezTo>
                  <a:close/>
                  <a:moveTo>
                    <a:pt x="11848463" y="2617305"/>
                  </a:moveTo>
                  <a:cubicBezTo>
                    <a:pt x="11848463" y="2617305"/>
                    <a:pt x="11848463" y="2617305"/>
                    <a:pt x="11841233" y="2624575"/>
                  </a:cubicBezTo>
                  <a:cubicBezTo>
                    <a:pt x="11841233" y="2624575"/>
                    <a:pt x="11841233" y="2624575"/>
                    <a:pt x="11841233" y="2631845"/>
                  </a:cubicBezTo>
                  <a:cubicBezTo>
                    <a:pt x="11841233" y="2631845"/>
                    <a:pt x="11841233" y="2631845"/>
                    <a:pt x="11841233" y="2639116"/>
                  </a:cubicBezTo>
                  <a:cubicBezTo>
                    <a:pt x="11841233" y="2639116"/>
                    <a:pt x="11841233" y="2639116"/>
                    <a:pt x="11848463" y="2639116"/>
                  </a:cubicBezTo>
                  <a:cubicBezTo>
                    <a:pt x="11848463" y="2639116"/>
                    <a:pt x="11848463" y="2639116"/>
                    <a:pt x="11855694" y="2639116"/>
                  </a:cubicBezTo>
                  <a:lnTo>
                    <a:pt x="11862924" y="2639116"/>
                  </a:lnTo>
                  <a:cubicBezTo>
                    <a:pt x="11862924" y="2639116"/>
                    <a:pt x="11862924" y="2639116"/>
                    <a:pt x="11855694" y="2624575"/>
                  </a:cubicBezTo>
                  <a:cubicBezTo>
                    <a:pt x="11855694" y="2624575"/>
                    <a:pt x="11855694" y="2624575"/>
                    <a:pt x="11848463" y="2617305"/>
                  </a:cubicBezTo>
                  <a:close/>
                  <a:moveTo>
                    <a:pt x="11638782" y="2617305"/>
                  </a:moveTo>
                  <a:cubicBezTo>
                    <a:pt x="11638782" y="2617305"/>
                    <a:pt x="11638782" y="2617305"/>
                    <a:pt x="11631552" y="2624575"/>
                  </a:cubicBezTo>
                  <a:cubicBezTo>
                    <a:pt x="11631552" y="2624575"/>
                    <a:pt x="11631552" y="2624575"/>
                    <a:pt x="11631552" y="2631845"/>
                  </a:cubicBezTo>
                  <a:cubicBezTo>
                    <a:pt x="11631552" y="2631845"/>
                    <a:pt x="11631552" y="2631845"/>
                    <a:pt x="11624321" y="2639116"/>
                  </a:cubicBezTo>
                  <a:cubicBezTo>
                    <a:pt x="11624321" y="2639116"/>
                    <a:pt x="11624321" y="2639116"/>
                    <a:pt x="11638782" y="2639116"/>
                  </a:cubicBezTo>
                  <a:cubicBezTo>
                    <a:pt x="11638782" y="2639116"/>
                    <a:pt x="11638782" y="2639116"/>
                    <a:pt x="11653243" y="2639116"/>
                  </a:cubicBezTo>
                  <a:close/>
                  <a:moveTo>
                    <a:pt x="11537557" y="2602764"/>
                  </a:moveTo>
                  <a:cubicBezTo>
                    <a:pt x="11537557" y="2602764"/>
                    <a:pt x="11537557" y="2602764"/>
                    <a:pt x="11537557" y="2610034"/>
                  </a:cubicBezTo>
                  <a:cubicBezTo>
                    <a:pt x="11537557" y="2610034"/>
                    <a:pt x="11537557" y="2610034"/>
                    <a:pt x="11544787" y="2624575"/>
                  </a:cubicBezTo>
                  <a:cubicBezTo>
                    <a:pt x="11544787" y="2624575"/>
                    <a:pt x="11544787" y="2624575"/>
                    <a:pt x="11544787" y="2617305"/>
                  </a:cubicBezTo>
                  <a:cubicBezTo>
                    <a:pt x="11544787" y="2617305"/>
                    <a:pt x="11544787" y="2617305"/>
                    <a:pt x="11544787" y="2610034"/>
                  </a:cubicBezTo>
                  <a:cubicBezTo>
                    <a:pt x="11544787" y="2610034"/>
                    <a:pt x="11544787" y="2610034"/>
                    <a:pt x="11544787" y="2602764"/>
                  </a:cubicBezTo>
                  <a:cubicBezTo>
                    <a:pt x="11544787" y="2602764"/>
                    <a:pt x="11544787" y="2602764"/>
                    <a:pt x="11537557" y="2602764"/>
                  </a:cubicBezTo>
                  <a:close/>
                  <a:moveTo>
                    <a:pt x="11559248" y="2595494"/>
                  </a:moveTo>
                  <a:cubicBezTo>
                    <a:pt x="11559248" y="2595494"/>
                    <a:pt x="11559248" y="2595494"/>
                    <a:pt x="11559248" y="2617305"/>
                  </a:cubicBezTo>
                  <a:lnTo>
                    <a:pt x="11559248" y="2624575"/>
                  </a:lnTo>
                  <a:cubicBezTo>
                    <a:pt x="11559248" y="2624575"/>
                    <a:pt x="11559248" y="2624575"/>
                    <a:pt x="11566478" y="2624575"/>
                  </a:cubicBezTo>
                  <a:cubicBezTo>
                    <a:pt x="11566478" y="2624575"/>
                    <a:pt x="11566478" y="2624575"/>
                    <a:pt x="11573709" y="2610034"/>
                  </a:cubicBezTo>
                  <a:cubicBezTo>
                    <a:pt x="11573709" y="2610034"/>
                    <a:pt x="11573709" y="2610034"/>
                    <a:pt x="11559248" y="2595494"/>
                  </a:cubicBezTo>
                  <a:close/>
                  <a:moveTo>
                    <a:pt x="11508635" y="2595494"/>
                  </a:moveTo>
                  <a:cubicBezTo>
                    <a:pt x="11508635" y="2595494"/>
                    <a:pt x="11508635" y="2595494"/>
                    <a:pt x="11508635" y="2602764"/>
                  </a:cubicBezTo>
                  <a:cubicBezTo>
                    <a:pt x="11508635" y="2602764"/>
                    <a:pt x="11508635" y="2602764"/>
                    <a:pt x="11508635" y="2610034"/>
                  </a:cubicBezTo>
                  <a:cubicBezTo>
                    <a:pt x="11508635" y="2610034"/>
                    <a:pt x="11508635" y="2610034"/>
                    <a:pt x="11508635" y="2617305"/>
                  </a:cubicBezTo>
                  <a:cubicBezTo>
                    <a:pt x="11508635" y="2617305"/>
                    <a:pt x="11508635" y="2617305"/>
                    <a:pt x="11508635" y="2624575"/>
                  </a:cubicBezTo>
                  <a:cubicBezTo>
                    <a:pt x="11508635" y="2624575"/>
                    <a:pt x="11508635" y="2624575"/>
                    <a:pt x="11515866" y="2617305"/>
                  </a:cubicBezTo>
                  <a:cubicBezTo>
                    <a:pt x="11515866" y="2617305"/>
                    <a:pt x="11515866" y="2617305"/>
                    <a:pt x="11515866" y="2610034"/>
                  </a:cubicBezTo>
                  <a:cubicBezTo>
                    <a:pt x="11515866" y="2610034"/>
                    <a:pt x="11515866" y="2610034"/>
                    <a:pt x="11508635" y="2595494"/>
                  </a:cubicBezTo>
                  <a:close/>
                  <a:moveTo>
                    <a:pt x="11436331" y="2595494"/>
                  </a:moveTo>
                  <a:cubicBezTo>
                    <a:pt x="11436331" y="2595494"/>
                    <a:pt x="11436331" y="2595494"/>
                    <a:pt x="11436331" y="2602764"/>
                  </a:cubicBezTo>
                  <a:cubicBezTo>
                    <a:pt x="11436331" y="2602764"/>
                    <a:pt x="11436331" y="2602764"/>
                    <a:pt x="11429101" y="2610034"/>
                  </a:cubicBezTo>
                  <a:lnTo>
                    <a:pt x="11429101" y="2617305"/>
                  </a:lnTo>
                  <a:cubicBezTo>
                    <a:pt x="11429101" y="2617305"/>
                    <a:pt x="11429101" y="2617305"/>
                    <a:pt x="11443562" y="2631845"/>
                  </a:cubicBezTo>
                  <a:cubicBezTo>
                    <a:pt x="11443562" y="2631845"/>
                    <a:pt x="11443562" y="2631845"/>
                    <a:pt x="11443562" y="2624575"/>
                  </a:cubicBezTo>
                  <a:cubicBezTo>
                    <a:pt x="11443562" y="2624575"/>
                    <a:pt x="11443562" y="2624575"/>
                    <a:pt x="11443562" y="2617305"/>
                  </a:cubicBezTo>
                  <a:cubicBezTo>
                    <a:pt x="11443562" y="2617305"/>
                    <a:pt x="11443562" y="2617305"/>
                    <a:pt x="11443562" y="2610034"/>
                  </a:cubicBezTo>
                  <a:cubicBezTo>
                    <a:pt x="11443562" y="2610034"/>
                    <a:pt x="11443562" y="2610034"/>
                    <a:pt x="11436331" y="2595494"/>
                  </a:cubicBezTo>
                  <a:close/>
                  <a:moveTo>
                    <a:pt x="11400180" y="2595494"/>
                  </a:moveTo>
                  <a:cubicBezTo>
                    <a:pt x="11400180" y="2595494"/>
                    <a:pt x="11400180" y="2595494"/>
                    <a:pt x="11400180" y="2602764"/>
                  </a:cubicBezTo>
                  <a:cubicBezTo>
                    <a:pt x="11400180" y="2602764"/>
                    <a:pt x="11400180" y="2602764"/>
                    <a:pt x="11400180" y="2617305"/>
                  </a:cubicBezTo>
                  <a:cubicBezTo>
                    <a:pt x="11400180" y="2617305"/>
                    <a:pt x="11400180" y="2617305"/>
                    <a:pt x="11400180" y="2631845"/>
                  </a:cubicBezTo>
                  <a:cubicBezTo>
                    <a:pt x="11400180" y="2631845"/>
                    <a:pt x="11400180" y="2631845"/>
                    <a:pt x="11407410" y="2624575"/>
                  </a:cubicBezTo>
                  <a:cubicBezTo>
                    <a:pt x="11407410" y="2624575"/>
                    <a:pt x="11407410" y="2624575"/>
                    <a:pt x="11407410" y="2617305"/>
                  </a:cubicBezTo>
                  <a:cubicBezTo>
                    <a:pt x="11407410" y="2617305"/>
                    <a:pt x="11407410" y="2617305"/>
                    <a:pt x="11407410" y="2610034"/>
                  </a:cubicBezTo>
                  <a:cubicBezTo>
                    <a:pt x="11407410" y="2610034"/>
                    <a:pt x="11407410" y="2610034"/>
                    <a:pt x="11414640" y="2610034"/>
                  </a:cubicBezTo>
                  <a:cubicBezTo>
                    <a:pt x="11414640" y="2610034"/>
                    <a:pt x="11414640" y="2610034"/>
                    <a:pt x="11407410" y="2602764"/>
                  </a:cubicBezTo>
                  <a:cubicBezTo>
                    <a:pt x="11407410" y="2602764"/>
                    <a:pt x="11407410" y="2602764"/>
                    <a:pt x="11400180" y="2595494"/>
                  </a:cubicBezTo>
                  <a:close/>
                  <a:moveTo>
                    <a:pt x="11342336" y="2595494"/>
                  </a:moveTo>
                  <a:cubicBezTo>
                    <a:pt x="11342336" y="2595494"/>
                    <a:pt x="11342336" y="2595494"/>
                    <a:pt x="11349567" y="2624575"/>
                  </a:cubicBezTo>
                  <a:cubicBezTo>
                    <a:pt x="11349567" y="2624575"/>
                    <a:pt x="11349567" y="2624575"/>
                    <a:pt x="11356797" y="2610034"/>
                  </a:cubicBezTo>
                  <a:cubicBezTo>
                    <a:pt x="11356797" y="2610034"/>
                    <a:pt x="11356797" y="2610034"/>
                    <a:pt x="11342336" y="2595494"/>
                  </a:cubicBezTo>
                  <a:close/>
                  <a:moveTo>
                    <a:pt x="11335106" y="2595494"/>
                  </a:moveTo>
                  <a:cubicBezTo>
                    <a:pt x="11335106" y="2595494"/>
                    <a:pt x="11335106" y="2595494"/>
                    <a:pt x="11327876" y="2602764"/>
                  </a:cubicBezTo>
                  <a:cubicBezTo>
                    <a:pt x="11327876" y="2602764"/>
                    <a:pt x="11327876" y="2602764"/>
                    <a:pt x="11320645" y="2610034"/>
                  </a:cubicBezTo>
                  <a:cubicBezTo>
                    <a:pt x="11320645" y="2610034"/>
                    <a:pt x="11320645" y="2610034"/>
                    <a:pt x="11335106" y="2631845"/>
                  </a:cubicBezTo>
                  <a:cubicBezTo>
                    <a:pt x="11335106" y="2631845"/>
                    <a:pt x="11335106" y="2631845"/>
                    <a:pt x="11335106" y="2624575"/>
                  </a:cubicBezTo>
                  <a:cubicBezTo>
                    <a:pt x="11335106" y="2624575"/>
                    <a:pt x="11335106" y="2624575"/>
                    <a:pt x="11335106" y="2610034"/>
                  </a:cubicBezTo>
                  <a:close/>
                  <a:moveTo>
                    <a:pt x="11291724" y="2595494"/>
                  </a:moveTo>
                  <a:cubicBezTo>
                    <a:pt x="11291724" y="2595494"/>
                    <a:pt x="11291724" y="2595494"/>
                    <a:pt x="11291724" y="2602764"/>
                  </a:cubicBezTo>
                  <a:cubicBezTo>
                    <a:pt x="11291724" y="2602764"/>
                    <a:pt x="11291724" y="2602764"/>
                    <a:pt x="11291724" y="2617305"/>
                  </a:cubicBezTo>
                  <a:cubicBezTo>
                    <a:pt x="11291724" y="2617305"/>
                    <a:pt x="11291724" y="2617305"/>
                    <a:pt x="11291724" y="2631845"/>
                  </a:cubicBezTo>
                  <a:lnTo>
                    <a:pt x="11298954" y="2617305"/>
                  </a:lnTo>
                  <a:cubicBezTo>
                    <a:pt x="11298954" y="2617305"/>
                    <a:pt x="11298954" y="2617305"/>
                    <a:pt x="11306185" y="2617305"/>
                  </a:cubicBezTo>
                  <a:cubicBezTo>
                    <a:pt x="11306185" y="2617305"/>
                    <a:pt x="11306185" y="2617305"/>
                    <a:pt x="11306185" y="2610034"/>
                  </a:cubicBezTo>
                  <a:cubicBezTo>
                    <a:pt x="11306185" y="2610034"/>
                    <a:pt x="11306185" y="2610034"/>
                    <a:pt x="11291724" y="2595494"/>
                  </a:cubicBezTo>
                  <a:close/>
                  <a:moveTo>
                    <a:pt x="12087066" y="2588223"/>
                  </a:moveTo>
                  <a:cubicBezTo>
                    <a:pt x="12087066" y="2588223"/>
                    <a:pt x="12087066" y="2588223"/>
                    <a:pt x="12079835" y="2595494"/>
                  </a:cubicBezTo>
                  <a:cubicBezTo>
                    <a:pt x="12079835" y="2595494"/>
                    <a:pt x="12079835" y="2595494"/>
                    <a:pt x="12072605" y="2602764"/>
                  </a:cubicBezTo>
                  <a:cubicBezTo>
                    <a:pt x="12072605" y="2602764"/>
                    <a:pt x="12072605" y="2602764"/>
                    <a:pt x="12087066" y="2617305"/>
                  </a:cubicBezTo>
                  <a:cubicBezTo>
                    <a:pt x="12087066" y="2617305"/>
                    <a:pt x="12087066" y="2617305"/>
                    <a:pt x="12087066" y="2610034"/>
                  </a:cubicBezTo>
                  <a:cubicBezTo>
                    <a:pt x="12087066" y="2610034"/>
                    <a:pt x="12087066" y="2610034"/>
                    <a:pt x="12087066" y="2595494"/>
                  </a:cubicBezTo>
                  <a:cubicBezTo>
                    <a:pt x="12087066" y="2595494"/>
                    <a:pt x="12087066" y="2595494"/>
                    <a:pt x="12087066" y="2593676"/>
                  </a:cubicBezTo>
                  <a:close/>
                  <a:moveTo>
                    <a:pt x="11978610" y="2588223"/>
                  </a:moveTo>
                  <a:cubicBezTo>
                    <a:pt x="11978610" y="2588223"/>
                    <a:pt x="11978610" y="2588223"/>
                    <a:pt x="11971380" y="2595494"/>
                  </a:cubicBezTo>
                  <a:cubicBezTo>
                    <a:pt x="11971380" y="2595494"/>
                    <a:pt x="11971380" y="2595494"/>
                    <a:pt x="11971380" y="2602764"/>
                  </a:cubicBezTo>
                  <a:cubicBezTo>
                    <a:pt x="11971380" y="2602764"/>
                    <a:pt x="11971380" y="2602764"/>
                    <a:pt x="11964149" y="2602764"/>
                  </a:cubicBezTo>
                  <a:cubicBezTo>
                    <a:pt x="11964149" y="2602764"/>
                    <a:pt x="11964149" y="2602764"/>
                    <a:pt x="11971380" y="2610034"/>
                  </a:cubicBezTo>
                  <a:lnTo>
                    <a:pt x="11978610" y="2617305"/>
                  </a:lnTo>
                  <a:cubicBezTo>
                    <a:pt x="11978610" y="2617305"/>
                    <a:pt x="11978610" y="2617305"/>
                    <a:pt x="11978610" y="2610034"/>
                  </a:cubicBezTo>
                  <a:cubicBezTo>
                    <a:pt x="11978610" y="2610034"/>
                    <a:pt x="11978610" y="2610034"/>
                    <a:pt x="11978610" y="2602764"/>
                  </a:cubicBezTo>
                  <a:cubicBezTo>
                    <a:pt x="11978610" y="2602764"/>
                    <a:pt x="11978610" y="2602764"/>
                    <a:pt x="11978610" y="2595494"/>
                  </a:cubicBezTo>
                  <a:cubicBezTo>
                    <a:pt x="11978610" y="2595494"/>
                    <a:pt x="11978610" y="2595494"/>
                    <a:pt x="11978610" y="2588223"/>
                  </a:cubicBezTo>
                  <a:close/>
                  <a:moveTo>
                    <a:pt x="11935228" y="2588223"/>
                  </a:moveTo>
                  <a:cubicBezTo>
                    <a:pt x="11935228" y="2588223"/>
                    <a:pt x="11935228" y="2588223"/>
                    <a:pt x="11935228" y="2595494"/>
                  </a:cubicBezTo>
                  <a:cubicBezTo>
                    <a:pt x="11935228" y="2595494"/>
                    <a:pt x="11935228" y="2595494"/>
                    <a:pt x="11942458" y="2610034"/>
                  </a:cubicBezTo>
                  <a:cubicBezTo>
                    <a:pt x="11942458" y="2610034"/>
                    <a:pt x="11942458" y="2610034"/>
                    <a:pt x="11942458" y="2617305"/>
                  </a:cubicBezTo>
                  <a:cubicBezTo>
                    <a:pt x="11942458" y="2617305"/>
                    <a:pt x="11942458" y="2617305"/>
                    <a:pt x="11949689" y="2610034"/>
                  </a:cubicBezTo>
                  <a:cubicBezTo>
                    <a:pt x="11949689" y="2610034"/>
                    <a:pt x="11949689" y="2610034"/>
                    <a:pt x="11949689" y="2602764"/>
                  </a:cubicBezTo>
                  <a:close/>
                  <a:moveTo>
                    <a:pt x="11927997" y="2588223"/>
                  </a:moveTo>
                  <a:cubicBezTo>
                    <a:pt x="11927997" y="2588223"/>
                    <a:pt x="11927997" y="2588223"/>
                    <a:pt x="11920767" y="2595494"/>
                  </a:cubicBezTo>
                  <a:cubicBezTo>
                    <a:pt x="11920767" y="2595494"/>
                    <a:pt x="11920767" y="2595494"/>
                    <a:pt x="11913537" y="2602764"/>
                  </a:cubicBezTo>
                  <a:lnTo>
                    <a:pt x="11927997" y="2624575"/>
                  </a:lnTo>
                  <a:cubicBezTo>
                    <a:pt x="11927997" y="2624575"/>
                    <a:pt x="11927997" y="2624575"/>
                    <a:pt x="11927997" y="2610034"/>
                  </a:cubicBezTo>
                  <a:cubicBezTo>
                    <a:pt x="11927997" y="2610034"/>
                    <a:pt x="11927997" y="2610034"/>
                    <a:pt x="11927997" y="2602764"/>
                  </a:cubicBezTo>
                  <a:cubicBezTo>
                    <a:pt x="11927997" y="2602764"/>
                    <a:pt x="11927997" y="2602764"/>
                    <a:pt x="11927997" y="2588223"/>
                  </a:cubicBezTo>
                  <a:close/>
                  <a:moveTo>
                    <a:pt x="11870154" y="2588223"/>
                  </a:moveTo>
                  <a:cubicBezTo>
                    <a:pt x="11870154" y="2588223"/>
                    <a:pt x="11870154" y="2588223"/>
                    <a:pt x="11862924" y="2595494"/>
                  </a:cubicBezTo>
                  <a:cubicBezTo>
                    <a:pt x="11862924" y="2595494"/>
                    <a:pt x="11862924" y="2595494"/>
                    <a:pt x="11862924" y="2602764"/>
                  </a:cubicBezTo>
                  <a:cubicBezTo>
                    <a:pt x="11862924" y="2602764"/>
                    <a:pt x="11862924" y="2602764"/>
                    <a:pt x="11870154" y="2624575"/>
                  </a:cubicBezTo>
                  <a:lnTo>
                    <a:pt x="11870154" y="2610034"/>
                  </a:lnTo>
                  <a:cubicBezTo>
                    <a:pt x="11870154" y="2610034"/>
                    <a:pt x="11870154" y="2610034"/>
                    <a:pt x="11870154" y="2602764"/>
                  </a:cubicBezTo>
                  <a:cubicBezTo>
                    <a:pt x="11870154" y="2602764"/>
                    <a:pt x="11870154" y="2602764"/>
                    <a:pt x="11870154" y="2595494"/>
                  </a:cubicBezTo>
                  <a:cubicBezTo>
                    <a:pt x="11870154" y="2595494"/>
                    <a:pt x="11870154" y="2595494"/>
                    <a:pt x="11870154" y="2588223"/>
                  </a:cubicBezTo>
                  <a:close/>
                  <a:moveTo>
                    <a:pt x="11834002" y="2588223"/>
                  </a:moveTo>
                  <a:cubicBezTo>
                    <a:pt x="11834002" y="2588223"/>
                    <a:pt x="11834002" y="2588223"/>
                    <a:pt x="11834002" y="2602764"/>
                  </a:cubicBezTo>
                  <a:cubicBezTo>
                    <a:pt x="11834002" y="2602764"/>
                    <a:pt x="11834002" y="2602764"/>
                    <a:pt x="11834002" y="2617305"/>
                  </a:cubicBezTo>
                  <a:cubicBezTo>
                    <a:pt x="11834002" y="2617305"/>
                    <a:pt x="11834002" y="2617305"/>
                    <a:pt x="11841233" y="2610034"/>
                  </a:cubicBezTo>
                  <a:cubicBezTo>
                    <a:pt x="11841233" y="2610034"/>
                    <a:pt x="11841233" y="2610034"/>
                    <a:pt x="11841233" y="2602764"/>
                  </a:cubicBezTo>
                  <a:cubicBezTo>
                    <a:pt x="11841233" y="2602764"/>
                    <a:pt x="11841233" y="2602764"/>
                    <a:pt x="11834002" y="2588223"/>
                  </a:cubicBezTo>
                  <a:close/>
                  <a:moveTo>
                    <a:pt x="11819542" y="2588223"/>
                  </a:moveTo>
                  <a:cubicBezTo>
                    <a:pt x="11819542" y="2588223"/>
                    <a:pt x="11819542" y="2588223"/>
                    <a:pt x="11812311" y="2595494"/>
                  </a:cubicBezTo>
                  <a:cubicBezTo>
                    <a:pt x="11812311" y="2595494"/>
                    <a:pt x="11812311" y="2595494"/>
                    <a:pt x="11812311" y="2602764"/>
                  </a:cubicBezTo>
                  <a:cubicBezTo>
                    <a:pt x="11812311" y="2602764"/>
                    <a:pt x="11812311" y="2602764"/>
                    <a:pt x="11805081" y="2602764"/>
                  </a:cubicBezTo>
                  <a:lnTo>
                    <a:pt x="11819542" y="2624575"/>
                  </a:lnTo>
                  <a:cubicBezTo>
                    <a:pt x="11819542" y="2624575"/>
                    <a:pt x="11819542" y="2624575"/>
                    <a:pt x="11819542" y="2617305"/>
                  </a:cubicBezTo>
                  <a:cubicBezTo>
                    <a:pt x="11819542" y="2617305"/>
                    <a:pt x="11819542" y="2617305"/>
                    <a:pt x="11819542" y="2610034"/>
                  </a:cubicBezTo>
                  <a:cubicBezTo>
                    <a:pt x="11819542" y="2610034"/>
                    <a:pt x="11819542" y="2610034"/>
                    <a:pt x="11819542" y="2602764"/>
                  </a:cubicBezTo>
                  <a:cubicBezTo>
                    <a:pt x="11819542" y="2602764"/>
                    <a:pt x="11819542" y="2602764"/>
                    <a:pt x="11819542" y="2588223"/>
                  </a:cubicBezTo>
                  <a:close/>
                  <a:moveTo>
                    <a:pt x="11776159" y="2588223"/>
                  </a:moveTo>
                  <a:cubicBezTo>
                    <a:pt x="11776159" y="2588223"/>
                    <a:pt x="11776159" y="2588223"/>
                    <a:pt x="11776159" y="2602764"/>
                  </a:cubicBezTo>
                  <a:cubicBezTo>
                    <a:pt x="11776159" y="2602764"/>
                    <a:pt x="11776159" y="2602764"/>
                    <a:pt x="11776159" y="2617305"/>
                  </a:cubicBezTo>
                  <a:cubicBezTo>
                    <a:pt x="11776159" y="2617305"/>
                    <a:pt x="11776159" y="2617305"/>
                    <a:pt x="11776159" y="2624575"/>
                  </a:cubicBezTo>
                  <a:lnTo>
                    <a:pt x="11783390" y="2617305"/>
                  </a:lnTo>
                  <a:cubicBezTo>
                    <a:pt x="11783390" y="2617305"/>
                    <a:pt x="11783390" y="2617305"/>
                    <a:pt x="11783390" y="2610034"/>
                  </a:cubicBezTo>
                  <a:cubicBezTo>
                    <a:pt x="11783390" y="2610034"/>
                    <a:pt x="11783390" y="2610034"/>
                    <a:pt x="11790620" y="2602764"/>
                  </a:cubicBezTo>
                  <a:cubicBezTo>
                    <a:pt x="11790620" y="2602764"/>
                    <a:pt x="11790620" y="2602764"/>
                    <a:pt x="11776159" y="2588223"/>
                  </a:cubicBezTo>
                  <a:close/>
                  <a:moveTo>
                    <a:pt x="11761699" y="2588223"/>
                  </a:moveTo>
                  <a:cubicBezTo>
                    <a:pt x="11761699" y="2588223"/>
                    <a:pt x="11761699" y="2588223"/>
                    <a:pt x="11754468" y="2595494"/>
                  </a:cubicBezTo>
                  <a:cubicBezTo>
                    <a:pt x="11754468" y="2595494"/>
                    <a:pt x="11754468" y="2595494"/>
                    <a:pt x="11754468" y="2602764"/>
                  </a:cubicBezTo>
                  <a:lnTo>
                    <a:pt x="11754468" y="2610034"/>
                  </a:lnTo>
                  <a:cubicBezTo>
                    <a:pt x="11754468" y="2610034"/>
                    <a:pt x="11754468" y="2610034"/>
                    <a:pt x="11761699" y="2624575"/>
                  </a:cubicBezTo>
                  <a:cubicBezTo>
                    <a:pt x="11761699" y="2624575"/>
                    <a:pt x="11761699" y="2624575"/>
                    <a:pt x="11761699" y="2617305"/>
                  </a:cubicBezTo>
                  <a:cubicBezTo>
                    <a:pt x="11761699" y="2617305"/>
                    <a:pt x="11761699" y="2617305"/>
                    <a:pt x="11761699" y="2610034"/>
                  </a:cubicBezTo>
                  <a:cubicBezTo>
                    <a:pt x="11761699" y="2610034"/>
                    <a:pt x="11761699" y="2610034"/>
                    <a:pt x="11761699" y="2602764"/>
                  </a:cubicBezTo>
                  <a:cubicBezTo>
                    <a:pt x="11761699" y="2602764"/>
                    <a:pt x="11761699" y="2602764"/>
                    <a:pt x="11761699" y="2588223"/>
                  </a:cubicBezTo>
                  <a:close/>
                  <a:moveTo>
                    <a:pt x="11725547" y="2588223"/>
                  </a:moveTo>
                  <a:cubicBezTo>
                    <a:pt x="11725547" y="2588223"/>
                    <a:pt x="11725547" y="2588223"/>
                    <a:pt x="11725547" y="2602764"/>
                  </a:cubicBezTo>
                  <a:cubicBezTo>
                    <a:pt x="11725547" y="2602764"/>
                    <a:pt x="11725547" y="2602764"/>
                    <a:pt x="11725547" y="2610034"/>
                  </a:cubicBezTo>
                  <a:cubicBezTo>
                    <a:pt x="11725547" y="2610034"/>
                    <a:pt x="11725547" y="2610034"/>
                    <a:pt x="11725547" y="2617305"/>
                  </a:cubicBezTo>
                  <a:cubicBezTo>
                    <a:pt x="11725547" y="2617305"/>
                    <a:pt x="11725547" y="2617305"/>
                    <a:pt x="11732777" y="2610034"/>
                  </a:cubicBezTo>
                  <a:cubicBezTo>
                    <a:pt x="11732777" y="2610034"/>
                    <a:pt x="11732777" y="2610034"/>
                    <a:pt x="11725547" y="2588223"/>
                  </a:cubicBezTo>
                  <a:close/>
                  <a:moveTo>
                    <a:pt x="11617091" y="2588223"/>
                  </a:moveTo>
                  <a:cubicBezTo>
                    <a:pt x="11617091" y="2588223"/>
                    <a:pt x="11617091" y="2588223"/>
                    <a:pt x="11617091" y="2602764"/>
                  </a:cubicBezTo>
                  <a:cubicBezTo>
                    <a:pt x="11617091" y="2602764"/>
                    <a:pt x="11617091" y="2602764"/>
                    <a:pt x="11617091" y="2610034"/>
                  </a:cubicBezTo>
                  <a:cubicBezTo>
                    <a:pt x="11617091" y="2610034"/>
                    <a:pt x="11617091" y="2610034"/>
                    <a:pt x="11617091" y="2617305"/>
                  </a:cubicBezTo>
                  <a:cubicBezTo>
                    <a:pt x="11617091" y="2617305"/>
                    <a:pt x="11617091" y="2617305"/>
                    <a:pt x="11617091" y="2624575"/>
                  </a:cubicBezTo>
                  <a:lnTo>
                    <a:pt x="11624321" y="2617305"/>
                  </a:lnTo>
                  <a:cubicBezTo>
                    <a:pt x="11624321" y="2617305"/>
                    <a:pt x="11624321" y="2617305"/>
                    <a:pt x="11624321" y="2610034"/>
                  </a:cubicBezTo>
                  <a:cubicBezTo>
                    <a:pt x="11624321" y="2610034"/>
                    <a:pt x="11624321" y="2610034"/>
                    <a:pt x="11617091" y="2588223"/>
                  </a:cubicBezTo>
                  <a:close/>
                  <a:moveTo>
                    <a:pt x="12043683" y="2580953"/>
                  </a:moveTo>
                  <a:lnTo>
                    <a:pt x="12043683" y="2595494"/>
                  </a:lnTo>
                  <a:cubicBezTo>
                    <a:pt x="12043683" y="2595494"/>
                    <a:pt x="12043683" y="2595494"/>
                    <a:pt x="12043683" y="2610034"/>
                  </a:cubicBezTo>
                  <a:cubicBezTo>
                    <a:pt x="12043683" y="2610034"/>
                    <a:pt x="12043683" y="2610034"/>
                    <a:pt x="12043683" y="2617305"/>
                  </a:cubicBezTo>
                  <a:cubicBezTo>
                    <a:pt x="12043683" y="2617305"/>
                    <a:pt x="12043683" y="2617305"/>
                    <a:pt x="12050914" y="2617305"/>
                  </a:cubicBezTo>
                  <a:cubicBezTo>
                    <a:pt x="12050914" y="2617305"/>
                    <a:pt x="12050914" y="2617305"/>
                    <a:pt x="12058144" y="2602764"/>
                  </a:cubicBezTo>
                  <a:cubicBezTo>
                    <a:pt x="12058144" y="2602764"/>
                    <a:pt x="12058144" y="2602764"/>
                    <a:pt x="12043683" y="2580953"/>
                  </a:cubicBezTo>
                  <a:close/>
                  <a:moveTo>
                    <a:pt x="11515866" y="2580953"/>
                  </a:moveTo>
                  <a:cubicBezTo>
                    <a:pt x="11515866" y="2580953"/>
                    <a:pt x="11515866" y="2580953"/>
                    <a:pt x="11530326" y="2595494"/>
                  </a:cubicBezTo>
                  <a:lnTo>
                    <a:pt x="11530326" y="2588223"/>
                  </a:lnTo>
                  <a:cubicBezTo>
                    <a:pt x="11530326" y="2588223"/>
                    <a:pt x="11530326" y="2588223"/>
                    <a:pt x="11537557" y="2580953"/>
                  </a:cubicBezTo>
                  <a:cubicBezTo>
                    <a:pt x="11537557" y="2580953"/>
                    <a:pt x="11537557" y="2580953"/>
                    <a:pt x="11530326" y="2580953"/>
                  </a:cubicBezTo>
                  <a:cubicBezTo>
                    <a:pt x="11530326" y="2580953"/>
                    <a:pt x="11530326" y="2580953"/>
                    <a:pt x="11515866" y="2580953"/>
                  </a:cubicBezTo>
                  <a:close/>
                  <a:moveTo>
                    <a:pt x="11458023" y="2580953"/>
                  </a:moveTo>
                  <a:cubicBezTo>
                    <a:pt x="11458023" y="2580953"/>
                    <a:pt x="11458023" y="2580953"/>
                    <a:pt x="11472483" y="2595494"/>
                  </a:cubicBezTo>
                  <a:cubicBezTo>
                    <a:pt x="11472483" y="2595494"/>
                    <a:pt x="11472483" y="2595494"/>
                    <a:pt x="11479714" y="2595494"/>
                  </a:cubicBezTo>
                  <a:cubicBezTo>
                    <a:pt x="11479714" y="2595494"/>
                    <a:pt x="11479714" y="2595494"/>
                    <a:pt x="11479714" y="2588223"/>
                  </a:cubicBezTo>
                  <a:cubicBezTo>
                    <a:pt x="11479714" y="2588223"/>
                    <a:pt x="11479714" y="2588223"/>
                    <a:pt x="11486944" y="2580953"/>
                  </a:cubicBezTo>
                  <a:lnTo>
                    <a:pt x="11479714" y="2580953"/>
                  </a:lnTo>
                  <a:cubicBezTo>
                    <a:pt x="11479714" y="2580953"/>
                    <a:pt x="11479714" y="2580953"/>
                    <a:pt x="11472483" y="2580953"/>
                  </a:cubicBezTo>
                  <a:cubicBezTo>
                    <a:pt x="11472483" y="2580953"/>
                    <a:pt x="11472483" y="2580953"/>
                    <a:pt x="11465253" y="2580953"/>
                  </a:cubicBezTo>
                  <a:cubicBezTo>
                    <a:pt x="11465253" y="2580953"/>
                    <a:pt x="11465253" y="2580953"/>
                    <a:pt x="11458023" y="2580953"/>
                  </a:cubicBezTo>
                  <a:close/>
                  <a:moveTo>
                    <a:pt x="11349567" y="2580953"/>
                  </a:moveTo>
                  <a:cubicBezTo>
                    <a:pt x="11349567" y="2580953"/>
                    <a:pt x="11349567" y="2580953"/>
                    <a:pt x="11364028" y="2595494"/>
                  </a:cubicBezTo>
                  <a:cubicBezTo>
                    <a:pt x="11364028" y="2595494"/>
                    <a:pt x="11364028" y="2595494"/>
                    <a:pt x="11364028" y="2602764"/>
                  </a:cubicBezTo>
                  <a:cubicBezTo>
                    <a:pt x="11364028" y="2602764"/>
                    <a:pt x="11364028" y="2602764"/>
                    <a:pt x="11371258" y="2588223"/>
                  </a:cubicBezTo>
                  <a:cubicBezTo>
                    <a:pt x="11371258" y="2588223"/>
                    <a:pt x="11371258" y="2588223"/>
                    <a:pt x="11378488" y="2580953"/>
                  </a:cubicBezTo>
                  <a:cubicBezTo>
                    <a:pt x="11378488" y="2580953"/>
                    <a:pt x="11378488" y="2580953"/>
                    <a:pt x="11371258" y="2580953"/>
                  </a:cubicBezTo>
                  <a:cubicBezTo>
                    <a:pt x="11371258" y="2580953"/>
                    <a:pt x="11371258" y="2580953"/>
                    <a:pt x="11364028" y="2580953"/>
                  </a:cubicBezTo>
                  <a:close/>
                  <a:moveTo>
                    <a:pt x="11298954" y="2580953"/>
                  </a:moveTo>
                  <a:cubicBezTo>
                    <a:pt x="11298954" y="2580953"/>
                    <a:pt x="11298954" y="2580953"/>
                    <a:pt x="11313415" y="2602764"/>
                  </a:cubicBezTo>
                  <a:cubicBezTo>
                    <a:pt x="11313415" y="2602764"/>
                    <a:pt x="11313415" y="2602764"/>
                    <a:pt x="11313415" y="2595494"/>
                  </a:cubicBezTo>
                  <a:cubicBezTo>
                    <a:pt x="11313415" y="2595494"/>
                    <a:pt x="11313415" y="2595494"/>
                    <a:pt x="11327876" y="2580953"/>
                  </a:cubicBezTo>
                  <a:lnTo>
                    <a:pt x="11306185" y="2580953"/>
                  </a:lnTo>
                  <a:cubicBezTo>
                    <a:pt x="11306185" y="2580953"/>
                    <a:pt x="11306185" y="2580953"/>
                    <a:pt x="11298954" y="2580953"/>
                  </a:cubicBezTo>
                  <a:close/>
                  <a:moveTo>
                    <a:pt x="12000301" y="2573683"/>
                  </a:moveTo>
                  <a:cubicBezTo>
                    <a:pt x="12000301" y="2573683"/>
                    <a:pt x="12000301" y="2573683"/>
                    <a:pt x="12014762" y="2588223"/>
                  </a:cubicBezTo>
                  <a:cubicBezTo>
                    <a:pt x="12014762" y="2588223"/>
                    <a:pt x="12014762" y="2588223"/>
                    <a:pt x="12014762" y="2580953"/>
                  </a:cubicBezTo>
                  <a:cubicBezTo>
                    <a:pt x="12014762" y="2580953"/>
                    <a:pt x="12014762" y="2580953"/>
                    <a:pt x="12021992" y="2573683"/>
                  </a:cubicBezTo>
                  <a:cubicBezTo>
                    <a:pt x="12021992" y="2573683"/>
                    <a:pt x="12021992" y="2573683"/>
                    <a:pt x="12007532" y="2573683"/>
                  </a:cubicBezTo>
                  <a:close/>
                  <a:moveTo>
                    <a:pt x="11783390" y="2573683"/>
                  </a:moveTo>
                  <a:cubicBezTo>
                    <a:pt x="11783390" y="2573683"/>
                    <a:pt x="11783390" y="2573683"/>
                    <a:pt x="11797851" y="2595494"/>
                  </a:cubicBezTo>
                  <a:cubicBezTo>
                    <a:pt x="11797851" y="2595494"/>
                    <a:pt x="11797851" y="2595494"/>
                    <a:pt x="11797851" y="2588223"/>
                  </a:cubicBezTo>
                  <a:cubicBezTo>
                    <a:pt x="11797851" y="2588223"/>
                    <a:pt x="11797851" y="2588223"/>
                    <a:pt x="11805081" y="2588223"/>
                  </a:cubicBezTo>
                  <a:cubicBezTo>
                    <a:pt x="11805081" y="2588223"/>
                    <a:pt x="11805081" y="2588223"/>
                    <a:pt x="11805081" y="2580953"/>
                  </a:cubicBezTo>
                  <a:cubicBezTo>
                    <a:pt x="11805081" y="2580953"/>
                    <a:pt x="11805081" y="2580953"/>
                    <a:pt x="11812311" y="2573683"/>
                  </a:cubicBezTo>
                  <a:cubicBezTo>
                    <a:pt x="11812311" y="2573683"/>
                    <a:pt x="11812311" y="2573683"/>
                    <a:pt x="11805081" y="2573683"/>
                  </a:cubicBezTo>
                  <a:close/>
                  <a:moveTo>
                    <a:pt x="11624321" y="2573683"/>
                  </a:moveTo>
                  <a:cubicBezTo>
                    <a:pt x="11624321" y="2573683"/>
                    <a:pt x="11624321" y="2573683"/>
                    <a:pt x="11631552" y="2595494"/>
                  </a:cubicBezTo>
                  <a:cubicBezTo>
                    <a:pt x="11631552" y="2595494"/>
                    <a:pt x="11631552" y="2595494"/>
                    <a:pt x="11638782" y="2595494"/>
                  </a:cubicBezTo>
                  <a:cubicBezTo>
                    <a:pt x="11638782" y="2595494"/>
                    <a:pt x="11638782" y="2595494"/>
                    <a:pt x="11638782" y="2588223"/>
                  </a:cubicBezTo>
                  <a:cubicBezTo>
                    <a:pt x="11638782" y="2588223"/>
                    <a:pt x="11638782" y="2588223"/>
                    <a:pt x="11646013" y="2588223"/>
                  </a:cubicBezTo>
                  <a:cubicBezTo>
                    <a:pt x="11646013" y="2588223"/>
                    <a:pt x="11646013" y="2588223"/>
                    <a:pt x="11646013" y="2580953"/>
                  </a:cubicBezTo>
                  <a:lnTo>
                    <a:pt x="11646013" y="2573683"/>
                  </a:lnTo>
                  <a:cubicBezTo>
                    <a:pt x="11646013" y="2573683"/>
                    <a:pt x="11646013" y="2573683"/>
                    <a:pt x="11638782" y="2573683"/>
                  </a:cubicBezTo>
                  <a:cubicBezTo>
                    <a:pt x="11638782" y="2573683"/>
                    <a:pt x="11638782" y="2573683"/>
                    <a:pt x="11631552" y="2573683"/>
                  </a:cubicBezTo>
                  <a:cubicBezTo>
                    <a:pt x="11631552" y="2573683"/>
                    <a:pt x="11631552" y="2573683"/>
                    <a:pt x="11624321" y="2573683"/>
                  </a:cubicBezTo>
                  <a:close/>
                  <a:moveTo>
                    <a:pt x="12065375" y="2566413"/>
                  </a:moveTo>
                  <a:cubicBezTo>
                    <a:pt x="12065375" y="2566413"/>
                    <a:pt x="12065375" y="2566413"/>
                    <a:pt x="12050914" y="2573683"/>
                  </a:cubicBezTo>
                  <a:cubicBezTo>
                    <a:pt x="12050914" y="2573683"/>
                    <a:pt x="12050914" y="2573683"/>
                    <a:pt x="12065375" y="2588223"/>
                  </a:cubicBezTo>
                  <a:cubicBezTo>
                    <a:pt x="12065375" y="2588223"/>
                    <a:pt x="12065375" y="2588223"/>
                    <a:pt x="12072605" y="2580953"/>
                  </a:cubicBezTo>
                  <a:cubicBezTo>
                    <a:pt x="12072605" y="2580953"/>
                    <a:pt x="12072605" y="2580953"/>
                    <a:pt x="12079835" y="2573683"/>
                  </a:cubicBezTo>
                  <a:cubicBezTo>
                    <a:pt x="12079835" y="2573683"/>
                    <a:pt x="12079835" y="2573683"/>
                    <a:pt x="12079835" y="2566413"/>
                  </a:cubicBezTo>
                  <a:cubicBezTo>
                    <a:pt x="12079835" y="2566413"/>
                    <a:pt x="12079835" y="2566413"/>
                    <a:pt x="12072605" y="2566413"/>
                  </a:cubicBezTo>
                  <a:close/>
                  <a:moveTo>
                    <a:pt x="11682164" y="2544602"/>
                  </a:moveTo>
                  <a:cubicBezTo>
                    <a:pt x="11682164" y="2544602"/>
                    <a:pt x="11682164" y="2544602"/>
                    <a:pt x="11674934" y="2559142"/>
                  </a:cubicBezTo>
                  <a:cubicBezTo>
                    <a:pt x="11674934" y="2559142"/>
                    <a:pt x="11674934" y="2559142"/>
                    <a:pt x="11682164" y="2559142"/>
                  </a:cubicBezTo>
                  <a:cubicBezTo>
                    <a:pt x="11682164" y="2559142"/>
                    <a:pt x="11682164" y="2559142"/>
                    <a:pt x="11703856" y="2559142"/>
                  </a:cubicBezTo>
                  <a:cubicBezTo>
                    <a:pt x="11703856" y="2559142"/>
                    <a:pt x="11703856" y="2559142"/>
                    <a:pt x="11689395" y="2544602"/>
                  </a:cubicBezTo>
                  <a:cubicBezTo>
                    <a:pt x="11689395" y="2544602"/>
                    <a:pt x="11689395" y="2544602"/>
                    <a:pt x="11682164" y="2544602"/>
                  </a:cubicBezTo>
                  <a:close/>
                  <a:moveTo>
                    <a:pt x="11631552" y="2544602"/>
                  </a:moveTo>
                  <a:cubicBezTo>
                    <a:pt x="11631552" y="2544602"/>
                    <a:pt x="11631552" y="2544602"/>
                    <a:pt x="11624321" y="2551872"/>
                  </a:cubicBezTo>
                  <a:cubicBezTo>
                    <a:pt x="11624321" y="2551872"/>
                    <a:pt x="11624321" y="2551872"/>
                    <a:pt x="11624321" y="2559142"/>
                  </a:cubicBezTo>
                  <a:cubicBezTo>
                    <a:pt x="11624321" y="2559142"/>
                    <a:pt x="11624321" y="2559142"/>
                    <a:pt x="11624321" y="2566413"/>
                  </a:cubicBezTo>
                  <a:cubicBezTo>
                    <a:pt x="11624321" y="2566413"/>
                    <a:pt x="11624321" y="2566413"/>
                    <a:pt x="11638782" y="2566413"/>
                  </a:cubicBezTo>
                  <a:cubicBezTo>
                    <a:pt x="11638782" y="2566413"/>
                    <a:pt x="11638782" y="2566413"/>
                    <a:pt x="11646013" y="2559142"/>
                  </a:cubicBezTo>
                  <a:cubicBezTo>
                    <a:pt x="11646013" y="2559142"/>
                    <a:pt x="11646013" y="2559142"/>
                    <a:pt x="11631552" y="2544602"/>
                  </a:cubicBezTo>
                  <a:close/>
                  <a:moveTo>
                    <a:pt x="11472483" y="2544602"/>
                  </a:moveTo>
                  <a:cubicBezTo>
                    <a:pt x="11472483" y="2544602"/>
                    <a:pt x="11472483" y="2544602"/>
                    <a:pt x="11465253" y="2551872"/>
                  </a:cubicBezTo>
                  <a:cubicBezTo>
                    <a:pt x="11465253" y="2551872"/>
                    <a:pt x="11465253" y="2551872"/>
                    <a:pt x="11465253" y="2559142"/>
                  </a:cubicBezTo>
                  <a:cubicBezTo>
                    <a:pt x="11465253" y="2559142"/>
                    <a:pt x="11465253" y="2559142"/>
                    <a:pt x="11458023" y="2566413"/>
                  </a:cubicBezTo>
                  <a:cubicBezTo>
                    <a:pt x="11458023" y="2566413"/>
                    <a:pt x="11458023" y="2566413"/>
                    <a:pt x="11465253" y="2566413"/>
                  </a:cubicBezTo>
                  <a:cubicBezTo>
                    <a:pt x="11465253" y="2566413"/>
                    <a:pt x="11465253" y="2566413"/>
                    <a:pt x="11479714" y="2566413"/>
                  </a:cubicBezTo>
                  <a:lnTo>
                    <a:pt x="11486944" y="2566413"/>
                  </a:lnTo>
                  <a:cubicBezTo>
                    <a:pt x="11486944" y="2566413"/>
                    <a:pt x="11486944" y="2566413"/>
                    <a:pt x="11479714" y="2551872"/>
                  </a:cubicBezTo>
                  <a:cubicBezTo>
                    <a:pt x="11479714" y="2551872"/>
                    <a:pt x="11479714" y="2551872"/>
                    <a:pt x="11472483" y="2544602"/>
                  </a:cubicBezTo>
                  <a:close/>
                  <a:moveTo>
                    <a:pt x="11797851" y="2537331"/>
                  </a:moveTo>
                  <a:cubicBezTo>
                    <a:pt x="11797851" y="2537331"/>
                    <a:pt x="11797851" y="2537331"/>
                    <a:pt x="11790620" y="2544602"/>
                  </a:cubicBezTo>
                  <a:cubicBezTo>
                    <a:pt x="11790620" y="2544602"/>
                    <a:pt x="11790620" y="2544602"/>
                    <a:pt x="11783390" y="2559142"/>
                  </a:cubicBezTo>
                  <a:lnTo>
                    <a:pt x="11790620" y="2559142"/>
                  </a:lnTo>
                  <a:cubicBezTo>
                    <a:pt x="11790620" y="2559142"/>
                    <a:pt x="11790620" y="2559142"/>
                    <a:pt x="11805081" y="2559142"/>
                  </a:cubicBezTo>
                  <a:cubicBezTo>
                    <a:pt x="11805081" y="2559142"/>
                    <a:pt x="11805081" y="2559142"/>
                    <a:pt x="11812311" y="2559142"/>
                  </a:cubicBezTo>
                  <a:cubicBezTo>
                    <a:pt x="11812311" y="2559142"/>
                    <a:pt x="11812311" y="2559142"/>
                    <a:pt x="11797851" y="2544602"/>
                  </a:cubicBezTo>
                  <a:cubicBezTo>
                    <a:pt x="11797851" y="2544602"/>
                    <a:pt x="11797851" y="2544602"/>
                    <a:pt x="11797851" y="2537331"/>
                  </a:cubicBezTo>
                  <a:close/>
                  <a:moveTo>
                    <a:pt x="11385719" y="2530061"/>
                  </a:moveTo>
                  <a:cubicBezTo>
                    <a:pt x="11385719" y="2530061"/>
                    <a:pt x="11385719" y="2530061"/>
                    <a:pt x="11378488" y="2537331"/>
                  </a:cubicBezTo>
                  <a:cubicBezTo>
                    <a:pt x="11378488" y="2537331"/>
                    <a:pt x="11378488" y="2537331"/>
                    <a:pt x="11371258" y="2537331"/>
                  </a:cubicBezTo>
                  <a:lnTo>
                    <a:pt x="11385719" y="2551872"/>
                  </a:lnTo>
                  <a:cubicBezTo>
                    <a:pt x="11385719" y="2551872"/>
                    <a:pt x="11385719" y="2551872"/>
                    <a:pt x="11385719" y="2537331"/>
                  </a:cubicBezTo>
                  <a:cubicBezTo>
                    <a:pt x="11385719" y="2537331"/>
                    <a:pt x="11385719" y="2537331"/>
                    <a:pt x="11385719" y="2530061"/>
                  </a:cubicBezTo>
                  <a:close/>
                  <a:moveTo>
                    <a:pt x="11320645" y="2530061"/>
                  </a:moveTo>
                  <a:lnTo>
                    <a:pt x="11320645" y="2537331"/>
                  </a:lnTo>
                  <a:cubicBezTo>
                    <a:pt x="11320645" y="2537331"/>
                    <a:pt x="11320645" y="2537331"/>
                    <a:pt x="11327876" y="2544602"/>
                  </a:cubicBezTo>
                  <a:cubicBezTo>
                    <a:pt x="11327876" y="2544602"/>
                    <a:pt x="11327876" y="2544602"/>
                    <a:pt x="11327876" y="2537331"/>
                  </a:cubicBezTo>
                  <a:cubicBezTo>
                    <a:pt x="11327876" y="2537331"/>
                    <a:pt x="11327876" y="2537331"/>
                    <a:pt x="11327876" y="2530061"/>
                  </a:cubicBezTo>
                  <a:cubicBezTo>
                    <a:pt x="11327876" y="2530061"/>
                    <a:pt x="11327876" y="2530061"/>
                    <a:pt x="11320645" y="2530061"/>
                  </a:cubicBezTo>
                  <a:close/>
                  <a:moveTo>
                    <a:pt x="11993071" y="2522791"/>
                  </a:moveTo>
                  <a:cubicBezTo>
                    <a:pt x="11993071" y="2522791"/>
                    <a:pt x="11993071" y="2522791"/>
                    <a:pt x="11993071" y="2530061"/>
                  </a:cubicBezTo>
                  <a:cubicBezTo>
                    <a:pt x="11993071" y="2530061"/>
                    <a:pt x="11993071" y="2530061"/>
                    <a:pt x="11993071" y="2544602"/>
                  </a:cubicBezTo>
                  <a:cubicBezTo>
                    <a:pt x="11993071" y="2544602"/>
                    <a:pt x="11993071" y="2544602"/>
                    <a:pt x="12000301" y="2537331"/>
                  </a:cubicBezTo>
                  <a:lnTo>
                    <a:pt x="12000301" y="2530061"/>
                  </a:lnTo>
                  <a:cubicBezTo>
                    <a:pt x="12000301" y="2530061"/>
                    <a:pt x="12000301" y="2530061"/>
                    <a:pt x="11993071" y="2522791"/>
                  </a:cubicBezTo>
                  <a:close/>
                  <a:moveTo>
                    <a:pt x="11913537" y="2522791"/>
                  </a:moveTo>
                  <a:cubicBezTo>
                    <a:pt x="11913537" y="2522791"/>
                    <a:pt x="11913537" y="2522791"/>
                    <a:pt x="11913537" y="2530061"/>
                  </a:cubicBezTo>
                  <a:lnTo>
                    <a:pt x="11920767" y="2544602"/>
                  </a:lnTo>
                  <a:cubicBezTo>
                    <a:pt x="11920767" y="2544602"/>
                    <a:pt x="11920767" y="2544602"/>
                    <a:pt x="11920767" y="2530061"/>
                  </a:cubicBezTo>
                  <a:cubicBezTo>
                    <a:pt x="11920767" y="2530061"/>
                    <a:pt x="11920767" y="2530061"/>
                    <a:pt x="11920767" y="2528244"/>
                  </a:cubicBezTo>
                  <a:lnTo>
                    <a:pt x="11920767" y="2522791"/>
                  </a:lnTo>
                  <a:cubicBezTo>
                    <a:pt x="11920767" y="2522791"/>
                    <a:pt x="11920767" y="2522791"/>
                    <a:pt x="11913537" y="2522791"/>
                  </a:cubicBezTo>
                  <a:close/>
                  <a:moveTo>
                    <a:pt x="12029223" y="2515521"/>
                  </a:moveTo>
                  <a:cubicBezTo>
                    <a:pt x="12029223" y="2515521"/>
                    <a:pt x="12029223" y="2515521"/>
                    <a:pt x="12021992" y="2522791"/>
                  </a:cubicBezTo>
                  <a:lnTo>
                    <a:pt x="12029223" y="2530061"/>
                  </a:lnTo>
                  <a:cubicBezTo>
                    <a:pt x="12029223" y="2530061"/>
                    <a:pt x="12029223" y="2530061"/>
                    <a:pt x="12029223" y="2515521"/>
                  </a:cubicBezTo>
                  <a:close/>
                  <a:moveTo>
                    <a:pt x="11971380" y="2515521"/>
                  </a:moveTo>
                  <a:cubicBezTo>
                    <a:pt x="11971380" y="2515521"/>
                    <a:pt x="11971380" y="2515521"/>
                    <a:pt x="11971380" y="2522791"/>
                  </a:cubicBezTo>
                  <a:cubicBezTo>
                    <a:pt x="11971380" y="2522791"/>
                    <a:pt x="11971380" y="2522791"/>
                    <a:pt x="11964149" y="2522791"/>
                  </a:cubicBezTo>
                  <a:lnTo>
                    <a:pt x="11978610" y="2544602"/>
                  </a:lnTo>
                  <a:cubicBezTo>
                    <a:pt x="11978610" y="2544602"/>
                    <a:pt x="11978610" y="2544602"/>
                    <a:pt x="11978610" y="2530061"/>
                  </a:cubicBezTo>
                  <a:cubicBezTo>
                    <a:pt x="11978610" y="2530061"/>
                    <a:pt x="11978610" y="2530061"/>
                    <a:pt x="11978610" y="2515521"/>
                  </a:cubicBezTo>
                  <a:cubicBezTo>
                    <a:pt x="11978610" y="2515521"/>
                    <a:pt x="11978610" y="2515521"/>
                    <a:pt x="11971380" y="2515521"/>
                  </a:cubicBezTo>
                  <a:close/>
                  <a:moveTo>
                    <a:pt x="11761699" y="2515521"/>
                  </a:moveTo>
                  <a:cubicBezTo>
                    <a:pt x="11761699" y="2515521"/>
                    <a:pt x="11761699" y="2515521"/>
                    <a:pt x="11754468" y="2522791"/>
                  </a:cubicBezTo>
                  <a:cubicBezTo>
                    <a:pt x="11754468" y="2522791"/>
                    <a:pt x="11754468" y="2522791"/>
                    <a:pt x="11747238" y="2530061"/>
                  </a:cubicBezTo>
                  <a:lnTo>
                    <a:pt x="11761699" y="2544602"/>
                  </a:lnTo>
                  <a:cubicBezTo>
                    <a:pt x="11761699" y="2544602"/>
                    <a:pt x="11761699" y="2544602"/>
                    <a:pt x="11761699" y="2537331"/>
                  </a:cubicBezTo>
                  <a:cubicBezTo>
                    <a:pt x="11761699" y="2537331"/>
                    <a:pt x="11761699" y="2537331"/>
                    <a:pt x="11761699" y="2522791"/>
                  </a:cubicBezTo>
                  <a:cubicBezTo>
                    <a:pt x="11761699" y="2522791"/>
                    <a:pt x="11761699" y="2522791"/>
                    <a:pt x="11761699" y="2515521"/>
                  </a:cubicBezTo>
                  <a:close/>
                  <a:moveTo>
                    <a:pt x="11703856" y="2515521"/>
                  </a:moveTo>
                  <a:cubicBezTo>
                    <a:pt x="11703856" y="2515521"/>
                    <a:pt x="11703856" y="2515521"/>
                    <a:pt x="11696625" y="2530061"/>
                  </a:cubicBezTo>
                  <a:lnTo>
                    <a:pt x="11711086" y="2544602"/>
                  </a:lnTo>
                  <a:cubicBezTo>
                    <a:pt x="11711086" y="2544602"/>
                    <a:pt x="11711086" y="2544602"/>
                    <a:pt x="11711086" y="2537331"/>
                  </a:cubicBezTo>
                  <a:cubicBezTo>
                    <a:pt x="11711086" y="2537331"/>
                    <a:pt x="11711086" y="2537331"/>
                    <a:pt x="11711086" y="2522791"/>
                  </a:cubicBezTo>
                  <a:cubicBezTo>
                    <a:pt x="11711086" y="2522791"/>
                    <a:pt x="11711086" y="2522791"/>
                    <a:pt x="11711086" y="2515521"/>
                  </a:cubicBezTo>
                  <a:cubicBezTo>
                    <a:pt x="11711086" y="2515521"/>
                    <a:pt x="11711086" y="2515521"/>
                    <a:pt x="11703856" y="2515521"/>
                  </a:cubicBezTo>
                  <a:close/>
                  <a:moveTo>
                    <a:pt x="11667704" y="2515521"/>
                  </a:moveTo>
                  <a:cubicBezTo>
                    <a:pt x="11667704" y="2515521"/>
                    <a:pt x="11667704" y="2515521"/>
                    <a:pt x="11667704" y="2522791"/>
                  </a:cubicBezTo>
                  <a:cubicBezTo>
                    <a:pt x="11667704" y="2522791"/>
                    <a:pt x="11667704" y="2522791"/>
                    <a:pt x="11667704" y="2530061"/>
                  </a:cubicBezTo>
                  <a:cubicBezTo>
                    <a:pt x="11667704" y="2530061"/>
                    <a:pt x="11667704" y="2530061"/>
                    <a:pt x="11667704" y="2544602"/>
                  </a:cubicBezTo>
                  <a:lnTo>
                    <a:pt x="11674934" y="2537331"/>
                  </a:lnTo>
                  <a:cubicBezTo>
                    <a:pt x="11674934" y="2537331"/>
                    <a:pt x="11674934" y="2537331"/>
                    <a:pt x="11682164" y="2530061"/>
                  </a:cubicBezTo>
                  <a:cubicBezTo>
                    <a:pt x="11682164" y="2530061"/>
                    <a:pt x="11682164" y="2530061"/>
                    <a:pt x="11667704" y="2515521"/>
                  </a:cubicBezTo>
                  <a:close/>
                  <a:moveTo>
                    <a:pt x="11559248" y="2515521"/>
                  </a:moveTo>
                  <a:cubicBezTo>
                    <a:pt x="11559248" y="2515521"/>
                    <a:pt x="11559248" y="2515521"/>
                    <a:pt x="11559248" y="2522791"/>
                  </a:cubicBezTo>
                  <a:cubicBezTo>
                    <a:pt x="11559248" y="2522791"/>
                    <a:pt x="11559248" y="2522791"/>
                    <a:pt x="11559248" y="2537331"/>
                  </a:cubicBezTo>
                  <a:lnTo>
                    <a:pt x="11559248" y="2551872"/>
                  </a:lnTo>
                  <a:cubicBezTo>
                    <a:pt x="11559248" y="2551872"/>
                    <a:pt x="11559248" y="2551872"/>
                    <a:pt x="11566478" y="2537331"/>
                  </a:cubicBezTo>
                  <a:cubicBezTo>
                    <a:pt x="11566478" y="2537331"/>
                    <a:pt x="11566478" y="2537331"/>
                    <a:pt x="11573709" y="2537331"/>
                  </a:cubicBezTo>
                  <a:cubicBezTo>
                    <a:pt x="11573709" y="2537331"/>
                    <a:pt x="11573709" y="2537331"/>
                    <a:pt x="11573709" y="2530061"/>
                  </a:cubicBezTo>
                  <a:cubicBezTo>
                    <a:pt x="11573709" y="2530061"/>
                    <a:pt x="11573709" y="2530061"/>
                    <a:pt x="11559248" y="2515521"/>
                  </a:cubicBezTo>
                  <a:close/>
                  <a:moveTo>
                    <a:pt x="11494175" y="2515521"/>
                  </a:moveTo>
                  <a:cubicBezTo>
                    <a:pt x="11494175" y="2515521"/>
                    <a:pt x="11494175" y="2515521"/>
                    <a:pt x="11486944" y="2522791"/>
                  </a:cubicBezTo>
                  <a:cubicBezTo>
                    <a:pt x="11486944" y="2522791"/>
                    <a:pt x="11486944" y="2522791"/>
                    <a:pt x="11486944" y="2530061"/>
                  </a:cubicBezTo>
                  <a:lnTo>
                    <a:pt x="11494175" y="2537331"/>
                  </a:lnTo>
                  <a:cubicBezTo>
                    <a:pt x="11494175" y="2537331"/>
                    <a:pt x="11494175" y="2537331"/>
                    <a:pt x="11494175" y="2522791"/>
                  </a:cubicBezTo>
                  <a:cubicBezTo>
                    <a:pt x="11494175" y="2522791"/>
                    <a:pt x="11494175" y="2522791"/>
                    <a:pt x="11494175" y="2515521"/>
                  </a:cubicBezTo>
                  <a:close/>
                  <a:moveTo>
                    <a:pt x="11342336" y="2515521"/>
                  </a:moveTo>
                  <a:cubicBezTo>
                    <a:pt x="11342336" y="2515521"/>
                    <a:pt x="11342336" y="2515521"/>
                    <a:pt x="11342336" y="2530061"/>
                  </a:cubicBezTo>
                  <a:cubicBezTo>
                    <a:pt x="11342336" y="2530061"/>
                    <a:pt x="11342336" y="2530061"/>
                    <a:pt x="11342336" y="2537331"/>
                  </a:cubicBezTo>
                  <a:cubicBezTo>
                    <a:pt x="11342336" y="2537331"/>
                    <a:pt x="11342336" y="2537331"/>
                    <a:pt x="11349567" y="2537331"/>
                  </a:cubicBezTo>
                  <a:lnTo>
                    <a:pt x="11349567" y="2530061"/>
                  </a:lnTo>
                  <a:cubicBezTo>
                    <a:pt x="11349567" y="2530061"/>
                    <a:pt x="11349567" y="2530061"/>
                    <a:pt x="11356797" y="2530061"/>
                  </a:cubicBezTo>
                  <a:cubicBezTo>
                    <a:pt x="11356797" y="2530061"/>
                    <a:pt x="11356797" y="2530061"/>
                    <a:pt x="11342336" y="2515521"/>
                  </a:cubicBezTo>
                  <a:close/>
                  <a:moveTo>
                    <a:pt x="11291724" y="2515521"/>
                  </a:moveTo>
                  <a:cubicBezTo>
                    <a:pt x="11291724" y="2515521"/>
                    <a:pt x="11291724" y="2515521"/>
                    <a:pt x="11291724" y="2530061"/>
                  </a:cubicBezTo>
                  <a:cubicBezTo>
                    <a:pt x="11291724" y="2530061"/>
                    <a:pt x="11291724" y="2530061"/>
                    <a:pt x="11291724" y="2531879"/>
                  </a:cubicBezTo>
                  <a:lnTo>
                    <a:pt x="11291724" y="2537331"/>
                  </a:lnTo>
                  <a:cubicBezTo>
                    <a:pt x="11291724" y="2537331"/>
                    <a:pt x="11291724" y="2537331"/>
                    <a:pt x="11298954" y="2530061"/>
                  </a:cubicBezTo>
                  <a:close/>
                  <a:moveTo>
                    <a:pt x="12087066" y="2508250"/>
                  </a:moveTo>
                  <a:lnTo>
                    <a:pt x="12079835" y="2515521"/>
                  </a:lnTo>
                  <a:cubicBezTo>
                    <a:pt x="12079835" y="2515521"/>
                    <a:pt x="12079835" y="2515521"/>
                    <a:pt x="12087066" y="2537331"/>
                  </a:cubicBezTo>
                  <a:cubicBezTo>
                    <a:pt x="12087066" y="2537331"/>
                    <a:pt x="12087066" y="2537331"/>
                    <a:pt x="12087066" y="2522791"/>
                  </a:cubicBezTo>
                  <a:cubicBezTo>
                    <a:pt x="12087066" y="2522791"/>
                    <a:pt x="12087066" y="2522791"/>
                    <a:pt x="12087066" y="2508250"/>
                  </a:cubicBezTo>
                  <a:close/>
                  <a:moveTo>
                    <a:pt x="12043683" y="2508250"/>
                  </a:moveTo>
                  <a:cubicBezTo>
                    <a:pt x="12043683" y="2508250"/>
                    <a:pt x="12043683" y="2508250"/>
                    <a:pt x="12043683" y="2515521"/>
                  </a:cubicBezTo>
                  <a:cubicBezTo>
                    <a:pt x="12043683" y="2515521"/>
                    <a:pt x="12043683" y="2515521"/>
                    <a:pt x="12043683" y="2522791"/>
                  </a:cubicBezTo>
                  <a:cubicBezTo>
                    <a:pt x="12043683" y="2522791"/>
                    <a:pt x="12043683" y="2522791"/>
                    <a:pt x="12043683" y="2530061"/>
                  </a:cubicBezTo>
                  <a:cubicBezTo>
                    <a:pt x="12043683" y="2530061"/>
                    <a:pt x="12043683" y="2530061"/>
                    <a:pt x="12050914" y="2537331"/>
                  </a:cubicBezTo>
                  <a:cubicBezTo>
                    <a:pt x="12050914" y="2537331"/>
                    <a:pt x="12050914" y="2537331"/>
                    <a:pt x="12058144" y="2530061"/>
                  </a:cubicBezTo>
                  <a:cubicBezTo>
                    <a:pt x="12058144" y="2530061"/>
                    <a:pt x="12058144" y="2530061"/>
                    <a:pt x="12058144" y="2522791"/>
                  </a:cubicBezTo>
                  <a:close/>
                  <a:moveTo>
                    <a:pt x="11935228" y="2508250"/>
                  </a:moveTo>
                  <a:cubicBezTo>
                    <a:pt x="11935228" y="2508250"/>
                    <a:pt x="11935228" y="2508250"/>
                    <a:pt x="11935228" y="2522791"/>
                  </a:cubicBezTo>
                  <a:cubicBezTo>
                    <a:pt x="11935228" y="2522791"/>
                    <a:pt x="11935228" y="2522791"/>
                    <a:pt x="11935228" y="2530061"/>
                  </a:cubicBezTo>
                  <a:cubicBezTo>
                    <a:pt x="11935228" y="2530061"/>
                    <a:pt x="11935228" y="2530061"/>
                    <a:pt x="11935228" y="2537331"/>
                  </a:cubicBezTo>
                  <a:cubicBezTo>
                    <a:pt x="11935228" y="2537331"/>
                    <a:pt x="11935228" y="2537331"/>
                    <a:pt x="11935228" y="2544602"/>
                  </a:cubicBezTo>
                  <a:cubicBezTo>
                    <a:pt x="11935228" y="2544602"/>
                    <a:pt x="11935228" y="2544602"/>
                    <a:pt x="11942458" y="2544602"/>
                  </a:cubicBezTo>
                  <a:cubicBezTo>
                    <a:pt x="11942458" y="2544602"/>
                    <a:pt x="11942458" y="2544602"/>
                    <a:pt x="11942458" y="2537331"/>
                  </a:cubicBezTo>
                  <a:cubicBezTo>
                    <a:pt x="11942458" y="2537331"/>
                    <a:pt x="11942458" y="2537331"/>
                    <a:pt x="11942458" y="2530061"/>
                  </a:cubicBezTo>
                  <a:lnTo>
                    <a:pt x="11949689" y="2522791"/>
                  </a:lnTo>
                  <a:cubicBezTo>
                    <a:pt x="11949689" y="2522791"/>
                    <a:pt x="11949689" y="2522791"/>
                    <a:pt x="11935228" y="2508250"/>
                  </a:cubicBezTo>
                  <a:close/>
                  <a:moveTo>
                    <a:pt x="11458023" y="2500980"/>
                  </a:moveTo>
                  <a:cubicBezTo>
                    <a:pt x="11458023" y="2500980"/>
                    <a:pt x="11458023" y="2500980"/>
                    <a:pt x="11472483" y="2522791"/>
                  </a:cubicBezTo>
                  <a:cubicBezTo>
                    <a:pt x="11472483" y="2522791"/>
                    <a:pt x="11472483" y="2522791"/>
                    <a:pt x="11479714" y="2508250"/>
                  </a:cubicBezTo>
                  <a:lnTo>
                    <a:pt x="11486944" y="2508250"/>
                  </a:lnTo>
                  <a:cubicBezTo>
                    <a:pt x="11486944" y="2508250"/>
                    <a:pt x="11486944" y="2508250"/>
                    <a:pt x="11486944" y="2500980"/>
                  </a:cubicBezTo>
                  <a:cubicBezTo>
                    <a:pt x="11486944" y="2500980"/>
                    <a:pt x="11486944" y="2500980"/>
                    <a:pt x="11479714" y="2500980"/>
                  </a:cubicBezTo>
                  <a:cubicBezTo>
                    <a:pt x="11479714" y="2500980"/>
                    <a:pt x="11479714" y="2500980"/>
                    <a:pt x="11472483" y="2500980"/>
                  </a:cubicBezTo>
                  <a:cubicBezTo>
                    <a:pt x="11472483" y="2500980"/>
                    <a:pt x="11472483" y="2500980"/>
                    <a:pt x="11465253" y="2500980"/>
                  </a:cubicBezTo>
                  <a:cubicBezTo>
                    <a:pt x="11465253" y="2500980"/>
                    <a:pt x="11465253" y="2500980"/>
                    <a:pt x="11458023" y="2500980"/>
                  </a:cubicBezTo>
                  <a:close/>
                  <a:moveTo>
                    <a:pt x="11291724" y="2500980"/>
                  </a:moveTo>
                  <a:cubicBezTo>
                    <a:pt x="11291724" y="2500980"/>
                    <a:pt x="11291724" y="2500980"/>
                    <a:pt x="11298954" y="2508250"/>
                  </a:cubicBezTo>
                  <a:cubicBezTo>
                    <a:pt x="11298954" y="2508250"/>
                    <a:pt x="11298954" y="2508250"/>
                    <a:pt x="11306185" y="2515521"/>
                  </a:cubicBezTo>
                  <a:cubicBezTo>
                    <a:pt x="11306185" y="2515521"/>
                    <a:pt x="11306185" y="2515521"/>
                    <a:pt x="11306185" y="2508250"/>
                  </a:cubicBezTo>
                  <a:cubicBezTo>
                    <a:pt x="11306185" y="2508250"/>
                    <a:pt x="11306185" y="2508250"/>
                    <a:pt x="11313415" y="2500980"/>
                  </a:cubicBezTo>
                  <a:cubicBezTo>
                    <a:pt x="11313415" y="2500980"/>
                    <a:pt x="11313415" y="2500980"/>
                    <a:pt x="11298954" y="2500980"/>
                  </a:cubicBezTo>
                  <a:close/>
                  <a:moveTo>
                    <a:pt x="12065375" y="2493710"/>
                  </a:moveTo>
                  <a:cubicBezTo>
                    <a:pt x="12065375" y="2493710"/>
                    <a:pt x="12065375" y="2493710"/>
                    <a:pt x="12072605" y="2508250"/>
                  </a:cubicBezTo>
                  <a:cubicBezTo>
                    <a:pt x="12072605" y="2508250"/>
                    <a:pt x="12072605" y="2508250"/>
                    <a:pt x="12072605" y="2500980"/>
                  </a:cubicBezTo>
                  <a:cubicBezTo>
                    <a:pt x="12072605" y="2500980"/>
                    <a:pt x="12072605" y="2500980"/>
                    <a:pt x="12079835" y="2493710"/>
                  </a:cubicBezTo>
                  <a:cubicBezTo>
                    <a:pt x="12079835" y="2493710"/>
                    <a:pt x="12079835" y="2493710"/>
                    <a:pt x="12065375" y="2493710"/>
                  </a:cubicBezTo>
                  <a:close/>
                  <a:moveTo>
                    <a:pt x="11349567" y="2450088"/>
                  </a:moveTo>
                  <a:cubicBezTo>
                    <a:pt x="11349567" y="2450088"/>
                    <a:pt x="11349567" y="2450088"/>
                    <a:pt x="11349567" y="2457358"/>
                  </a:cubicBezTo>
                  <a:cubicBezTo>
                    <a:pt x="11349567" y="2457358"/>
                    <a:pt x="11349567" y="2457358"/>
                    <a:pt x="11349567" y="2464629"/>
                  </a:cubicBezTo>
                  <a:cubicBezTo>
                    <a:pt x="11349567" y="2464629"/>
                    <a:pt x="11349567" y="2464629"/>
                    <a:pt x="11342336" y="2464629"/>
                  </a:cubicBezTo>
                  <a:cubicBezTo>
                    <a:pt x="11342336" y="2464629"/>
                    <a:pt x="11342336" y="2464629"/>
                    <a:pt x="11342336" y="2471899"/>
                  </a:cubicBezTo>
                  <a:cubicBezTo>
                    <a:pt x="11342336" y="2471899"/>
                    <a:pt x="11342336" y="2471899"/>
                    <a:pt x="11335106" y="2479169"/>
                  </a:cubicBezTo>
                  <a:cubicBezTo>
                    <a:pt x="11335106" y="2479169"/>
                    <a:pt x="11335106" y="2479169"/>
                    <a:pt x="11335106" y="2486439"/>
                  </a:cubicBezTo>
                  <a:cubicBezTo>
                    <a:pt x="11335106" y="2486439"/>
                    <a:pt x="11335106" y="2486439"/>
                    <a:pt x="11342336" y="2486439"/>
                  </a:cubicBezTo>
                  <a:cubicBezTo>
                    <a:pt x="11342336" y="2486439"/>
                    <a:pt x="11342336" y="2486439"/>
                    <a:pt x="11349567" y="2486439"/>
                  </a:cubicBezTo>
                  <a:cubicBezTo>
                    <a:pt x="11349567" y="2486439"/>
                    <a:pt x="11349567" y="2486439"/>
                    <a:pt x="11356797" y="2486439"/>
                  </a:cubicBezTo>
                  <a:cubicBezTo>
                    <a:pt x="11356797" y="2486439"/>
                    <a:pt x="11356797" y="2486439"/>
                    <a:pt x="11371258" y="2486439"/>
                  </a:cubicBezTo>
                  <a:cubicBezTo>
                    <a:pt x="11371258" y="2486439"/>
                    <a:pt x="11371258" y="2486439"/>
                    <a:pt x="11378488" y="2486439"/>
                  </a:cubicBezTo>
                  <a:cubicBezTo>
                    <a:pt x="11378488" y="2486439"/>
                    <a:pt x="11378488" y="2486439"/>
                    <a:pt x="11385719" y="2486439"/>
                  </a:cubicBezTo>
                  <a:cubicBezTo>
                    <a:pt x="11385719" y="2486439"/>
                    <a:pt x="11385719" y="2486439"/>
                    <a:pt x="11392949" y="2486439"/>
                  </a:cubicBezTo>
                  <a:cubicBezTo>
                    <a:pt x="11392949" y="2486439"/>
                    <a:pt x="11392949" y="2486439"/>
                    <a:pt x="11400180" y="2486439"/>
                  </a:cubicBezTo>
                  <a:cubicBezTo>
                    <a:pt x="11400180" y="2486439"/>
                    <a:pt x="11400180" y="2486439"/>
                    <a:pt x="11407410" y="2486439"/>
                  </a:cubicBezTo>
                  <a:cubicBezTo>
                    <a:pt x="11407410" y="2486439"/>
                    <a:pt x="11407410" y="2486439"/>
                    <a:pt x="11378488" y="2471899"/>
                  </a:cubicBezTo>
                  <a:cubicBezTo>
                    <a:pt x="11378488" y="2471899"/>
                    <a:pt x="11378488" y="2471899"/>
                    <a:pt x="11349567" y="2450088"/>
                  </a:cubicBezTo>
                  <a:close/>
                  <a:moveTo>
                    <a:pt x="12014762" y="2442818"/>
                  </a:moveTo>
                  <a:lnTo>
                    <a:pt x="12007532" y="2450088"/>
                  </a:lnTo>
                  <a:cubicBezTo>
                    <a:pt x="12007532" y="2450088"/>
                    <a:pt x="12007532" y="2450088"/>
                    <a:pt x="11993071" y="2457358"/>
                  </a:cubicBezTo>
                  <a:cubicBezTo>
                    <a:pt x="11993071" y="2457358"/>
                    <a:pt x="11993071" y="2457358"/>
                    <a:pt x="11993071" y="2464629"/>
                  </a:cubicBezTo>
                  <a:cubicBezTo>
                    <a:pt x="11993071" y="2464629"/>
                    <a:pt x="11993071" y="2464629"/>
                    <a:pt x="11985840" y="2464629"/>
                  </a:cubicBezTo>
                  <a:cubicBezTo>
                    <a:pt x="11985840" y="2464629"/>
                    <a:pt x="11985840" y="2464629"/>
                    <a:pt x="11985840" y="2471899"/>
                  </a:cubicBezTo>
                  <a:cubicBezTo>
                    <a:pt x="11985840" y="2471899"/>
                    <a:pt x="11985840" y="2471899"/>
                    <a:pt x="11971380" y="2479169"/>
                  </a:cubicBezTo>
                  <a:cubicBezTo>
                    <a:pt x="11971380" y="2479169"/>
                    <a:pt x="11971380" y="2479169"/>
                    <a:pt x="11978610" y="2479169"/>
                  </a:cubicBezTo>
                  <a:cubicBezTo>
                    <a:pt x="11978610" y="2479169"/>
                    <a:pt x="11978610" y="2479169"/>
                    <a:pt x="11985840" y="2479169"/>
                  </a:cubicBezTo>
                  <a:cubicBezTo>
                    <a:pt x="11985840" y="2479169"/>
                    <a:pt x="11985840" y="2479169"/>
                    <a:pt x="11993071" y="2479169"/>
                  </a:cubicBezTo>
                  <a:cubicBezTo>
                    <a:pt x="11993071" y="2479169"/>
                    <a:pt x="11993071" y="2479169"/>
                    <a:pt x="12000301" y="2479169"/>
                  </a:cubicBezTo>
                  <a:cubicBezTo>
                    <a:pt x="12000301" y="2479169"/>
                    <a:pt x="12000301" y="2479169"/>
                    <a:pt x="12007532" y="2479169"/>
                  </a:cubicBezTo>
                  <a:cubicBezTo>
                    <a:pt x="12007532" y="2479169"/>
                    <a:pt x="12007532" y="2479169"/>
                    <a:pt x="12014762" y="2479169"/>
                  </a:cubicBezTo>
                  <a:cubicBezTo>
                    <a:pt x="12014762" y="2479169"/>
                    <a:pt x="12014762" y="2479169"/>
                    <a:pt x="12036453" y="2479169"/>
                  </a:cubicBezTo>
                  <a:cubicBezTo>
                    <a:pt x="12036453" y="2479169"/>
                    <a:pt x="12036453" y="2479169"/>
                    <a:pt x="12043683" y="2479169"/>
                  </a:cubicBezTo>
                  <a:cubicBezTo>
                    <a:pt x="12036453" y="2471899"/>
                    <a:pt x="12036453" y="2464629"/>
                    <a:pt x="12029223" y="2457358"/>
                  </a:cubicBezTo>
                  <a:cubicBezTo>
                    <a:pt x="12029223" y="2450088"/>
                    <a:pt x="12021992" y="2442818"/>
                    <a:pt x="12021992" y="2442818"/>
                  </a:cubicBezTo>
                  <a:cubicBezTo>
                    <a:pt x="12021992" y="2442818"/>
                    <a:pt x="12021992" y="2442818"/>
                    <a:pt x="12014762" y="2442818"/>
                  </a:cubicBezTo>
                  <a:close/>
                  <a:moveTo>
                    <a:pt x="11819542" y="2442818"/>
                  </a:moveTo>
                  <a:cubicBezTo>
                    <a:pt x="11819542" y="2442818"/>
                    <a:pt x="11819542" y="2442818"/>
                    <a:pt x="11819542" y="2450088"/>
                  </a:cubicBezTo>
                  <a:cubicBezTo>
                    <a:pt x="11819542" y="2450088"/>
                    <a:pt x="11819542" y="2450088"/>
                    <a:pt x="11826772" y="2457358"/>
                  </a:cubicBezTo>
                  <a:cubicBezTo>
                    <a:pt x="11826772" y="2457358"/>
                    <a:pt x="11826772" y="2457358"/>
                    <a:pt x="11826772" y="2464629"/>
                  </a:cubicBezTo>
                  <a:cubicBezTo>
                    <a:pt x="11826772" y="2464629"/>
                    <a:pt x="11826772" y="2464629"/>
                    <a:pt x="11826772" y="2471899"/>
                  </a:cubicBezTo>
                  <a:cubicBezTo>
                    <a:pt x="11826772" y="2471899"/>
                    <a:pt x="11826772" y="2471899"/>
                    <a:pt x="11826772" y="2479169"/>
                  </a:cubicBezTo>
                  <a:cubicBezTo>
                    <a:pt x="11826772" y="2479169"/>
                    <a:pt x="11826772" y="2479169"/>
                    <a:pt x="11834002" y="2479169"/>
                  </a:cubicBezTo>
                  <a:cubicBezTo>
                    <a:pt x="11834002" y="2479169"/>
                    <a:pt x="11834002" y="2479169"/>
                    <a:pt x="11841233" y="2479169"/>
                  </a:cubicBezTo>
                  <a:cubicBezTo>
                    <a:pt x="11841233" y="2479169"/>
                    <a:pt x="11841233" y="2479169"/>
                    <a:pt x="11848463" y="2479169"/>
                  </a:cubicBezTo>
                  <a:cubicBezTo>
                    <a:pt x="11848463" y="2479169"/>
                    <a:pt x="11848463" y="2479169"/>
                    <a:pt x="11855694" y="2479169"/>
                  </a:cubicBezTo>
                  <a:cubicBezTo>
                    <a:pt x="11855694" y="2479169"/>
                    <a:pt x="11855694" y="2479169"/>
                    <a:pt x="11870154" y="2479169"/>
                  </a:cubicBezTo>
                  <a:cubicBezTo>
                    <a:pt x="11870154" y="2479169"/>
                    <a:pt x="11870154" y="2479169"/>
                    <a:pt x="11877385" y="2479169"/>
                  </a:cubicBezTo>
                  <a:cubicBezTo>
                    <a:pt x="11877385" y="2479169"/>
                    <a:pt x="11877385" y="2479169"/>
                    <a:pt x="11884615" y="2479169"/>
                  </a:cubicBezTo>
                  <a:cubicBezTo>
                    <a:pt x="11884615" y="2479169"/>
                    <a:pt x="11884615" y="2479169"/>
                    <a:pt x="11891845" y="2479169"/>
                  </a:cubicBezTo>
                  <a:lnTo>
                    <a:pt x="11899076" y="2479169"/>
                  </a:lnTo>
                  <a:cubicBezTo>
                    <a:pt x="11899076" y="2479169"/>
                    <a:pt x="11899076" y="2479169"/>
                    <a:pt x="11884615" y="2471899"/>
                  </a:cubicBezTo>
                  <a:cubicBezTo>
                    <a:pt x="11884615" y="2471899"/>
                    <a:pt x="11884615" y="2471899"/>
                    <a:pt x="11877385" y="2471899"/>
                  </a:cubicBezTo>
                  <a:cubicBezTo>
                    <a:pt x="11877385" y="2471899"/>
                    <a:pt x="11877385" y="2471899"/>
                    <a:pt x="11855694" y="2457358"/>
                  </a:cubicBezTo>
                  <a:cubicBezTo>
                    <a:pt x="11855694" y="2457358"/>
                    <a:pt x="11855694" y="2457358"/>
                    <a:pt x="11841233" y="2457358"/>
                  </a:cubicBezTo>
                  <a:cubicBezTo>
                    <a:pt x="11841233" y="2457358"/>
                    <a:pt x="11841233" y="2457358"/>
                    <a:pt x="11819542" y="2442818"/>
                  </a:cubicBezTo>
                  <a:close/>
                  <a:moveTo>
                    <a:pt x="11429101" y="2442818"/>
                  </a:moveTo>
                  <a:cubicBezTo>
                    <a:pt x="11429101" y="2442818"/>
                    <a:pt x="11429101" y="2442818"/>
                    <a:pt x="11421871" y="2450088"/>
                  </a:cubicBezTo>
                  <a:cubicBezTo>
                    <a:pt x="11421871" y="2450088"/>
                    <a:pt x="11421871" y="2450088"/>
                    <a:pt x="11414640" y="2450088"/>
                  </a:cubicBezTo>
                  <a:cubicBezTo>
                    <a:pt x="11414640" y="2450088"/>
                    <a:pt x="11414640" y="2450088"/>
                    <a:pt x="11407410" y="2450088"/>
                  </a:cubicBezTo>
                  <a:cubicBezTo>
                    <a:pt x="11407410" y="2450088"/>
                    <a:pt x="11407410" y="2450088"/>
                    <a:pt x="11378488" y="2450088"/>
                  </a:cubicBezTo>
                  <a:cubicBezTo>
                    <a:pt x="11378488" y="2450088"/>
                    <a:pt x="11378488" y="2450088"/>
                    <a:pt x="11407410" y="2471899"/>
                  </a:cubicBezTo>
                  <a:cubicBezTo>
                    <a:pt x="11407410" y="2471899"/>
                    <a:pt x="11407410" y="2471899"/>
                    <a:pt x="11429101" y="2486439"/>
                  </a:cubicBezTo>
                  <a:cubicBezTo>
                    <a:pt x="11429101" y="2486439"/>
                    <a:pt x="11429101" y="2486439"/>
                    <a:pt x="11443562" y="2486439"/>
                  </a:cubicBezTo>
                  <a:cubicBezTo>
                    <a:pt x="11443562" y="2486439"/>
                    <a:pt x="11443562" y="2486439"/>
                    <a:pt x="11450792" y="2486439"/>
                  </a:cubicBezTo>
                  <a:cubicBezTo>
                    <a:pt x="11450792" y="2486439"/>
                    <a:pt x="11450792" y="2486439"/>
                    <a:pt x="11458023" y="2479169"/>
                  </a:cubicBezTo>
                  <a:cubicBezTo>
                    <a:pt x="11458023" y="2479169"/>
                    <a:pt x="11458023" y="2479169"/>
                    <a:pt x="11465253" y="2479169"/>
                  </a:cubicBezTo>
                  <a:cubicBezTo>
                    <a:pt x="11465253" y="2479169"/>
                    <a:pt x="11465253" y="2479169"/>
                    <a:pt x="11472483" y="2479169"/>
                  </a:cubicBezTo>
                  <a:cubicBezTo>
                    <a:pt x="11472483" y="2479169"/>
                    <a:pt x="11472483" y="2479169"/>
                    <a:pt x="11479714" y="2471899"/>
                  </a:cubicBezTo>
                  <a:cubicBezTo>
                    <a:pt x="11479714" y="2471899"/>
                    <a:pt x="11479714" y="2471899"/>
                    <a:pt x="11486944" y="2464629"/>
                  </a:cubicBezTo>
                  <a:cubicBezTo>
                    <a:pt x="11486944" y="2464629"/>
                    <a:pt x="11486944" y="2464629"/>
                    <a:pt x="11494175" y="2464629"/>
                  </a:cubicBezTo>
                  <a:cubicBezTo>
                    <a:pt x="11494175" y="2464629"/>
                    <a:pt x="11494175" y="2464629"/>
                    <a:pt x="11501405" y="2457358"/>
                  </a:cubicBezTo>
                  <a:lnTo>
                    <a:pt x="11508635" y="2457358"/>
                  </a:lnTo>
                  <a:cubicBezTo>
                    <a:pt x="11508635" y="2457358"/>
                    <a:pt x="11508635" y="2457358"/>
                    <a:pt x="11515866" y="2450088"/>
                  </a:cubicBezTo>
                  <a:cubicBezTo>
                    <a:pt x="11515866" y="2450088"/>
                    <a:pt x="11515866" y="2450088"/>
                    <a:pt x="11523096" y="2450088"/>
                  </a:cubicBezTo>
                  <a:cubicBezTo>
                    <a:pt x="11523096" y="2450088"/>
                    <a:pt x="11523096" y="2450088"/>
                    <a:pt x="11530326" y="2442818"/>
                  </a:cubicBezTo>
                  <a:cubicBezTo>
                    <a:pt x="11530326" y="2442818"/>
                    <a:pt x="11530326" y="2442818"/>
                    <a:pt x="11523096" y="2442818"/>
                  </a:cubicBezTo>
                  <a:cubicBezTo>
                    <a:pt x="11523096" y="2442818"/>
                    <a:pt x="11523096" y="2442818"/>
                    <a:pt x="11508635" y="2442818"/>
                  </a:cubicBezTo>
                  <a:cubicBezTo>
                    <a:pt x="11508635" y="2442818"/>
                    <a:pt x="11508635" y="2442818"/>
                    <a:pt x="11501405" y="2442818"/>
                  </a:cubicBezTo>
                  <a:cubicBezTo>
                    <a:pt x="11501405" y="2442818"/>
                    <a:pt x="11501405" y="2442818"/>
                    <a:pt x="11494175" y="2442818"/>
                  </a:cubicBezTo>
                  <a:cubicBezTo>
                    <a:pt x="11494175" y="2442818"/>
                    <a:pt x="11494175" y="2442818"/>
                    <a:pt x="11486944" y="2442818"/>
                  </a:cubicBezTo>
                  <a:cubicBezTo>
                    <a:pt x="11486944" y="2442818"/>
                    <a:pt x="11486944" y="2442818"/>
                    <a:pt x="11472483" y="2442818"/>
                  </a:cubicBezTo>
                  <a:cubicBezTo>
                    <a:pt x="11472483" y="2442818"/>
                    <a:pt x="11472483" y="2442818"/>
                    <a:pt x="11465253" y="2442818"/>
                  </a:cubicBezTo>
                  <a:cubicBezTo>
                    <a:pt x="11465253" y="2442818"/>
                    <a:pt x="11465253" y="2442818"/>
                    <a:pt x="11450792" y="2442818"/>
                  </a:cubicBezTo>
                  <a:cubicBezTo>
                    <a:pt x="11450792" y="2442818"/>
                    <a:pt x="11450792" y="2442818"/>
                    <a:pt x="11436331" y="2442818"/>
                  </a:cubicBezTo>
                  <a:cubicBezTo>
                    <a:pt x="11436331" y="2442818"/>
                    <a:pt x="11436331" y="2442818"/>
                    <a:pt x="11429101" y="2442818"/>
                  </a:cubicBezTo>
                  <a:close/>
                  <a:moveTo>
                    <a:pt x="11465253" y="2384655"/>
                  </a:moveTo>
                  <a:lnTo>
                    <a:pt x="11465253" y="2391926"/>
                  </a:lnTo>
                  <a:cubicBezTo>
                    <a:pt x="11465253" y="2391926"/>
                    <a:pt x="11465253" y="2391926"/>
                    <a:pt x="11450792" y="2391926"/>
                  </a:cubicBezTo>
                  <a:cubicBezTo>
                    <a:pt x="11450792" y="2391926"/>
                    <a:pt x="11450792" y="2391926"/>
                    <a:pt x="11450792" y="2399196"/>
                  </a:cubicBezTo>
                  <a:cubicBezTo>
                    <a:pt x="11450792" y="2399196"/>
                    <a:pt x="11450792" y="2399196"/>
                    <a:pt x="11443562" y="2399196"/>
                  </a:cubicBezTo>
                  <a:cubicBezTo>
                    <a:pt x="11443562" y="2399196"/>
                    <a:pt x="11443562" y="2399196"/>
                    <a:pt x="11436331" y="2399196"/>
                  </a:cubicBezTo>
                  <a:cubicBezTo>
                    <a:pt x="11436331" y="2399196"/>
                    <a:pt x="11436331" y="2399196"/>
                    <a:pt x="11429101" y="2406466"/>
                  </a:cubicBezTo>
                  <a:cubicBezTo>
                    <a:pt x="11429101" y="2406466"/>
                    <a:pt x="11429101" y="2406466"/>
                    <a:pt x="11414640" y="2413736"/>
                  </a:cubicBezTo>
                  <a:cubicBezTo>
                    <a:pt x="11414640" y="2413736"/>
                    <a:pt x="11414640" y="2413736"/>
                    <a:pt x="11407410" y="2421007"/>
                  </a:cubicBezTo>
                  <a:cubicBezTo>
                    <a:pt x="11407410" y="2421007"/>
                    <a:pt x="11407410" y="2421007"/>
                    <a:pt x="11400180" y="2421007"/>
                  </a:cubicBezTo>
                  <a:cubicBezTo>
                    <a:pt x="11400180" y="2421007"/>
                    <a:pt x="11400180" y="2421007"/>
                    <a:pt x="11392949" y="2421007"/>
                  </a:cubicBezTo>
                  <a:cubicBezTo>
                    <a:pt x="11392949" y="2421007"/>
                    <a:pt x="11392949" y="2421007"/>
                    <a:pt x="11392949" y="2428277"/>
                  </a:cubicBezTo>
                  <a:cubicBezTo>
                    <a:pt x="11392949" y="2428277"/>
                    <a:pt x="11392949" y="2428277"/>
                    <a:pt x="11385719" y="2428277"/>
                  </a:cubicBezTo>
                  <a:cubicBezTo>
                    <a:pt x="11385719" y="2428277"/>
                    <a:pt x="11385719" y="2428277"/>
                    <a:pt x="11378488" y="2435547"/>
                  </a:cubicBezTo>
                  <a:cubicBezTo>
                    <a:pt x="11378488" y="2435547"/>
                    <a:pt x="11378488" y="2435547"/>
                    <a:pt x="11392949" y="2435547"/>
                  </a:cubicBezTo>
                  <a:cubicBezTo>
                    <a:pt x="11392949" y="2435547"/>
                    <a:pt x="11392949" y="2435547"/>
                    <a:pt x="11400180" y="2435547"/>
                  </a:cubicBezTo>
                  <a:cubicBezTo>
                    <a:pt x="11400180" y="2435547"/>
                    <a:pt x="11400180" y="2435547"/>
                    <a:pt x="11407410" y="2435547"/>
                  </a:cubicBezTo>
                  <a:cubicBezTo>
                    <a:pt x="11407410" y="2435547"/>
                    <a:pt x="11407410" y="2435547"/>
                    <a:pt x="11414640" y="2435547"/>
                  </a:cubicBezTo>
                  <a:cubicBezTo>
                    <a:pt x="11414640" y="2435547"/>
                    <a:pt x="11414640" y="2435547"/>
                    <a:pt x="11421871" y="2435547"/>
                  </a:cubicBezTo>
                  <a:cubicBezTo>
                    <a:pt x="11421871" y="2435547"/>
                    <a:pt x="11421871" y="2435547"/>
                    <a:pt x="11436331" y="2435547"/>
                  </a:cubicBezTo>
                  <a:cubicBezTo>
                    <a:pt x="11436331" y="2435547"/>
                    <a:pt x="11436331" y="2435547"/>
                    <a:pt x="11450792" y="2435547"/>
                  </a:cubicBezTo>
                  <a:cubicBezTo>
                    <a:pt x="11450792" y="2435547"/>
                    <a:pt x="11450792" y="2435547"/>
                    <a:pt x="11458023" y="2435547"/>
                  </a:cubicBezTo>
                  <a:cubicBezTo>
                    <a:pt x="11458023" y="2435547"/>
                    <a:pt x="11458023" y="2435547"/>
                    <a:pt x="11472483" y="2435547"/>
                  </a:cubicBezTo>
                  <a:cubicBezTo>
                    <a:pt x="11472483" y="2435547"/>
                    <a:pt x="11472483" y="2435547"/>
                    <a:pt x="11479714" y="2435547"/>
                  </a:cubicBezTo>
                  <a:cubicBezTo>
                    <a:pt x="11479714" y="2435547"/>
                    <a:pt x="11479714" y="2435547"/>
                    <a:pt x="11486944" y="2428277"/>
                  </a:cubicBezTo>
                  <a:cubicBezTo>
                    <a:pt x="11486944" y="2428277"/>
                    <a:pt x="11486944" y="2428277"/>
                    <a:pt x="11494175" y="2428277"/>
                  </a:cubicBezTo>
                  <a:cubicBezTo>
                    <a:pt x="11494175" y="2428277"/>
                    <a:pt x="11494175" y="2428277"/>
                    <a:pt x="11508635" y="2428277"/>
                  </a:cubicBezTo>
                  <a:cubicBezTo>
                    <a:pt x="11508635" y="2428277"/>
                    <a:pt x="11508635" y="2428277"/>
                    <a:pt x="11515866" y="2428277"/>
                  </a:cubicBezTo>
                  <a:cubicBezTo>
                    <a:pt x="11515866" y="2428277"/>
                    <a:pt x="11515866" y="2428277"/>
                    <a:pt x="11523096" y="2428277"/>
                  </a:cubicBezTo>
                  <a:cubicBezTo>
                    <a:pt x="11523096" y="2428277"/>
                    <a:pt x="11523096" y="2428277"/>
                    <a:pt x="11537557" y="2428277"/>
                  </a:cubicBezTo>
                  <a:cubicBezTo>
                    <a:pt x="11537557" y="2428277"/>
                    <a:pt x="11537557" y="2428277"/>
                    <a:pt x="11515866" y="2413736"/>
                  </a:cubicBezTo>
                  <a:cubicBezTo>
                    <a:pt x="11515866" y="2413736"/>
                    <a:pt x="11515866" y="2413736"/>
                    <a:pt x="11472483" y="2384655"/>
                  </a:cubicBezTo>
                  <a:cubicBezTo>
                    <a:pt x="11472483" y="2384655"/>
                    <a:pt x="11472483" y="2384655"/>
                    <a:pt x="11465253" y="2384655"/>
                  </a:cubicBezTo>
                  <a:close/>
                  <a:moveTo>
                    <a:pt x="5943374" y="2362705"/>
                  </a:moveTo>
                  <a:cubicBezTo>
                    <a:pt x="5943374" y="2362705"/>
                    <a:pt x="5943374" y="2362705"/>
                    <a:pt x="5784339" y="2369978"/>
                  </a:cubicBezTo>
                  <a:cubicBezTo>
                    <a:pt x="5784339" y="2369978"/>
                    <a:pt x="5784339" y="2369978"/>
                    <a:pt x="5762653" y="2369978"/>
                  </a:cubicBezTo>
                  <a:cubicBezTo>
                    <a:pt x="5712051" y="2369978"/>
                    <a:pt x="5668677" y="2413615"/>
                    <a:pt x="5668677" y="2464526"/>
                  </a:cubicBezTo>
                  <a:cubicBezTo>
                    <a:pt x="5668677" y="2464526"/>
                    <a:pt x="5668677" y="2464526"/>
                    <a:pt x="5668677" y="2602712"/>
                  </a:cubicBezTo>
                  <a:cubicBezTo>
                    <a:pt x="5675906" y="2653622"/>
                    <a:pt x="5719279" y="2697260"/>
                    <a:pt x="5769881" y="2697260"/>
                  </a:cubicBezTo>
                  <a:cubicBezTo>
                    <a:pt x="5769881" y="2697260"/>
                    <a:pt x="5769881" y="2697260"/>
                    <a:pt x="5936145" y="2697260"/>
                  </a:cubicBezTo>
                  <a:cubicBezTo>
                    <a:pt x="5936145" y="2697260"/>
                    <a:pt x="5936145" y="2697260"/>
                    <a:pt x="5950603" y="2697260"/>
                  </a:cubicBezTo>
                  <a:cubicBezTo>
                    <a:pt x="6008434" y="2689987"/>
                    <a:pt x="6044578" y="2646349"/>
                    <a:pt x="6044578" y="2595439"/>
                  </a:cubicBezTo>
                  <a:cubicBezTo>
                    <a:pt x="6044578" y="2595439"/>
                    <a:pt x="6044578" y="2595439"/>
                    <a:pt x="6044578" y="2457253"/>
                  </a:cubicBezTo>
                  <a:cubicBezTo>
                    <a:pt x="6044578" y="2406342"/>
                    <a:pt x="6001205" y="2362705"/>
                    <a:pt x="5943374" y="2362705"/>
                  </a:cubicBezTo>
                  <a:close/>
                  <a:moveTo>
                    <a:pt x="6449394" y="2355432"/>
                  </a:moveTo>
                  <a:cubicBezTo>
                    <a:pt x="6449394" y="2355432"/>
                    <a:pt x="6449394" y="2355432"/>
                    <a:pt x="6283130" y="2362705"/>
                  </a:cubicBezTo>
                  <a:cubicBezTo>
                    <a:pt x="6283130" y="2362705"/>
                    <a:pt x="6283130" y="2362705"/>
                    <a:pt x="6268673" y="2362705"/>
                  </a:cubicBezTo>
                  <a:cubicBezTo>
                    <a:pt x="6210842" y="2362705"/>
                    <a:pt x="6167469" y="2406342"/>
                    <a:pt x="6167469" y="2457253"/>
                  </a:cubicBezTo>
                  <a:cubicBezTo>
                    <a:pt x="6167469" y="2457253"/>
                    <a:pt x="6167469" y="2457253"/>
                    <a:pt x="6174698" y="2595439"/>
                  </a:cubicBezTo>
                  <a:cubicBezTo>
                    <a:pt x="6174698" y="2646349"/>
                    <a:pt x="6218071" y="2689987"/>
                    <a:pt x="6268673" y="2689987"/>
                  </a:cubicBezTo>
                  <a:cubicBezTo>
                    <a:pt x="6268673" y="2689987"/>
                    <a:pt x="6268673" y="2689987"/>
                    <a:pt x="6434937" y="2689987"/>
                  </a:cubicBezTo>
                  <a:cubicBezTo>
                    <a:pt x="6434937" y="2689987"/>
                    <a:pt x="6434937" y="2689987"/>
                    <a:pt x="6449394" y="2682714"/>
                  </a:cubicBezTo>
                  <a:cubicBezTo>
                    <a:pt x="6507225" y="2682714"/>
                    <a:pt x="6550598" y="2639076"/>
                    <a:pt x="6550598" y="2588166"/>
                  </a:cubicBezTo>
                  <a:cubicBezTo>
                    <a:pt x="6550598" y="2588166"/>
                    <a:pt x="6550598" y="2588166"/>
                    <a:pt x="6543369" y="2449980"/>
                  </a:cubicBezTo>
                  <a:cubicBezTo>
                    <a:pt x="6543369" y="2399070"/>
                    <a:pt x="6499996" y="2355432"/>
                    <a:pt x="6449394" y="2355432"/>
                  </a:cubicBezTo>
                  <a:close/>
                  <a:moveTo>
                    <a:pt x="6948186" y="2348159"/>
                  </a:moveTo>
                  <a:cubicBezTo>
                    <a:pt x="6948186" y="2348159"/>
                    <a:pt x="6948186" y="2348159"/>
                    <a:pt x="6767464" y="2355432"/>
                  </a:cubicBezTo>
                  <a:cubicBezTo>
                    <a:pt x="6709633" y="2355432"/>
                    <a:pt x="6666260" y="2399070"/>
                    <a:pt x="6673489" y="2449980"/>
                  </a:cubicBezTo>
                  <a:cubicBezTo>
                    <a:pt x="6673489" y="2449980"/>
                    <a:pt x="6673489" y="2449980"/>
                    <a:pt x="6673489" y="2588166"/>
                  </a:cubicBezTo>
                  <a:cubicBezTo>
                    <a:pt x="6673489" y="2639076"/>
                    <a:pt x="6716862" y="2682714"/>
                    <a:pt x="6767464" y="2682714"/>
                  </a:cubicBezTo>
                  <a:cubicBezTo>
                    <a:pt x="6767464" y="2682714"/>
                    <a:pt x="6767464" y="2682714"/>
                    <a:pt x="6955414" y="2675441"/>
                  </a:cubicBezTo>
                  <a:cubicBezTo>
                    <a:pt x="7006016" y="2675441"/>
                    <a:pt x="7049390" y="2631803"/>
                    <a:pt x="7049390" y="2580893"/>
                  </a:cubicBezTo>
                  <a:cubicBezTo>
                    <a:pt x="7049390" y="2580893"/>
                    <a:pt x="7049390" y="2580893"/>
                    <a:pt x="7042161" y="2471799"/>
                  </a:cubicBezTo>
                  <a:cubicBezTo>
                    <a:pt x="7042161" y="2471799"/>
                    <a:pt x="7042161" y="2471799"/>
                    <a:pt x="7042161" y="2442707"/>
                  </a:cubicBezTo>
                  <a:cubicBezTo>
                    <a:pt x="7042161" y="2406342"/>
                    <a:pt x="7027703" y="2377251"/>
                    <a:pt x="6991559" y="2362705"/>
                  </a:cubicBezTo>
                  <a:cubicBezTo>
                    <a:pt x="6977101" y="2355432"/>
                    <a:pt x="6962643" y="2348159"/>
                    <a:pt x="6948186" y="2348159"/>
                  </a:cubicBezTo>
                  <a:close/>
                  <a:moveTo>
                    <a:pt x="2054248" y="2348159"/>
                  </a:moveTo>
                  <a:cubicBezTo>
                    <a:pt x="2047019" y="2377251"/>
                    <a:pt x="2047019" y="2406342"/>
                    <a:pt x="2039790" y="2428161"/>
                  </a:cubicBezTo>
                  <a:cubicBezTo>
                    <a:pt x="2039790" y="2428161"/>
                    <a:pt x="2039790" y="2428161"/>
                    <a:pt x="2032562" y="2471799"/>
                  </a:cubicBezTo>
                  <a:cubicBezTo>
                    <a:pt x="2039790" y="2471799"/>
                    <a:pt x="2047019" y="2471799"/>
                    <a:pt x="2054248" y="2471799"/>
                  </a:cubicBezTo>
                  <a:close/>
                  <a:moveTo>
                    <a:pt x="7439748" y="2340886"/>
                  </a:moveTo>
                  <a:cubicBezTo>
                    <a:pt x="7439748" y="2340886"/>
                    <a:pt x="7439748" y="2340886"/>
                    <a:pt x="7280713" y="2348159"/>
                  </a:cubicBezTo>
                  <a:cubicBezTo>
                    <a:pt x="7280713" y="2348159"/>
                    <a:pt x="7280713" y="2348159"/>
                    <a:pt x="7266255" y="2348159"/>
                  </a:cubicBezTo>
                  <a:cubicBezTo>
                    <a:pt x="7215653" y="2348159"/>
                    <a:pt x="7172280" y="2391797"/>
                    <a:pt x="7172280" y="2442707"/>
                  </a:cubicBezTo>
                  <a:cubicBezTo>
                    <a:pt x="7172280" y="2442707"/>
                    <a:pt x="7172280" y="2442707"/>
                    <a:pt x="7172280" y="2580893"/>
                  </a:cubicBezTo>
                  <a:cubicBezTo>
                    <a:pt x="7172280" y="2631803"/>
                    <a:pt x="7215653" y="2675441"/>
                    <a:pt x="7273484" y="2675441"/>
                  </a:cubicBezTo>
                  <a:cubicBezTo>
                    <a:pt x="7273484" y="2675441"/>
                    <a:pt x="7273484" y="2675441"/>
                    <a:pt x="7432519" y="2668168"/>
                  </a:cubicBezTo>
                  <a:cubicBezTo>
                    <a:pt x="7432519" y="2668168"/>
                    <a:pt x="7432519" y="2668168"/>
                    <a:pt x="7454206" y="2668168"/>
                  </a:cubicBezTo>
                  <a:cubicBezTo>
                    <a:pt x="7504808" y="2668168"/>
                    <a:pt x="7548181" y="2631803"/>
                    <a:pt x="7548181" y="2573620"/>
                  </a:cubicBezTo>
                  <a:cubicBezTo>
                    <a:pt x="7512037" y="2500890"/>
                    <a:pt x="7468663" y="2420888"/>
                    <a:pt x="7439748" y="2340886"/>
                  </a:cubicBezTo>
                  <a:close/>
                  <a:moveTo>
                    <a:pt x="11566478" y="2333763"/>
                  </a:moveTo>
                  <a:cubicBezTo>
                    <a:pt x="11566478" y="2333763"/>
                    <a:pt x="11566478" y="2333763"/>
                    <a:pt x="11544787" y="2348304"/>
                  </a:cubicBezTo>
                  <a:cubicBezTo>
                    <a:pt x="11544787" y="2348304"/>
                    <a:pt x="11544787" y="2348304"/>
                    <a:pt x="11537557" y="2348304"/>
                  </a:cubicBezTo>
                  <a:cubicBezTo>
                    <a:pt x="11537557" y="2348304"/>
                    <a:pt x="11537557" y="2348304"/>
                    <a:pt x="11530326" y="2355574"/>
                  </a:cubicBezTo>
                  <a:cubicBezTo>
                    <a:pt x="11530326" y="2355574"/>
                    <a:pt x="11530326" y="2355574"/>
                    <a:pt x="11523096" y="2355574"/>
                  </a:cubicBezTo>
                  <a:cubicBezTo>
                    <a:pt x="11523096" y="2355574"/>
                    <a:pt x="11523096" y="2355574"/>
                    <a:pt x="11508635" y="2362844"/>
                  </a:cubicBezTo>
                  <a:cubicBezTo>
                    <a:pt x="11508635" y="2362844"/>
                    <a:pt x="11508635" y="2362844"/>
                    <a:pt x="11501405" y="2370115"/>
                  </a:cubicBezTo>
                  <a:cubicBezTo>
                    <a:pt x="11501405" y="2370115"/>
                    <a:pt x="11501405" y="2370115"/>
                    <a:pt x="11494175" y="2370115"/>
                  </a:cubicBezTo>
                  <a:cubicBezTo>
                    <a:pt x="11494175" y="2370115"/>
                    <a:pt x="11494175" y="2370115"/>
                    <a:pt x="11486944" y="2377385"/>
                  </a:cubicBezTo>
                  <a:cubicBezTo>
                    <a:pt x="11486944" y="2377385"/>
                    <a:pt x="11486944" y="2377385"/>
                    <a:pt x="11552018" y="2421007"/>
                  </a:cubicBezTo>
                  <a:cubicBezTo>
                    <a:pt x="11552018" y="2421007"/>
                    <a:pt x="11552018" y="2421007"/>
                    <a:pt x="11559248" y="2428277"/>
                  </a:cubicBezTo>
                  <a:cubicBezTo>
                    <a:pt x="11559248" y="2428277"/>
                    <a:pt x="11559248" y="2428277"/>
                    <a:pt x="11559248" y="2421007"/>
                  </a:cubicBezTo>
                  <a:cubicBezTo>
                    <a:pt x="11559248" y="2421007"/>
                    <a:pt x="11559248" y="2421007"/>
                    <a:pt x="11559248" y="2413736"/>
                  </a:cubicBezTo>
                  <a:cubicBezTo>
                    <a:pt x="11559248" y="2413736"/>
                    <a:pt x="11559248" y="2413736"/>
                    <a:pt x="11566478" y="2399196"/>
                  </a:cubicBezTo>
                  <a:cubicBezTo>
                    <a:pt x="11566478" y="2399196"/>
                    <a:pt x="11566478" y="2399196"/>
                    <a:pt x="11566478" y="2391926"/>
                  </a:cubicBezTo>
                  <a:cubicBezTo>
                    <a:pt x="11566478" y="2391926"/>
                    <a:pt x="11566478" y="2391926"/>
                    <a:pt x="11566478" y="2377385"/>
                  </a:cubicBezTo>
                  <a:cubicBezTo>
                    <a:pt x="11566478" y="2377385"/>
                    <a:pt x="11566478" y="2377385"/>
                    <a:pt x="11566478" y="2370115"/>
                  </a:cubicBezTo>
                  <a:cubicBezTo>
                    <a:pt x="11566478" y="2370115"/>
                    <a:pt x="11566478" y="2370115"/>
                    <a:pt x="11573709" y="2355574"/>
                  </a:cubicBezTo>
                  <a:lnTo>
                    <a:pt x="11573709" y="2341034"/>
                  </a:lnTo>
                  <a:cubicBezTo>
                    <a:pt x="11573709" y="2341034"/>
                    <a:pt x="11573709" y="2341034"/>
                    <a:pt x="11573709" y="2333763"/>
                  </a:cubicBezTo>
                  <a:cubicBezTo>
                    <a:pt x="11573709" y="2333763"/>
                    <a:pt x="11573709" y="2333763"/>
                    <a:pt x="11566478" y="2333763"/>
                  </a:cubicBezTo>
                  <a:close/>
                  <a:moveTo>
                    <a:pt x="11400180" y="2333763"/>
                  </a:moveTo>
                  <a:cubicBezTo>
                    <a:pt x="11400180" y="2333763"/>
                    <a:pt x="11400180" y="2333763"/>
                    <a:pt x="11400180" y="2341034"/>
                  </a:cubicBezTo>
                  <a:cubicBezTo>
                    <a:pt x="11400180" y="2341034"/>
                    <a:pt x="11400180" y="2341034"/>
                    <a:pt x="11400180" y="2348304"/>
                  </a:cubicBezTo>
                  <a:cubicBezTo>
                    <a:pt x="11400180" y="2348304"/>
                    <a:pt x="11400180" y="2348304"/>
                    <a:pt x="11392949" y="2355574"/>
                  </a:cubicBezTo>
                  <a:cubicBezTo>
                    <a:pt x="11392949" y="2355574"/>
                    <a:pt x="11392949" y="2355574"/>
                    <a:pt x="11392949" y="2362844"/>
                  </a:cubicBezTo>
                  <a:cubicBezTo>
                    <a:pt x="11392949" y="2362844"/>
                    <a:pt x="11392949" y="2362844"/>
                    <a:pt x="11385719" y="2370115"/>
                  </a:cubicBezTo>
                  <a:cubicBezTo>
                    <a:pt x="11385719" y="2370115"/>
                    <a:pt x="11385719" y="2370115"/>
                    <a:pt x="11385719" y="2384655"/>
                  </a:cubicBezTo>
                  <a:cubicBezTo>
                    <a:pt x="11385719" y="2384655"/>
                    <a:pt x="11385719" y="2384655"/>
                    <a:pt x="11378488" y="2391926"/>
                  </a:cubicBezTo>
                  <a:cubicBezTo>
                    <a:pt x="11378488" y="2391926"/>
                    <a:pt x="11378488" y="2391926"/>
                    <a:pt x="11371258" y="2399196"/>
                  </a:cubicBezTo>
                  <a:cubicBezTo>
                    <a:pt x="11371258" y="2399196"/>
                    <a:pt x="11371258" y="2399196"/>
                    <a:pt x="11371258" y="2406466"/>
                  </a:cubicBezTo>
                  <a:cubicBezTo>
                    <a:pt x="11371258" y="2413736"/>
                    <a:pt x="11364028" y="2421007"/>
                    <a:pt x="11364028" y="2428277"/>
                  </a:cubicBezTo>
                  <a:cubicBezTo>
                    <a:pt x="11364028" y="2428277"/>
                    <a:pt x="11364028" y="2428277"/>
                    <a:pt x="11378488" y="2421007"/>
                  </a:cubicBezTo>
                  <a:cubicBezTo>
                    <a:pt x="11378488" y="2421007"/>
                    <a:pt x="11378488" y="2421007"/>
                    <a:pt x="11385719" y="2413736"/>
                  </a:cubicBezTo>
                  <a:cubicBezTo>
                    <a:pt x="11385719" y="2413736"/>
                    <a:pt x="11385719" y="2413736"/>
                    <a:pt x="11392949" y="2406466"/>
                  </a:cubicBezTo>
                  <a:cubicBezTo>
                    <a:pt x="11392949" y="2406466"/>
                    <a:pt x="11392949" y="2406466"/>
                    <a:pt x="11400180" y="2406466"/>
                  </a:cubicBezTo>
                  <a:cubicBezTo>
                    <a:pt x="11400180" y="2406466"/>
                    <a:pt x="11400180" y="2406466"/>
                    <a:pt x="11407410" y="2406466"/>
                  </a:cubicBezTo>
                  <a:cubicBezTo>
                    <a:pt x="11407410" y="2406466"/>
                    <a:pt x="11407410" y="2406466"/>
                    <a:pt x="11414640" y="2399196"/>
                  </a:cubicBezTo>
                  <a:cubicBezTo>
                    <a:pt x="11414640" y="2399196"/>
                    <a:pt x="11414640" y="2399196"/>
                    <a:pt x="11421871" y="2391926"/>
                  </a:cubicBezTo>
                  <a:cubicBezTo>
                    <a:pt x="11421871" y="2391926"/>
                    <a:pt x="11421871" y="2391926"/>
                    <a:pt x="11429101" y="2391926"/>
                  </a:cubicBezTo>
                  <a:cubicBezTo>
                    <a:pt x="11429101" y="2391926"/>
                    <a:pt x="11429101" y="2391926"/>
                    <a:pt x="11436331" y="2391926"/>
                  </a:cubicBezTo>
                  <a:cubicBezTo>
                    <a:pt x="11436331" y="2391926"/>
                    <a:pt x="11436331" y="2391926"/>
                    <a:pt x="11436331" y="2384655"/>
                  </a:cubicBezTo>
                  <a:cubicBezTo>
                    <a:pt x="11436331" y="2384655"/>
                    <a:pt x="11436331" y="2384655"/>
                    <a:pt x="11443562" y="2384655"/>
                  </a:cubicBezTo>
                  <a:cubicBezTo>
                    <a:pt x="11443562" y="2384655"/>
                    <a:pt x="11443562" y="2384655"/>
                    <a:pt x="11450792" y="2377385"/>
                  </a:cubicBezTo>
                  <a:cubicBezTo>
                    <a:pt x="11450792" y="2377385"/>
                    <a:pt x="11450792" y="2377385"/>
                    <a:pt x="11458023" y="2377385"/>
                  </a:cubicBezTo>
                  <a:cubicBezTo>
                    <a:pt x="11458023" y="2377385"/>
                    <a:pt x="11458023" y="2377385"/>
                    <a:pt x="11465253" y="2370115"/>
                  </a:cubicBezTo>
                  <a:cubicBezTo>
                    <a:pt x="11465253" y="2370115"/>
                    <a:pt x="11465253" y="2370115"/>
                    <a:pt x="11429101" y="2348304"/>
                  </a:cubicBezTo>
                  <a:cubicBezTo>
                    <a:pt x="11429101" y="2348304"/>
                    <a:pt x="11429101" y="2348304"/>
                    <a:pt x="11400180" y="2333763"/>
                  </a:cubicBezTo>
                  <a:close/>
                  <a:moveTo>
                    <a:pt x="11790620" y="2326493"/>
                  </a:moveTo>
                  <a:cubicBezTo>
                    <a:pt x="11790620" y="2326493"/>
                    <a:pt x="11790620" y="2326493"/>
                    <a:pt x="11797851" y="2333763"/>
                  </a:cubicBezTo>
                  <a:cubicBezTo>
                    <a:pt x="11797851" y="2341034"/>
                    <a:pt x="11797851" y="2348304"/>
                    <a:pt x="11797851" y="2348304"/>
                  </a:cubicBezTo>
                  <a:cubicBezTo>
                    <a:pt x="11797851" y="2355574"/>
                    <a:pt x="11805081" y="2362844"/>
                    <a:pt x="11805081" y="2370115"/>
                  </a:cubicBezTo>
                  <a:cubicBezTo>
                    <a:pt x="11805081" y="2377385"/>
                    <a:pt x="11805081" y="2377385"/>
                    <a:pt x="11805081" y="2384655"/>
                  </a:cubicBezTo>
                  <a:cubicBezTo>
                    <a:pt x="11805081" y="2391926"/>
                    <a:pt x="11812311" y="2399196"/>
                    <a:pt x="11812311" y="2406466"/>
                  </a:cubicBezTo>
                  <a:cubicBezTo>
                    <a:pt x="11812311" y="2406466"/>
                    <a:pt x="11812311" y="2406466"/>
                    <a:pt x="11812311" y="2413736"/>
                  </a:cubicBezTo>
                  <a:cubicBezTo>
                    <a:pt x="11812311" y="2413736"/>
                    <a:pt x="11812311" y="2413736"/>
                    <a:pt x="11812311" y="2421007"/>
                  </a:cubicBezTo>
                  <a:lnTo>
                    <a:pt x="11819542" y="2421007"/>
                  </a:lnTo>
                  <a:cubicBezTo>
                    <a:pt x="11819542" y="2421007"/>
                    <a:pt x="11819542" y="2421007"/>
                    <a:pt x="11819542" y="2413736"/>
                  </a:cubicBezTo>
                  <a:cubicBezTo>
                    <a:pt x="11819542" y="2413736"/>
                    <a:pt x="11819542" y="2413736"/>
                    <a:pt x="11834002" y="2406466"/>
                  </a:cubicBezTo>
                  <a:cubicBezTo>
                    <a:pt x="11834002" y="2406466"/>
                    <a:pt x="11834002" y="2406466"/>
                    <a:pt x="11841233" y="2399196"/>
                  </a:cubicBezTo>
                  <a:cubicBezTo>
                    <a:pt x="11841233" y="2399196"/>
                    <a:pt x="11841233" y="2399196"/>
                    <a:pt x="11848463" y="2399196"/>
                  </a:cubicBezTo>
                  <a:cubicBezTo>
                    <a:pt x="11848463" y="2399196"/>
                    <a:pt x="11848463" y="2399196"/>
                    <a:pt x="11855694" y="2391926"/>
                  </a:cubicBezTo>
                  <a:cubicBezTo>
                    <a:pt x="11855694" y="2391926"/>
                    <a:pt x="11855694" y="2391926"/>
                    <a:pt x="11862924" y="2384655"/>
                  </a:cubicBezTo>
                  <a:cubicBezTo>
                    <a:pt x="11862924" y="2384655"/>
                    <a:pt x="11862924" y="2384655"/>
                    <a:pt x="11870154" y="2377385"/>
                  </a:cubicBezTo>
                  <a:cubicBezTo>
                    <a:pt x="11870154" y="2377385"/>
                    <a:pt x="11870154" y="2377385"/>
                    <a:pt x="11877385" y="2370115"/>
                  </a:cubicBezTo>
                  <a:cubicBezTo>
                    <a:pt x="11877385" y="2370115"/>
                    <a:pt x="11877385" y="2370115"/>
                    <a:pt x="11884615" y="2370115"/>
                  </a:cubicBezTo>
                  <a:cubicBezTo>
                    <a:pt x="11884615" y="2370115"/>
                    <a:pt x="11884615" y="2370115"/>
                    <a:pt x="11870154" y="2362844"/>
                  </a:cubicBezTo>
                  <a:cubicBezTo>
                    <a:pt x="11870154" y="2362844"/>
                    <a:pt x="11870154" y="2362844"/>
                    <a:pt x="11834002" y="2341034"/>
                  </a:cubicBezTo>
                  <a:cubicBezTo>
                    <a:pt x="11834002" y="2341034"/>
                    <a:pt x="11834002" y="2341034"/>
                    <a:pt x="11812311" y="2333763"/>
                  </a:cubicBezTo>
                  <a:cubicBezTo>
                    <a:pt x="11812311" y="2333763"/>
                    <a:pt x="11812311" y="2333763"/>
                    <a:pt x="11790620" y="2326493"/>
                  </a:cubicBezTo>
                  <a:close/>
                  <a:moveTo>
                    <a:pt x="11421871" y="2326493"/>
                  </a:moveTo>
                  <a:cubicBezTo>
                    <a:pt x="11421871" y="2326493"/>
                    <a:pt x="11421871" y="2326493"/>
                    <a:pt x="11436331" y="2341034"/>
                  </a:cubicBezTo>
                  <a:cubicBezTo>
                    <a:pt x="11436331" y="2341034"/>
                    <a:pt x="11436331" y="2341034"/>
                    <a:pt x="11465253" y="2355574"/>
                  </a:cubicBezTo>
                  <a:cubicBezTo>
                    <a:pt x="11465253" y="2355574"/>
                    <a:pt x="11465253" y="2355574"/>
                    <a:pt x="11472483" y="2370115"/>
                  </a:cubicBezTo>
                  <a:cubicBezTo>
                    <a:pt x="11472483" y="2370115"/>
                    <a:pt x="11472483" y="2370115"/>
                    <a:pt x="11486944" y="2362844"/>
                  </a:cubicBezTo>
                  <a:cubicBezTo>
                    <a:pt x="11486944" y="2362844"/>
                    <a:pt x="11486944" y="2362844"/>
                    <a:pt x="11494175" y="2355574"/>
                  </a:cubicBezTo>
                  <a:cubicBezTo>
                    <a:pt x="11494175" y="2355574"/>
                    <a:pt x="11494175" y="2355574"/>
                    <a:pt x="11501405" y="2355574"/>
                  </a:cubicBezTo>
                  <a:cubicBezTo>
                    <a:pt x="11501405" y="2355574"/>
                    <a:pt x="11501405" y="2355574"/>
                    <a:pt x="11508635" y="2348304"/>
                  </a:cubicBezTo>
                  <a:cubicBezTo>
                    <a:pt x="11508635" y="2348304"/>
                    <a:pt x="11508635" y="2348304"/>
                    <a:pt x="11515866" y="2348304"/>
                  </a:cubicBezTo>
                  <a:cubicBezTo>
                    <a:pt x="11515866" y="2348304"/>
                    <a:pt x="11515866" y="2348304"/>
                    <a:pt x="11523096" y="2341034"/>
                  </a:cubicBezTo>
                  <a:cubicBezTo>
                    <a:pt x="11523096" y="2341034"/>
                    <a:pt x="11523096" y="2341034"/>
                    <a:pt x="11530326" y="2341034"/>
                  </a:cubicBezTo>
                  <a:cubicBezTo>
                    <a:pt x="11530326" y="2341034"/>
                    <a:pt x="11530326" y="2341034"/>
                    <a:pt x="11537557" y="2333763"/>
                  </a:cubicBezTo>
                  <a:cubicBezTo>
                    <a:pt x="11537557" y="2333763"/>
                    <a:pt x="11537557" y="2333763"/>
                    <a:pt x="11544787" y="2333763"/>
                  </a:cubicBezTo>
                  <a:cubicBezTo>
                    <a:pt x="11544787" y="2333763"/>
                    <a:pt x="11544787" y="2333763"/>
                    <a:pt x="11552018" y="2326493"/>
                  </a:cubicBezTo>
                  <a:cubicBezTo>
                    <a:pt x="11552018" y="2326493"/>
                    <a:pt x="11552018" y="2326493"/>
                    <a:pt x="11537557" y="2326493"/>
                  </a:cubicBezTo>
                  <a:cubicBezTo>
                    <a:pt x="11537557" y="2326493"/>
                    <a:pt x="11537557" y="2326493"/>
                    <a:pt x="11523096" y="2326493"/>
                  </a:cubicBezTo>
                  <a:cubicBezTo>
                    <a:pt x="11523096" y="2326493"/>
                    <a:pt x="11523096" y="2326493"/>
                    <a:pt x="11515866" y="2326493"/>
                  </a:cubicBezTo>
                  <a:cubicBezTo>
                    <a:pt x="11515866" y="2326493"/>
                    <a:pt x="11515866" y="2326493"/>
                    <a:pt x="11508635" y="2326493"/>
                  </a:cubicBezTo>
                  <a:cubicBezTo>
                    <a:pt x="11508635" y="2326493"/>
                    <a:pt x="11508635" y="2326493"/>
                    <a:pt x="11494175" y="2326493"/>
                  </a:cubicBezTo>
                  <a:cubicBezTo>
                    <a:pt x="11494175" y="2326493"/>
                    <a:pt x="11494175" y="2326493"/>
                    <a:pt x="11486944" y="2326493"/>
                  </a:cubicBezTo>
                  <a:cubicBezTo>
                    <a:pt x="11486944" y="2326493"/>
                    <a:pt x="11486944" y="2326493"/>
                    <a:pt x="11465253" y="2326493"/>
                  </a:cubicBezTo>
                  <a:cubicBezTo>
                    <a:pt x="11465253" y="2326493"/>
                    <a:pt x="11465253" y="2326493"/>
                    <a:pt x="11458023" y="2326493"/>
                  </a:cubicBezTo>
                  <a:cubicBezTo>
                    <a:pt x="11458023" y="2326493"/>
                    <a:pt x="11458023" y="2326493"/>
                    <a:pt x="11450792" y="2326493"/>
                  </a:cubicBezTo>
                  <a:cubicBezTo>
                    <a:pt x="11450792" y="2326493"/>
                    <a:pt x="11450792" y="2326493"/>
                    <a:pt x="11429101" y="2326493"/>
                  </a:cubicBezTo>
                  <a:cubicBezTo>
                    <a:pt x="11429101" y="2326493"/>
                    <a:pt x="11429101" y="2326493"/>
                    <a:pt x="11421871" y="2326493"/>
                  </a:cubicBezTo>
                  <a:close/>
                  <a:moveTo>
                    <a:pt x="11964149" y="2319223"/>
                  </a:moveTo>
                  <a:cubicBezTo>
                    <a:pt x="11964149" y="2319223"/>
                    <a:pt x="11964149" y="2319223"/>
                    <a:pt x="11956919" y="2326493"/>
                  </a:cubicBezTo>
                  <a:lnTo>
                    <a:pt x="11949689" y="2333763"/>
                  </a:lnTo>
                  <a:cubicBezTo>
                    <a:pt x="11949689" y="2333763"/>
                    <a:pt x="11949689" y="2333763"/>
                    <a:pt x="11942458" y="2341034"/>
                  </a:cubicBezTo>
                  <a:cubicBezTo>
                    <a:pt x="11942458" y="2341034"/>
                    <a:pt x="11942458" y="2341034"/>
                    <a:pt x="11935228" y="2341034"/>
                  </a:cubicBezTo>
                  <a:cubicBezTo>
                    <a:pt x="11935228" y="2341034"/>
                    <a:pt x="11935228" y="2341034"/>
                    <a:pt x="11920767" y="2355574"/>
                  </a:cubicBezTo>
                  <a:cubicBezTo>
                    <a:pt x="11920767" y="2355574"/>
                    <a:pt x="11920767" y="2355574"/>
                    <a:pt x="11913537" y="2362844"/>
                  </a:cubicBezTo>
                  <a:cubicBezTo>
                    <a:pt x="11913537" y="2362844"/>
                    <a:pt x="11913537" y="2362844"/>
                    <a:pt x="11906306" y="2370115"/>
                  </a:cubicBezTo>
                  <a:cubicBezTo>
                    <a:pt x="11906306" y="2370115"/>
                    <a:pt x="11906306" y="2370115"/>
                    <a:pt x="11927997" y="2377385"/>
                  </a:cubicBezTo>
                  <a:cubicBezTo>
                    <a:pt x="11927997" y="2377385"/>
                    <a:pt x="11927997" y="2377385"/>
                    <a:pt x="11964149" y="2391926"/>
                  </a:cubicBezTo>
                  <a:cubicBezTo>
                    <a:pt x="11964149" y="2391926"/>
                    <a:pt x="11964149" y="2391926"/>
                    <a:pt x="12007532" y="2413736"/>
                  </a:cubicBezTo>
                  <a:cubicBezTo>
                    <a:pt x="12007532" y="2413736"/>
                    <a:pt x="12007532" y="2413736"/>
                    <a:pt x="12007532" y="2406466"/>
                  </a:cubicBezTo>
                  <a:cubicBezTo>
                    <a:pt x="12000301" y="2399196"/>
                    <a:pt x="12000301" y="2399196"/>
                    <a:pt x="12000301" y="2391926"/>
                  </a:cubicBezTo>
                  <a:cubicBezTo>
                    <a:pt x="11993071" y="2384655"/>
                    <a:pt x="11993071" y="2377385"/>
                    <a:pt x="11985840" y="2370115"/>
                  </a:cubicBezTo>
                  <a:cubicBezTo>
                    <a:pt x="11985840" y="2362844"/>
                    <a:pt x="11978610" y="2355574"/>
                    <a:pt x="11978610" y="2341034"/>
                  </a:cubicBezTo>
                  <a:cubicBezTo>
                    <a:pt x="11971380" y="2333763"/>
                    <a:pt x="11971380" y="2326493"/>
                    <a:pt x="11964149" y="2319223"/>
                  </a:cubicBezTo>
                  <a:close/>
                  <a:moveTo>
                    <a:pt x="11812311" y="2319223"/>
                  </a:moveTo>
                  <a:cubicBezTo>
                    <a:pt x="11812311" y="2319223"/>
                    <a:pt x="11812311" y="2319223"/>
                    <a:pt x="11834002" y="2326493"/>
                  </a:cubicBezTo>
                  <a:cubicBezTo>
                    <a:pt x="11834002" y="2326493"/>
                    <a:pt x="11834002" y="2326493"/>
                    <a:pt x="11848463" y="2341034"/>
                  </a:cubicBezTo>
                  <a:cubicBezTo>
                    <a:pt x="11848463" y="2341034"/>
                    <a:pt x="11848463" y="2341034"/>
                    <a:pt x="11862924" y="2341034"/>
                  </a:cubicBezTo>
                  <a:cubicBezTo>
                    <a:pt x="11862924" y="2341034"/>
                    <a:pt x="11862924" y="2341034"/>
                    <a:pt x="11884615" y="2355574"/>
                  </a:cubicBezTo>
                  <a:cubicBezTo>
                    <a:pt x="11884615" y="2355574"/>
                    <a:pt x="11884615" y="2355574"/>
                    <a:pt x="11899076" y="2362844"/>
                  </a:cubicBezTo>
                  <a:lnTo>
                    <a:pt x="11906306" y="2355574"/>
                  </a:lnTo>
                  <a:cubicBezTo>
                    <a:pt x="11906306" y="2355574"/>
                    <a:pt x="11906306" y="2355574"/>
                    <a:pt x="11913537" y="2348304"/>
                  </a:cubicBezTo>
                  <a:cubicBezTo>
                    <a:pt x="11913537" y="2348304"/>
                    <a:pt x="11913537" y="2348304"/>
                    <a:pt x="11927997" y="2333763"/>
                  </a:cubicBezTo>
                  <a:cubicBezTo>
                    <a:pt x="11927997" y="2333763"/>
                    <a:pt x="11927997" y="2333763"/>
                    <a:pt x="11935228" y="2333763"/>
                  </a:cubicBezTo>
                  <a:cubicBezTo>
                    <a:pt x="11935228" y="2333763"/>
                    <a:pt x="11935228" y="2333763"/>
                    <a:pt x="11942458" y="2326493"/>
                  </a:cubicBezTo>
                  <a:cubicBezTo>
                    <a:pt x="11942458" y="2326493"/>
                    <a:pt x="11942458" y="2326493"/>
                    <a:pt x="11949689" y="2319223"/>
                  </a:cubicBezTo>
                  <a:cubicBezTo>
                    <a:pt x="11949689" y="2319223"/>
                    <a:pt x="11949689" y="2319223"/>
                    <a:pt x="11935228" y="2319223"/>
                  </a:cubicBezTo>
                  <a:cubicBezTo>
                    <a:pt x="11935228" y="2319223"/>
                    <a:pt x="11935228" y="2319223"/>
                    <a:pt x="11920767" y="2319223"/>
                  </a:cubicBezTo>
                  <a:cubicBezTo>
                    <a:pt x="11920767" y="2319223"/>
                    <a:pt x="11920767" y="2319223"/>
                    <a:pt x="11913537" y="2319223"/>
                  </a:cubicBezTo>
                  <a:cubicBezTo>
                    <a:pt x="11913537" y="2319223"/>
                    <a:pt x="11913537" y="2319223"/>
                    <a:pt x="11884615" y="2319223"/>
                  </a:cubicBezTo>
                  <a:cubicBezTo>
                    <a:pt x="11884615" y="2319223"/>
                    <a:pt x="11884615" y="2319223"/>
                    <a:pt x="11870154" y="2319223"/>
                  </a:cubicBezTo>
                  <a:cubicBezTo>
                    <a:pt x="11870154" y="2319223"/>
                    <a:pt x="11870154" y="2319223"/>
                    <a:pt x="11848463" y="2319223"/>
                  </a:cubicBezTo>
                  <a:cubicBezTo>
                    <a:pt x="11848463" y="2319223"/>
                    <a:pt x="11848463" y="2319223"/>
                    <a:pt x="11834002" y="2319223"/>
                  </a:cubicBezTo>
                  <a:cubicBezTo>
                    <a:pt x="11834002" y="2319223"/>
                    <a:pt x="11834002" y="2319223"/>
                    <a:pt x="11819542" y="2319223"/>
                  </a:cubicBezTo>
                  <a:cubicBezTo>
                    <a:pt x="11819542" y="2319223"/>
                    <a:pt x="11819542" y="2319223"/>
                    <a:pt x="11812311" y="2319223"/>
                  </a:cubicBezTo>
                  <a:close/>
                  <a:moveTo>
                    <a:pt x="11501405" y="2261060"/>
                  </a:moveTo>
                  <a:cubicBezTo>
                    <a:pt x="11501405" y="2261060"/>
                    <a:pt x="11501405" y="2261060"/>
                    <a:pt x="11494175" y="2268331"/>
                  </a:cubicBezTo>
                  <a:cubicBezTo>
                    <a:pt x="11494175" y="2268331"/>
                    <a:pt x="11494175" y="2268331"/>
                    <a:pt x="11486944" y="2275601"/>
                  </a:cubicBezTo>
                  <a:cubicBezTo>
                    <a:pt x="11486944" y="2275601"/>
                    <a:pt x="11486944" y="2275601"/>
                    <a:pt x="11472483" y="2282871"/>
                  </a:cubicBezTo>
                  <a:cubicBezTo>
                    <a:pt x="11472483" y="2282871"/>
                    <a:pt x="11472483" y="2282871"/>
                    <a:pt x="11465253" y="2282871"/>
                  </a:cubicBezTo>
                  <a:cubicBezTo>
                    <a:pt x="11465253" y="2282871"/>
                    <a:pt x="11465253" y="2282871"/>
                    <a:pt x="11458023" y="2290142"/>
                  </a:cubicBezTo>
                  <a:cubicBezTo>
                    <a:pt x="11458023" y="2290142"/>
                    <a:pt x="11458023" y="2290142"/>
                    <a:pt x="11450792" y="2297412"/>
                  </a:cubicBezTo>
                  <a:cubicBezTo>
                    <a:pt x="11450792" y="2297412"/>
                    <a:pt x="11450792" y="2297412"/>
                    <a:pt x="11443562" y="2304682"/>
                  </a:cubicBezTo>
                  <a:cubicBezTo>
                    <a:pt x="11443562" y="2304682"/>
                    <a:pt x="11443562" y="2304682"/>
                    <a:pt x="11436331" y="2304682"/>
                  </a:cubicBezTo>
                  <a:cubicBezTo>
                    <a:pt x="11436331" y="2304682"/>
                    <a:pt x="11436331" y="2304682"/>
                    <a:pt x="11429101" y="2304682"/>
                  </a:cubicBezTo>
                  <a:cubicBezTo>
                    <a:pt x="11429101" y="2304682"/>
                    <a:pt x="11429101" y="2304682"/>
                    <a:pt x="11421871" y="2311952"/>
                  </a:cubicBezTo>
                  <a:cubicBezTo>
                    <a:pt x="11421871" y="2311952"/>
                    <a:pt x="11421871" y="2311952"/>
                    <a:pt x="11436331" y="2311952"/>
                  </a:cubicBezTo>
                  <a:cubicBezTo>
                    <a:pt x="11436331" y="2311952"/>
                    <a:pt x="11436331" y="2311952"/>
                    <a:pt x="11443562" y="2311952"/>
                  </a:cubicBezTo>
                  <a:cubicBezTo>
                    <a:pt x="11443562" y="2311952"/>
                    <a:pt x="11443562" y="2311952"/>
                    <a:pt x="11450792" y="2311952"/>
                  </a:cubicBezTo>
                  <a:cubicBezTo>
                    <a:pt x="11450792" y="2311952"/>
                    <a:pt x="11450792" y="2311952"/>
                    <a:pt x="11472483" y="2311952"/>
                  </a:cubicBezTo>
                  <a:cubicBezTo>
                    <a:pt x="11472483" y="2311952"/>
                    <a:pt x="11472483" y="2311952"/>
                    <a:pt x="11479714" y="2311952"/>
                  </a:cubicBezTo>
                  <a:cubicBezTo>
                    <a:pt x="11479714" y="2311952"/>
                    <a:pt x="11479714" y="2311952"/>
                    <a:pt x="11494175" y="2311952"/>
                  </a:cubicBezTo>
                  <a:cubicBezTo>
                    <a:pt x="11494175" y="2311952"/>
                    <a:pt x="11494175" y="2311952"/>
                    <a:pt x="11501405" y="2311952"/>
                  </a:cubicBezTo>
                  <a:cubicBezTo>
                    <a:pt x="11501405" y="2311952"/>
                    <a:pt x="11501405" y="2311952"/>
                    <a:pt x="11508635" y="2311952"/>
                  </a:cubicBezTo>
                  <a:cubicBezTo>
                    <a:pt x="11508635" y="2311952"/>
                    <a:pt x="11508635" y="2311952"/>
                    <a:pt x="11523096" y="2311952"/>
                  </a:cubicBezTo>
                  <a:cubicBezTo>
                    <a:pt x="11523096" y="2311952"/>
                    <a:pt x="11523096" y="2311952"/>
                    <a:pt x="11537557" y="2311952"/>
                  </a:cubicBezTo>
                  <a:cubicBezTo>
                    <a:pt x="11537557" y="2311952"/>
                    <a:pt x="11537557" y="2311952"/>
                    <a:pt x="11552018" y="2311952"/>
                  </a:cubicBezTo>
                  <a:cubicBezTo>
                    <a:pt x="11552018" y="2311952"/>
                    <a:pt x="11552018" y="2311952"/>
                    <a:pt x="11559248" y="2311952"/>
                  </a:cubicBezTo>
                  <a:cubicBezTo>
                    <a:pt x="11559248" y="2311952"/>
                    <a:pt x="11559248" y="2311952"/>
                    <a:pt x="11566478" y="2311952"/>
                  </a:cubicBezTo>
                  <a:cubicBezTo>
                    <a:pt x="11566478" y="2311952"/>
                    <a:pt x="11566478" y="2311952"/>
                    <a:pt x="11508635" y="2261060"/>
                  </a:cubicBezTo>
                  <a:close/>
                  <a:moveTo>
                    <a:pt x="11862924" y="2253790"/>
                  </a:moveTo>
                  <a:cubicBezTo>
                    <a:pt x="11862924" y="2253790"/>
                    <a:pt x="11862924" y="2253790"/>
                    <a:pt x="11855694" y="2261060"/>
                  </a:cubicBezTo>
                  <a:cubicBezTo>
                    <a:pt x="11855694" y="2261060"/>
                    <a:pt x="11855694" y="2261060"/>
                    <a:pt x="11848463" y="2261060"/>
                  </a:cubicBezTo>
                  <a:cubicBezTo>
                    <a:pt x="11848463" y="2261060"/>
                    <a:pt x="11848463" y="2261060"/>
                    <a:pt x="11834002" y="2275601"/>
                  </a:cubicBezTo>
                  <a:cubicBezTo>
                    <a:pt x="11834002" y="2275601"/>
                    <a:pt x="11834002" y="2275601"/>
                    <a:pt x="11826772" y="2282871"/>
                  </a:cubicBezTo>
                  <a:cubicBezTo>
                    <a:pt x="11826772" y="2282871"/>
                    <a:pt x="11826772" y="2282871"/>
                    <a:pt x="11819542" y="2290142"/>
                  </a:cubicBezTo>
                  <a:cubicBezTo>
                    <a:pt x="11819542" y="2290142"/>
                    <a:pt x="11819542" y="2290142"/>
                    <a:pt x="11812311" y="2297412"/>
                  </a:cubicBezTo>
                  <a:cubicBezTo>
                    <a:pt x="11812311" y="2297412"/>
                    <a:pt x="11812311" y="2297412"/>
                    <a:pt x="11805081" y="2304682"/>
                  </a:cubicBezTo>
                  <a:cubicBezTo>
                    <a:pt x="11805081" y="2304682"/>
                    <a:pt x="11805081" y="2304682"/>
                    <a:pt x="11812311" y="2304682"/>
                  </a:cubicBezTo>
                  <a:cubicBezTo>
                    <a:pt x="11812311" y="2304682"/>
                    <a:pt x="11812311" y="2304682"/>
                    <a:pt x="11819542" y="2304682"/>
                  </a:cubicBezTo>
                  <a:cubicBezTo>
                    <a:pt x="11819542" y="2304682"/>
                    <a:pt x="11819542" y="2304682"/>
                    <a:pt x="11834002" y="2304682"/>
                  </a:cubicBezTo>
                  <a:cubicBezTo>
                    <a:pt x="11834002" y="2304682"/>
                    <a:pt x="11834002" y="2304682"/>
                    <a:pt x="11855694" y="2304682"/>
                  </a:cubicBezTo>
                  <a:cubicBezTo>
                    <a:pt x="11855694" y="2304682"/>
                    <a:pt x="11855694" y="2304682"/>
                    <a:pt x="11870154" y="2304682"/>
                  </a:cubicBezTo>
                  <a:cubicBezTo>
                    <a:pt x="11870154" y="2304682"/>
                    <a:pt x="11870154" y="2304682"/>
                    <a:pt x="11899076" y="2304682"/>
                  </a:cubicBezTo>
                  <a:cubicBezTo>
                    <a:pt x="11899076" y="2304682"/>
                    <a:pt x="11899076" y="2304682"/>
                    <a:pt x="11906306" y="2304682"/>
                  </a:cubicBezTo>
                  <a:cubicBezTo>
                    <a:pt x="11906306" y="2304682"/>
                    <a:pt x="11906306" y="2304682"/>
                    <a:pt x="11920767" y="2304682"/>
                  </a:cubicBezTo>
                  <a:cubicBezTo>
                    <a:pt x="11920767" y="2304682"/>
                    <a:pt x="11920767" y="2304682"/>
                    <a:pt x="11935228" y="2304682"/>
                  </a:cubicBezTo>
                  <a:lnTo>
                    <a:pt x="11942458" y="2304682"/>
                  </a:lnTo>
                  <a:cubicBezTo>
                    <a:pt x="11942458" y="2304682"/>
                    <a:pt x="11942458" y="2304682"/>
                    <a:pt x="11913537" y="2290142"/>
                  </a:cubicBezTo>
                  <a:cubicBezTo>
                    <a:pt x="11913537" y="2290142"/>
                    <a:pt x="11913537" y="2290142"/>
                    <a:pt x="11877385" y="2261060"/>
                  </a:cubicBezTo>
                  <a:cubicBezTo>
                    <a:pt x="11877385" y="2261060"/>
                    <a:pt x="11877385" y="2261060"/>
                    <a:pt x="11862924" y="2253790"/>
                  </a:cubicBezTo>
                  <a:close/>
                  <a:moveTo>
                    <a:pt x="11443562" y="2210168"/>
                  </a:moveTo>
                  <a:cubicBezTo>
                    <a:pt x="11443562" y="2210168"/>
                    <a:pt x="11443562" y="2210168"/>
                    <a:pt x="11443562" y="2217439"/>
                  </a:cubicBezTo>
                  <a:cubicBezTo>
                    <a:pt x="11443562" y="2217439"/>
                    <a:pt x="11443562" y="2217439"/>
                    <a:pt x="11436331" y="2231979"/>
                  </a:cubicBezTo>
                  <a:cubicBezTo>
                    <a:pt x="11436331" y="2231979"/>
                    <a:pt x="11436331" y="2239250"/>
                    <a:pt x="11436331" y="2239250"/>
                  </a:cubicBezTo>
                  <a:cubicBezTo>
                    <a:pt x="11436331" y="2239250"/>
                    <a:pt x="11436331" y="2239250"/>
                    <a:pt x="11429101" y="2246520"/>
                  </a:cubicBezTo>
                  <a:cubicBezTo>
                    <a:pt x="11429101" y="2246520"/>
                    <a:pt x="11429101" y="2246520"/>
                    <a:pt x="11429101" y="2253790"/>
                  </a:cubicBezTo>
                  <a:cubicBezTo>
                    <a:pt x="11429101" y="2253790"/>
                    <a:pt x="11429101" y="2253790"/>
                    <a:pt x="11429101" y="2261060"/>
                  </a:cubicBezTo>
                  <a:cubicBezTo>
                    <a:pt x="11429101" y="2261060"/>
                    <a:pt x="11429101" y="2261060"/>
                    <a:pt x="11421871" y="2268331"/>
                  </a:cubicBezTo>
                  <a:cubicBezTo>
                    <a:pt x="11421871" y="2275601"/>
                    <a:pt x="11421871" y="2275601"/>
                    <a:pt x="11421871" y="2282871"/>
                  </a:cubicBezTo>
                  <a:cubicBezTo>
                    <a:pt x="11421871" y="2282871"/>
                    <a:pt x="11421871" y="2282871"/>
                    <a:pt x="11421871" y="2290142"/>
                  </a:cubicBezTo>
                  <a:cubicBezTo>
                    <a:pt x="11421871" y="2290142"/>
                    <a:pt x="11421871" y="2290142"/>
                    <a:pt x="11414640" y="2297412"/>
                  </a:cubicBezTo>
                  <a:lnTo>
                    <a:pt x="11414640" y="2304682"/>
                  </a:lnTo>
                  <a:cubicBezTo>
                    <a:pt x="11414640" y="2304682"/>
                    <a:pt x="11414640" y="2304682"/>
                    <a:pt x="11421871" y="2297412"/>
                  </a:cubicBezTo>
                  <a:cubicBezTo>
                    <a:pt x="11421871" y="2297412"/>
                    <a:pt x="11421871" y="2297412"/>
                    <a:pt x="11429101" y="2297412"/>
                  </a:cubicBezTo>
                  <a:cubicBezTo>
                    <a:pt x="11429101" y="2297412"/>
                    <a:pt x="11429101" y="2297412"/>
                    <a:pt x="11429101" y="2290142"/>
                  </a:cubicBezTo>
                  <a:cubicBezTo>
                    <a:pt x="11429101" y="2290142"/>
                    <a:pt x="11429101" y="2290142"/>
                    <a:pt x="11443562" y="2282871"/>
                  </a:cubicBezTo>
                  <a:cubicBezTo>
                    <a:pt x="11443562" y="2282871"/>
                    <a:pt x="11443562" y="2282871"/>
                    <a:pt x="11450792" y="2282871"/>
                  </a:cubicBezTo>
                  <a:cubicBezTo>
                    <a:pt x="11450792" y="2282871"/>
                    <a:pt x="11450792" y="2282871"/>
                    <a:pt x="11458023" y="2275601"/>
                  </a:cubicBezTo>
                  <a:cubicBezTo>
                    <a:pt x="11458023" y="2275601"/>
                    <a:pt x="11458023" y="2275601"/>
                    <a:pt x="11465253" y="2268331"/>
                  </a:cubicBezTo>
                  <a:cubicBezTo>
                    <a:pt x="11465253" y="2268331"/>
                    <a:pt x="11465253" y="2268331"/>
                    <a:pt x="11472483" y="2268331"/>
                  </a:cubicBezTo>
                  <a:cubicBezTo>
                    <a:pt x="11472483" y="2268331"/>
                    <a:pt x="11472483" y="2268331"/>
                    <a:pt x="11486944" y="2261060"/>
                  </a:cubicBezTo>
                  <a:cubicBezTo>
                    <a:pt x="11486944" y="2261060"/>
                    <a:pt x="11486944" y="2261060"/>
                    <a:pt x="11494175" y="2253790"/>
                  </a:cubicBezTo>
                  <a:cubicBezTo>
                    <a:pt x="11494175" y="2253790"/>
                    <a:pt x="11494175" y="2253790"/>
                    <a:pt x="11472483" y="2231979"/>
                  </a:cubicBezTo>
                  <a:cubicBezTo>
                    <a:pt x="11472483" y="2231979"/>
                    <a:pt x="11472483" y="2231979"/>
                    <a:pt x="11443562" y="2210168"/>
                  </a:cubicBezTo>
                  <a:close/>
                  <a:moveTo>
                    <a:pt x="11920767" y="2202898"/>
                  </a:moveTo>
                  <a:cubicBezTo>
                    <a:pt x="11920767" y="2202898"/>
                    <a:pt x="11920767" y="2202898"/>
                    <a:pt x="11913537" y="2210168"/>
                  </a:cubicBezTo>
                  <a:cubicBezTo>
                    <a:pt x="11913537" y="2210168"/>
                    <a:pt x="11913537" y="2210168"/>
                    <a:pt x="11906306" y="2210168"/>
                  </a:cubicBezTo>
                  <a:cubicBezTo>
                    <a:pt x="11906306" y="2210168"/>
                    <a:pt x="11906306" y="2210168"/>
                    <a:pt x="11899076" y="2217439"/>
                  </a:cubicBezTo>
                  <a:cubicBezTo>
                    <a:pt x="11899076" y="2217439"/>
                    <a:pt x="11899076" y="2217439"/>
                    <a:pt x="11891845" y="2224709"/>
                  </a:cubicBezTo>
                  <a:cubicBezTo>
                    <a:pt x="11891845" y="2224709"/>
                    <a:pt x="11891845" y="2224709"/>
                    <a:pt x="11877385" y="2239250"/>
                  </a:cubicBezTo>
                  <a:cubicBezTo>
                    <a:pt x="11877385" y="2239250"/>
                    <a:pt x="11877385" y="2239250"/>
                    <a:pt x="11870154" y="2246520"/>
                  </a:cubicBezTo>
                  <a:cubicBezTo>
                    <a:pt x="11870154" y="2246520"/>
                    <a:pt x="11870154" y="2246520"/>
                    <a:pt x="11913537" y="2268331"/>
                  </a:cubicBezTo>
                  <a:cubicBezTo>
                    <a:pt x="11913537" y="2268331"/>
                    <a:pt x="11913537" y="2268331"/>
                    <a:pt x="11956919" y="2297412"/>
                  </a:cubicBezTo>
                  <a:cubicBezTo>
                    <a:pt x="11956919" y="2297412"/>
                    <a:pt x="11956919" y="2297412"/>
                    <a:pt x="11949689" y="2282871"/>
                  </a:cubicBezTo>
                  <a:cubicBezTo>
                    <a:pt x="11949689" y="2275601"/>
                    <a:pt x="11942458" y="2268331"/>
                    <a:pt x="11942458" y="2261060"/>
                  </a:cubicBezTo>
                  <a:cubicBezTo>
                    <a:pt x="11942458" y="2253790"/>
                    <a:pt x="11935228" y="2246520"/>
                    <a:pt x="11935228" y="2239250"/>
                  </a:cubicBezTo>
                  <a:cubicBezTo>
                    <a:pt x="11935228" y="2239250"/>
                    <a:pt x="11935228" y="2239250"/>
                    <a:pt x="11935228" y="2231979"/>
                  </a:cubicBezTo>
                  <a:cubicBezTo>
                    <a:pt x="11935228" y="2231979"/>
                    <a:pt x="11927997" y="2224709"/>
                    <a:pt x="11927997" y="2224709"/>
                  </a:cubicBezTo>
                  <a:cubicBezTo>
                    <a:pt x="11927997" y="2217439"/>
                    <a:pt x="11927997" y="2210168"/>
                    <a:pt x="11920767" y="2202898"/>
                  </a:cubicBezTo>
                  <a:close/>
                  <a:moveTo>
                    <a:pt x="11776159" y="2202898"/>
                  </a:moveTo>
                  <a:cubicBezTo>
                    <a:pt x="11776159" y="2210168"/>
                    <a:pt x="11776159" y="2210168"/>
                    <a:pt x="11776159" y="2217439"/>
                  </a:cubicBezTo>
                  <a:cubicBezTo>
                    <a:pt x="11776159" y="2224709"/>
                    <a:pt x="11776159" y="2231979"/>
                    <a:pt x="11776159" y="2231979"/>
                  </a:cubicBezTo>
                  <a:cubicBezTo>
                    <a:pt x="11776159" y="2246520"/>
                    <a:pt x="11783390" y="2253790"/>
                    <a:pt x="11783390" y="2261060"/>
                  </a:cubicBezTo>
                  <a:cubicBezTo>
                    <a:pt x="11783390" y="2261060"/>
                    <a:pt x="11783390" y="2261060"/>
                    <a:pt x="11783390" y="2268331"/>
                  </a:cubicBezTo>
                  <a:cubicBezTo>
                    <a:pt x="11783390" y="2268331"/>
                    <a:pt x="11783390" y="2268331"/>
                    <a:pt x="11783390" y="2275601"/>
                  </a:cubicBezTo>
                  <a:cubicBezTo>
                    <a:pt x="11783390" y="2275601"/>
                    <a:pt x="11783390" y="2275601"/>
                    <a:pt x="11783390" y="2282871"/>
                  </a:cubicBezTo>
                  <a:cubicBezTo>
                    <a:pt x="11790620" y="2290142"/>
                    <a:pt x="11790620" y="2297412"/>
                    <a:pt x="11790620" y="2297412"/>
                  </a:cubicBezTo>
                  <a:cubicBezTo>
                    <a:pt x="11790620" y="2297412"/>
                    <a:pt x="11790620" y="2297412"/>
                    <a:pt x="11797851" y="2297412"/>
                  </a:cubicBezTo>
                  <a:cubicBezTo>
                    <a:pt x="11797851" y="2297412"/>
                    <a:pt x="11797851" y="2297412"/>
                    <a:pt x="11797851" y="2290142"/>
                  </a:cubicBezTo>
                  <a:cubicBezTo>
                    <a:pt x="11797851" y="2290142"/>
                    <a:pt x="11797851" y="2290142"/>
                    <a:pt x="11805081" y="2290142"/>
                  </a:cubicBezTo>
                  <a:cubicBezTo>
                    <a:pt x="11805081" y="2290142"/>
                    <a:pt x="11805081" y="2290142"/>
                    <a:pt x="11805081" y="2282871"/>
                  </a:cubicBezTo>
                  <a:cubicBezTo>
                    <a:pt x="11805081" y="2282871"/>
                    <a:pt x="11805081" y="2282871"/>
                    <a:pt x="11819542" y="2275601"/>
                  </a:cubicBezTo>
                  <a:cubicBezTo>
                    <a:pt x="11819542" y="2275601"/>
                    <a:pt x="11819542" y="2275601"/>
                    <a:pt x="11826772" y="2268331"/>
                  </a:cubicBezTo>
                  <a:cubicBezTo>
                    <a:pt x="11826772" y="2268331"/>
                    <a:pt x="11826772" y="2268331"/>
                    <a:pt x="11841233" y="2253790"/>
                  </a:cubicBezTo>
                  <a:cubicBezTo>
                    <a:pt x="11841233" y="2253790"/>
                    <a:pt x="11841233" y="2253790"/>
                    <a:pt x="11848463" y="2246520"/>
                  </a:cubicBezTo>
                  <a:cubicBezTo>
                    <a:pt x="11848463" y="2246520"/>
                    <a:pt x="11848463" y="2246520"/>
                    <a:pt x="11834002" y="2239250"/>
                  </a:cubicBezTo>
                  <a:cubicBezTo>
                    <a:pt x="11834002" y="2239250"/>
                    <a:pt x="11834002" y="2239250"/>
                    <a:pt x="11812311" y="2224709"/>
                  </a:cubicBezTo>
                  <a:cubicBezTo>
                    <a:pt x="11812311" y="2224709"/>
                    <a:pt x="11812311" y="2224709"/>
                    <a:pt x="11776159" y="2202898"/>
                  </a:cubicBezTo>
                  <a:close/>
                  <a:moveTo>
                    <a:pt x="11595400" y="2202898"/>
                  </a:moveTo>
                  <a:cubicBezTo>
                    <a:pt x="11595400" y="2202898"/>
                    <a:pt x="11595400" y="2202898"/>
                    <a:pt x="11588169" y="2210168"/>
                  </a:cubicBezTo>
                  <a:cubicBezTo>
                    <a:pt x="11588169" y="2210168"/>
                    <a:pt x="11588169" y="2210168"/>
                    <a:pt x="11580939" y="2210168"/>
                  </a:cubicBezTo>
                  <a:cubicBezTo>
                    <a:pt x="11580939" y="2210168"/>
                    <a:pt x="11580939" y="2210168"/>
                    <a:pt x="11573709" y="2217439"/>
                  </a:cubicBezTo>
                  <a:cubicBezTo>
                    <a:pt x="11573709" y="2217439"/>
                    <a:pt x="11573709" y="2217439"/>
                    <a:pt x="11566478" y="2224709"/>
                  </a:cubicBezTo>
                  <a:cubicBezTo>
                    <a:pt x="11566478" y="2224709"/>
                    <a:pt x="11566478" y="2224709"/>
                    <a:pt x="11559248" y="2224709"/>
                  </a:cubicBezTo>
                  <a:cubicBezTo>
                    <a:pt x="11559248" y="2224709"/>
                    <a:pt x="11559248" y="2224709"/>
                    <a:pt x="11552018" y="2231979"/>
                  </a:cubicBezTo>
                  <a:cubicBezTo>
                    <a:pt x="11552018" y="2231979"/>
                    <a:pt x="11552018" y="2231979"/>
                    <a:pt x="11537557" y="2239250"/>
                  </a:cubicBezTo>
                  <a:cubicBezTo>
                    <a:pt x="11537557" y="2239250"/>
                    <a:pt x="11537557" y="2239250"/>
                    <a:pt x="11530326" y="2246520"/>
                  </a:cubicBezTo>
                  <a:cubicBezTo>
                    <a:pt x="11530326" y="2246520"/>
                    <a:pt x="11530326" y="2246520"/>
                    <a:pt x="11523096" y="2246520"/>
                  </a:cubicBezTo>
                  <a:cubicBezTo>
                    <a:pt x="11523096" y="2246520"/>
                    <a:pt x="11523096" y="2246520"/>
                    <a:pt x="11523096" y="2253790"/>
                  </a:cubicBezTo>
                  <a:cubicBezTo>
                    <a:pt x="11523096" y="2253790"/>
                    <a:pt x="11523096" y="2253790"/>
                    <a:pt x="11559248" y="2290142"/>
                  </a:cubicBezTo>
                  <a:lnTo>
                    <a:pt x="11580939" y="2304682"/>
                  </a:lnTo>
                  <a:cubicBezTo>
                    <a:pt x="11580939" y="2304682"/>
                    <a:pt x="11580939" y="2304682"/>
                    <a:pt x="11580939" y="2297412"/>
                  </a:cubicBezTo>
                  <a:cubicBezTo>
                    <a:pt x="11580939" y="2297412"/>
                    <a:pt x="11580939" y="2297412"/>
                    <a:pt x="11580939" y="2290142"/>
                  </a:cubicBezTo>
                  <a:cubicBezTo>
                    <a:pt x="11580939" y="2290142"/>
                    <a:pt x="11580939" y="2290142"/>
                    <a:pt x="11580939" y="2282871"/>
                  </a:cubicBezTo>
                  <a:cubicBezTo>
                    <a:pt x="11580939" y="2282871"/>
                    <a:pt x="11580939" y="2282871"/>
                    <a:pt x="11588169" y="2268331"/>
                  </a:cubicBezTo>
                  <a:cubicBezTo>
                    <a:pt x="11588169" y="2261060"/>
                    <a:pt x="11588169" y="2261060"/>
                    <a:pt x="11588169" y="2253790"/>
                  </a:cubicBezTo>
                  <a:cubicBezTo>
                    <a:pt x="11588169" y="2253790"/>
                    <a:pt x="11588169" y="2253790"/>
                    <a:pt x="11588169" y="2246520"/>
                  </a:cubicBezTo>
                  <a:cubicBezTo>
                    <a:pt x="11588169" y="2246520"/>
                    <a:pt x="11588169" y="2246520"/>
                    <a:pt x="11588169" y="2239250"/>
                  </a:cubicBezTo>
                  <a:cubicBezTo>
                    <a:pt x="11588169" y="2239250"/>
                    <a:pt x="11588169" y="2239250"/>
                    <a:pt x="11588169" y="2231979"/>
                  </a:cubicBezTo>
                  <a:cubicBezTo>
                    <a:pt x="11588169" y="2231979"/>
                    <a:pt x="11588169" y="2231979"/>
                    <a:pt x="11595400" y="2224709"/>
                  </a:cubicBezTo>
                  <a:cubicBezTo>
                    <a:pt x="11595400" y="2224709"/>
                    <a:pt x="11595400" y="2224709"/>
                    <a:pt x="11595400" y="2217439"/>
                  </a:cubicBezTo>
                  <a:cubicBezTo>
                    <a:pt x="11595400" y="2217439"/>
                    <a:pt x="11595400" y="2217439"/>
                    <a:pt x="11595400" y="2210168"/>
                  </a:cubicBezTo>
                  <a:cubicBezTo>
                    <a:pt x="11595400" y="2210168"/>
                    <a:pt x="11595400" y="2210168"/>
                    <a:pt x="11595400" y="2202898"/>
                  </a:cubicBezTo>
                  <a:close/>
                  <a:moveTo>
                    <a:pt x="11458023" y="2202898"/>
                  </a:moveTo>
                  <a:cubicBezTo>
                    <a:pt x="11458023" y="2202898"/>
                    <a:pt x="11458023" y="2202898"/>
                    <a:pt x="11472483" y="2210168"/>
                  </a:cubicBezTo>
                  <a:cubicBezTo>
                    <a:pt x="11472483" y="2210168"/>
                    <a:pt x="11472483" y="2210168"/>
                    <a:pt x="11508635" y="2246520"/>
                  </a:cubicBezTo>
                  <a:cubicBezTo>
                    <a:pt x="11508635" y="2246520"/>
                    <a:pt x="11508635" y="2246520"/>
                    <a:pt x="11508635" y="2239250"/>
                  </a:cubicBezTo>
                  <a:cubicBezTo>
                    <a:pt x="11508635" y="2239250"/>
                    <a:pt x="11508635" y="2239250"/>
                    <a:pt x="11515866" y="2239250"/>
                  </a:cubicBezTo>
                  <a:cubicBezTo>
                    <a:pt x="11515866" y="2239250"/>
                    <a:pt x="11515866" y="2239250"/>
                    <a:pt x="11523096" y="2231979"/>
                  </a:cubicBezTo>
                  <a:cubicBezTo>
                    <a:pt x="11523096" y="2231979"/>
                    <a:pt x="11523096" y="2231979"/>
                    <a:pt x="11530326" y="2231979"/>
                  </a:cubicBezTo>
                  <a:cubicBezTo>
                    <a:pt x="11530326" y="2231979"/>
                    <a:pt x="11530326" y="2231979"/>
                    <a:pt x="11537557" y="2224709"/>
                  </a:cubicBezTo>
                  <a:cubicBezTo>
                    <a:pt x="11537557" y="2224709"/>
                    <a:pt x="11537557" y="2224709"/>
                    <a:pt x="11552018" y="2217439"/>
                  </a:cubicBezTo>
                  <a:cubicBezTo>
                    <a:pt x="11552018" y="2217439"/>
                    <a:pt x="11552018" y="2217439"/>
                    <a:pt x="11559248" y="2210168"/>
                  </a:cubicBezTo>
                  <a:cubicBezTo>
                    <a:pt x="11559248" y="2210168"/>
                    <a:pt x="11559248" y="2210168"/>
                    <a:pt x="11573709" y="2202898"/>
                  </a:cubicBezTo>
                  <a:cubicBezTo>
                    <a:pt x="11573709" y="2202898"/>
                    <a:pt x="11573709" y="2202898"/>
                    <a:pt x="11566478" y="2202898"/>
                  </a:cubicBezTo>
                  <a:cubicBezTo>
                    <a:pt x="11566478" y="2202898"/>
                    <a:pt x="11566478" y="2202898"/>
                    <a:pt x="11552018" y="2202898"/>
                  </a:cubicBezTo>
                  <a:cubicBezTo>
                    <a:pt x="11552018" y="2202898"/>
                    <a:pt x="11552018" y="2202898"/>
                    <a:pt x="11544787" y="2202898"/>
                  </a:cubicBezTo>
                  <a:cubicBezTo>
                    <a:pt x="11544787" y="2202898"/>
                    <a:pt x="11544787" y="2202898"/>
                    <a:pt x="11537557" y="2202898"/>
                  </a:cubicBezTo>
                  <a:cubicBezTo>
                    <a:pt x="11537557" y="2202898"/>
                    <a:pt x="11537557" y="2202898"/>
                    <a:pt x="11530326" y="2202898"/>
                  </a:cubicBezTo>
                  <a:lnTo>
                    <a:pt x="11515866" y="2202898"/>
                  </a:lnTo>
                  <a:cubicBezTo>
                    <a:pt x="11515866" y="2202898"/>
                    <a:pt x="11515866" y="2202898"/>
                    <a:pt x="11501405" y="2202898"/>
                  </a:cubicBezTo>
                  <a:cubicBezTo>
                    <a:pt x="11501405" y="2202898"/>
                    <a:pt x="11501405" y="2202898"/>
                    <a:pt x="11494175" y="2202898"/>
                  </a:cubicBezTo>
                  <a:cubicBezTo>
                    <a:pt x="11494175" y="2202898"/>
                    <a:pt x="11494175" y="2202898"/>
                    <a:pt x="11486944" y="2202898"/>
                  </a:cubicBezTo>
                  <a:cubicBezTo>
                    <a:pt x="11486944" y="2202898"/>
                    <a:pt x="11486944" y="2202898"/>
                    <a:pt x="11479714" y="2202898"/>
                  </a:cubicBezTo>
                  <a:cubicBezTo>
                    <a:pt x="11479714" y="2202898"/>
                    <a:pt x="11479714" y="2202898"/>
                    <a:pt x="11465253" y="2202898"/>
                  </a:cubicBezTo>
                  <a:cubicBezTo>
                    <a:pt x="11465253" y="2202898"/>
                    <a:pt x="11465253" y="2202898"/>
                    <a:pt x="11458023" y="2202898"/>
                  </a:cubicBezTo>
                  <a:close/>
                  <a:moveTo>
                    <a:pt x="11790620" y="2195628"/>
                  </a:moveTo>
                  <a:cubicBezTo>
                    <a:pt x="11790620" y="2195628"/>
                    <a:pt x="11790620" y="2195628"/>
                    <a:pt x="11826772" y="2217439"/>
                  </a:cubicBezTo>
                  <a:cubicBezTo>
                    <a:pt x="11826772" y="2217439"/>
                    <a:pt x="11826772" y="2217439"/>
                    <a:pt x="11855694" y="2239250"/>
                  </a:cubicBezTo>
                  <a:cubicBezTo>
                    <a:pt x="11855694" y="2239250"/>
                    <a:pt x="11855694" y="2239250"/>
                    <a:pt x="11862924" y="2239250"/>
                  </a:cubicBezTo>
                  <a:lnTo>
                    <a:pt x="11870154" y="2231979"/>
                  </a:lnTo>
                  <a:cubicBezTo>
                    <a:pt x="11870154" y="2231979"/>
                    <a:pt x="11870154" y="2231979"/>
                    <a:pt x="11877385" y="2217439"/>
                  </a:cubicBezTo>
                  <a:cubicBezTo>
                    <a:pt x="11877385" y="2217439"/>
                    <a:pt x="11877385" y="2217439"/>
                    <a:pt x="11891845" y="2210168"/>
                  </a:cubicBezTo>
                  <a:cubicBezTo>
                    <a:pt x="11891845" y="2210168"/>
                    <a:pt x="11891845" y="2210168"/>
                    <a:pt x="11899076" y="2202898"/>
                  </a:cubicBezTo>
                  <a:cubicBezTo>
                    <a:pt x="11899076" y="2202898"/>
                    <a:pt x="11899076" y="2202898"/>
                    <a:pt x="11899076" y="2195628"/>
                  </a:cubicBezTo>
                  <a:cubicBezTo>
                    <a:pt x="11899076" y="2195628"/>
                    <a:pt x="11899076" y="2195628"/>
                    <a:pt x="11891845" y="2195628"/>
                  </a:cubicBezTo>
                  <a:cubicBezTo>
                    <a:pt x="11891845" y="2195628"/>
                    <a:pt x="11891845" y="2195628"/>
                    <a:pt x="11884615" y="2195628"/>
                  </a:cubicBezTo>
                  <a:cubicBezTo>
                    <a:pt x="11884615" y="2195628"/>
                    <a:pt x="11884615" y="2195628"/>
                    <a:pt x="11877385" y="2195628"/>
                  </a:cubicBezTo>
                  <a:cubicBezTo>
                    <a:pt x="11877385" y="2195628"/>
                    <a:pt x="11877385" y="2195628"/>
                    <a:pt x="11855694" y="2195628"/>
                  </a:cubicBezTo>
                  <a:cubicBezTo>
                    <a:pt x="11855694" y="2195628"/>
                    <a:pt x="11855694" y="2195628"/>
                    <a:pt x="11834002" y="2195628"/>
                  </a:cubicBezTo>
                  <a:cubicBezTo>
                    <a:pt x="11834002" y="2195628"/>
                    <a:pt x="11834002" y="2195628"/>
                    <a:pt x="11819542" y="2195628"/>
                  </a:cubicBezTo>
                  <a:cubicBezTo>
                    <a:pt x="11819542" y="2195628"/>
                    <a:pt x="11819542" y="2195628"/>
                    <a:pt x="11805081" y="2195628"/>
                  </a:cubicBezTo>
                  <a:cubicBezTo>
                    <a:pt x="11805081" y="2195628"/>
                    <a:pt x="11805081" y="2195628"/>
                    <a:pt x="11790620" y="2195628"/>
                  </a:cubicBezTo>
                  <a:close/>
                  <a:moveTo>
                    <a:pt x="7208424" y="2188155"/>
                  </a:moveTo>
                  <a:cubicBezTo>
                    <a:pt x="7208424" y="2188155"/>
                    <a:pt x="7208424" y="2188155"/>
                    <a:pt x="6919270" y="2195428"/>
                  </a:cubicBezTo>
                  <a:lnTo>
                    <a:pt x="6463852" y="2202701"/>
                  </a:lnTo>
                  <a:cubicBezTo>
                    <a:pt x="6463852" y="2202701"/>
                    <a:pt x="6463852" y="2202701"/>
                    <a:pt x="6210842" y="2202701"/>
                  </a:cubicBezTo>
                  <a:cubicBezTo>
                    <a:pt x="6210842" y="2202701"/>
                    <a:pt x="6210842" y="2202701"/>
                    <a:pt x="5965061" y="2209973"/>
                  </a:cubicBezTo>
                  <a:cubicBezTo>
                    <a:pt x="5965061" y="2209973"/>
                    <a:pt x="5965061" y="2209973"/>
                    <a:pt x="5712051" y="2209973"/>
                  </a:cubicBezTo>
                  <a:cubicBezTo>
                    <a:pt x="5712051" y="2209973"/>
                    <a:pt x="5712051" y="2209973"/>
                    <a:pt x="5444583" y="2217246"/>
                  </a:cubicBezTo>
                  <a:cubicBezTo>
                    <a:pt x="5444583" y="2217246"/>
                    <a:pt x="5444583" y="2217246"/>
                    <a:pt x="5162657" y="2224519"/>
                  </a:cubicBezTo>
                  <a:cubicBezTo>
                    <a:pt x="5162657" y="2224519"/>
                    <a:pt x="5162657" y="2224519"/>
                    <a:pt x="5169886" y="2289976"/>
                  </a:cubicBezTo>
                  <a:cubicBezTo>
                    <a:pt x="5169886" y="2289976"/>
                    <a:pt x="5169886" y="2289976"/>
                    <a:pt x="5473498" y="2289976"/>
                  </a:cubicBezTo>
                  <a:cubicBezTo>
                    <a:pt x="5473498" y="2289976"/>
                    <a:pt x="5473498" y="2289976"/>
                    <a:pt x="5740966" y="2282703"/>
                  </a:cubicBezTo>
                  <a:cubicBezTo>
                    <a:pt x="5740966" y="2282703"/>
                    <a:pt x="5740966" y="2282703"/>
                    <a:pt x="6001205" y="2282703"/>
                  </a:cubicBezTo>
                  <a:cubicBezTo>
                    <a:pt x="6001205" y="2282703"/>
                    <a:pt x="6001205" y="2282703"/>
                    <a:pt x="6239757" y="2275430"/>
                  </a:cubicBezTo>
                  <a:cubicBezTo>
                    <a:pt x="6239757" y="2275430"/>
                    <a:pt x="6239757" y="2275430"/>
                    <a:pt x="6499996" y="2275430"/>
                  </a:cubicBezTo>
                  <a:cubicBezTo>
                    <a:pt x="6499996" y="2275430"/>
                    <a:pt x="6499996" y="2275430"/>
                    <a:pt x="6948186" y="2268157"/>
                  </a:cubicBezTo>
                  <a:cubicBezTo>
                    <a:pt x="6948186" y="2268157"/>
                    <a:pt x="6948186" y="2268157"/>
                    <a:pt x="7244569" y="2260884"/>
                  </a:cubicBezTo>
                  <a:cubicBezTo>
                    <a:pt x="7244569" y="2260884"/>
                    <a:pt x="7244569" y="2260884"/>
                    <a:pt x="7396375" y="2260884"/>
                  </a:cubicBezTo>
                  <a:cubicBezTo>
                    <a:pt x="7389146" y="2239065"/>
                    <a:pt x="7374688" y="2209973"/>
                    <a:pt x="7367459" y="2188155"/>
                  </a:cubicBezTo>
                  <a:cubicBezTo>
                    <a:pt x="7367459" y="2188155"/>
                    <a:pt x="7367459" y="2188155"/>
                    <a:pt x="7208424" y="2188155"/>
                  </a:cubicBezTo>
                  <a:close/>
                  <a:moveTo>
                    <a:pt x="2036176" y="2185427"/>
                  </a:moveTo>
                  <a:cubicBezTo>
                    <a:pt x="2028947" y="2184518"/>
                    <a:pt x="2021718" y="2191791"/>
                    <a:pt x="2018103" y="2209973"/>
                  </a:cubicBezTo>
                  <a:cubicBezTo>
                    <a:pt x="2018103" y="2209973"/>
                    <a:pt x="2018103" y="2209973"/>
                    <a:pt x="2010875" y="2239065"/>
                  </a:cubicBezTo>
                  <a:cubicBezTo>
                    <a:pt x="2010875" y="2239065"/>
                    <a:pt x="2010875" y="2239065"/>
                    <a:pt x="2003646" y="2268157"/>
                  </a:cubicBezTo>
                  <a:cubicBezTo>
                    <a:pt x="2003646" y="2268157"/>
                    <a:pt x="2003646" y="2268157"/>
                    <a:pt x="2003646" y="2304522"/>
                  </a:cubicBezTo>
                  <a:cubicBezTo>
                    <a:pt x="2003646" y="2304522"/>
                    <a:pt x="2003646" y="2304522"/>
                    <a:pt x="1996418" y="2333613"/>
                  </a:cubicBezTo>
                  <a:cubicBezTo>
                    <a:pt x="1989188" y="2369978"/>
                    <a:pt x="1981959" y="2413615"/>
                    <a:pt x="1974730" y="2449980"/>
                  </a:cubicBezTo>
                  <a:cubicBezTo>
                    <a:pt x="1974730" y="2449980"/>
                    <a:pt x="1974730" y="2449980"/>
                    <a:pt x="1996418" y="2457253"/>
                  </a:cubicBezTo>
                  <a:cubicBezTo>
                    <a:pt x="1996418" y="2457253"/>
                    <a:pt x="1996418" y="2457253"/>
                    <a:pt x="2010875" y="2464526"/>
                  </a:cubicBezTo>
                  <a:cubicBezTo>
                    <a:pt x="2010875" y="2464526"/>
                    <a:pt x="2010875" y="2464526"/>
                    <a:pt x="2010875" y="2449980"/>
                  </a:cubicBezTo>
                  <a:cubicBezTo>
                    <a:pt x="2018103" y="2413615"/>
                    <a:pt x="2025332" y="2377251"/>
                    <a:pt x="2032562" y="2348159"/>
                  </a:cubicBezTo>
                  <a:cubicBezTo>
                    <a:pt x="2032562" y="2319067"/>
                    <a:pt x="2039790" y="2297249"/>
                    <a:pt x="2039790" y="2275430"/>
                  </a:cubicBezTo>
                  <a:cubicBezTo>
                    <a:pt x="2039790" y="2275430"/>
                    <a:pt x="2039790" y="2275430"/>
                    <a:pt x="2047019" y="2246338"/>
                  </a:cubicBezTo>
                  <a:cubicBezTo>
                    <a:pt x="2047019" y="2246338"/>
                    <a:pt x="2047019" y="2246338"/>
                    <a:pt x="2047019" y="2224519"/>
                  </a:cubicBezTo>
                  <a:cubicBezTo>
                    <a:pt x="2054248" y="2224519"/>
                    <a:pt x="2054248" y="2217246"/>
                    <a:pt x="2054248" y="2209973"/>
                  </a:cubicBezTo>
                  <a:cubicBezTo>
                    <a:pt x="2050634" y="2195428"/>
                    <a:pt x="2043404" y="2186336"/>
                    <a:pt x="2036176" y="2185427"/>
                  </a:cubicBezTo>
                  <a:close/>
                  <a:moveTo>
                    <a:pt x="1981056" y="2139971"/>
                  </a:moveTo>
                  <a:cubicBezTo>
                    <a:pt x="1971116" y="2140880"/>
                    <a:pt x="1960273" y="2151790"/>
                    <a:pt x="1953044" y="2173609"/>
                  </a:cubicBezTo>
                  <a:cubicBezTo>
                    <a:pt x="1953044" y="2173609"/>
                    <a:pt x="1953044" y="2173609"/>
                    <a:pt x="1953044" y="2195428"/>
                  </a:cubicBezTo>
                  <a:cubicBezTo>
                    <a:pt x="1953044" y="2195428"/>
                    <a:pt x="1953044" y="2195428"/>
                    <a:pt x="1931357" y="2282703"/>
                  </a:cubicBezTo>
                  <a:cubicBezTo>
                    <a:pt x="1931357" y="2282703"/>
                    <a:pt x="1931357" y="2282703"/>
                    <a:pt x="1931357" y="2304522"/>
                  </a:cubicBezTo>
                  <a:cubicBezTo>
                    <a:pt x="1931357" y="2304522"/>
                    <a:pt x="1931357" y="2304522"/>
                    <a:pt x="1931357" y="2319067"/>
                  </a:cubicBezTo>
                  <a:cubicBezTo>
                    <a:pt x="1931357" y="2319067"/>
                    <a:pt x="1931357" y="2319067"/>
                    <a:pt x="1924128" y="2355432"/>
                  </a:cubicBezTo>
                  <a:cubicBezTo>
                    <a:pt x="1924128" y="2355432"/>
                    <a:pt x="1924128" y="2355432"/>
                    <a:pt x="1909671" y="2435434"/>
                  </a:cubicBezTo>
                  <a:cubicBezTo>
                    <a:pt x="1924128" y="2442707"/>
                    <a:pt x="1938586" y="2442707"/>
                    <a:pt x="1953044" y="2449980"/>
                  </a:cubicBezTo>
                  <a:cubicBezTo>
                    <a:pt x="1960273" y="2406342"/>
                    <a:pt x="1967501" y="2362705"/>
                    <a:pt x="1974730" y="2319067"/>
                  </a:cubicBezTo>
                  <a:cubicBezTo>
                    <a:pt x="1974730" y="2319067"/>
                    <a:pt x="1974730" y="2319067"/>
                    <a:pt x="1981959" y="2282703"/>
                  </a:cubicBezTo>
                  <a:cubicBezTo>
                    <a:pt x="1981959" y="2282703"/>
                    <a:pt x="1981959" y="2282703"/>
                    <a:pt x="1989188" y="2253611"/>
                  </a:cubicBezTo>
                  <a:cubicBezTo>
                    <a:pt x="1989188" y="2253611"/>
                    <a:pt x="1989188" y="2253611"/>
                    <a:pt x="2003646" y="2188155"/>
                  </a:cubicBezTo>
                  <a:cubicBezTo>
                    <a:pt x="2003646" y="2180882"/>
                    <a:pt x="2003646" y="2173609"/>
                    <a:pt x="2003646" y="2166336"/>
                  </a:cubicBezTo>
                  <a:cubicBezTo>
                    <a:pt x="2000031" y="2148154"/>
                    <a:pt x="1990995" y="2139062"/>
                    <a:pt x="1981056" y="2139971"/>
                  </a:cubicBezTo>
                  <a:close/>
                  <a:moveTo>
                    <a:pt x="11667704" y="2130195"/>
                  </a:moveTo>
                  <a:cubicBezTo>
                    <a:pt x="11667704" y="2130195"/>
                    <a:pt x="11667704" y="2130195"/>
                    <a:pt x="11646013" y="2137465"/>
                  </a:cubicBezTo>
                  <a:cubicBezTo>
                    <a:pt x="11646013" y="2137465"/>
                    <a:pt x="11646013" y="2137465"/>
                    <a:pt x="11638782" y="2137465"/>
                  </a:cubicBezTo>
                  <a:cubicBezTo>
                    <a:pt x="11638782" y="2137465"/>
                    <a:pt x="11638782" y="2137465"/>
                    <a:pt x="11631552" y="2137465"/>
                  </a:cubicBezTo>
                  <a:cubicBezTo>
                    <a:pt x="11631552" y="2137465"/>
                    <a:pt x="11631552" y="2137465"/>
                    <a:pt x="11624321" y="2137465"/>
                  </a:cubicBezTo>
                  <a:cubicBezTo>
                    <a:pt x="11624321" y="2137465"/>
                    <a:pt x="11624321" y="2137465"/>
                    <a:pt x="11617091" y="2137465"/>
                  </a:cubicBezTo>
                  <a:cubicBezTo>
                    <a:pt x="11617091" y="2137465"/>
                    <a:pt x="11617091" y="2137465"/>
                    <a:pt x="11617091" y="2152006"/>
                  </a:cubicBezTo>
                  <a:cubicBezTo>
                    <a:pt x="11617091" y="2152006"/>
                    <a:pt x="11617091" y="2152006"/>
                    <a:pt x="11624321" y="2152006"/>
                  </a:cubicBezTo>
                  <a:cubicBezTo>
                    <a:pt x="11624321" y="2152006"/>
                    <a:pt x="11624321" y="2152006"/>
                    <a:pt x="11638782" y="2152006"/>
                  </a:cubicBezTo>
                  <a:cubicBezTo>
                    <a:pt x="11638782" y="2152006"/>
                    <a:pt x="11638782" y="2152006"/>
                    <a:pt x="11653243" y="2152006"/>
                  </a:cubicBezTo>
                  <a:lnTo>
                    <a:pt x="11667704" y="2152006"/>
                  </a:lnTo>
                  <a:cubicBezTo>
                    <a:pt x="11667704" y="2152006"/>
                    <a:pt x="11667704" y="2152006"/>
                    <a:pt x="11689395" y="2152006"/>
                  </a:cubicBezTo>
                  <a:cubicBezTo>
                    <a:pt x="11689395" y="2152006"/>
                    <a:pt x="11689395" y="2152006"/>
                    <a:pt x="11703856" y="2152006"/>
                  </a:cubicBezTo>
                  <a:cubicBezTo>
                    <a:pt x="11703856" y="2152006"/>
                    <a:pt x="11703856" y="2152006"/>
                    <a:pt x="11732777" y="2152006"/>
                  </a:cubicBezTo>
                  <a:cubicBezTo>
                    <a:pt x="11732777" y="2152006"/>
                    <a:pt x="11732777" y="2152006"/>
                    <a:pt x="11740007" y="2152006"/>
                  </a:cubicBezTo>
                  <a:cubicBezTo>
                    <a:pt x="11740007" y="2152006"/>
                    <a:pt x="11740007" y="2152006"/>
                    <a:pt x="11754468" y="2152006"/>
                  </a:cubicBezTo>
                  <a:cubicBezTo>
                    <a:pt x="11754468" y="2152006"/>
                    <a:pt x="11754468" y="2152006"/>
                    <a:pt x="11754468" y="2144736"/>
                  </a:cubicBezTo>
                  <a:cubicBezTo>
                    <a:pt x="11754468" y="2144736"/>
                    <a:pt x="11754468" y="2144736"/>
                    <a:pt x="11747238" y="2130195"/>
                  </a:cubicBezTo>
                  <a:cubicBezTo>
                    <a:pt x="11747238" y="2130195"/>
                    <a:pt x="11747238" y="2130195"/>
                    <a:pt x="11732777" y="2130195"/>
                  </a:cubicBezTo>
                  <a:cubicBezTo>
                    <a:pt x="11732777" y="2130195"/>
                    <a:pt x="11732777" y="2130195"/>
                    <a:pt x="11718316" y="2130195"/>
                  </a:cubicBezTo>
                  <a:cubicBezTo>
                    <a:pt x="11718316" y="2130195"/>
                    <a:pt x="11718316" y="2130195"/>
                    <a:pt x="11711086" y="2130195"/>
                  </a:cubicBezTo>
                  <a:cubicBezTo>
                    <a:pt x="11711086" y="2130195"/>
                    <a:pt x="11711086" y="2130195"/>
                    <a:pt x="11689395" y="2130195"/>
                  </a:cubicBezTo>
                  <a:cubicBezTo>
                    <a:pt x="11689395" y="2130195"/>
                    <a:pt x="11689395" y="2130195"/>
                    <a:pt x="11667704" y="2130195"/>
                  </a:cubicBezTo>
                  <a:close/>
                  <a:moveTo>
                    <a:pt x="1924128" y="2115425"/>
                  </a:moveTo>
                  <a:cubicBezTo>
                    <a:pt x="1909671" y="2108152"/>
                    <a:pt x="1887984" y="2115425"/>
                    <a:pt x="1880755" y="2144517"/>
                  </a:cubicBezTo>
                  <a:cubicBezTo>
                    <a:pt x="1880755" y="2144517"/>
                    <a:pt x="1880755" y="2144517"/>
                    <a:pt x="1880755" y="2151790"/>
                  </a:cubicBezTo>
                  <a:cubicBezTo>
                    <a:pt x="1880755" y="2151790"/>
                    <a:pt x="1880755" y="2151790"/>
                    <a:pt x="1859069" y="2260884"/>
                  </a:cubicBezTo>
                  <a:cubicBezTo>
                    <a:pt x="1859069" y="2260884"/>
                    <a:pt x="1859069" y="2260884"/>
                    <a:pt x="1851840" y="2282703"/>
                  </a:cubicBezTo>
                  <a:cubicBezTo>
                    <a:pt x="1851840" y="2282703"/>
                    <a:pt x="1851840" y="2282703"/>
                    <a:pt x="1844611" y="2348159"/>
                  </a:cubicBezTo>
                  <a:cubicBezTo>
                    <a:pt x="1844611" y="2348159"/>
                    <a:pt x="1844611" y="2348159"/>
                    <a:pt x="1837382" y="2377251"/>
                  </a:cubicBezTo>
                  <a:cubicBezTo>
                    <a:pt x="1837382" y="2377251"/>
                    <a:pt x="1837382" y="2377251"/>
                    <a:pt x="1830153" y="2413615"/>
                  </a:cubicBezTo>
                  <a:cubicBezTo>
                    <a:pt x="1830153" y="2413615"/>
                    <a:pt x="1830153" y="2413615"/>
                    <a:pt x="1830153" y="2420888"/>
                  </a:cubicBezTo>
                  <a:cubicBezTo>
                    <a:pt x="1844611" y="2420888"/>
                    <a:pt x="1866297" y="2428161"/>
                    <a:pt x="1887984" y="2435434"/>
                  </a:cubicBezTo>
                  <a:cubicBezTo>
                    <a:pt x="1887984" y="2413615"/>
                    <a:pt x="1895213" y="2391797"/>
                    <a:pt x="1902442" y="2369978"/>
                  </a:cubicBezTo>
                  <a:lnTo>
                    <a:pt x="1902442" y="2333613"/>
                  </a:lnTo>
                  <a:cubicBezTo>
                    <a:pt x="1902442" y="2333613"/>
                    <a:pt x="1902442" y="2333613"/>
                    <a:pt x="1909671" y="2304522"/>
                  </a:cubicBezTo>
                  <a:cubicBezTo>
                    <a:pt x="1916899" y="2275430"/>
                    <a:pt x="1924128" y="2239065"/>
                    <a:pt x="1931357" y="2209973"/>
                  </a:cubicBezTo>
                  <a:cubicBezTo>
                    <a:pt x="1931357" y="2209973"/>
                    <a:pt x="1931357" y="2209973"/>
                    <a:pt x="1938586" y="2173609"/>
                  </a:cubicBezTo>
                  <a:cubicBezTo>
                    <a:pt x="1938586" y="2144517"/>
                    <a:pt x="1931357" y="2122698"/>
                    <a:pt x="1924128" y="2115425"/>
                  </a:cubicBezTo>
                  <a:close/>
                  <a:moveTo>
                    <a:pt x="11595400" y="2101114"/>
                  </a:moveTo>
                  <a:cubicBezTo>
                    <a:pt x="11595400" y="2101114"/>
                    <a:pt x="11595400" y="2101114"/>
                    <a:pt x="11580939" y="2108384"/>
                  </a:cubicBezTo>
                  <a:cubicBezTo>
                    <a:pt x="11580939" y="2108384"/>
                    <a:pt x="11580939" y="2108384"/>
                    <a:pt x="11573709" y="2115655"/>
                  </a:cubicBezTo>
                  <a:cubicBezTo>
                    <a:pt x="11573709" y="2115655"/>
                    <a:pt x="11573709" y="2115655"/>
                    <a:pt x="11566478" y="2122925"/>
                  </a:cubicBezTo>
                  <a:cubicBezTo>
                    <a:pt x="11566478" y="2122925"/>
                    <a:pt x="11566478" y="2122925"/>
                    <a:pt x="11559248" y="2122925"/>
                  </a:cubicBezTo>
                  <a:cubicBezTo>
                    <a:pt x="11559248" y="2122925"/>
                    <a:pt x="11559248" y="2122925"/>
                    <a:pt x="11552018" y="2130195"/>
                  </a:cubicBezTo>
                  <a:cubicBezTo>
                    <a:pt x="11552018" y="2130195"/>
                    <a:pt x="11552018" y="2130195"/>
                    <a:pt x="11544787" y="2137465"/>
                  </a:cubicBezTo>
                  <a:cubicBezTo>
                    <a:pt x="11544787" y="2137465"/>
                    <a:pt x="11544787" y="2137465"/>
                    <a:pt x="11595400" y="2181087"/>
                  </a:cubicBezTo>
                  <a:cubicBezTo>
                    <a:pt x="11595400" y="2181087"/>
                    <a:pt x="11595400" y="2181087"/>
                    <a:pt x="11595400" y="2173817"/>
                  </a:cubicBezTo>
                  <a:cubicBezTo>
                    <a:pt x="11595400" y="2173817"/>
                    <a:pt x="11595400" y="2173817"/>
                    <a:pt x="11595400" y="2159276"/>
                  </a:cubicBezTo>
                  <a:cubicBezTo>
                    <a:pt x="11595400" y="2159276"/>
                    <a:pt x="11595400" y="2159276"/>
                    <a:pt x="11602630" y="2159276"/>
                  </a:cubicBezTo>
                  <a:cubicBezTo>
                    <a:pt x="11602630" y="2159276"/>
                    <a:pt x="11602630" y="2159276"/>
                    <a:pt x="11602630" y="2152006"/>
                  </a:cubicBezTo>
                  <a:cubicBezTo>
                    <a:pt x="11602630" y="2152006"/>
                    <a:pt x="11602630" y="2152006"/>
                    <a:pt x="11602630" y="2137465"/>
                  </a:cubicBezTo>
                  <a:cubicBezTo>
                    <a:pt x="11602630" y="2137465"/>
                    <a:pt x="11602630" y="2137465"/>
                    <a:pt x="11602630" y="2130195"/>
                  </a:cubicBezTo>
                  <a:cubicBezTo>
                    <a:pt x="11602630" y="2130195"/>
                    <a:pt x="11602630" y="2130195"/>
                    <a:pt x="11602630" y="2115655"/>
                  </a:cubicBezTo>
                  <a:cubicBezTo>
                    <a:pt x="11602630" y="2115655"/>
                    <a:pt x="11602630" y="2115655"/>
                    <a:pt x="11602630" y="2108384"/>
                  </a:cubicBezTo>
                  <a:cubicBezTo>
                    <a:pt x="11602630" y="2108384"/>
                    <a:pt x="11602630" y="2108384"/>
                    <a:pt x="11602630" y="2101114"/>
                  </a:cubicBezTo>
                  <a:cubicBezTo>
                    <a:pt x="11602630" y="2101114"/>
                    <a:pt x="11602630" y="2101114"/>
                    <a:pt x="11595400" y="2101114"/>
                  </a:cubicBezTo>
                  <a:close/>
                  <a:moveTo>
                    <a:pt x="11472483" y="2101114"/>
                  </a:moveTo>
                  <a:cubicBezTo>
                    <a:pt x="11472483" y="2101114"/>
                    <a:pt x="11472483" y="2101114"/>
                    <a:pt x="11472483" y="2108384"/>
                  </a:cubicBezTo>
                  <a:cubicBezTo>
                    <a:pt x="11472483" y="2115655"/>
                    <a:pt x="11472483" y="2115655"/>
                    <a:pt x="11465253" y="2122925"/>
                  </a:cubicBezTo>
                  <a:cubicBezTo>
                    <a:pt x="11465253" y="2122925"/>
                    <a:pt x="11465253" y="2122925"/>
                    <a:pt x="11465253" y="2130195"/>
                  </a:cubicBezTo>
                  <a:cubicBezTo>
                    <a:pt x="11465253" y="2130195"/>
                    <a:pt x="11465253" y="2130195"/>
                    <a:pt x="11465253" y="2137465"/>
                  </a:cubicBezTo>
                  <a:cubicBezTo>
                    <a:pt x="11465253" y="2137465"/>
                    <a:pt x="11465253" y="2137465"/>
                    <a:pt x="11458023" y="2152006"/>
                  </a:cubicBezTo>
                  <a:cubicBezTo>
                    <a:pt x="11458023" y="2152006"/>
                    <a:pt x="11458023" y="2159276"/>
                    <a:pt x="11458023" y="2159276"/>
                  </a:cubicBezTo>
                  <a:cubicBezTo>
                    <a:pt x="11458023" y="2159276"/>
                    <a:pt x="11458023" y="2159276"/>
                    <a:pt x="11458023" y="2166547"/>
                  </a:cubicBezTo>
                  <a:cubicBezTo>
                    <a:pt x="11458023" y="2166547"/>
                    <a:pt x="11458023" y="2166547"/>
                    <a:pt x="11458023" y="2173817"/>
                  </a:cubicBezTo>
                  <a:cubicBezTo>
                    <a:pt x="11458023" y="2173817"/>
                    <a:pt x="11458023" y="2173817"/>
                    <a:pt x="11450792" y="2181087"/>
                  </a:cubicBezTo>
                  <a:cubicBezTo>
                    <a:pt x="11450792" y="2181087"/>
                    <a:pt x="11450792" y="2181087"/>
                    <a:pt x="11458023" y="2173817"/>
                  </a:cubicBezTo>
                  <a:cubicBezTo>
                    <a:pt x="11458023" y="2173817"/>
                    <a:pt x="11458023" y="2173817"/>
                    <a:pt x="11465253" y="2173817"/>
                  </a:cubicBezTo>
                  <a:cubicBezTo>
                    <a:pt x="11465253" y="2173817"/>
                    <a:pt x="11465253" y="2173817"/>
                    <a:pt x="11472483" y="2166547"/>
                  </a:cubicBezTo>
                  <a:cubicBezTo>
                    <a:pt x="11472483" y="2166547"/>
                    <a:pt x="11472483" y="2166547"/>
                    <a:pt x="11486944" y="2159276"/>
                  </a:cubicBezTo>
                  <a:cubicBezTo>
                    <a:pt x="11486944" y="2159276"/>
                    <a:pt x="11486944" y="2159276"/>
                    <a:pt x="11494175" y="2152006"/>
                  </a:cubicBezTo>
                  <a:cubicBezTo>
                    <a:pt x="11494175" y="2152006"/>
                    <a:pt x="11494175" y="2152006"/>
                    <a:pt x="11501405" y="2152006"/>
                  </a:cubicBezTo>
                  <a:cubicBezTo>
                    <a:pt x="11501405" y="2152006"/>
                    <a:pt x="11501405" y="2152006"/>
                    <a:pt x="11508635" y="2144736"/>
                  </a:cubicBezTo>
                  <a:cubicBezTo>
                    <a:pt x="11508635" y="2144736"/>
                    <a:pt x="11508635" y="2144736"/>
                    <a:pt x="11508635" y="2137465"/>
                  </a:cubicBezTo>
                  <a:cubicBezTo>
                    <a:pt x="11508635" y="2137465"/>
                    <a:pt x="11508635" y="2137465"/>
                    <a:pt x="11515866" y="2137465"/>
                  </a:cubicBezTo>
                  <a:cubicBezTo>
                    <a:pt x="11515866" y="2137465"/>
                    <a:pt x="11515866" y="2137465"/>
                    <a:pt x="11523096" y="2137465"/>
                  </a:cubicBezTo>
                  <a:cubicBezTo>
                    <a:pt x="11523096" y="2137465"/>
                    <a:pt x="11523096" y="2137465"/>
                    <a:pt x="11494175" y="2115655"/>
                  </a:cubicBezTo>
                  <a:cubicBezTo>
                    <a:pt x="11494175" y="2115655"/>
                    <a:pt x="11494175" y="2115655"/>
                    <a:pt x="11472483" y="2101114"/>
                  </a:cubicBezTo>
                  <a:close/>
                  <a:moveTo>
                    <a:pt x="11891845" y="2093844"/>
                  </a:moveTo>
                  <a:lnTo>
                    <a:pt x="11870154" y="2108384"/>
                  </a:lnTo>
                  <a:cubicBezTo>
                    <a:pt x="11870154" y="2108384"/>
                    <a:pt x="11870154" y="2108384"/>
                    <a:pt x="11841233" y="2130195"/>
                  </a:cubicBezTo>
                  <a:cubicBezTo>
                    <a:pt x="11841233" y="2130195"/>
                    <a:pt x="11841233" y="2130195"/>
                    <a:pt x="11848463" y="2130195"/>
                  </a:cubicBezTo>
                  <a:cubicBezTo>
                    <a:pt x="11848463" y="2130195"/>
                    <a:pt x="11848463" y="2130195"/>
                    <a:pt x="11913537" y="2173817"/>
                  </a:cubicBezTo>
                  <a:cubicBezTo>
                    <a:pt x="11913537" y="2166547"/>
                    <a:pt x="11906306" y="2152006"/>
                    <a:pt x="11906306" y="2144736"/>
                  </a:cubicBezTo>
                  <a:cubicBezTo>
                    <a:pt x="11899076" y="2130195"/>
                    <a:pt x="11891845" y="2108384"/>
                    <a:pt x="11891845" y="2093844"/>
                  </a:cubicBezTo>
                  <a:close/>
                  <a:moveTo>
                    <a:pt x="11761699" y="2093844"/>
                  </a:moveTo>
                  <a:cubicBezTo>
                    <a:pt x="11761699" y="2093844"/>
                    <a:pt x="11761699" y="2093844"/>
                    <a:pt x="11761699" y="2108384"/>
                  </a:cubicBezTo>
                  <a:cubicBezTo>
                    <a:pt x="11761699" y="2108384"/>
                    <a:pt x="11761699" y="2115655"/>
                    <a:pt x="11761699" y="2122925"/>
                  </a:cubicBezTo>
                  <a:cubicBezTo>
                    <a:pt x="11761699" y="2122925"/>
                    <a:pt x="11761699" y="2130195"/>
                    <a:pt x="11761699" y="2130195"/>
                  </a:cubicBezTo>
                  <a:cubicBezTo>
                    <a:pt x="11761699" y="2130195"/>
                    <a:pt x="11761699" y="2130195"/>
                    <a:pt x="11761699" y="2144736"/>
                  </a:cubicBezTo>
                  <a:cubicBezTo>
                    <a:pt x="11761699" y="2144736"/>
                    <a:pt x="11761699" y="2144736"/>
                    <a:pt x="11768929" y="2152006"/>
                  </a:cubicBezTo>
                  <a:cubicBezTo>
                    <a:pt x="11768929" y="2152006"/>
                    <a:pt x="11768929" y="2152006"/>
                    <a:pt x="11768929" y="2159276"/>
                  </a:cubicBezTo>
                  <a:cubicBezTo>
                    <a:pt x="11768929" y="2166547"/>
                    <a:pt x="11768929" y="2173817"/>
                    <a:pt x="11768929" y="2173817"/>
                  </a:cubicBezTo>
                  <a:cubicBezTo>
                    <a:pt x="11768929" y="2173817"/>
                    <a:pt x="11768929" y="2173817"/>
                    <a:pt x="11776159" y="2173817"/>
                  </a:cubicBezTo>
                  <a:cubicBezTo>
                    <a:pt x="11776159" y="2173817"/>
                    <a:pt x="11776159" y="2173817"/>
                    <a:pt x="11783390" y="2166547"/>
                  </a:cubicBezTo>
                  <a:cubicBezTo>
                    <a:pt x="11783390" y="2166547"/>
                    <a:pt x="11783390" y="2166547"/>
                    <a:pt x="11790620" y="2159276"/>
                  </a:cubicBezTo>
                  <a:cubicBezTo>
                    <a:pt x="11790620" y="2159276"/>
                    <a:pt x="11790620" y="2159276"/>
                    <a:pt x="11805081" y="2144736"/>
                  </a:cubicBezTo>
                  <a:cubicBezTo>
                    <a:pt x="11805081" y="2144736"/>
                    <a:pt x="11805081" y="2144736"/>
                    <a:pt x="11812311" y="2137465"/>
                  </a:cubicBezTo>
                  <a:cubicBezTo>
                    <a:pt x="11812311" y="2137465"/>
                    <a:pt x="11812311" y="2137465"/>
                    <a:pt x="11819542" y="2130195"/>
                  </a:cubicBezTo>
                  <a:cubicBezTo>
                    <a:pt x="11819542" y="2130195"/>
                    <a:pt x="11819542" y="2130195"/>
                    <a:pt x="11783390" y="2108384"/>
                  </a:cubicBezTo>
                  <a:cubicBezTo>
                    <a:pt x="11783390" y="2108384"/>
                    <a:pt x="11783390" y="2108384"/>
                    <a:pt x="11761699" y="2093844"/>
                  </a:cubicBezTo>
                  <a:close/>
                  <a:moveTo>
                    <a:pt x="11486944" y="2093844"/>
                  </a:moveTo>
                  <a:cubicBezTo>
                    <a:pt x="11486944" y="2093844"/>
                    <a:pt x="11486944" y="2093844"/>
                    <a:pt x="11523096" y="2115655"/>
                  </a:cubicBezTo>
                  <a:cubicBezTo>
                    <a:pt x="11523096" y="2115655"/>
                    <a:pt x="11523096" y="2115655"/>
                    <a:pt x="11530326" y="2130195"/>
                  </a:cubicBezTo>
                  <a:cubicBezTo>
                    <a:pt x="11530326" y="2130195"/>
                    <a:pt x="11530326" y="2130195"/>
                    <a:pt x="11537557" y="2122925"/>
                  </a:cubicBezTo>
                  <a:cubicBezTo>
                    <a:pt x="11537557" y="2122925"/>
                    <a:pt x="11537557" y="2122925"/>
                    <a:pt x="11552018" y="2115655"/>
                  </a:cubicBezTo>
                  <a:cubicBezTo>
                    <a:pt x="11552018" y="2115655"/>
                    <a:pt x="11552018" y="2115655"/>
                    <a:pt x="11559248" y="2108384"/>
                  </a:cubicBezTo>
                  <a:cubicBezTo>
                    <a:pt x="11559248" y="2108384"/>
                    <a:pt x="11559248" y="2108384"/>
                    <a:pt x="11566478" y="2108384"/>
                  </a:cubicBezTo>
                  <a:cubicBezTo>
                    <a:pt x="11566478" y="2108384"/>
                    <a:pt x="11566478" y="2108384"/>
                    <a:pt x="11573709" y="2101114"/>
                  </a:cubicBezTo>
                  <a:cubicBezTo>
                    <a:pt x="11573709" y="2101114"/>
                    <a:pt x="11573709" y="2101114"/>
                    <a:pt x="11580939" y="2093844"/>
                  </a:cubicBezTo>
                  <a:cubicBezTo>
                    <a:pt x="11580939" y="2093844"/>
                    <a:pt x="11580939" y="2093844"/>
                    <a:pt x="11559248" y="2093844"/>
                  </a:cubicBezTo>
                  <a:cubicBezTo>
                    <a:pt x="11559248" y="2093844"/>
                    <a:pt x="11559248" y="2093844"/>
                    <a:pt x="11552018" y="2093844"/>
                  </a:cubicBezTo>
                  <a:cubicBezTo>
                    <a:pt x="11552018" y="2093844"/>
                    <a:pt x="11552018" y="2093844"/>
                    <a:pt x="11537557" y="2093844"/>
                  </a:cubicBezTo>
                  <a:cubicBezTo>
                    <a:pt x="11537557" y="2093844"/>
                    <a:pt x="11537557" y="2093844"/>
                    <a:pt x="11523096" y="2093844"/>
                  </a:cubicBezTo>
                  <a:lnTo>
                    <a:pt x="11508635" y="2093844"/>
                  </a:lnTo>
                  <a:cubicBezTo>
                    <a:pt x="11508635" y="2093844"/>
                    <a:pt x="11508635" y="2093844"/>
                    <a:pt x="11494175" y="2093844"/>
                  </a:cubicBezTo>
                  <a:cubicBezTo>
                    <a:pt x="11494175" y="2093844"/>
                    <a:pt x="11494175" y="2093844"/>
                    <a:pt x="11486944" y="2093844"/>
                  </a:cubicBezTo>
                  <a:close/>
                  <a:moveTo>
                    <a:pt x="11776159" y="2086573"/>
                  </a:moveTo>
                  <a:cubicBezTo>
                    <a:pt x="11776159" y="2086573"/>
                    <a:pt x="11776159" y="2086573"/>
                    <a:pt x="11783390" y="2093844"/>
                  </a:cubicBezTo>
                  <a:cubicBezTo>
                    <a:pt x="11783390" y="2093844"/>
                    <a:pt x="11783390" y="2093844"/>
                    <a:pt x="11805081" y="2108384"/>
                  </a:cubicBezTo>
                  <a:cubicBezTo>
                    <a:pt x="11805081" y="2108384"/>
                    <a:pt x="11805081" y="2108384"/>
                    <a:pt x="11834002" y="2122925"/>
                  </a:cubicBezTo>
                  <a:cubicBezTo>
                    <a:pt x="11834002" y="2122925"/>
                    <a:pt x="11834002" y="2122925"/>
                    <a:pt x="11855694" y="2101114"/>
                  </a:cubicBezTo>
                  <a:cubicBezTo>
                    <a:pt x="11855694" y="2101114"/>
                    <a:pt x="11855694" y="2101114"/>
                    <a:pt x="11877385" y="2086573"/>
                  </a:cubicBezTo>
                  <a:cubicBezTo>
                    <a:pt x="11877385" y="2086573"/>
                    <a:pt x="11877385" y="2086573"/>
                    <a:pt x="11841233" y="2086573"/>
                  </a:cubicBezTo>
                  <a:cubicBezTo>
                    <a:pt x="11841233" y="2086573"/>
                    <a:pt x="11841233" y="2086573"/>
                    <a:pt x="11797851" y="2086573"/>
                  </a:cubicBezTo>
                  <a:cubicBezTo>
                    <a:pt x="11797851" y="2086573"/>
                    <a:pt x="11797851" y="2086573"/>
                    <a:pt x="11783390" y="2086573"/>
                  </a:cubicBezTo>
                  <a:cubicBezTo>
                    <a:pt x="11783390" y="2086573"/>
                    <a:pt x="11783390" y="2086573"/>
                    <a:pt x="11776159" y="2086573"/>
                  </a:cubicBezTo>
                  <a:close/>
                  <a:moveTo>
                    <a:pt x="1837382" y="2086334"/>
                  </a:moveTo>
                  <a:cubicBezTo>
                    <a:pt x="1822924" y="2079061"/>
                    <a:pt x="1801238" y="2086334"/>
                    <a:pt x="1794009" y="2115425"/>
                  </a:cubicBezTo>
                  <a:cubicBezTo>
                    <a:pt x="1794009" y="2115425"/>
                    <a:pt x="1794009" y="2122698"/>
                    <a:pt x="1794009" y="2122698"/>
                  </a:cubicBezTo>
                  <a:cubicBezTo>
                    <a:pt x="1794009" y="2122698"/>
                    <a:pt x="1794009" y="2122698"/>
                    <a:pt x="1779551" y="2166336"/>
                  </a:cubicBezTo>
                  <a:cubicBezTo>
                    <a:pt x="1779551" y="2166336"/>
                    <a:pt x="1779551" y="2166336"/>
                    <a:pt x="1772322" y="2217246"/>
                  </a:cubicBezTo>
                  <a:cubicBezTo>
                    <a:pt x="1772322" y="2217246"/>
                    <a:pt x="1772322" y="2217246"/>
                    <a:pt x="1765093" y="2260884"/>
                  </a:cubicBezTo>
                  <a:cubicBezTo>
                    <a:pt x="1765093" y="2260884"/>
                    <a:pt x="1765093" y="2260884"/>
                    <a:pt x="1743407" y="2333613"/>
                  </a:cubicBezTo>
                  <a:cubicBezTo>
                    <a:pt x="1743407" y="2333613"/>
                    <a:pt x="1743407" y="2333613"/>
                    <a:pt x="1736178" y="2399070"/>
                  </a:cubicBezTo>
                  <a:cubicBezTo>
                    <a:pt x="1736178" y="2399070"/>
                    <a:pt x="1736178" y="2399070"/>
                    <a:pt x="1757864" y="2399070"/>
                  </a:cubicBezTo>
                  <a:cubicBezTo>
                    <a:pt x="1765093" y="2406342"/>
                    <a:pt x="1779551" y="2406342"/>
                    <a:pt x="1794009" y="2406342"/>
                  </a:cubicBezTo>
                  <a:cubicBezTo>
                    <a:pt x="1794009" y="2406342"/>
                    <a:pt x="1794009" y="2406342"/>
                    <a:pt x="1801238" y="2413615"/>
                  </a:cubicBezTo>
                  <a:cubicBezTo>
                    <a:pt x="1801238" y="2413615"/>
                    <a:pt x="1801238" y="2413615"/>
                    <a:pt x="1808468" y="2399070"/>
                  </a:cubicBezTo>
                  <a:lnTo>
                    <a:pt x="1815695" y="2362705"/>
                  </a:lnTo>
                  <a:cubicBezTo>
                    <a:pt x="1815695" y="2362705"/>
                    <a:pt x="1815695" y="2362705"/>
                    <a:pt x="1830153" y="2275430"/>
                  </a:cubicBezTo>
                  <a:cubicBezTo>
                    <a:pt x="1837382" y="2239065"/>
                    <a:pt x="1844611" y="2202701"/>
                    <a:pt x="1851840" y="2159063"/>
                  </a:cubicBezTo>
                  <a:cubicBezTo>
                    <a:pt x="1851840" y="2159063"/>
                    <a:pt x="1851840" y="2159063"/>
                    <a:pt x="1859069" y="2144517"/>
                  </a:cubicBezTo>
                  <a:cubicBezTo>
                    <a:pt x="1859069" y="2129971"/>
                    <a:pt x="1859069" y="2122698"/>
                    <a:pt x="1859069" y="2115425"/>
                  </a:cubicBezTo>
                  <a:cubicBezTo>
                    <a:pt x="1851840" y="2100880"/>
                    <a:pt x="1844611" y="2093607"/>
                    <a:pt x="1837382" y="2086334"/>
                  </a:cubicBezTo>
                  <a:close/>
                  <a:moveTo>
                    <a:pt x="1713589" y="2055424"/>
                  </a:moveTo>
                  <a:cubicBezTo>
                    <a:pt x="1696420" y="2057242"/>
                    <a:pt x="1678347" y="2071788"/>
                    <a:pt x="1671118" y="2100880"/>
                  </a:cubicBezTo>
                  <a:cubicBezTo>
                    <a:pt x="1671118" y="2100880"/>
                    <a:pt x="1671118" y="2100880"/>
                    <a:pt x="1663889" y="2144517"/>
                  </a:cubicBezTo>
                  <a:cubicBezTo>
                    <a:pt x="1663889" y="2144517"/>
                    <a:pt x="1663889" y="2144517"/>
                    <a:pt x="1649432" y="2209973"/>
                  </a:cubicBezTo>
                  <a:cubicBezTo>
                    <a:pt x="1649432" y="2209973"/>
                    <a:pt x="1649432" y="2209973"/>
                    <a:pt x="1642203" y="2231792"/>
                  </a:cubicBezTo>
                  <a:cubicBezTo>
                    <a:pt x="1642203" y="2231792"/>
                    <a:pt x="1642203" y="2231792"/>
                    <a:pt x="1634974" y="2260884"/>
                  </a:cubicBezTo>
                  <a:cubicBezTo>
                    <a:pt x="1634974" y="2260884"/>
                    <a:pt x="1634974" y="2260884"/>
                    <a:pt x="1627745" y="2311794"/>
                  </a:cubicBezTo>
                  <a:cubicBezTo>
                    <a:pt x="1627745" y="2311794"/>
                    <a:pt x="1627745" y="2311794"/>
                    <a:pt x="1613287" y="2369978"/>
                  </a:cubicBezTo>
                  <a:cubicBezTo>
                    <a:pt x="1627745" y="2369978"/>
                    <a:pt x="1649432" y="2377251"/>
                    <a:pt x="1671118" y="2384524"/>
                  </a:cubicBezTo>
                  <a:cubicBezTo>
                    <a:pt x="1671118" y="2384524"/>
                    <a:pt x="1671118" y="2384524"/>
                    <a:pt x="1692805" y="2384524"/>
                  </a:cubicBezTo>
                  <a:cubicBezTo>
                    <a:pt x="1692805" y="2384524"/>
                    <a:pt x="1692805" y="2384524"/>
                    <a:pt x="1700034" y="2362705"/>
                  </a:cubicBezTo>
                  <a:cubicBezTo>
                    <a:pt x="1707262" y="2326340"/>
                    <a:pt x="1714491" y="2289976"/>
                    <a:pt x="1721721" y="2253611"/>
                  </a:cubicBezTo>
                  <a:cubicBezTo>
                    <a:pt x="1721721" y="2253611"/>
                    <a:pt x="1721721" y="2253611"/>
                    <a:pt x="1721721" y="2246338"/>
                  </a:cubicBezTo>
                  <a:lnTo>
                    <a:pt x="1736178" y="2195428"/>
                  </a:lnTo>
                  <a:cubicBezTo>
                    <a:pt x="1736178" y="2195428"/>
                    <a:pt x="1736178" y="2195428"/>
                    <a:pt x="1743407" y="2144517"/>
                  </a:cubicBezTo>
                  <a:cubicBezTo>
                    <a:pt x="1743407" y="2144517"/>
                    <a:pt x="1743407" y="2144517"/>
                    <a:pt x="1750636" y="2115425"/>
                  </a:cubicBezTo>
                  <a:cubicBezTo>
                    <a:pt x="1750636" y="2108152"/>
                    <a:pt x="1750636" y="2093607"/>
                    <a:pt x="1750636" y="2086334"/>
                  </a:cubicBezTo>
                  <a:cubicBezTo>
                    <a:pt x="1747021" y="2064515"/>
                    <a:pt x="1730756" y="2053605"/>
                    <a:pt x="1713589" y="2055424"/>
                  </a:cubicBezTo>
                  <a:close/>
                  <a:moveTo>
                    <a:pt x="11754468" y="2050222"/>
                  </a:moveTo>
                  <a:cubicBezTo>
                    <a:pt x="11754468" y="2050222"/>
                    <a:pt x="11754468" y="2050222"/>
                    <a:pt x="11754468" y="2057492"/>
                  </a:cubicBezTo>
                  <a:cubicBezTo>
                    <a:pt x="11754468" y="2057492"/>
                    <a:pt x="11754468" y="2057492"/>
                    <a:pt x="11754468" y="2064762"/>
                  </a:cubicBezTo>
                  <a:cubicBezTo>
                    <a:pt x="11754468" y="2064762"/>
                    <a:pt x="11754468" y="2064762"/>
                    <a:pt x="11754468" y="2072033"/>
                  </a:cubicBezTo>
                  <a:cubicBezTo>
                    <a:pt x="11754468" y="2072033"/>
                    <a:pt x="11754468" y="2072033"/>
                    <a:pt x="11761699" y="2072033"/>
                  </a:cubicBezTo>
                  <a:cubicBezTo>
                    <a:pt x="11761699" y="2072033"/>
                    <a:pt x="11761699" y="2072033"/>
                    <a:pt x="11768929" y="2072033"/>
                  </a:cubicBezTo>
                  <a:cubicBezTo>
                    <a:pt x="11768929" y="2072033"/>
                    <a:pt x="11768929" y="2072033"/>
                    <a:pt x="11783390" y="2072033"/>
                  </a:cubicBezTo>
                  <a:cubicBezTo>
                    <a:pt x="11783390" y="2072033"/>
                    <a:pt x="11783390" y="2072033"/>
                    <a:pt x="11826772" y="2072033"/>
                  </a:cubicBezTo>
                  <a:lnTo>
                    <a:pt x="11877385" y="2072033"/>
                  </a:lnTo>
                  <a:cubicBezTo>
                    <a:pt x="11877385" y="2072033"/>
                    <a:pt x="11877385" y="2072033"/>
                    <a:pt x="11884615" y="2072033"/>
                  </a:cubicBezTo>
                  <a:cubicBezTo>
                    <a:pt x="11884615" y="2064762"/>
                    <a:pt x="11877385" y="2057492"/>
                    <a:pt x="11877385" y="2050222"/>
                  </a:cubicBezTo>
                  <a:cubicBezTo>
                    <a:pt x="11877385" y="2050222"/>
                    <a:pt x="11877385" y="2050222"/>
                    <a:pt x="11855694" y="2050222"/>
                  </a:cubicBezTo>
                  <a:cubicBezTo>
                    <a:pt x="11855694" y="2050222"/>
                    <a:pt x="11855694" y="2050222"/>
                    <a:pt x="11805081" y="2050222"/>
                  </a:cubicBezTo>
                  <a:cubicBezTo>
                    <a:pt x="11805081" y="2050222"/>
                    <a:pt x="11805081" y="2050222"/>
                    <a:pt x="11761699" y="2050222"/>
                  </a:cubicBezTo>
                  <a:cubicBezTo>
                    <a:pt x="11761699" y="2050222"/>
                    <a:pt x="11761699" y="2050222"/>
                    <a:pt x="11754468" y="2050222"/>
                  </a:cubicBezTo>
                  <a:close/>
                  <a:moveTo>
                    <a:pt x="11631552" y="2050222"/>
                  </a:moveTo>
                  <a:lnTo>
                    <a:pt x="11624321" y="2057492"/>
                  </a:lnTo>
                  <a:cubicBezTo>
                    <a:pt x="11624321" y="2057492"/>
                    <a:pt x="11624321" y="2064762"/>
                    <a:pt x="11624321" y="2072033"/>
                  </a:cubicBezTo>
                  <a:cubicBezTo>
                    <a:pt x="11624321" y="2072033"/>
                    <a:pt x="11624321" y="2072033"/>
                    <a:pt x="11617091" y="2079303"/>
                  </a:cubicBezTo>
                  <a:cubicBezTo>
                    <a:pt x="11617091" y="2079303"/>
                    <a:pt x="11617091" y="2079303"/>
                    <a:pt x="11624321" y="2079303"/>
                  </a:cubicBezTo>
                  <a:cubicBezTo>
                    <a:pt x="11624321" y="2079303"/>
                    <a:pt x="11624321" y="2079303"/>
                    <a:pt x="11653243" y="2079303"/>
                  </a:cubicBezTo>
                  <a:cubicBezTo>
                    <a:pt x="11653243" y="2079303"/>
                    <a:pt x="11653243" y="2079303"/>
                    <a:pt x="11660473" y="2079303"/>
                  </a:cubicBezTo>
                  <a:cubicBezTo>
                    <a:pt x="11660473" y="2079303"/>
                    <a:pt x="11660473" y="2079303"/>
                    <a:pt x="11674934" y="2072033"/>
                  </a:cubicBezTo>
                  <a:cubicBezTo>
                    <a:pt x="11674934" y="2072033"/>
                    <a:pt x="11674934" y="2072033"/>
                    <a:pt x="11689395" y="2072033"/>
                  </a:cubicBezTo>
                  <a:cubicBezTo>
                    <a:pt x="11689395" y="2072033"/>
                    <a:pt x="11689395" y="2072033"/>
                    <a:pt x="11703856" y="2072033"/>
                  </a:cubicBezTo>
                  <a:cubicBezTo>
                    <a:pt x="11703856" y="2072033"/>
                    <a:pt x="11703856" y="2072033"/>
                    <a:pt x="11725547" y="2072033"/>
                  </a:cubicBezTo>
                  <a:cubicBezTo>
                    <a:pt x="11725547" y="2072033"/>
                    <a:pt x="11725547" y="2072033"/>
                    <a:pt x="11740007" y="2072033"/>
                  </a:cubicBezTo>
                  <a:cubicBezTo>
                    <a:pt x="11740007" y="2072033"/>
                    <a:pt x="11740007" y="2072033"/>
                    <a:pt x="11740007" y="2057492"/>
                  </a:cubicBezTo>
                  <a:cubicBezTo>
                    <a:pt x="11740007" y="2057492"/>
                    <a:pt x="11740007" y="2057492"/>
                    <a:pt x="11740007" y="2050222"/>
                  </a:cubicBezTo>
                  <a:cubicBezTo>
                    <a:pt x="11740007" y="2050222"/>
                    <a:pt x="11740007" y="2050222"/>
                    <a:pt x="11732777" y="2050222"/>
                  </a:cubicBezTo>
                  <a:cubicBezTo>
                    <a:pt x="11732777" y="2050222"/>
                    <a:pt x="11732777" y="2050222"/>
                    <a:pt x="11725547" y="2050222"/>
                  </a:cubicBezTo>
                  <a:cubicBezTo>
                    <a:pt x="11725547" y="2050222"/>
                    <a:pt x="11725547" y="2050222"/>
                    <a:pt x="11703856" y="2050222"/>
                  </a:cubicBezTo>
                  <a:cubicBezTo>
                    <a:pt x="11703856" y="2050222"/>
                    <a:pt x="11703856" y="2050222"/>
                    <a:pt x="11682164" y="2050222"/>
                  </a:cubicBezTo>
                  <a:cubicBezTo>
                    <a:pt x="11682164" y="2050222"/>
                    <a:pt x="11682164" y="2050222"/>
                    <a:pt x="11667704" y="2050222"/>
                  </a:cubicBezTo>
                  <a:cubicBezTo>
                    <a:pt x="11667704" y="2050222"/>
                    <a:pt x="11667704" y="2050222"/>
                    <a:pt x="11653243" y="2050222"/>
                  </a:cubicBezTo>
                  <a:cubicBezTo>
                    <a:pt x="11653243" y="2050222"/>
                    <a:pt x="11653243" y="2050222"/>
                    <a:pt x="11638782" y="2050222"/>
                  </a:cubicBezTo>
                  <a:cubicBezTo>
                    <a:pt x="11638782" y="2050222"/>
                    <a:pt x="11638782" y="2050222"/>
                    <a:pt x="11631552" y="2050222"/>
                  </a:cubicBezTo>
                  <a:close/>
                  <a:moveTo>
                    <a:pt x="1324133" y="2039969"/>
                  </a:moveTo>
                  <a:cubicBezTo>
                    <a:pt x="1318711" y="2042696"/>
                    <a:pt x="1313290" y="2049969"/>
                    <a:pt x="1309675" y="2064515"/>
                  </a:cubicBezTo>
                  <a:cubicBezTo>
                    <a:pt x="1309675" y="2064515"/>
                    <a:pt x="1309675" y="2064515"/>
                    <a:pt x="1309675" y="2071788"/>
                  </a:cubicBezTo>
                  <a:cubicBezTo>
                    <a:pt x="1309675" y="2071788"/>
                    <a:pt x="1309675" y="2071788"/>
                    <a:pt x="1302446" y="2093607"/>
                  </a:cubicBezTo>
                  <a:cubicBezTo>
                    <a:pt x="1302446" y="2093607"/>
                    <a:pt x="1302446" y="2093607"/>
                    <a:pt x="1295218" y="2122698"/>
                  </a:cubicBezTo>
                  <a:cubicBezTo>
                    <a:pt x="1287989" y="2144517"/>
                    <a:pt x="1280760" y="2159063"/>
                    <a:pt x="1273531" y="2180882"/>
                  </a:cubicBezTo>
                  <a:cubicBezTo>
                    <a:pt x="1273531" y="2180882"/>
                    <a:pt x="1273531" y="2180882"/>
                    <a:pt x="1259073" y="2231792"/>
                  </a:cubicBezTo>
                  <a:cubicBezTo>
                    <a:pt x="1259073" y="2231792"/>
                    <a:pt x="1259073" y="2231792"/>
                    <a:pt x="1244616" y="2289976"/>
                  </a:cubicBezTo>
                  <a:cubicBezTo>
                    <a:pt x="1251844" y="2289976"/>
                    <a:pt x="1259073" y="2289976"/>
                    <a:pt x="1266302" y="2297249"/>
                  </a:cubicBezTo>
                  <a:cubicBezTo>
                    <a:pt x="1266302" y="2297249"/>
                    <a:pt x="1266302" y="2297249"/>
                    <a:pt x="1273531" y="2268157"/>
                  </a:cubicBezTo>
                  <a:cubicBezTo>
                    <a:pt x="1273531" y="2268157"/>
                    <a:pt x="1273531" y="2268157"/>
                    <a:pt x="1295218" y="2209973"/>
                  </a:cubicBezTo>
                  <a:cubicBezTo>
                    <a:pt x="1295218" y="2209973"/>
                    <a:pt x="1295218" y="2209973"/>
                    <a:pt x="1302446" y="2180882"/>
                  </a:cubicBezTo>
                  <a:cubicBezTo>
                    <a:pt x="1309675" y="2151790"/>
                    <a:pt x="1316904" y="2129971"/>
                    <a:pt x="1324133" y="2100880"/>
                  </a:cubicBezTo>
                  <a:cubicBezTo>
                    <a:pt x="1324133" y="2100880"/>
                    <a:pt x="1324133" y="2100880"/>
                    <a:pt x="1331362" y="2079061"/>
                  </a:cubicBezTo>
                  <a:cubicBezTo>
                    <a:pt x="1331362" y="2079061"/>
                    <a:pt x="1331362" y="2079061"/>
                    <a:pt x="1331362" y="2064515"/>
                  </a:cubicBezTo>
                  <a:cubicBezTo>
                    <a:pt x="1338591" y="2057242"/>
                    <a:pt x="1338591" y="2049969"/>
                    <a:pt x="1338591" y="2042696"/>
                  </a:cubicBezTo>
                  <a:cubicBezTo>
                    <a:pt x="1334976" y="2039060"/>
                    <a:pt x="1329555" y="2037241"/>
                    <a:pt x="1324133" y="2039969"/>
                  </a:cubicBezTo>
                  <a:close/>
                  <a:moveTo>
                    <a:pt x="1610577" y="2036105"/>
                  </a:moveTo>
                  <a:cubicBezTo>
                    <a:pt x="1592956" y="2034059"/>
                    <a:pt x="1575337" y="2046332"/>
                    <a:pt x="1569914" y="2079061"/>
                  </a:cubicBezTo>
                  <a:cubicBezTo>
                    <a:pt x="1569914" y="2079061"/>
                    <a:pt x="1569914" y="2079061"/>
                    <a:pt x="1562685" y="2108152"/>
                  </a:cubicBezTo>
                  <a:cubicBezTo>
                    <a:pt x="1562685" y="2108152"/>
                    <a:pt x="1562685" y="2108152"/>
                    <a:pt x="1548228" y="2144517"/>
                  </a:cubicBezTo>
                  <a:cubicBezTo>
                    <a:pt x="1548228" y="2144517"/>
                    <a:pt x="1548228" y="2144517"/>
                    <a:pt x="1533770" y="2209973"/>
                  </a:cubicBezTo>
                  <a:cubicBezTo>
                    <a:pt x="1533770" y="2209973"/>
                    <a:pt x="1533770" y="2209973"/>
                    <a:pt x="1526541" y="2231792"/>
                  </a:cubicBezTo>
                  <a:cubicBezTo>
                    <a:pt x="1526541" y="2231792"/>
                    <a:pt x="1526541" y="2231792"/>
                    <a:pt x="1512083" y="2297249"/>
                  </a:cubicBezTo>
                  <a:cubicBezTo>
                    <a:pt x="1512083" y="2297249"/>
                    <a:pt x="1512083" y="2297249"/>
                    <a:pt x="1497627" y="2340886"/>
                  </a:cubicBezTo>
                  <a:cubicBezTo>
                    <a:pt x="1497627" y="2340886"/>
                    <a:pt x="1497627" y="2340886"/>
                    <a:pt x="1504854" y="2340886"/>
                  </a:cubicBezTo>
                  <a:cubicBezTo>
                    <a:pt x="1519312" y="2348159"/>
                    <a:pt x="1540999" y="2348159"/>
                    <a:pt x="1555456" y="2355432"/>
                  </a:cubicBezTo>
                  <a:cubicBezTo>
                    <a:pt x="1555456" y="2355432"/>
                    <a:pt x="1555456" y="2355432"/>
                    <a:pt x="1569914" y="2355432"/>
                  </a:cubicBezTo>
                  <a:cubicBezTo>
                    <a:pt x="1569914" y="2355432"/>
                    <a:pt x="1569914" y="2355432"/>
                    <a:pt x="1577143" y="2340886"/>
                  </a:cubicBezTo>
                  <a:cubicBezTo>
                    <a:pt x="1577143" y="2340886"/>
                    <a:pt x="1577143" y="2340886"/>
                    <a:pt x="1584372" y="2289976"/>
                  </a:cubicBezTo>
                  <a:cubicBezTo>
                    <a:pt x="1591601" y="2275430"/>
                    <a:pt x="1591601" y="2260884"/>
                    <a:pt x="1598830" y="2239065"/>
                  </a:cubicBezTo>
                  <a:lnTo>
                    <a:pt x="1606058" y="2224519"/>
                  </a:lnTo>
                  <a:cubicBezTo>
                    <a:pt x="1606058" y="2224519"/>
                    <a:pt x="1606058" y="2224519"/>
                    <a:pt x="1613287" y="2180882"/>
                  </a:cubicBezTo>
                  <a:cubicBezTo>
                    <a:pt x="1613287" y="2180882"/>
                    <a:pt x="1613287" y="2180882"/>
                    <a:pt x="1634974" y="2093607"/>
                  </a:cubicBezTo>
                  <a:cubicBezTo>
                    <a:pt x="1634974" y="2093607"/>
                    <a:pt x="1634974" y="2093607"/>
                    <a:pt x="1634974" y="2086334"/>
                  </a:cubicBezTo>
                  <a:cubicBezTo>
                    <a:pt x="1634974" y="2079061"/>
                    <a:pt x="1634974" y="2064515"/>
                    <a:pt x="1634974" y="2057242"/>
                  </a:cubicBezTo>
                  <a:cubicBezTo>
                    <a:pt x="1634974" y="2049969"/>
                    <a:pt x="1627745" y="2042696"/>
                    <a:pt x="1627745" y="2042696"/>
                  </a:cubicBezTo>
                  <a:cubicBezTo>
                    <a:pt x="1622323" y="2039060"/>
                    <a:pt x="1616450" y="2036787"/>
                    <a:pt x="1610577" y="2036105"/>
                  </a:cubicBezTo>
                  <a:close/>
                  <a:moveTo>
                    <a:pt x="1378349" y="2035423"/>
                  </a:moveTo>
                  <a:cubicBezTo>
                    <a:pt x="1371121" y="2039060"/>
                    <a:pt x="1363892" y="2046332"/>
                    <a:pt x="1360277" y="2057242"/>
                  </a:cubicBezTo>
                  <a:cubicBezTo>
                    <a:pt x="1360277" y="2057242"/>
                    <a:pt x="1360277" y="2064515"/>
                    <a:pt x="1360277" y="2064515"/>
                  </a:cubicBezTo>
                  <a:cubicBezTo>
                    <a:pt x="1360277" y="2064515"/>
                    <a:pt x="1360277" y="2064515"/>
                    <a:pt x="1353048" y="2086334"/>
                  </a:cubicBezTo>
                  <a:cubicBezTo>
                    <a:pt x="1345820" y="2115425"/>
                    <a:pt x="1331362" y="2151790"/>
                    <a:pt x="1324133" y="2180882"/>
                  </a:cubicBezTo>
                  <a:cubicBezTo>
                    <a:pt x="1324133" y="2180882"/>
                    <a:pt x="1324133" y="2180882"/>
                    <a:pt x="1324133" y="2188155"/>
                  </a:cubicBezTo>
                  <a:cubicBezTo>
                    <a:pt x="1324133" y="2188155"/>
                    <a:pt x="1324133" y="2188155"/>
                    <a:pt x="1309675" y="2246338"/>
                  </a:cubicBezTo>
                  <a:cubicBezTo>
                    <a:pt x="1309675" y="2246338"/>
                    <a:pt x="1309675" y="2246338"/>
                    <a:pt x="1295218" y="2275430"/>
                  </a:cubicBezTo>
                  <a:cubicBezTo>
                    <a:pt x="1295218" y="2275430"/>
                    <a:pt x="1295218" y="2275430"/>
                    <a:pt x="1295218" y="2297249"/>
                  </a:cubicBezTo>
                  <a:cubicBezTo>
                    <a:pt x="1295218" y="2297249"/>
                    <a:pt x="1295218" y="2297249"/>
                    <a:pt x="1309675" y="2304522"/>
                  </a:cubicBezTo>
                  <a:cubicBezTo>
                    <a:pt x="1309675" y="2304522"/>
                    <a:pt x="1309675" y="2304522"/>
                    <a:pt x="1331362" y="2304522"/>
                  </a:cubicBezTo>
                  <a:cubicBezTo>
                    <a:pt x="1331362" y="2304522"/>
                    <a:pt x="1331362" y="2304522"/>
                    <a:pt x="1331362" y="2282703"/>
                  </a:cubicBezTo>
                  <a:cubicBezTo>
                    <a:pt x="1331362" y="2282703"/>
                    <a:pt x="1331362" y="2282703"/>
                    <a:pt x="1345820" y="2246338"/>
                  </a:cubicBezTo>
                  <a:lnTo>
                    <a:pt x="1353048" y="2217246"/>
                  </a:lnTo>
                  <a:cubicBezTo>
                    <a:pt x="1353048" y="2217246"/>
                    <a:pt x="1353048" y="2217246"/>
                    <a:pt x="1360277" y="2188155"/>
                  </a:cubicBezTo>
                  <a:cubicBezTo>
                    <a:pt x="1360277" y="2188155"/>
                    <a:pt x="1360277" y="2188155"/>
                    <a:pt x="1367507" y="2159063"/>
                  </a:cubicBezTo>
                  <a:cubicBezTo>
                    <a:pt x="1374736" y="2129971"/>
                    <a:pt x="1389193" y="2100880"/>
                    <a:pt x="1396422" y="2064515"/>
                  </a:cubicBezTo>
                  <a:cubicBezTo>
                    <a:pt x="1396422" y="2064515"/>
                    <a:pt x="1396422" y="2057242"/>
                    <a:pt x="1396422" y="2057242"/>
                  </a:cubicBezTo>
                  <a:cubicBezTo>
                    <a:pt x="1396422" y="2042696"/>
                    <a:pt x="1396422" y="2042696"/>
                    <a:pt x="1396422" y="2035423"/>
                  </a:cubicBezTo>
                  <a:cubicBezTo>
                    <a:pt x="1392808" y="2031787"/>
                    <a:pt x="1385579" y="2031787"/>
                    <a:pt x="1378349" y="2035423"/>
                  </a:cubicBezTo>
                  <a:close/>
                  <a:moveTo>
                    <a:pt x="1514794" y="2030877"/>
                  </a:moveTo>
                  <a:cubicBezTo>
                    <a:pt x="1503047" y="2033605"/>
                    <a:pt x="1490397" y="2046332"/>
                    <a:pt x="1483168" y="2071788"/>
                  </a:cubicBezTo>
                  <a:cubicBezTo>
                    <a:pt x="1483168" y="2071788"/>
                    <a:pt x="1483168" y="2071788"/>
                    <a:pt x="1475939" y="2093607"/>
                  </a:cubicBezTo>
                  <a:cubicBezTo>
                    <a:pt x="1475939" y="2093607"/>
                    <a:pt x="1475939" y="2093607"/>
                    <a:pt x="1461481" y="2144517"/>
                  </a:cubicBezTo>
                  <a:cubicBezTo>
                    <a:pt x="1461481" y="2144517"/>
                    <a:pt x="1461481" y="2144517"/>
                    <a:pt x="1454252" y="2173609"/>
                  </a:cubicBezTo>
                  <a:cubicBezTo>
                    <a:pt x="1454252" y="2173609"/>
                    <a:pt x="1454252" y="2173609"/>
                    <a:pt x="1447024" y="2195428"/>
                  </a:cubicBezTo>
                  <a:cubicBezTo>
                    <a:pt x="1447024" y="2195428"/>
                    <a:pt x="1447024" y="2195428"/>
                    <a:pt x="1447024" y="2209973"/>
                  </a:cubicBezTo>
                  <a:cubicBezTo>
                    <a:pt x="1447024" y="2209973"/>
                    <a:pt x="1447024" y="2209973"/>
                    <a:pt x="1425337" y="2304522"/>
                  </a:cubicBezTo>
                  <a:cubicBezTo>
                    <a:pt x="1425337" y="2304522"/>
                    <a:pt x="1425337" y="2304522"/>
                    <a:pt x="1418108" y="2326340"/>
                  </a:cubicBezTo>
                  <a:cubicBezTo>
                    <a:pt x="1418108" y="2326340"/>
                    <a:pt x="1418108" y="2326340"/>
                    <a:pt x="1454252" y="2333613"/>
                  </a:cubicBezTo>
                  <a:cubicBezTo>
                    <a:pt x="1454252" y="2333613"/>
                    <a:pt x="1454252" y="2333613"/>
                    <a:pt x="1475939" y="2340886"/>
                  </a:cubicBezTo>
                  <a:cubicBezTo>
                    <a:pt x="1475939" y="2340886"/>
                    <a:pt x="1475939" y="2340886"/>
                    <a:pt x="1483168" y="2319067"/>
                  </a:cubicBezTo>
                  <a:lnTo>
                    <a:pt x="1497627" y="2253611"/>
                  </a:lnTo>
                  <a:cubicBezTo>
                    <a:pt x="1497627" y="2253611"/>
                    <a:pt x="1497627" y="2253611"/>
                    <a:pt x="1512083" y="2202701"/>
                  </a:cubicBezTo>
                  <a:cubicBezTo>
                    <a:pt x="1512083" y="2202701"/>
                    <a:pt x="1512083" y="2202701"/>
                    <a:pt x="1519312" y="2166336"/>
                  </a:cubicBezTo>
                  <a:cubicBezTo>
                    <a:pt x="1519312" y="2166336"/>
                    <a:pt x="1519312" y="2166336"/>
                    <a:pt x="1526541" y="2129971"/>
                  </a:cubicBezTo>
                  <a:cubicBezTo>
                    <a:pt x="1526541" y="2129971"/>
                    <a:pt x="1526541" y="2129971"/>
                    <a:pt x="1533770" y="2100880"/>
                  </a:cubicBezTo>
                  <a:cubicBezTo>
                    <a:pt x="1533770" y="2100880"/>
                    <a:pt x="1533770" y="2100880"/>
                    <a:pt x="1540999" y="2071788"/>
                  </a:cubicBezTo>
                  <a:cubicBezTo>
                    <a:pt x="1548228" y="2064515"/>
                    <a:pt x="1548228" y="2057242"/>
                    <a:pt x="1540999" y="2049969"/>
                  </a:cubicBezTo>
                  <a:cubicBezTo>
                    <a:pt x="1537384" y="2035423"/>
                    <a:pt x="1526541" y="2028150"/>
                    <a:pt x="1514794" y="2030877"/>
                  </a:cubicBezTo>
                  <a:close/>
                  <a:moveTo>
                    <a:pt x="1450638" y="2026332"/>
                  </a:moveTo>
                  <a:cubicBezTo>
                    <a:pt x="1439795" y="2026332"/>
                    <a:pt x="1425337" y="2039060"/>
                    <a:pt x="1418108" y="2064515"/>
                  </a:cubicBezTo>
                  <a:cubicBezTo>
                    <a:pt x="1410880" y="2093607"/>
                    <a:pt x="1403650" y="2115425"/>
                    <a:pt x="1396422" y="2144517"/>
                  </a:cubicBezTo>
                  <a:cubicBezTo>
                    <a:pt x="1396422" y="2144517"/>
                    <a:pt x="1396422" y="2144517"/>
                    <a:pt x="1381964" y="2188155"/>
                  </a:cubicBezTo>
                  <a:cubicBezTo>
                    <a:pt x="1381964" y="2188155"/>
                    <a:pt x="1381964" y="2188155"/>
                    <a:pt x="1381964" y="2202701"/>
                  </a:cubicBezTo>
                  <a:cubicBezTo>
                    <a:pt x="1381964" y="2202701"/>
                    <a:pt x="1381964" y="2202701"/>
                    <a:pt x="1367507" y="2231792"/>
                  </a:cubicBezTo>
                  <a:cubicBezTo>
                    <a:pt x="1367507" y="2231792"/>
                    <a:pt x="1367507" y="2231792"/>
                    <a:pt x="1360277" y="2268157"/>
                  </a:cubicBezTo>
                  <a:cubicBezTo>
                    <a:pt x="1360277" y="2268157"/>
                    <a:pt x="1360277" y="2268157"/>
                    <a:pt x="1345820" y="2311794"/>
                  </a:cubicBezTo>
                  <a:cubicBezTo>
                    <a:pt x="1345820" y="2311794"/>
                    <a:pt x="1345820" y="2311794"/>
                    <a:pt x="1396422" y="2319067"/>
                  </a:cubicBezTo>
                  <a:cubicBezTo>
                    <a:pt x="1403650" y="2289976"/>
                    <a:pt x="1410880" y="2260884"/>
                    <a:pt x="1418108" y="2231792"/>
                  </a:cubicBezTo>
                  <a:cubicBezTo>
                    <a:pt x="1418108" y="2231792"/>
                    <a:pt x="1418108" y="2231792"/>
                    <a:pt x="1432566" y="2195428"/>
                  </a:cubicBezTo>
                  <a:cubicBezTo>
                    <a:pt x="1432566" y="2195428"/>
                    <a:pt x="1432566" y="2195428"/>
                    <a:pt x="1439795" y="2159063"/>
                  </a:cubicBezTo>
                  <a:cubicBezTo>
                    <a:pt x="1439795" y="2159063"/>
                    <a:pt x="1439795" y="2159063"/>
                    <a:pt x="1454252" y="2108152"/>
                  </a:cubicBezTo>
                  <a:cubicBezTo>
                    <a:pt x="1454252" y="2108152"/>
                    <a:pt x="1454252" y="2108152"/>
                    <a:pt x="1461481" y="2064515"/>
                  </a:cubicBezTo>
                  <a:cubicBezTo>
                    <a:pt x="1468710" y="2039060"/>
                    <a:pt x="1461481" y="2026332"/>
                    <a:pt x="1450638" y="2026332"/>
                  </a:cubicBezTo>
                  <a:close/>
                  <a:moveTo>
                    <a:pt x="11711086" y="2013870"/>
                  </a:moveTo>
                  <a:cubicBezTo>
                    <a:pt x="11711086" y="2013870"/>
                    <a:pt x="11711086" y="2013870"/>
                    <a:pt x="11703856" y="2021141"/>
                  </a:cubicBezTo>
                  <a:cubicBezTo>
                    <a:pt x="11703856" y="2021141"/>
                    <a:pt x="11703856" y="2021141"/>
                    <a:pt x="11696625" y="2028411"/>
                  </a:cubicBezTo>
                  <a:lnTo>
                    <a:pt x="11696625" y="2035681"/>
                  </a:lnTo>
                  <a:cubicBezTo>
                    <a:pt x="11696625" y="2035681"/>
                    <a:pt x="11696625" y="2035681"/>
                    <a:pt x="11711086" y="2035681"/>
                  </a:cubicBezTo>
                  <a:cubicBezTo>
                    <a:pt x="11711086" y="2035681"/>
                    <a:pt x="11711086" y="2035681"/>
                    <a:pt x="11718316" y="2035681"/>
                  </a:cubicBezTo>
                  <a:cubicBezTo>
                    <a:pt x="11718316" y="2035681"/>
                    <a:pt x="11718316" y="2035681"/>
                    <a:pt x="11725547" y="2035681"/>
                  </a:cubicBezTo>
                  <a:cubicBezTo>
                    <a:pt x="11725547" y="2035681"/>
                    <a:pt x="11725547" y="2035681"/>
                    <a:pt x="11732777" y="2035681"/>
                  </a:cubicBezTo>
                  <a:cubicBezTo>
                    <a:pt x="11732777" y="2035681"/>
                    <a:pt x="11732777" y="2035681"/>
                    <a:pt x="11711086" y="2013870"/>
                  </a:cubicBezTo>
                  <a:close/>
                  <a:moveTo>
                    <a:pt x="11646013" y="2013870"/>
                  </a:moveTo>
                  <a:cubicBezTo>
                    <a:pt x="11646013" y="2013870"/>
                    <a:pt x="11646013" y="2013870"/>
                    <a:pt x="11646013" y="2021141"/>
                  </a:cubicBezTo>
                  <a:cubicBezTo>
                    <a:pt x="11646013" y="2021141"/>
                    <a:pt x="11646013" y="2021141"/>
                    <a:pt x="11638782" y="2028411"/>
                  </a:cubicBezTo>
                  <a:lnTo>
                    <a:pt x="11631552" y="2035681"/>
                  </a:lnTo>
                  <a:cubicBezTo>
                    <a:pt x="11631552" y="2035681"/>
                    <a:pt x="11631552" y="2035681"/>
                    <a:pt x="11631552" y="2042952"/>
                  </a:cubicBezTo>
                  <a:cubicBezTo>
                    <a:pt x="11631552" y="2042952"/>
                    <a:pt x="11631552" y="2042952"/>
                    <a:pt x="11638782" y="2042952"/>
                  </a:cubicBezTo>
                  <a:cubicBezTo>
                    <a:pt x="11638782" y="2042952"/>
                    <a:pt x="11638782" y="2042952"/>
                    <a:pt x="11653243" y="2042952"/>
                  </a:cubicBezTo>
                  <a:cubicBezTo>
                    <a:pt x="11653243" y="2042952"/>
                    <a:pt x="11653243" y="2042952"/>
                    <a:pt x="11667704" y="2042952"/>
                  </a:cubicBezTo>
                  <a:cubicBezTo>
                    <a:pt x="11667704" y="2042952"/>
                    <a:pt x="11667704" y="2042952"/>
                    <a:pt x="11646013" y="2013870"/>
                  </a:cubicBezTo>
                  <a:close/>
                  <a:moveTo>
                    <a:pt x="11580939" y="2013870"/>
                  </a:moveTo>
                  <a:cubicBezTo>
                    <a:pt x="11580939" y="2013870"/>
                    <a:pt x="11580939" y="2013870"/>
                    <a:pt x="11573709" y="2028411"/>
                  </a:cubicBezTo>
                  <a:cubicBezTo>
                    <a:pt x="11573709" y="2028411"/>
                    <a:pt x="11573709" y="2028411"/>
                    <a:pt x="11566478" y="2035681"/>
                  </a:cubicBezTo>
                  <a:cubicBezTo>
                    <a:pt x="11566478" y="2035681"/>
                    <a:pt x="11566478" y="2035681"/>
                    <a:pt x="11559248" y="2042952"/>
                  </a:cubicBezTo>
                  <a:cubicBezTo>
                    <a:pt x="11559248" y="2042952"/>
                    <a:pt x="11559248" y="2042952"/>
                    <a:pt x="11573709" y="2042952"/>
                  </a:cubicBezTo>
                  <a:cubicBezTo>
                    <a:pt x="11573709" y="2042952"/>
                    <a:pt x="11573709" y="2042952"/>
                    <a:pt x="11588169" y="2042952"/>
                  </a:cubicBezTo>
                  <a:cubicBezTo>
                    <a:pt x="11588169" y="2042952"/>
                    <a:pt x="11588169" y="2042952"/>
                    <a:pt x="11602630" y="2042952"/>
                  </a:cubicBezTo>
                  <a:close/>
                  <a:moveTo>
                    <a:pt x="11841233" y="2006600"/>
                  </a:moveTo>
                  <a:cubicBezTo>
                    <a:pt x="11841233" y="2006600"/>
                    <a:pt x="11841233" y="2006600"/>
                    <a:pt x="11834002" y="2028411"/>
                  </a:cubicBezTo>
                  <a:cubicBezTo>
                    <a:pt x="11834002" y="2028411"/>
                    <a:pt x="11834002" y="2028411"/>
                    <a:pt x="11834002" y="2035681"/>
                  </a:cubicBezTo>
                  <a:cubicBezTo>
                    <a:pt x="11834002" y="2035681"/>
                    <a:pt x="11834002" y="2035681"/>
                    <a:pt x="11841233" y="2035681"/>
                  </a:cubicBezTo>
                  <a:lnTo>
                    <a:pt x="11870154" y="2035681"/>
                  </a:lnTo>
                  <a:cubicBezTo>
                    <a:pt x="11870154" y="2035681"/>
                    <a:pt x="11870154" y="2035681"/>
                    <a:pt x="11841233" y="2006600"/>
                  </a:cubicBezTo>
                  <a:close/>
                  <a:moveTo>
                    <a:pt x="11776159" y="2006600"/>
                  </a:moveTo>
                  <a:cubicBezTo>
                    <a:pt x="11776159" y="2006600"/>
                    <a:pt x="11776159" y="2006600"/>
                    <a:pt x="11768929" y="2021141"/>
                  </a:cubicBezTo>
                  <a:cubicBezTo>
                    <a:pt x="11768929" y="2021141"/>
                    <a:pt x="11768929" y="2021141"/>
                    <a:pt x="11761699" y="2035681"/>
                  </a:cubicBezTo>
                  <a:lnTo>
                    <a:pt x="11790620" y="2035681"/>
                  </a:lnTo>
                  <a:cubicBezTo>
                    <a:pt x="11790620" y="2035681"/>
                    <a:pt x="11790620" y="2035681"/>
                    <a:pt x="11805081" y="2035681"/>
                  </a:cubicBezTo>
                  <a:cubicBezTo>
                    <a:pt x="11805081" y="2035681"/>
                    <a:pt x="11805081" y="2035681"/>
                    <a:pt x="11776159" y="2006600"/>
                  </a:cubicBezTo>
                  <a:close/>
                  <a:moveTo>
                    <a:pt x="11862924" y="1977519"/>
                  </a:moveTo>
                  <a:lnTo>
                    <a:pt x="11855694" y="1984789"/>
                  </a:lnTo>
                  <a:cubicBezTo>
                    <a:pt x="11855694" y="1984789"/>
                    <a:pt x="11855694" y="1984789"/>
                    <a:pt x="11848463" y="1999330"/>
                  </a:cubicBezTo>
                  <a:cubicBezTo>
                    <a:pt x="11848463" y="1999330"/>
                    <a:pt x="11848463" y="1999330"/>
                    <a:pt x="11870154" y="2021141"/>
                  </a:cubicBezTo>
                  <a:cubicBezTo>
                    <a:pt x="11870154" y="2013870"/>
                    <a:pt x="11870154" y="2006600"/>
                    <a:pt x="11870154" y="1999330"/>
                  </a:cubicBezTo>
                  <a:cubicBezTo>
                    <a:pt x="11862924" y="1992060"/>
                    <a:pt x="11862924" y="1984789"/>
                    <a:pt x="11862924" y="1977519"/>
                  </a:cubicBezTo>
                  <a:close/>
                  <a:moveTo>
                    <a:pt x="11747238" y="1977519"/>
                  </a:moveTo>
                  <a:cubicBezTo>
                    <a:pt x="11747238" y="1984789"/>
                    <a:pt x="11747238" y="1992060"/>
                    <a:pt x="11747238" y="1999330"/>
                  </a:cubicBezTo>
                  <a:cubicBezTo>
                    <a:pt x="11747238" y="2006600"/>
                    <a:pt x="11747238" y="2013870"/>
                    <a:pt x="11747238" y="2028411"/>
                  </a:cubicBezTo>
                  <a:cubicBezTo>
                    <a:pt x="11747238" y="2028411"/>
                    <a:pt x="11747238" y="2028411"/>
                    <a:pt x="11761699" y="2013870"/>
                  </a:cubicBezTo>
                  <a:cubicBezTo>
                    <a:pt x="11761699" y="2013870"/>
                    <a:pt x="11761699" y="2013870"/>
                    <a:pt x="11768929" y="1999330"/>
                  </a:cubicBezTo>
                  <a:close/>
                  <a:moveTo>
                    <a:pt x="11732777" y="1977519"/>
                  </a:moveTo>
                  <a:cubicBezTo>
                    <a:pt x="11732777" y="1977519"/>
                    <a:pt x="11732777" y="1977519"/>
                    <a:pt x="11725547" y="1984789"/>
                  </a:cubicBezTo>
                  <a:cubicBezTo>
                    <a:pt x="11725547" y="1984789"/>
                    <a:pt x="11725547" y="1984789"/>
                    <a:pt x="11718316" y="1999330"/>
                  </a:cubicBezTo>
                  <a:lnTo>
                    <a:pt x="11740007" y="2021141"/>
                  </a:lnTo>
                  <a:cubicBezTo>
                    <a:pt x="11732777" y="2006600"/>
                    <a:pt x="11732777" y="1999330"/>
                    <a:pt x="11732777" y="1984789"/>
                  </a:cubicBezTo>
                  <a:cubicBezTo>
                    <a:pt x="11732777" y="1984789"/>
                    <a:pt x="11732777" y="1984789"/>
                    <a:pt x="11732777" y="1977519"/>
                  </a:cubicBezTo>
                  <a:close/>
                  <a:moveTo>
                    <a:pt x="11617091" y="1977519"/>
                  </a:moveTo>
                  <a:cubicBezTo>
                    <a:pt x="11617091" y="1977519"/>
                    <a:pt x="11617091" y="1977519"/>
                    <a:pt x="11609861" y="1984789"/>
                  </a:cubicBezTo>
                  <a:cubicBezTo>
                    <a:pt x="11609861" y="1984789"/>
                    <a:pt x="11609861" y="1984789"/>
                    <a:pt x="11602630" y="1992060"/>
                  </a:cubicBezTo>
                  <a:cubicBezTo>
                    <a:pt x="11602630" y="1992060"/>
                    <a:pt x="11602630" y="1992060"/>
                    <a:pt x="11595400" y="1999330"/>
                  </a:cubicBezTo>
                  <a:cubicBezTo>
                    <a:pt x="11595400" y="1999330"/>
                    <a:pt x="11595400" y="1999330"/>
                    <a:pt x="11609861" y="2028411"/>
                  </a:cubicBezTo>
                  <a:cubicBezTo>
                    <a:pt x="11609861" y="2028411"/>
                    <a:pt x="11609861" y="2028411"/>
                    <a:pt x="11609861" y="2013870"/>
                  </a:cubicBezTo>
                  <a:cubicBezTo>
                    <a:pt x="11609861" y="2013870"/>
                    <a:pt x="11609861" y="2013870"/>
                    <a:pt x="11609861" y="1999330"/>
                  </a:cubicBezTo>
                  <a:lnTo>
                    <a:pt x="11609861" y="1992060"/>
                  </a:lnTo>
                  <a:cubicBezTo>
                    <a:pt x="11609861" y="1992060"/>
                    <a:pt x="11609861" y="1992060"/>
                    <a:pt x="11617091" y="1977519"/>
                  </a:cubicBezTo>
                  <a:close/>
                  <a:moveTo>
                    <a:pt x="11494175" y="1977519"/>
                  </a:moveTo>
                  <a:cubicBezTo>
                    <a:pt x="11494175" y="1977519"/>
                    <a:pt x="11494175" y="1977519"/>
                    <a:pt x="11494175" y="1992060"/>
                  </a:cubicBezTo>
                  <a:lnTo>
                    <a:pt x="11494175" y="1999330"/>
                  </a:lnTo>
                  <a:cubicBezTo>
                    <a:pt x="11494175" y="1999330"/>
                    <a:pt x="11494175" y="1999330"/>
                    <a:pt x="11494175" y="2006600"/>
                  </a:cubicBezTo>
                  <a:cubicBezTo>
                    <a:pt x="11494175" y="2006600"/>
                    <a:pt x="11494175" y="2006600"/>
                    <a:pt x="11494175" y="2013870"/>
                  </a:cubicBezTo>
                  <a:lnTo>
                    <a:pt x="11489644" y="2018426"/>
                  </a:lnTo>
                  <a:lnTo>
                    <a:pt x="11486944" y="2021141"/>
                  </a:lnTo>
                  <a:cubicBezTo>
                    <a:pt x="11486944" y="2021141"/>
                    <a:pt x="11486944" y="2021141"/>
                    <a:pt x="11487848" y="2020232"/>
                  </a:cubicBezTo>
                  <a:lnTo>
                    <a:pt x="11489644" y="2018426"/>
                  </a:lnTo>
                  <a:lnTo>
                    <a:pt x="11490560" y="2017506"/>
                  </a:lnTo>
                  <a:cubicBezTo>
                    <a:pt x="11492367" y="2015688"/>
                    <a:pt x="11494175" y="2013870"/>
                    <a:pt x="11494175" y="2013870"/>
                  </a:cubicBezTo>
                  <a:cubicBezTo>
                    <a:pt x="11494175" y="2013870"/>
                    <a:pt x="11494175" y="2013870"/>
                    <a:pt x="11501405" y="2013870"/>
                  </a:cubicBezTo>
                  <a:cubicBezTo>
                    <a:pt x="11501405" y="2013870"/>
                    <a:pt x="11501405" y="2013870"/>
                    <a:pt x="11501405" y="2006600"/>
                  </a:cubicBezTo>
                  <a:cubicBezTo>
                    <a:pt x="11501405" y="2006600"/>
                    <a:pt x="11501405" y="2006600"/>
                    <a:pt x="11508635" y="2006600"/>
                  </a:cubicBezTo>
                  <a:cubicBezTo>
                    <a:pt x="11508635" y="2006600"/>
                    <a:pt x="11508635" y="2006600"/>
                    <a:pt x="11508635" y="1999330"/>
                  </a:cubicBezTo>
                  <a:cubicBezTo>
                    <a:pt x="11508635" y="1999330"/>
                    <a:pt x="11508635" y="1999330"/>
                    <a:pt x="11494175" y="1977519"/>
                  </a:cubicBezTo>
                  <a:close/>
                  <a:moveTo>
                    <a:pt x="11674934" y="1970249"/>
                  </a:moveTo>
                  <a:cubicBezTo>
                    <a:pt x="11674934" y="1970249"/>
                    <a:pt x="11674934" y="1970249"/>
                    <a:pt x="11667704" y="1977519"/>
                  </a:cubicBezTo>
                  <a:cubicBezTo>
                    <a:pt x="11667704" y="1977519"/>
                    <a:pt x="11667704" y="1977519"/>
                    <a:pt x="11667704" y="1984789"/>
                  </a:cubicBezTo>
                  <a:cubicBezTo>
                    <a:pt x="11667704" y="1984789"/>
                    <a:pt x="11667704" y="1984789"/>
                    <a:pt x="11660473" y="1992060"/>
                  </a:cubicBezTo>
                  <a:cubicBezTo>
                    <a:pt x="11660473" y="1992060"/>
                    <a:pt x="11660473" y="1992060"/>
                    <a:pt x="11660473" y="1999330"/>
                  </a:cubicBezTo>
                  <a:lnTo>
                    <a:pt x="11674934" y="2028411"/>
                  </a:lnTo>
                  <a:cubicBezTo>
                    <a:pt x="11674934" y="2028411"/>
                    <a:pt x="11674934" y="2028411"/>
                    <a:pt x="11682164" y="2035681"/>
                  </a:cubicBezTo>
                  <a:cubicBezTo>
                    <a:pt x="11682164" y="2035681"/>
                    <a:pt x="11682164" y="2035681"/>
                    <a:pt x="11689395" y="2021141"/>
                  </a:cubicBezTo>
                  <a:cubicBezTo>
                    <a:pt x="11689395" y="2021141"/>
                    <a:pt x="11689395" y="2021141"/>
                    <a:pt x="11689395" y="2013870"/>
                  </a:cubicBezTo>
                  <a:cubicBezTo>
                    <a:pt x="11689395" y="2013870"/>
                    <a:pt x="11689395" y="2013870"/>
                    <a:pt x="11696625" y="2013870"/>
                  </a:cubicBezTo>
                  <a:cubicBezTo>
                    <a:pt x="11696625" y="2013870"/>
                    <a:pt x="11696625" y="2013870"/>
                    <a:pt x="11696625" y="2006600"/>
                  </a:cubicBezTo>
                  <a:cubicBezTo>
                    <a:pt x="11696625" y="2006600"/>
                    <a:pt x="11696625" y="2006600"/>
                    <a:pt x="11703856" y="1999330"/>
                  </a:cubicBezTo>
                  <a:cubicBezTo>
                    <a:pt x="11703856" y="1999330"/>
                    <a:pt x="11703856" y="1999330"/>
                    <a:pt x="11696625" y="1992060"/>
                  </a:cubicBezTo>
                  <a:cubicBezTo>
                    <a:pt x="11696625" y="1992060"/>
                    <a:pt x="11696625" y="1992060"/>
                    <a:pt x="11682164" y="1970249"/>
                  </a:cubicBezTo>
                  <a:cubicBezTo>
                    <a:pt x="11682164" y="1970249"/>
                    <a:pt x="11682164" y="1970249"/>
                    <a:pt x="11674934" y="1970249"/>
                  </a:cubicBezTo>
                  <a:close/>
                  <a:moveTo>
                    <a:pt x="11552018" y="1970249"/>
                  </a:moveTo>
                  <a:cubicBezTo>
                    <a:pt x="11552018" y="1970249"/>
                    <a:pt x="11552018" y="1970249"/>
                    <a:pt x="11544787" y="1977519"/>
                  </a:cubicBezTo>
                  <a:cubicBezTo>
                    <a:pt x="11544787" y="1977519"/>
                    <a:pt x="11544787" y="1977519"/>
                    <a:pt x="11537557" y="1992060"/>
                  </a:cubicBezTo>
                  <a:cubicBezTo>
                    <a:pt x="11537557" y="1992060"/>
                    <a:pt x="11537557" y="1992060"/>
                    <a:pt x="11530326" y="1999330"/>
                  </a:cubicBezTo>
                  <a:cubicBezTo>
                    <a:pt x="11530326" y="1999330"/>
                    <a:pt x="11530326" y="1999330"/>
                    <a:pt x="11523096" y="2006600"/>
                  </a:cubicBezTo>
                  <a:cubicBezTo>
                    <a:pt x="11523096" y="2006600"/>
                    <a:pt x="11523096" y="2006600"/>
                    <a:pt x="11544787" y="2035681"/>
                  </a:cubicBezTo>
                  <a:cubicBezTo>
                    <a:pt x="11544787" y="2035681"/>
                    <a:pt x="11544787" y="2035681"/>
                    <a:pt x="11552018" y="2021141"/>
                  </a:cubicBezTo>
                  <a:cubicBezTo>
                    <a:pt x="11552018" y="2021141"/>
                    <a:pt x="11552018" y="2021141"/>
                    <a:pt x="11559248" y="2013870"/>
                  </a:cubicBezTo>
                  <a:cubicBezTo>
                    <a:pt x="11559248" y="2013870"/>
                    <a:pt x="11559248" y="2013870"/>
                    <a:pt x="11573709" y="1999330"/>
                  </a:cubicBezTo>
                  <a:cubicBezTo>
                    <a:pt x="11573709" y="1999330"/>
                    <a:pt x="11573709" y="1999330"/>
                    <a:pt x="11566478" y="1992060"/>
                  </a:cubicBezTo>
                  <a:close/>
                  <a:moveTo>
                    <a:pt x="11819542" y="1962978"/>
                  </a:moveTo>
                  <a:cubicBezTo>
                    <a:pt x="11819542" y="1962978"/>
                    <a:pt x="11819542" y="1962978"/>
                    <a:pt x="11841233" y="1984789"/>
                  </a:cubicBezTo>
                  <a:lnTo>
                    <a:pt x="11848463" y="1977519"/>
                  </a:lnTo>
                  <a:cubicBezTo>
                    <a:pt x="11848463" y="1977519"/>
                    <a:pt x="11848463" y="1977519"/>
                    <a:pt x="11848463" y="1962978"/>
                  </a:cubicBezTo>
                  <a:cubicBezTo>
                    <a:pt x="11848463" y="1962978"/>
                    <a:pt x="11848463" y="1962978"/>
                    <a:pt x="11826772" y="1962978"/>
                  </a:cubicBezTo>
                  <a:cubicBezTo>
                    <a:pt x="11826772" y="1962978"/>
                    <a:pt x="11826772" y="1962978"/>
                    <a:pt x="11819542" y="1962978"/>
                  </a:cubicBezTo>
                  <a:close/>
                  <a:moveTo>
                    <a:pt x="11805081" y="1962978"/>
                  </a:moveTo>
                  <a:cubicBezTo>
                    <a:pt x="11805081" y="1962978"/>
                    <a:pt x="11805081" y="1962978"/>
                    <a:pt x="11790620" y="1992060"/>
                  </a:cubicBezTo>
                  <a:cubicBezTo>
                    <a:pt x="11790620" y="1992060"/>
                    <a:pt x="11790620" y="1992060"/>
                    <a:pt x="11783390" y="1999330"/>
                  </a:cubicBezTo>
                  <a:cubicBezTo>
                    <a:pt x="11783390" y="1999330"/>
                    <a:pt x="11783390" y="1999330"/>
                    <a:pt x="11819542" y="2035681"/>
                  </a:cubicBezTo>
                  <a:cubicBezTo>
                    <a:pt x="11819542" y="2035681"/>
                    <a:pt x="11819542" y="2035681"/>
                    <a:pt x="11826772" y="2021141"/>
                  </a:cubicBezTo>
                  <a:cubicBezTo>
                    <a:pt x="11826772" y="2021141"/>
                    <a:pt x="11826772" y="2021141"/>
                    <a:pt x="11834002" y="1999330"/>
                  </a:cubicBezTo>
                  <a:close/>
                  <a:moveTo>
                    <a:pt x="11754468" y="1962978"/>
                  </a:moveTo>
                  <a:cubicBezTo>
                    <a:pt x="11754468" y="1962978"/>
                    <a:pt x="11754468" y="1962978"/>
                    <a:pt x="11776159" y="1984789"/>
                  </a:cubicBezTo>
                  <a:cubicBezTo>
                    <a:pt x="11776159" y="1984789"/>
                    <a:pt x="11776159" y="1984789"/>
                    <a:pt x="11783390" y="1977519"/>
                  </a:cubicBezTo>
                  <a:lnTo>
                    <a:pt x="11790620" y="1962978"/>
                  </a:lnTo>
                  <a:cubicBezTo>
                    <a:pt x="11790620" y="1962978"/>
                    <a:pt x="11790620" y="1962978"/>
                    <a:pt x="11761699" y="1962978"/>
                  </a:cubicBezTo>
                  <a:cubicBezTo>
                    <a:pt x="11761699" y="1962978"/>
                    <a:pt x="11761699" y="1962978"/>
                    <a:pt x="11754468" y="1962978"/>
                  </a:cubicBezTo>
                  <a:close/>
                  <a:moveTo>
                    <a:pt x="11696625" y="1962978"/>
                  </a:moveTo>
                  <a:lnTo>
                    <a:pt x="11711086" y="1984789"/>
                  </a:lnTo>
                  <a:cubicBezTo>
                    <a:pt x="11711086" y="1984789"/>
                    <a:pt x="11711086" y="1984789"/>
                    <a:pt x="11718316" y="1970249"/>
                  </a:cubicBezTo>
                  <a:cubicBezTo>
                    <a:pt x="11718316" y="1970249"/>
                    <a:pt x="11718316" y="1970249"/>
                    <a:pt x="11725547" y="1962978"/>
                  </a:cubicBezTo>
                  <a:cubicBezTo>
                    <a:pt x="11725547" y="1962978"/>
                    <a:pt x="11725547" y="1962978"/>
                    <a:pt x="11711086" y="1962978"/>
                  </a:cubicBezTo>
                  <a:cubicBezTo>
                    <a:pt x="11711086" y="1962978"/>
                    <a:pt x="11711086" y="1962978"/>
                    <a:pt x="11696625" y="1962978"/>
                  </a:cubicBezTo>
                  <a:close/>
                  <a:moveTo>
                    <a:pt x="11631552" y="1962978"/>
                  </a:moveTo>
                  <a:lnTo>
                    <a:pt x="11646013" y="1977519"/>
                  </a:lnTo>
                  <a:cubicBezTo>
                    <a:pt x="11646013" y="1977519"/>
                    <a:pt x="11646013" y="1977519"/>
                    <a:pt x="11653243" y="1984789"/>
                  </a:cubicBezTo>
                  <a:cubicBezTo>
                    <a:pt x="11653243" y="1984789"/>
                    <a:pt x="11653243" y="1984789"/>
                    <a:pt x="11653243" y="1977519"/>
                  </a:cubicBezTo>
                  <a:cubicBezTo>
                    <a:pt x="11653243" y="1977519"/>
                    <a:pt x="11653243" y="1977519"/>
                    <a:pt x="11660473" y="1977519"/>
                  </a:cubicBezTo>
                  <a:cubicBezTo>
                    <a:pt x="11660473" y="1977519"/>
                    <a:pt x="11660473" y="1977519"/>
                    <a:pt x="11660473" y="1970249"/>
                  </a:cubicBezTo>
                  <a:cubicBezTo>
                    <a:pt x="11660473" y="1970249"/>
                    <a:pt x="11660473" y="1970249"/>
                    <a:pt x="11667704" y="1962978"/>
                  </a:cubicBezTo>
                  <a:cubicBezTo>
                    <a:pt x="11667704" y="1962978"/>
                    <a:pt x="11667704" y="1962978"/>
                    <a:pt x="11653243" y="1962978"/>
                  </a:cubicBezTo>
                  <a:cubicBezTo>
                    <a:pt x="11653243" y="1962978"/>
                    <a:pt x="11653243" y="1962978"/>
                    <a:pt x="11646013" y="1962978"/>
                  </a:cubicBezTo>
                  <a:cubicBezTo>
                    <a:pt x="11646013" y="1962978"/>
                    <a:pt x="11646013" y="1962978"/>
                    <a:pt x="11638782" y="1962978"/>
                  </a:cubicBezTo>
                  <a:cubicBezTo>
                    <a:pt x="11638782" y="1962978"/>
                    <a:pt x="11638782" y="1962978"/>
                    <a:pt x="11631552" y="1962978"/>
                  </a:cubicBezTo>
                  <a:close/>
                  <a:moveTo>
                    <a:pt x="11566478" y="1962978"/>
                  </a:moveTo>
                  <a:cubicBezTo>
                    <a:pt x="11566478" y="1962978"/>
                    <a:pt x="11566478" y="1962978"/>
                    <a:pt x="11580939" y="1992060"/>
                  </a:cubicBezTo>
                  <a:lnTo>
                    <a:pt x="11588169" y="1984789"/>
                  </a:lnTo>
                  <a:cubicBezTo>
                    <a:pt x="11588169" y="1984789"/>
                    <a:pt x="11588169" y="1984789"/>
                    <a:pt x="11595400" y="1977519"/>
                  </a:cubicBezTo>
                  <a:cubicBezTo>
                    <a:pt x="11595400" y="1977519"/>
                    <a:pt x="11595400" y="1977519"/>
                    <a:pt x="11609861" y="1962978"/>
                  </a:cubicBezTo>
                  <a:cubicBezTo>
                    <a:pt x="11609861" y="1962978"/>
                    <a:pt x="11609861" y="1962978"/>
                    <a:pt x="11588169" y="1962978"/>
                  </a:cubicBezTo>
                  <a:cubicBezTo>
                    <a:pt x="11588169" y="1962978"/>
                    <a:pt x="11588169" y="1962978"/>
                    <a:pt x="11573709" y="1962978"/>
                  </a:cubicBezTo>
                  <a:cubicBezTo>
                    <a:pt x="11573709" y="1962978"/>
                    <a:pt x="11573709" y="1962978"/>
                    <a:pt x="11566478" y="1962978"/>
                  </a:cubicBezTo>
                  <a:close/>
                  <a:moveTo>
                    <a:pt x="11508635" y="1962978"/>
                  </a:moveTo>
                  <a:cubicBezTo>
                    <a:pt x="11508635" y="1962978"/>
                    <a:pt x="11508635" y="1962978"/>
                    <a:pt x="11515866" y="1992060"/>
                  </a:cubicBezTo>
                  <a:cubicBezTo>
                    <a:pt x="11515866" y="1992060"/>
                    <a:pt x="11515866" y="1992060"/>
                    <a:pt x="11523096" y="1984789"/>
                  </a:cubicBezTo>
                  <a:cubicBezTo>
                    <a:pt x="11523096" y="1984789"/>
                    <a:pt x="11523096" y="1984789"/>
                    <a:pt x="11537557" y="1970249"/>
                  </a:cubicBezTo>
                  <a:lnTo>
                    <a:pt x="11537557" y="1962978"/>
                  </a:lnTo>
                  <a:cubicBezTo>
                    <a:pt x="11537557" y="1962978"/>
                    <a:pt x="11537557" y="1962978"/>
                    <a:pt x="11508635" y="1962978"/>
                  </a:cubicBezTo>
                  <a:close/>
                  <a:moveTo>
                    <a:pt x="11458023" y="1926627"/>
                  </a:moveTo>
                  <a:cubicBezTo>
                    <a:pt x="11458023" y="1926627"/>
                    <a:pt x="11458023" y="1926627"/>
                    <a:pt x="11465253" y="1941168"/>
                  </a:cubicBezTo>
                  <a:cubicBezTo>
                    <a:pt x="11465253" y="1941168"/>
                    <a:pt x="11465253" y="1941168"/>
                    <a:pt x="11472483" y="1970249"/>
                  </a:cubicBezTo>
                  <a:lnTo>
                    <a:pt x="11472483" y="1984789"/>
                  </a:lnTo>
                  <a:cubicBezTo>
                    <a:pt x="11472483" y="1984789"/>
                    <a:pt x="11472483" y="1984789"/>
                    <a:pt x="11479714" y="1984789"/>
                  </a:cubicBezTo>
                  <a:cubicBezTo>
                    <a:pt x="11479714" y="1984789"/>
                    <a:pt x="11479714" y="1984789"/>
                    <a:pt x="11479714" y="1986607"/>
                  </a:cubicBezTo>
                  <a:lnTo>
                    <a:pt x="11479714" y="1992060"/>
                  </a:lnTo>
                  <a:cubicBezTo>
                    <a:pt x="11479714" y="1992060"/>
                    <a:pt x="11479714" y="1992060"/>
                    <a:pt x="11486944" y="1977519"/>
                  </a:cubicBezTo>
                  <a:cubicBezTo>
                    <a:pt x="11486944" y="1977519"/>
                    <a:pt x="11486944" y="1970249"/>
                    <a:pt x="11486944" y="1962978"/>
                  </a:cubicBezTo>
                  <a:cubicBezTo>
                    <a:pt x="11486944" y="1962978"/>
                    <a:pt x="11486944" y="1962978"/>
                    <a:pt x="11486944" y="1955708"/>
                  </a:cubicBezTo>
                  <a:cubicBezTo>
                    <a:pt x="11486944" y="1955708"/>
                    <a:pt x="11486944" y="1955708"/>
                    <a:pt x="11486944" y="1948438"/>
                  </a:cubicBezTo>
                  <a:cubicBezTo>
                    <a:pt x="11494175" y="1941168"/>
                    <a:pt x="11494175" y="1933897"/>
                    <a:pt x="11494175" y="1926627"/>
                  </a:cubicBezTo>
                  <a:cubicBezTo>
                    <a:pt x="11494175" y="1926627"/>
                    <a:pt x="11494175" y="1926627"/>
                    <a:pt x="11486944" y="1926627"/>
                  </a:cubicBezTo>
                  <a:cubicBezTo>
                    <a:pt x="11486944" y="1926627"/>
                    <a:pt x="11486944" y="1926627"/>
                    <a:pt x="11465253" y="1926627"/>
                  </a:cubicBezTo>
                  <a:cubicBezTo>
                    <a:pt x="11465253" y="1926627"/>
                    <a:pt x="11465253" y="1926627"/>
                    <a:pt x="11458023" y="1926627"/>
                  </a:cubicBezTo>
                  <a:close/>
                  <a:moveTo>
                    <a:pt x="11862924" y="1919357"/>
                  </a:moveTo>
                  <a:cubicBezTo>
                    <a:pt x="11862924" y="1926627"/>
                    <a:pt x="11862924" y="1926627"/>
                    <a:pt x="11870154" y="1933897"/>
                  </a:cubicBezTo>
                  <a:cubicBezTo>
                    <a:pt x="11870154" y="1941168"/>
                    <a:pt x="11870154" y="1948438"/>
                    <a:pt x="11870154" y="1948438"/>
                  </a:cubicBezTo>
                  <a:cubicBezTo>
                    <a:pt x="11870154" y="1955708"/>
                    <a:pt x="11870154" y="1955708"/>
                    <a:pt x="11870154" y="1955708"/>
                  </a:cubicBezTo>
                  <a:cubicBezTo>
                    <a:pt x="11877385" y="1970249"/>
                    <a:pt x="11877385" y="1977519"/>
                    <a:pt x="11877385" y="1992060"/>
                  </a:cubicBezTo>
                  <a:cubicBezTo>
                    <a:pt x="11877385" y="1992060"/>
                    <a:pt x="11877385" y="1992060"/>
                    <a:pt x="11891845" y="1955708"/>
                  </a:cubicBezTo>
                  <a:cubicBezTo>
                    <a:pt x="11891845" y="1955708"/>
                    <a:pt x="11891845" y="1955708"/>
                    <a:pt x="11899076" y="1926627"/>
                  </a:cubicBezTo>
                  <a:cubicBezTo>
                    <a:pt x="11899076" y="1926627"/>
                    <a:pt x="11899076" y="1926627"/>
                    <a:pt x="11899076" y="1919357"/>
                  </a:cubicBezTo>
                  <a:cubicBezTo>
                    <a:pt x="11899076" y="1919357"/>
                    <a:pt x="11899076" y="1919357"/>
                    <a:pt x="11884615" y="1919357"/>
                  </a:cubicBezTo>
                  <a:close/>
                  <a:moveTo>
                    <a:pt x="11740007" y="1919357"/>
                  </a:moveTo>
                  <a:cubicBezTo>
                    <a:pt x="11740007" y="1926627"/>
                    <a:pt x="11740007" y="1933897"/>
                    <a:pt x="11740007" y="1948438"/>
                  </a:cubicBezTo>
                  <a:cubicBezTo>
                    <a:pt x="11740007" y="1948438"/>
                    <a:pt x="11740007" y="1948438"/>
                    <a:pt x="11747238" y="1948438"/>
                  </a:cubicBezTo>
                  <a:cubicBezTo>
                    <a:pt x="11747238" y="1948438"/>
                    <a:pt x="11747238" y="1948438"/>
                    <a:pt x="11812311" y="1948438"/>
                  </a:cubicBezTo>
                  <a:cubicBezTo>
                    <a:pt x="11812311" y="1948438"/>
                    <a:pt x="11812311" y="1948438"/>
                    <a:pt x="11834002" y="1948438"/>
                  </a:cubicBezTo>
                  <a:cubicBezTo>
                    <a:pt x="11834002" y="1948438"/>
                    <a:pt x="11834002" y="1948438"/>
                    <a:pt x="11855694" y="1948438"/>
                  </a:cubicBezTo>
                  <a:cubicBezTo>
                    <a:pt x="11855694" y="1941168"/>
                    <a:pt x="11855694" y="1926627"/>
                    <a:pt x="11848463" y="1919357"/>
                  </a:cubicBezTo>
                  <a:cubicBezTo>
                    <a:pt x="11848463" y="1919357"/>
                    <a:pt x="11848463" y="1919357"/>
                    <a:pt x="11805081" y="1919357"/>
                  </a:cubicBezTo>
                  <a:cubicBezTo>
                    <a:pt x="11805081" y="1919357"/>
                    <a:pt x="11805081" y="1919357"/>
                    <a:pt x="11783390" y="1919357"/>
                  </a:cubicBezTo>
                  <a:cubicBezTo>
                    <a:pt x="11783390" y="1919357"/>
                    <a:pt x="11783390" y="1919357"/>
                    <a:pt x="11740007" y="1919357"/>
                  </a:cubicBezTo>
                  <a:close/>
                  <a:moveTo>
                    <a:pt x="11631552" y="1919357"/>
                  </a:moveTo>
                  <a:cubicBezTo>
                    <a:pt x="11631552" y="1919357"/>
                    <a:pt x="11631552" y="1919357"/>
                    <a:pt x="11631552" y="1926627"/>
                  </a:cubicBezTo>
                  <a:cubicBezTo>
                    <a:pt x="11631552" y="1926627"/>
                    <a:pt x="11631552" y="1926627"/>
                    <a:pt x="11631552" y="1941168"/>
                  </a:cubicBezTo>
                  <a:cubicBezTo>
                    <a:pt x="11631552" y="1941168"/>
                    <a:pt x="11631552" y="1941168"/>
                    <a:pt x="11631552" y="1948438"/>
                  </a:cubicBezTo>
                  <a:cubicBezTo>
                    <a:pt x="11631552" y="1948438"/>
                    <a:pt x="11631552" y="1948438"/>
                    <a:pt x="11638782" y="1948438"/>
                  </a:cubicBezTo>
                  <a:cubicBezTo>
                    <a:pt x="11638782" y="1948438"/>
                    <a:pt x="11638782" y="1948438"/>
                    <a:pt x="11653243" y="1948438"/>
                  </a:cubicBezTo>
                  <a:cubicBezTo>
                    <a:pt x="11653243" y="1948438"/>
                    <a:pt x="11653243" y="1948438"/>
                    <a:pt x="11696625" y="1948438"/>
                  </a:cubicBezTo>
                  <a:cubicBezTo>
                    <a:pt x="11696625" y="1948438"/>
                    <a:pt x="11696625" y="1948438"/>
                    <a:pt x="11732777" y="1948438"/>
                  </a:cubicBezTo>
                  <a:cubicBezTo>
                    <a:pt x="11732777" y="1948438"/>
                    <a:pt x="11732777" y="1948438"/>
                    <a:pt x="11725547" y="1933897"/>
                  </a:cubicBezTo>
                  <a:cubicBezTo>
                    <a:pt x="11725547" y="1933897"/>
                    <a:pt x="11725547" y="1933897"/>
                    <a:pt x="11725547" y="1919357"/>
                  </a:cubicBezTo>
                  <a:cubicBezTo>
                    <a:pt x="11725547" y="1919357"/>
                    <a:pt x="11725547" y="1919357"/>
                    <a:pt x="11718316" y="1919357"/>
                  </a:cubicBezTo>
                  <a:cubicBezTo>
                    <a:pt x="11718316" y="1919357"/>
                    <a:pt x="11718316" y="1919357"/>
                    <a:pt x="11667704" y="1919357"/>
                  </a:cubicBezTo>
                  <a:close/>
                  <a:moveTo>
                    <a:pt x="11566478" y="1919357"/>
                  </a:moveTo>
                  <a:cubicBezTo>
                    <a:pt x="11566478" y="1919357"/>
                    <a:pt x="11566478" y="1919357"/>
                    <a:pt x="11544787" y="1926627"/>
                  </a:cubicBezTo>
                  <a:cubicBezTo>
                    <a:pt x="11544787" y="1926627"/>
                    <a:pt x="11544787" y="1926627"/>
                    <a:pt x="11530326" y="1926627"/>
                  </a:cubicBezTo>
                  <a:cubicBezTo>
                    <a:pt x="11530326" y="1926627"/>
                    <a:pt x="11530326" y="1926627"/>
                    <a:pt x="11515866" y="1926627"/>
                  </a:cubicBezTo>
                  <a:cubicBezTo>
                    <a:pt x="11515866" y="1926627"/>
                    <a:pt x="11515866" y="1926627"/>
                    <a:pt x="11508635" y="1926627"/>
                  </a:cubicBezTo>
                  <a:cubicBezTo>
                    <a:pt x="11508635" y="1926627"/>
                    <a:pt x="11508635" y="1926627"/>
                    <a:pt x="11508635" y="1933897"/>
                  </a:cubicBezTo>
                  <a:cubicBezTo>
                    <a:pt x="11508635" y="1933897"/>
                    <a:pt x="11508635" y="1933897"/>
                    <a:pt x="11508635" y="1941168"/>
                  </a:cubicBezTo>
                  <a:lnTo>
                    <a:pt x="11501405" y="1955708"/>
                  </a:lnTo>
                  <a:cubicBezTo>
                    <a:pt x="11501405" y="1955708"/>
                    <a:pt x="11501405" y="1955708"/>
                    <a:pt x="11523096" y="1955708"/>
                  </a:cubicBezTo>
                  <a:cubicBezTo>
                    <a:pt x="11523096" y="1955708"/>
                    <a:pt x="11523096" y="1955708"/>
                    <a:pt x="11530326" y="1955708"/>
                  </a:cubicBezTo>
                  <a:cubicBezTo>
                    <a:pt x="11530326" y="1955708"/>
                    <a:pt x="11530326" y="1955708"/>
                    <a:pt x="11544787" y="1955708"/>
                  </a:cubicBezTo>
                  <a:cubicBezTo>
                    <a:pt x="11544787" y="1955708"/>
                    <a:pt x="11544787" y="1955708"/>
                    <a:pt x="11559248" y="1948438"/>
                  </a:cubicBezTo>
                  <a:cubicBezTo>
                    <a:pt x="11559248" y="1948438"/>
                    <a:pt x="11559248" y="1948438"/>
                    <a:pt x="11573709" y="1948438"/>
                  </a:cubicBezTo>
                  <a:cubicBezTo>
                    <a:pt x="11573709" y="1948438"/>
                    <a:pt x="11573709" y="1948438"/>
                    <a:pt x="11595400" y="1948438"/>
                  </a:cubicBezTo>
                  <a:cubicBezTo>
                    <a:pt x="11595400" y="1948438"/>
                    <a:pt x="11595400" y="1948438"/>
                    <a:pt x="11617091" y="1948438"/>
                  </a:cubicBezTo>
                  <a:cubicBezTo>
                    <a:pt x="11617091" y="1948438"/>
                    <a:pt x="11617091" y="1948438"/>
                    <a:pt x="11617091" y="1941168"/>
                  </a:cubicBezTo>
                  <a:cubicBezTo>
                    <a:pt x="11617091" y="1941168"/>
                    <a:pt x="11617091" y="1941168"/>
                    <a:pt x="11617091" y="1933897"/>
                  </a:cubicBezTo>
                  <a:cubicBezTo>
                    <a:pt x="11617091" y="1933897"/>
                    <a:pt x="11617091" y="1933897"/>
                    <a:pt x="11617091" y="1919357"/>
                  </a:cubicBezTo>
                  <a:cubicBezTo>
                    <a:pt x="11617091" y="1919357"/>
                    <a:pt x="11617091" y="1919357"/>
                    <a:pt x="11609861" y="1919357"/>
                  </a:cubicBezTo>
                  <a:cubicBezTo>
                    <a:pt x="11609861" y="1919357"/>
                    <a:pt x="11609861" y="1919357"/>
                    <a:pt x="11602630" y="1919357"/>
                  </a:cubicBezTo>
                  <a:cubicBezTo>
                    <a:pt x="11602630" y="1919357"/>
                    <a:pt x="11602630" y="1919357"/>
                    <a:pt x="11595400" y="1919357"/>
                  </a:cubicBezTo>
                  <a:cubicBezTo>
                    <a:pt x="11595400" y="1919357"/>
                    <a:pt x="11595400" y="1919357"/>
                    <a:pt x="11580939" y="1919357"/>
                  </a:cubicBezTo>
                  <a:cubicBezTo>
                    <a:pt x="11580939" y="1919357"/>
                    <a:pt x="11580939" y="1919357"/>
                    <a:pt x="11566478" y="1919357"/>
                  </a:cubicBezTo>
                  <a:close/>
                  <a:moveTo>
                    <a:pt x="11790620" y="1868465"/>
                  </a:moveTo>
                  <a:cubicBezTo>
                    <a:pt x="11790620" y="1868465"/>
                    <a:pt x="11790620" y="1868465"/>
                    <a:pt x="11768929" y="1890275"/>
                  </a:cubicBezTo>
                  <a:lnTo>
                    <a:pt x="11776159" y="1890275"/>
                  </a:lnTo>
                  <a:cubicBezTo>
                    <a:pt x="11776159" y="1890275"/>
                    <a:pt x="11776159" y="1890275"/>
                    <a:pt x="11819542" y="1890275"/>
                  </a:cubicBezTo>
                  <a:cubicBezTo>
                    <a:pt x="11819542" y="1890275"/>
                    <a:pt x="11819542" y="1890275"/>
                    <a:pt x="11790620" y="1868465"/>
                  </a:cubicBezTo>
                  <a:close/>
                  <a:moveTo>
                    <a:pt x="11674934" y="1868465"/>
                  </a:moveTo>
                  <a:lnTo>
                    <a:pt x="11667704" y="1875735"/>
                  </a:lnTo>
                  <a:cubicBezTo>
                    <a:pt x="11667704" y="1875735"/>
                    <a:pt x="11667704" y="1875735"/>
                    <a:pt x="11653243" y="1890275"/>
                  </a:cubicBezTo>
                  <a:cubicBezTo>
                    <a:pt x="11653243" y="1890275"/>
                    <a:pt x="11653243" y="1890275"/>
                    <a:pt x="11689395" y="1890275"/>
                  </a:cubicBezTo>
                  <a:cubicBezTo>
                    <a:pt x="11689395" y="1890275"/>
                    <a:pt x="11689395" y="1890275"/>
                    <a:pt x="11703856" y="1890275"/>
                  </a:cubicBezTo>
                  <a:cubicBezTo>
                    <a:pt x="11703856" y="1890275"/>
                    <a:pt x="11703856" y="1890275"/>
                    <a:pt x="11674934" y="1868465"/>
                  </a:cubicBezTo>
                  <a:close/>
                  <a:moveTo>
                    <a:pt x="11566478" y="1868465"/>
                  </a:moveTo>
                  <a:lnTo>
                    <a:pt x="11559248" y="1875735"/>
                  </a:lnTo>
                  <a:cubicBezTo>
                    <a:pt x="11559248" y="1875735"/>
                    <a:pt x="11559248" y="1875735"/>
                    <a:pt x="11552018" y="1883005"/>
                  </a:cubicBezTo>
                  <a:cubicBezTo>
                    <a:pt x="11552018" y="1883005"/>
                    <a:pt x="11552018" y="1883005"/>
                    <a:pt x="11544787" y="1890275"/>
                  </a:cubicBezTo>
                  <a:cubicBezTo>
                    <a:pt x="11544787" y="1890275"/>
                    <a:pt x="11544787" y="1890275"/>
                    <a:pt x="11537557" y="1897546"/>
                  </a:cubicBezTo>
                  <a:cubicBezTo>
                    <a:pt x="11537557" y="1897546"/>
                    <a:pt x="11537557" y="1897546"/>
                    <a:pt x="11552018" y="1897546"/>
                  </a:cubicBezTo>
                  <a:cubicBezTo>
                    <a:pt x="11552018" y="1897546"/>
                    <a:pt x="11552018" y="1897546"/>
                    <a:pt x="11566478" y="1897546"/>
                  </a:cubicBezTo>
                  <a:cubicBezTo>
                    <a:pt x="11566478" y="1897546"/>
                    <a:pt x="11566478" y="1897546"/>
                    <a:pt x="11573709" y="1897546"/>
                  </a:cubicBezTo>
                  <a:cubicBezTo>
                    <a:pt x="11573709" y="1897546"/>
                    <a:pt x="11573709" y="1897546"/>
                    <a:pt x="11580939" y="1897546"/>
                  </a:cubicBezTo>
                  <a:cubicBezTo>
                    <a:pt x="11580939" y="1897546"/>
                    <a:pt x="11580939" y="1897546"/>
                    <a:pt x="11595400" y="1897546"/>
                  </a:cubicBezTo>
                  <a:cubicBezTo>
                    <a:pt x="11595400" y="1897546"/>
                    <a:pt x="11595400" y="1897546"/>
                    <a:pt x="11588169" y="1890275"/>
                  </a:cubicBezTo>
                  <a:cubicBezTo>
                    <a:pt x="11588169" y="1890275"/>
                    <a:pt x="11588169" y="1890275"/>
                    <a:pt x="11566478" y="1868465"/>
                  </a:cubicBezTo>
                  <a:close/>
                  <a:moveTo>
                    <a:pt x="2090392" y="1860873"/>
                  </a:moveTo>
                  <a:cubicBezTo>
                    <a:pt x="2083163" y="1860873"/>
                    <a:pt x="2075934" y="1868146"/>
                    <a:pt x="2075934" y="1882692"/>
                  </a:cubicBezTo>
                  <a:cubicBezTo>
                    <a:pt x="2075934" y="1882692"/>
                    <a:pt x="2075934" y="1882692"/>
                    <a:pt x="2061477" y="1940875"/>
                  </a:cubicBezTo>
                  <a:cubicBezTo>
                    <a:pt x="2061477" y="1940875"/>
                    <a:pt x="2061477" y="1940875"/>
                    <a:pt x="2054248" y="1991786"/>
                  </a:cubicBezTo>
                  <a:cubicBezTo>
                    <a:pt x="2054248" y="1991786"/>
                    <a:pt x="2054248" y="1991786"/>
                    <a:pt x="2054248" y="1999059"/>
                  </a:cubicBezTo>
                  <a:cubicBezTo>
                    <a:pt x="2054248" y="1999059"/>
                    <a:pt x="2054248" y="1999059"/>
                    <a:pt x="2047019" y="2035423"/>
                  </a:cubicBezTo>
                  <a:cubicBezTo>
                    <a:pt x="2039790" y="2064515"/>
                    <a:pt x="2039790" y="2086334"/>
                    <a:pt x="2032562" y="2108152"/>
                  </a:cubicBezTo>
                  <a:cubicBezTo>
                    <a:pt x="2039790" y="2108152"/>
                    <a:pt x="2047019" y="2115425"/>
                    <a:pt x="2061477" y="2122698"/>
                  </a:cubicBezTo>
                  <a:cubicBezTo>
                    <a:pt x="2061477" y="2122698"/>
                    <a:pt x="2061477" y="2122698"/>
                    <a:pt x="2061477" y="2079061"/>
                  </a:cubicBezTo>
                  <a:cubicBezTo>
                    <a:pt x="2061477" y="2079061"/>
                    <a:pt x="2061477" y="2079061"/>
                    <a:pt x="2075934" y="2079061"/>
                  </a:cubicBezTo>
                  <a:cubicBezTo>
                    <a:pt x="2075934" y="2057242"/>
                    <a:pt x="2083163" y="2035423"/>
                    <a:pt x="2090392" y="2013604"/>
                  </a:cubicBezTo>
                  <a:cubicBezTo>
                    <a:pt x="2090392" y="2013604"/>
                    <a:pt x="2090392" y="2013604"/>
                    <a:pt x="2090392" y="1977240"/>
                  </a:cubicBezTo>
                  <a:close/>
                  <a:moveTo>
                    <a:pt x="11732777" y="1824843"/>
                  </a:moveTo>
                  <a:cubicBezTo>
                    <a:pt x="11732777" y="1832113"/>
                    <a:pt x="11732777" y="1846654"/>
                    <a:pt x="11732777" y="1853924"/>
                  </a:cubicBezTo>
                  <a:cubicBezTo>
                    <a:pt x="11732777" y="1853924"/>
                    <a:pt x="11732777" y="1853924"/>
                    <a:pt x="11740007" y="1875735"/>
                  </a:cubicBezTo>
                  <a:cubicBezTo>
                    <a:pt x="11740007" y="1875735"/>
                    <a:pt x="11740007" y="1875735"/>
                    <a:pt x="11740007" y="1890275"/>
                  </a:cubicBezTo>
                  <a:lnTo>
                    <a:pt x="11747238" y="1890275"/>
                  </a:lnTo>
                  <a:cubicBezTo>
                    <a:pt x="11747238" y="1890275"/>
                    <a:pt x="11747238" y="1890275"/>
                    <a:pt x="11754468" y="1875735"/>
                  </a:cubicBezTo>
                  <a:cubicBezTo>
                    <a:pt x="11754468" y="1875735"/>
                    <a:pt x="11754468" y="1875735"/>
                    <a:pt x="11776159" y="1853924"/>
                  </a:cubicBezTo>
                  <a:cubicBezTo>
                    <a:pt x="11776159" y="1853924"/>
                    <a:pt x="11776159" y="1853924"/>
                    <a:pt x="11732777" y="1824843"/>
                  </a:cubicBezTo>
                  <a:close/>
                  <a:moveTo>
                    <a:pt x="11718316" y="1824843"/>
                  </a:moveTo>
                  <a:cubicBezTo>
                    <a:pt x="11718316" y="1824843"/>
                    <a:pt x="11718316" y="1824843"/>
                    <a:pt x="11711086" y="1832113"/>
                  </a:cubicBezTo>
                  <a:cubicBezTo>
                    <a:pt x="11711086" y="1832113"/>
                    <a:pt x="11711086" y="1832113"/>
                    <a:pt x="11703856" y="1839383"/>
                  </a:cubicBezTo>
                  <a:cubicBezTo>
                    <a:pt x="11703856" y="1839383"/>
                    <a:pt x="11703856" y="1839383"/>
                    <a:pt x="11689395" y="1853924"/>
                  </a:cubicBezTo>
                  <a:cubicBezTo>
                    <a:pt x="11689395" y="1853924"/>
                    <a:pt x="11689395" y="1853924"/>
                    <a:pt x="11725547" y="1890275"/>
                  </a:cubicBezTo>
                  <a:cubicBezTo>
                    <a:pt x="11725547" y="1883005"/>
                    <a:pt x="11725547" y="1875735"/>
                    <a:pt x="11725547" y="1861194"/>
                  </a:cubicBezTo>
                  <a:cubicBezTo>
                    <a:pt x="11725547" y="1861194"/>
                    <a:pt x="11725547" y="1861194"/>
                    <a:pt x="11718316" y="1846654"/>
                  </a:cubicBezTo>
                  <a:cubicBezTo>
                    <a:pt x="11718316" y="1846654"/>
                    <a:pt x="11718316" y="1846654"/>
                    <a:pt x="11718316" y="1824843"/>
                  </a:cubicBezTo>
                  <a:close/>
                  <a:moveTo>
                    <a:pt x="11638782" y="1824843"/>
                  </a:moveTo>
                  <a:cubicBezTo>
                    <a:pt x="11638782" y="1824843"/>
                    <a:pt x="11638782" y="1824843"/>
                    <a:pt x="11631552" y="1846654"/>
                  </a:cubicBezTo>
                  <a:cubicBezTo>
                    <a:pt x="11631552" y="1861194"/>
                    <a:pt x="11631552" y="1875735"/>
                    <a:pt x="11631552" y="1890275"/>
                  </a:cubicBezTo>
                  <a:cubicBezTo>
                    <a:pt x="11631552" y="1890275"/>
                    <a:pt x="11631552" y="1890275"/>
                    <a:pt x="11660473" y="1868465"/>
                  </a:cubicBezTo>
                  <a:cubicBezTo>
                    <a:pt x="11660473" y="1868465"/>
                    <a:pt x="11660473" y="1868465"/>
                    <a:pt x="11667704" y="1853924"/>
                  </a:cubicBezTo>
                  <a:close/>
                  <a:moveTo>
                    <a:pt x="11617091" y="1824843"/>
                  </a:moveTo>
                  <a:cubicBezTo>
                    <a:pt x="11617091" y="1824843"/>
                    <a:pt x="11617091" y="1824843"/>
                    <a:pt x="11588169" y="1853924"/>
                  </a:cubicBezTo>
                  <a:cubicBezTo>
                    <a:pt x="11588169" y="1853924"/>
                    <a:pt x="11588169" y="1853924"/>
                    <a:pt x="11580939" y="1861194"/>
                  </a:cubicBezTo>
                  <a:lnTo>
                    <a:pt x="11609861" y="1897546"/>
                  </a:lnTo>
                  <a:cubicBezTo>
                    <a:pt x="11609861" y="1897546"/>
                    <a:pt x="11609861" y="1897546"/>
                    <a:pt x="11617091" y="1897546"/>
                  </a:cubicBezTo>
                  <a:cubicBezTo>
                    <a:pt x="11617091" y="1897546"/>
                    <a:pt x="11617091" y="1897546"/>
                    <a:pt x="11617091" y="1875735"/>
                  </a:cubicBezTo>
                  <a:cubicBezTo>
                    <a:pt x="11617091" y="1861194"/>
                    <a:pt x="11617091" y="1846654"/>
                    <a:pt x="11624321" y="1832113"/>
                  </a:cubicBezTo>
                  <a:cubicBezTo>
                    <a:pt x="11624321" y="1832113"/>
                    <a:pt x="11624321" y="1832113"/>
                    <a:pt x="11624321" y="1824843"/>
                  </a:cubicBezTo>
                  <a:cubicBezTo>
                    <a:pt x="11624321" y="1824843"/>
                    <a:pt x="11624321" y="1824843"/>
                    <a:pt x="11617091" y="1824843"/>
                  </a:cubicBezTo>
                  <a:close/>
                  <a:moveTo>
                    <a:pt x="11523096" y="1824843"/>
                  </a:moveTo>
                  <a:cubicBezTo>
                    <a:pt x="11523096" y="1824843"/>
                    <a:pt x="11523096" y="1824843"/>
                    <a:pt x="11523096" y="1839383"/>
                  </a:cubicBezTo>
                  <a:cubicBezTo>
                    <a:pt x="11523096" y="1839383"/>
                    <a:pt x="11523096" y="1839383"/>
                    <a:pt x="11515866" y="1846654"/>
                  </a:cubicBezTo>
                  <a:cubicBezTo>
                    <a:pt x="11515866" y="1846654"/>
                    <a:pt x="11515866" y="1846654"/>
                    <a:pt x="11515866" y="1853924"/>
                  </a:cubicBezTo>
                  <a:cubicBezTo>
                    <a:pt x="11515866" y="1853924"/>
                    <a:pt x="11515866" y="1853924"/>
                    <a:pt x="11515866" y="1861194"/>
                  </a:cubicBezTo>
                  <a:cubicBezTo>
                    <a:pt x="11515866" y="1861194"/>
                    <a:pt x="11515866" y="1861194"/>
                    <a:pt x="11515866" y="1875735"/>
                  </a:cubicBezTo>
                  <a:cubicBezTo>
                    <a:pt x="11515866" y="1883005"/>
                    <a:pt x="11515866" y="1890275"/>
                    <a:pt x="11508635" y="1897546"/>
                  </a:cubicBezTo>
                  <a:cubicBezTo>
                    <a:pt x="11508635" y="1897546"/>
                    <a:pt x="11508635" y="1897546"/>
                    <a:pt x="11515866" y="1897546"/>
                  </a:cubicBezTo>
                  <a:cubicBezTo>
                    <a:pt x="11515866" y="1897546"/>
                    <a:pt x="11515866" y="1897546"/>
                    <a:pt x="11523096" y="1890275"/>
                  </a:cubicBezTo>
                  <a:cubicBezTo>
                    <a:pt x="11523096" y="1890275"/>
                    <a:pt x="11523096" y="1890275"/>
                    <a:pt x="11537557" y="1875735"/>
                  </a:cubicBezTo>
                  <a:cubicBezTo>
                    <a:pt x="11537557" y="1875735"/>
                    <a:pt x="11537557" y="1875735"/>
                    <a:pt x="11544787" y="1875735"/>
                  </a:cubicBezTo>
                  <a:cubicBezTo>
                    <a:pt x="11544787" y="1875735"/>
                    <a:pt x="11544787" y="1875735"/>
                    <a:pt x="11544787" y="1868465"/>
                  </a:cubicBezTo>
                  <a:cubicBezTo>
                    <a:pt x="11544787" y="1868465"/>
                    <a:pt x="11544787" y="1868465"/>
                    <a:pt x="11552018" y="1868465"/>
                  </a:cubicBezTo>
                  <a:cubicBezTo>
                    <a:pt x="11552018" y="1868465"/>
                    <a:pt x="11552018" y="1868465"/>
                    <a:pt x="11559248" y="1861194"/>
                  </a:cubicBezTo>
                  <a:cubicBezTo>
                    <a:pt x="11559248" y="1861194"/>
                    <a:pt x="11559248" y="1861194"/>
                    <a:pt x="11523096" y="1824843"/>
                  </a:cubicBezTo>
                  <a:close/>
                  <a:moveTo>
                    <a:pt x="2039790" y="1824508"/>
                  </a:moveTo>
                  <a:cubicBezTo>
                    <a:pt x="2032562" y="1824508"/>
                    <a:pt x="2025332" y="1824508"/>
                    <a:pt x="2018103" y="1846327"/>
                  </a:cubicBezTo>
                  <a:cubicBezTo>
                    <a:pt x="2018103" y="1846327"/>
                    <a:pt x="2018103" y="1846327"/>
                    <a:pt x="2018103" y="1853600"/>
                  </a:cubicBezTo>
                  <a:cubicBezTo>
                    <a:pt x="2010875" y="1875419"/>
                    <a:pt x="2003646" y="1904510"/>
                    <a:pt x="2003646" y="1926329"/>
                  </a:cubicBezTo>
                  <a:cubicBezTo>
                    <a:pt x="2003646" y="1926329"/>
                    <a:pt x="2003646" y="1926329"/>
                    <a:pt x="1996418" y="1962694"/>
                  </a:cubicBezTo>
                  <a:cubicBezTo>
                    <a:pt x="1996418" y="1962694"/>
                    <a:pt x="1996418" y="1962694"/>
                    <a:pt x="1989188" y="1991786"/>
                  </a:cubicBezTo>
                  <a:cubicBezTo>
                    <a:pt x="1989188" y="1991786"/>
                    <a:pt x="1989188" y="1991786"/>
                    <a:pt x="1981959" y="2035423"/>
                  </a:cubicBezTo>
                  <a:lnTo>
                    <a:pt x="1974730" y="2079061"/>
                  </a:lnTo>
                  <a:cubicBezTo>
                    <a:pt x="1974730" y="2079061"/>
                    <a:pt x="1974730" y="2079061"/>
                    <a:pt x="1981959" y="2079061"/>
                  </a:cubicBezTo>
                  <a:cubicBezTo>
                    <a:pt x="1989188" y="2086334"/>
                    <a:pt x="2003646" y="2093607"/>
                    <a:pt x="2018103" y="2100880"/>
                  </a:cubicBezTo>
                  <a:cubicBezTo>
                    <a:pt x="2018103" y="2100880"/>
                    <a:pt x="2018103" y="2100880"/>
                    <a:pt x="2025332" y="2049969"/>
                  </a:cubicBezTo>
                  <a:cubicBezTo>
                    <a:pt x="2025332" y="2049969"/>
                    <a:pt x="2025332" y="2049969"/>
                    <a:pt x="2032562" y="1999059"/>
                  </a:cubicBezTo>
                  <a:cubicBezTo>
                    <a:pt x="2032562" y="1999059"/>
                    <a:pt x="2032562" y="1999059"/>
                    <a:pt x="2039790" y="1984513"/>
                  </a:cubicBezTo>
                  <a:cubicBezTo>
                    <a:pt x="2039790" y="1984513"/>
                    <a:pt x="2039790" y="1984513"/>
                    <a:pt x="2039790" y="1955421"/>
                  </a:cubicBezTo>
                  <a:cubicBezTo>
                    <a:pt x="2047019" y="1933602"/>
                    <a:pt x="2047019" y="1911783"/>
                    <a:pt x="2054248" y="1897238"/>
                  </a:cubicBezTo>
                  <a:cubicBezTo>
                    <a:pt x="2054248" y="1897238"/>
                    <a:pt x="2054248" y="1897238"/>
                    <a:pt x="2054248" y="1875419"/>
                  </a:cubicBezTo>
                  <a:cubicBezTo>
                    <a:pt x="2061477" y="1846327"/>
                    <a:pt x="2054248" y="1831781"/>
                    <a:pt x="2039790" y="1824508"/>
                  </a:cubicBezTo>
                  <a:close/>
                  <a:moveTo>
                    <a:pt x="11834002" y="1817573"/>
                  </a:moveTo>
                  <a:lnTo>
                    <a:pt x="11812311" y="1839383"/>
                  </a:lnTo>
                  <a:cubicBezTo>
                    <a:pt x="11812311" y="1839383"/>
                    <a:pt x="11812311" y="1839383"/>
                    <a:pt x="11812311" y="1846654"/>
                  </a:cubicBezTo>
                  <a:cubicBezTo>
                    <a:pt x="11812311" y="1846654"/>
                    <a:pt x="11812311" y="1846654"/>
                    <a:pt x="11797851" y="1853924"/>
                  </a:cubicBezTo>
                  <a:cubicBezTo>
                    <a:pt x="11797851" y="1853924"/>
                    <a:pt x="11797851" y="1853924"/>
                    <a:pt x="11841233" y="1890275"/>
                  </a:cubicBezTo>
                  <a:cubicBezTo>
                    <a:pt x="11841233" y="1890275"/>
                    <a:pt x="11841233" y="1890275"/>
                    <a:pt x="11848463" y="1890275"/>
                  </a:cubicBezTo>
                  <a:cubicBezTo>
                    <a:pt x="11848463" y="1890275"/>
                    <a:pt x="11848463" y="1890275"/>
                    <a:pt x="11841233" y="1875735"/>
                  </a:cubicBezTo>
                  <a:cubicBezTo>
                    <a:pt x="11841233" y="1875735"/>
                    <a:pt x="11841233" y="1875735"/>
                    <a:pt x="11841233" y="1861194"/>
                  </a:cubicBezTo>
                  <a:cubicBezTo>
                    <a:pt x="11834002" y="1846654"/>
                    <a:pt x="11834002" y="1832113"/>
                    <a:pt x="11834002" y="1817573"/>
                  </a:cubicBezTo>
                  <a:close/>
                  <a:moveTo>
                    <a:pt x="11530326" y="1817573"/>
                  </a:moveTo>
                  <a:cubicBezTo>
                    <a:pt x="11530326" y="1817573"/>
                    <a:pt x="11530326" y="1817573"/>
                    <a:pt x="11566478" y="1853924"/>
                  </a:cubicBezTo>
                  <a:cubicBezTo>
                    <a:pt x="11566478" y="1853924"/>
                    <a:pt x="11566478" y="1853924"/>
                    <a:pt x="11580939" y="1839383"/>
                  </a:cubicBezTo>
                  <a:cubicBezTo>
                    <a:pt x="11580939" y="1839383"/>
                    <a:pt x="11580939" y="1839383"/>
                    <a:pt x="11609861" y="1817573"/>
                  </a:cubicBezTo>
                  <a:cubicBezTo>
                    <a:pt x="11609861" y="1817573"/>
                    <a:pt x="11609861" y="1817573"/>
                    <a:pt x="11602630" y="1817573"/>
                  </a:cubicBezTo>
                  <a:cubicBezTo>
                    <a:pt x="11602630" y="1817573"/>
                    <a:pt x="11602630" y="1817573"/>
                    <a:pt x="11552018" y="1817573"/>
                  </a:cubicBezTo>
                  <a:close/>
                  <a:moveTo>
                    <a:pt x="11747238" y="1810302"/>
                  </a:moveTo>
                  <a:cubicBezTo>
                    <a:pt x="11747238" y="1810302"/>
                    <a:pt x="11747238" y="1810302"/>
                    <a:pt x="11790620" y="1846654"/>
                  </a:cubicBezTo>
                  <a:lnTo>
                    <a:pt x="11797851" y="1832113"/>
                  </a:lnTo>
                  <a:cubicBezTo>
                    <a:pt x="11797851" y="1832113"/>
                    <a:pt x="11797851" y="1832113"/>
                    <a:pt x="11805081" y="1824843"/>
                  </a:cubicBezTo>
                  <a:cubicBezTo>
                    <a:pt x="11805081" y="1824843"/>
                    <a:pt x="11805081" y="1824843"/>
                    <a:pt x="11819542" y="1810302"/>
                  </a:cubicBezTo>
                  <a:cubicBezTo>
                    <a:pt x="11819542" y="1810302"/>
                    <a:pt x="11819542" y="1810302"/>
                    <a:pt x="11790620" y="1810302"/>
                  </a:cubicBezTo>
                  <a:cubicBezTo>
                    <a:pt x="11790620" y="1810302"/>
                    <a:pt x="11790620" y="1810302"/>
                    <a:pt x="11776159" y="1810302"/>
                  </a:cubicBezTo>
                  <a:cubicBezTo>
                    <a:pt x="11776159" y="1810302"/>
                    <a:pt x="11776159" y="1810302"/>
                    <a:pt x="11747238" y="1810302"/>
                  </a:cubicBezTo>
                  <a:close/>
                  <a:moveTo>
                    <a:pt x="11689395" y="1810302"/>
                  </a:moveTo>
                  <a:cubicBezTo>
                    <a:pt x="11689395" y="1810302"/>
                    <a:pt x="11689395" y="1810302"/>
                    <a:pt x="11674934" y="1817573"/>
                  </a:cubicBezTo>
                  <a:lnTo>
                    <a:pt x="11646013" y="1817573"/>
                  </a:lnTo>
                  <a:cubicBezTo>
                    <a:pt x="11646013" y="1817573"/>
                    <a:pt x="11646013" y="1817573"/>
                    <a:pt x="11674934" y="1846654"/>
                  </a:cubicBezTo>
                  <a:cubicBezTo>
                    <a:pt x="11674934" y="1846654"/>
                    <a:pt x="11674934" y="1846654"/>
                    <a:pt x="11689395" y="1832113"/>
                  </a:cubicBezTo>
                  <a:cubicBezTo>
                    <a:pt x="11689395" y="1832113"/>
                    <a:pt x="11689395" y="1832113"/>
                    <a:pt x="11696625" y="1824843"/>
                  </a:cubicBezTo>
                  <a:cubicBezTo>
                    <a:pt x="11696625" y="1824843"/>
                    <a:pt x="11696625" y="1824843"/>
                    <a:pt x="11711086" y="1810302"/>
                  </a:cubicBezTo>
                  <a:cubicBezTo>
                    <a:pt x="11711086" y="1810302"/>
                    <a:pt x="11711086" y="1810302"/>
                    <a:pt x="11689395" y="1810302"/>
                  </a:cubicBezTo>
                  <a:close/>
                  <a:moveTo>
                    <a:pt x="5437354" y="1802690"/>
                  </a:moveTo>
                  <a:cubicBezTo>
                    <a:pt x="5437354" y="1802690"/>
                    <a:pt x="5437354" y="1802690"/>
                    <a:pt x="5256632" y="1809962"/>
                  </a:cubicBezTo>
                  <a:cubicBezTo>
                    <a:pt x="5256632" y="1809962"/>
                    <a:pt x="5249403" y="1809962"/>
                    <a:pt x="5249403" y="1809962"/>
                  </a:cubicBezTo>
                  <a:cubicBezTo>
                    <a:pt x="5198801" y="1809962"/>
                    <a:pt x="5162657" y="1853600"/>
                    <a:pt x="5162657" y="1904510"/>
                  </a:cubicBezTo>
                  <a:cubicBezTo>
                    <a:pt x="5162657" y="1904510"/>
                    <a:pt x="5162657" y="1904510"/>
                    <a:pt x="5162657" y="2042696"/>
                  </a:cubicBezTo>
                  <a:cubicBezTo>
                    <a:pt x="5162657" y="2093607"/>
                    <a:pt x="5206030" y="2137244"/>
                    <a:pt x="5263861" y="2137244"/>
                  </a:cubicBezTo>
                  <a:cubicBezTo>
                    <a:pt x="5263861" y="2137244"/>
                    <a:pt x="5263861" y="2137244"/>
                    <a:pt x="5401210" y="2137244"/>
                  </a:cubicBezTo>
                  <a:cubicBezTo>
                    <a:pt x="5401210" y="2137244"/>
                    <a:pt x="5401210" y="2137244"/>
                    <a:pt x="5444583" y="2137244"/>
                  </a:cubicBezTo>
                  <a:cubicBezTo>
                    <a:pt x="5495185" y="2129971"/>
                    <a:pt x="5538558" y="2086334"/>
                    <a:pt x="5538558" y="2035423"/>
                  </a:cubicBezTo>
                  <a:cubicBezTo>
                    <a:pt x="5538558" y="2035423"/>
                    <a:pt x="5538558" y="2035423"/>
                    <a:pt x="5538558" y="1904510"/>
                  </a:cubicBezTo>
                  <a:cubicBezTo>
                    <a:pt x="5538558" y="1846327"/>
                    <a:pt x="5487956" y="1802690"/>
                    <a:pt x="5437354" y="1802690"/>
                  </a:cubicBezTo>
                  <a:close/>
                  <a:moveTo>
                    <a:pt x="5936145" y="1795417"/>
                  </a:moveTo>
                  <a:cubicBezTo>
                    <a:pt x="5936145" y="1795417"/>
                    <a:pt x="5936145" y="1795417"/>
                    <a:pt x="5769881" y="1802690"/>
                  </a:cubicBezTo>
                  <a:cubicBezTo>
                    <a:pt x="5769881" y="1802690"/>
                    <a:pt x="5769881" y="1802690"/>
                    <a:pt x="5755424" y="1802690"/>
                  </a:cubicBezTo>
                  <a:cubicBezTo>
                    <a:pt x="5704822" y="1802690"/>
                    <a:pt x="5661449" y="1846327"/>
                    <a:pt x="5661449" y="1897238"/>
                  </a:cubicBezTo>
                  <a:cubicBezTo>
                    <a:pt x="5661449" y="1897238"/>
                    <a:pt x="5661449" y="1897238"/>
                    <a:pt x="5661449" y="2035423"/>
                  </a:cubicBezTo>
                  <a:cubicBezTo>
                    <a:pt x="5661449" y="2086334"/>
                    <a:pt x="5704822" y="2129971"/>
                    <a:pt x="5762653" y="2129971"/>
                  </a:cubicBezTo>
                  <a:cubicBezTo>
                    <a:pt x="5762653" y="2129971"/>
                    <a:pt x="5762653" y="2129971"/>
                    <a:pt x="5928916" y="2129971"/>
                  </a:cubicBezTo>
                  <a:cubicBezTo>
                    <a:pt x="5928916" y="2129971"/>
                    <a:pt x="5928916" y="2129971"/>
                    <a:pt x="5943374" y="2129971"/>
                  </a:cubicBezTo>
                  <a:cubicBezTo>
                    <a:pt x="5993976" y="2122698"/>
                    <a:pt x="6037349" y="2079061"/>
                    <a:pt x="6037349" y="2028150"/>
                  </a:cubicBezTo>
                  <a:cubicBezTo>
                    <a:pt x="6037349" y="2028150"/>
                    <a:pt x="6037349" y="2028150"/>
                    <a:pt x="6037349" y="1889965"/>
                  </a:cubicBezTo>
                  <a:cubicBezTo>
                    <a:pt x="6037349" y="1839054"/>
                    <a:pt x="5993976" y="1795417"/>
                    <a:pt x="5936145" y="1795417"/>
                  </a:cubicBezTo>
                  <a:close/>
                  <a:moveTo>
                    <a:pt x="1964791" y="1794507"/>
                  </a:moveTo>
                  <a:cubicBezTo>
                    <a:pt x="1956658" y="1797235"/>
                    <a:pt x="1949429" y="1806326"/>
                    <a:pt x="1945815" y="1824508"/>
                  </a:cubicBezTo>
                  <a:cubicBezTo>
                    <a:pt x="1945815" y="1824508"/>
                    <a:pt x="1945815" y="1824508"/>
                    <a:pt x="1945815" y="1839054"/>
                  </a:cubicBezTo>
                  <a:cubicBezTo>
                    <a:pt x="1945815" y="1839054"/>
                    <a:pt x="1945815" y="1839054"/>
                    <a:pt x="1938586" y="1868146"/>
                  </a:cubicBezTo>
                  <a:cubicBezTo>
                    <a:pt x="1938586" y="1868146"/>
                    <a:pt x="1938586" y="1868146"/>
                    <a:pt x="1931357" y="1897238"/>
                  </a:cubicBezTo>
                  <a:cubicBezTo>
                    <a:pt x="1931357" y="1897238"/>
                    <a:pt x="1931357" y="1897238"/>
                    <a:pt x="1924128" y="1933602"/>
                  </a:cubicBezTo>
                  <a:cubicBezTo>
                    <a:pt x="1924128" y="1933602"/>
                    <a:pt x="1924128" y="1933602"/>
                    <a:pt x="1916899" y="1984513"/>
                  </a:cubicBezTo>
                  <a:cubicBezTo>
                    <a:pt x="1916899" y="1984513"/>
                    <a:pt x="1916899" y="1984513"/>
                    <a:pt x="1902442" y="2049969"/>
                  </a:cubicBezTo>
                  <a:cubicBezTo>
                    <a:pt x="1916899" y="2057242"/>
                    <a:pt x="1924128" y="2057242"/>
                    <a:pt x="1938586" y="2064515"/>
                  </a:cubicBezTo>
                  <a:cubicBezTo>
                    <a:pt x="1945815" y="2064515"/>
                    <a:pt x="1945815" y="2071788"/>
                    <a:pt x="1953044" y="2071788"/>
                  </a:cubicBezTo>
                  <a:cubicBezTo>
                    <a:pt x="1953044" y="2071788"/>
                    <a:pt x="1953044" y="2071788"/>
                    <a:pt x="1960273" y="2049969"/>
                  </a:cubicBezTo>
                  <a:cubicBezTo>
                    <a:pt x="1960273" y="2049969"/>
                    <a:pt x="1960273" y="2049969"/>
                    <a:pt x="1967501" y="2006331"/>
                  </a:cubicBezTo>
                  <a:cubicBezTo>
                    <a:pt x="1967501" y="1991786"/>
                    <a:pt x="1974730" y="1969967"/>
                    <a:pt x="1974730" y="1955421"/>
                  </a:cubicBezTo>
                  <a:cubicBezTo>
                    <a:pt x="1974730" y="1955421"/>
                    <a:pt x="1974730" y="1955421"/>
                    <a:pt x="1981959" y="1940875"/>
                  </a:cubicBezTo>
                  <a:cubicBezTo>
                    <a:pt x="1981959" y="1911783"/>
                    <a:pt x="1989188" y="1889965"/>
                    <a:pt x="1996418" y="1860873"/>
                  </a:cubicBezTo>
                  <a:cubicBezTo>
                    <a:pt x="1996418" y="1860873"/>
                    <a:pt x="1996418" y="1860873"/>
                    <a:pt x="1996418" y="1846327"/>
                  </a:cubicBezTo>
                  <a:cubicBezTo>
                    <a:pt x="1996418" y="1839054"/>
                    <a:pt x="1996418" y="1831781"/>
                    <a:pt x="1996418" y="1824508"/>
                  </a:cubicBezTo>
                  <a:cubicBezTo>
                    <a:pt x="1996418" y="1817235"/>
                    <a:pt x="1996418" y="1809962"/>
                    <a:pt x="1989188" y="1802690"/>
                  </a:cubicBezTo>
                  <a:cubicBezTo>
                    <a:pt x="1981959" y="1795417"/>
                    <a:pt x="1972923" y="1791780"/>
                    <a:pt x="1964791" y="1794507"/>
                  </a:cubicBezTo>
                  <a:close/>
                  <a:moveTo>
                    <a:pt x="7222882" y="1788144"/>
                  </a:moveTo>
                  <a:cubicBezTo>
                    <a:pt x="7186738" y="1802690"/>
                    <a:pt x="7157822" y="1839054"/>
                    <a:pt x="7165051" y="1875419"/>
                  </a:cubicBezTo>
                  <a:cubicBezTo>
                    <a:pt x="7165051" y="1875419"/>
                    <a:pt x="7165051" y="1875419"/>
                    <a:pt x="7165051" y="2013604"/>
                  </a:cubicBezTo>
                  <a:cubicBezTo>
                    <a:pt x="7165051" y="2064515"/>
                    <a:pt x="7208424" y="2108152"/>
                    <a:pt x="7259026" y="2108152"/>
                  </a:cubicBezTo>
                  <a:cubicBezTo>
                    <a:pt x="7259026" y="2108152"/>
                    <a:pt x="7259026" y="2108152"/>
                    <a:pt x="7331315" y="2108152"/>
                  </a:cubicBezTo>
                  <a:cubicBezTo>
                    <a:pt x="7280713" y="1977240"/>
                    <a:pt x="7237340" y="1868146"/>
                    <a:pt x="7222882" y="1788144"/>
                  </a:cubicBezTo>
                  <a:close/>
                  <a:moveTo>
                    <a:pt x="6442165" y="1788144"/>
                  </a:moveTo>
                  <a:cubicBezTo>
                    <a:pt x="6442165" y="1788144"/>
                    <a:pt x="6442165" y="1788144"/>
                    <a:pt x="6275902" y="1795417"/>
                  </a:cubicBezTo>
                  <a:cubicBezTo>
                    <a:pt x="6275902" y="1795417"/>
                    <a:pt x="6275902" y="1795417"/>
                    <a:pt x="6254215" y="1795417"/>
                  </a:cubicBezTo>
                  <a:cubicBezTo>
                    <a:pt x="6203613" y="1795417"/>
                    <a:pt x="6160240" y="1839054"/>
                    <a:pt x="6160240" y="1889965"/>
                  </a:cubicBezTo>
                  <a:cubicBezTo>
                    <a:pt x="6160240" y="1889965"/>
                    <a:pt x="6160240" y="1889965"/>
                    <a:pt x="6160240" y="2028150"/>
                  </a:cubicBezTo>
                  <a:cubicBezTo>
                    <a:pt x="6167469" y="2079061"/>
                    <a:pt x="6210842" y="2122698"/>
                    <a:pt x="6261444" y="2122698"/>
                  </a:cubicBezTo>
                  <a:cubicBezTo>
                    <a:pt x="6261444" y="2122698"/>
                    <a:pt x="6261444" y="2122698"/>
                    <a:pt x="6427708" y="2122698"/>
                  </a:cubicBezTo>
                  <a:cubicBezTo>
                    <a:pt x="6427708" y="2122698"/>
                    <a:pt x="6427708" y="2122698"/>
                    <a:pt x="6442165" y="2115425"/>
                  </a:cubicBezTo>
                  <a:cubicBezTo>
                    <a:pt x="6499996" y="2115425"/>
                    <a:pt x="6536141" y="2071788"/>
                    <a:pt x="6536141" y="2020877"/>
                  </a:cubicBezTo>
                  <a:cubicBezTo>
                    <a:pt x="6536141" y="2020877"/>
                    <a:pt x="6536141" y="2020877"/>
                    <a:pt x="6536141" y="1882692"/>
                  </a:cubicBezTo>
                  <a:cubicBezTo>
                    <a:pt x="6536141" y="1831781"/>
                    <a:pt x="6492767" y="1788144"/>
                    <a:pt x="6442165" y="1788144"/>
                  </a:cubicBezTo>
                  <a:close/>
                  <a:moveTo>
                    <a:pt x="6940957" y="1780871"/>
                  </a:moveTo>
                  <a:cubicBezTo>
                    <a:pt x="6940957" y="1780871"/>
                    <a:pt x="6940957" y="1780871"/>
                    <a:pt x="6760235" y="1788144"/>
                  </a:cubicBezTo>
                  <a:cubicBezTo>
                    <a:pt x="6745777" y="1788144"/>
                    <a:pt x="6738549" y="1788144"/>
                    <a:pt x="6724091" y="1788144"/>
                  </a:cubicBezTo>
                  <a:cubicBezTo>
                    <a:pt x="6687947" y="1802690"/>
                    <a:pt x="6659031" y="1839054"/>
                    <a:pt x="6659031" y="1882692"/>
                  </a:cubicBezTo>
                  <a:cubicBezTo>
                    <a:pt x="6659031" y="1882692"/>
                    <a:pt x="6659031" y="1882692"/>
                    <a:pt x="6666260" y="2020877"/>
                  </a:cubicBezTo>
                  <a:cubicBezTo>
                    <a:pt x="6666260" y="2071788"/>
                    <a:pt x="6709633" y="2115425"/>
                    <a:pt x="6760235" y="2115425"/>
                  </a:cubicBezTo>
                  <a:cubicBezTo>
                    <a:pt x="6760235" y="2115425"/>
                    <a:pt x="6760235" y="2115425"/>
                    <a:pt x="6875897" y="2115425"/>
                  </a:cubicBezTo>
                  <a:cubicBezTo>
                    <a:pt x="6875897" y="2115425"/>
                    <a:pt x="6875897" y="2115425"/>
                    <a:pt x="6940957" y="2108152"/>
                  </a:cubicBezTo>
                  <a:cubicBezTo>
                    <a:pt x="6998788" y="2108152"/>
                    <a:pt x="7042161" y="2064515"/>
                    <a:pt x="7042161" y="2013604"/>
                  </a:cubicBezTo>
                  <a:cubicBezTo>
                    <a:pt x="7042161" y="2013604"/>
                    <a:pt x="7042161" y="2013604"/>
                    <a:pt x="7034932" y="1875419"/>
                  </a:cubicBezTo>
                  <a:cubicBezTo>
                    <a:pt x="7034932" y="1824508"/>
                    <a:pt x="6991559" y="1780871"/>
                    <a:pt x="6940957" y="1780871"/>
                  </a:cubicBezTo>
                  <a:close/>
                  <a:moveTo>
                    <a:pt x="1897020" y="1766325"/>
                  </a:moveTo>
                  <a:cubicBezTo>
                    <a:pt x="1882562" y="1764507"/>
                    <a:pt x="1866297" y="1773598"/>
                    <a:pt x="1859069" y="1795417"/>
                  </a:cubicBezTo>
                  <a:cubicBezTo>
                    <a:pt x="1859069" y="1817235"/>
                    <a:pt x="1851840" y="1831781"/>
                    <a:pt x="1851840" y="1853600"/>
                  </a:cubicBezTo>
                  <a:cubicBezTo>
                    <a:pt x="1851840" y="1853600"/>
                    <a:pt x="1851840" y="1853600"/>
                    <a:pt x="1837382" y="1904510"/>
                  </a:cubicBezTo>
                  <a:cubicBezTo>
                    <a:pt x="1837382" y="1904510"/>
                    <a:pt x="1837382" y="1904510"/>
                    <a:pt x="1837382" y="1911783"/>
                  </a:cubicBezTo>
                  <a:cubicBezTo>
                    <a:pt x="1837382" y="1911783"/>
                    <a:pt x="1837382" y="1911783"/>
                    <a:pt x="1830153" y="1933602"/>
                  </a:cubicBezTo>
                  <a:cubicBezTo>
                    <a:pt x="1830153" y="1933602"/>
                    <a:pt x="1830153" y="1933602"/>
                    <a:pt x="1822924" y="1969967"/>
                  </a:cubicBezTo>
                  <a:lnTo>
                    <a:pt x="1815695" y="2020877"/>
                  </a:lnTo>
                  <a:cubicBezTo>
                    <a:pt x="1822924" y="2020877"/>
                    <a:pt x="1830153" y="2028150"/>
                    <a:pt x="1844611" y="2028150"/>
                  </a:cubicBezTo>
                  <a:cubicBezTo>
                    <a:pt x="1851840" y="2035423"/>
                    <a:pt x="1866297" y="2035423"/>
                    <a:pt x="1880755" y="2042696"/>
                  </a:cubicBezTo>
                  <a:cubicBezTo>
                    <a:pt x="1880755" y="2042696"/>
                    <a:pt x="1880755" y="2042696"/>
                    <a:pt x="1887984" y="2006331"/>
                  </a:cubicBezTo>
                  <a:cubicBezTo>
                    <a:pt x="1887984" y="1977240"/>
                    <a:pt x="1895213" y="1955421"/>
                    <a:pt x="1902442" y="1926329"/>
                  </a:cubicBezTo>
                  <a:cubicBezTo>
                    <a:pt x="1902442" y="1926329"/>
                    <a:pt x="1902442" y="1926329"/>
                    <a:pt x="1902442" y="1919056"/>
                  </a:cubicBezTo>
                  <a:cubicBezTo>
                    <a:pt x="1902442" y="1919056"/>
                    <a:pt x="1902442" y="1919056"/>
                    <a:pt x="1909671" y="1882692"/>
                  </a:cubicBezTo>
                  <a:cubicBezTo>
                    <a:pt x="1909671" y="1882692"/>
                    <a:pt x="1909671" y="1882692"/>
                    <a:pt x="1916899" y="1853600"/>
                  </a:cubicBezTo>
                  <a:cubicBezTo>
                    <a:pt x="1916899" y="1853600"/>
                    <a:pt x="1916899" y="1853600"/>
                    <a:pt x="1924128" y="1817235"/>
                  </a:cubicBezTo>
                  <a:cubicBezTo>
                    <a:pt x="1924128" y="1809962"/>
                    <a:pt x="1924128" y="1809962"/>
                    <a:pt x="1924128" y="1802690"/>
                  </a:cubicBezTo>
                  <a:cubicBezTo>
                    <a:pt x="1924128" y="1780871"/>
                    <a:pt x="1911479" y="1768143"/>
                    <a:pt x="1897020" y="1766325"/>
                  </a:cubicBezTo>
                  <a:close/>
                  <a:moveTo>
                    <a:pt x="11776159" y="1752140"/>
                  </a:moveTo>
                  <a:cubicBezTo>
                    <a:pt x="11776159" y="1752140"/>
                    <a:pt x="11776159" y="1752140"/>
                    <a:pt x="11754468" y="1781221"/>
                  </a:cubicBezTo>
                  <a:cubicBezTo>
                    <a:pt x="11754468" y="1781221"/>
                    <a:pt x="11754468" y="1781221"/>
                    <a:pt x="11747238" y="1788491"/>
                  </a:cubicBezTo>
                  <a:cubicBezTo>
                    <a:pt x="11747238" y="1788491"/>
                    <a:pt x="11747238" y="1788491"/>
                    <a:pt x="11740007" y="1795762"/>
                  </a:cubicBezTo>
                  <a:cubicBezTo>
                    <a:pt x="11740007" y="1795762"/>
                    <a:pt x="11740007" y="1795762"/>
                    <a:pt x="11761699" y="1795762"/>
                  </a:cubicBezTo>
                  <a:cubicBezTo>
                    <a:pt x="11761699" y="1795762"/>
                    <a:pt x="11761699" y="1795762"/>
                    <a:pt x="11776159" y="1795762"/>
                  </a:cubicBezTo>
                  <a:lnTo>
                    <a:pt x="11819542" y="1795762"/>
                  </a:lnTo>
                  <a:cubicBezTo>
                    <a:pt x="11819542" y="1795762"/>
                    <a:pt x="11819542" y="1795762"/>
                    <a:pt x="11776159" y="1752140"/>
                  </a:cubicBezTo>
                  <a:close/>
                  <a:moveTo>
                    <a:pt x="11674934" y="1752140"/>
                  </a:moveTo>
                  <a:cubicBezTo>
                    <a:pt x="11674934" y="1752140"/>
                    <a:pt x="11674934" y="1752140"/>
                    <a:pt x="11653243" y="1781221"/>
                  </a:cubicBezTo>
                  <a:cubicBezTo>
                    <a:pt x="11653243" y="1781221"/>
                    <a:pt x="11653243" y="1781221"/>
                    <a:pt x="11646013" y="1795762"/>
                  </a:cubicBezTo>
                  <a:cubicBezTo>
                    <a:pt x="11646013" y="1795762"/>
                    <a:pt x="11646013" y="1795762"/>
                    <a:pt x="11646013" y="1803032"/>
                  </a:cubicBezTo>
                  <a:cubicBezTo>
                    <a:pt x="11646013" y="1803032"/>
                    <a:pt x="11646013" y="1803032"/>
                    <a:pt x="11660473" y="1803032"/>
                  </a:cubicBezTo>
                  <a:cubicBezTo>
                    <a:pt x="11660473" y="1803032"/>
                    <a:pt x="11660473" y="1803032"/>
                    <a:pt x="11674934" y="1803032"/>
                  </a:cubicBezTo>
                  <a:cubicBezTo>
                    <a:pt x="11674934" y="1803032"/>
                    <a:pt x="11674934" y="1803032"/>
                    <a:pt x="11711086" y="1803032"/>
                  </a:cubicBezTo>
                  <a:cubicBezTo>
                    <a:pt x="11711086" y="1803032"/>
                    <a:pt x="11711086" y="1803032"/>
                    <a:pt x="11682164" y="1759410"/>
                  </a:cubicBezTo>
                  <a:cubicBezTo>
                    <a:pt x="11682164" y="1759410"/>
                    <a:pt x="11682164" y="1759410"/>
                    <a:pt x="11674934" y="1752140"/>
                  </a:cubicBezTo>
                  <a:close/>
                  <a:moveTo>
                    <a:pt x="11580939" y="1752140"/>
                  </a:moveTo>
                  <a:cubicBezTo>
                    <a:pt x="11580939" y="1752140"/>
                    <a:pt x="11580939" y="1752140"/>
                    <a:pt x="11559248" y="1773951"/>
                  </a:cubicBezTo>
                  <a:cubicBezTo>
                    <a:pt x="11559248" y="1773951"/>
                    <a:pt x="11559248" y="1773951"/>
                    <a:pt x="11537557" y="1803032"/>
                  </a:cubicBezTo>
                  <a:cubicBezTo>
                    <a:pt x="11537557" y="1803032"/>
                    <a:pt x="11537557" y="1803032"/>
                    <a:pt x="11588169" y="1803032"/>
                  </a:cubicBezTo>
                  <a:cubicBezTo>
                    <a:pt x="11588169" y="1803032"/>
                    <a:pt x="11588169" y="1803032"/>
                    <a:pt x="11617091" y="1803032"/>
                  </a:cubicBezTo>
                  <a:close/>
                  <a:moveTo>
                    <a:pt x="1801238" y="1744506"/>
                  </a:moveTo>
                  <a:cubicBezTo>
                    <a:pt x="1786780" y="1737233"/>
                    <a:pt x="1757864" y="1744506"/>
                    <a:pt x="1750636" y="1773598"/>
                  </a:cubicBezTo>
                  <a:cubicBezTo>
                    <a:pt x="1750636" y="1773598"/>
                    <a:pt x="1750636" y="1773598"/>
                    <a:pt x="1750636" y="1780871"/>
                  </a:cubicBezTo>
                  <a:cubicBezTo>
                    <a:pt x="1750636" y="1780871"/>
                    <a:pt x="1750636" y="1780871"/>
                    <a:pt x="1743407" y="1809962"/>
                  </a:cubicBezTo>
                  <a:cubicBezTo>
                    <a:pt x="1743407" y="1809962"/>
                    <a:pt x="1743407" y="1809962"/>
                    <a:pt x="1736178" y="1839054"/>
                  </a:cubicBezTo>
                  <a:cubicBezTo>
                    <a:pt x="1736178" y="1839054"/>
                    <a:pt x="1736178" y="1839054"/>
                    <a:pt x="1721721" y="1882692"/>
                  </a:cubicBezTo>
                  <a:cubicBezTo>
                    <a:pt x="1721721" y="1882692"/>
                    <a:pt x="1721721" y="1882692"/>
                    <a:pt x="1707262" y="1940875"/>
                  </a:cubicBezTo>
                  <a:lnTo>
                    <a:pt x="1700034" y="1991786"/>
                  </a:lnTo>
                  <a:cubicBezTo>
                    <a:pt x="1714491" y="1991786"/>
                    <a:pt x="1721721" y="1999059"/>
                    <a:pt x="1728949" y="1999059"/>
                  </a:cubicBezTo>
                  <a:cubicBezTo>
                    <a:pt x="1743407" y="1999059"/>
                    <a:pt x="1750636" y="2006331"/>
                    <a:pt x="1765093" y="2006331"/>
                  </a:cubicBezTo>
                  <a:cubicBezTo>
                    <a:pt x="1765093" y="2006331"/>
                    <a:pt x="1765093" y="2006331"/>
                    <a:pt x="1772322" y="2006331"/>
                  </a:cubicBezTo>
                  <a:cubicBezTo>
                    <a:pt x="1772322" y="2006331"/>
                    <a:pt x="1772322" y="2006331"/>
                    <a:pt x="1779551" y="1999059"/>
                  </a:cubicBezTo>
                  <a:cubicBezTo>
                    <a:pt x="1779551" y="1999059"/>
                    <a:pt x="1779551" y="1999059"/>
                    <a:pt x="1786780" y="1962694"/>
                  </a:cubicBezTo>
                  <a:cubicBezTo>
                    <a:pt x="1786780" y="1962694"/>
                    <a:pt x="1786780" y="1962694"/>
                    <a:pt x="1794009" y="1933602"/>
                  </a:cubicBezTo>
                  <a:cubicBezTo>
                    <a:pt x="1794009" y="1933602"/>
                    <a:pt x="1794009" y="1933602"/>
                    <a:pt x="1801238" y="1897238"/>
                  </a:cubicBezTo>
                  <a:cubicBezTo>
                    <a:pt x="1801238" y="1897238"/>
                    <a:pt x="1801238" y="1897238"/>
                    <a:pt x="1801238" y="1882692"/>
                  </a:cubicBezTo>
                  <a:cubicBezTo>
                    <a:pt x="1808468" y="1853600"/>
                    <a:pt x="1815695" y="1824508"/>
                    <a:pt x="1822924" y="1788144"/>
                  </a:cubicBezTo>
                  <a:cubicBezTo>
                    <a:pt x="1822924" y="1788144"/>
                    <a:pt x="1822924" y="1780871"/>
                    <a:pt x="1822924" y="1780871"/>
                  </a:cubicBezTo>
                  <a:cubicBezTo>
                    <a:pt x="1822924" y="1773598"/>
                    <a:pt x="1822924" y="1766325"/>
                    <a:pt x="1822924" y="1759052"/>
                  </a:cubicBezTo>
                  <a:cubicBezTo>
                    <a:pt x="1815695" y="1751779"/>
                    <a:pt x="1808468" y="1744506"/>
                    <a:pt x="1801238" y="1744506"/>
                  </a:cubicBezTo>
                  <a:close/>
                  <a:moveTo>
                    <a:pt x="1419012" y="1730869"/>
                  </a:moveTo>
                  <a:cubicBezTo>
                    <a:pt x="1412686" y="1731778"/>
                    <a:pt x="1403650" y="1740870"/>
                    <a:pt x="1396422" y="1759052"/>
                  </a:cubicBezTo>
                  <a:cubicBezTo>
                    <a:pt x="1396422" y="1759052"/>
                    <a:pt x="1396422" y="1759052"/>
                    <a:pt x="1396422" y="1773598"/>
                  </a:cubicBezTo>
                  <a:cubicBezTo>
                    <a:pt x="1389193" y="1788144"/>
                    <a:pt x="1381964" y="1809962"/>
                    <a:pt x="1374736" y="1824508"/>
                  </a:cubicBezTo>
                  <a:cubicBezTo>
                    <a:pt x="1374736" y="1824508"/>
                    <a:pt x="1374736" y="1824508"/>
                    <a:pt x="1367507" y="1868146"/>
                  </a:cubicBezTo>
                  <a:cubicBezTo>
                    <a:pt x="1367507" y="1868146"/>
                    <a:pt x="1367507" y="1868146"/>
                    <a:pt x="1353048" y="1904510"/>
                  </a:cubicBezTo>
                  <a:lnTo>
                    <a:pt x="1338591" y="1969967"/>
                  </a:lnTo>
                  <a:cubicBezTo>
                    <a:pt x="1345820" y="1969967"/>
                    <a:pt x="1353048" y="1969967"/>
                    <a:pt x="1360277" y="1969967"/>
                  </a:cubicBezTo>
                  <a:cubicBezTo>
                    <a:pt x="1360277" y="1969967"/>
                    <a:pt x="1360277" y="1969967"/>
                    <a:pt x="1389193" y="1882692"/>
                  </a:cubicBezTo>
                  <a:cubicBezTo>
                    <a:pt x="1389193" y="1882692"/>
                    <a:pt x="1389193" y="1882692"/>
                    <a:pt x="1396422" y="1860873"/>
                  </a:cubicBezTo>
                  <a:cubicBezTo>
                    <a:pt x="1396422" y="1860873"/>
                    <a:pt x="1396422" y="1860873"/>
                    <a:pt x="1396422" y="1846327"/>
                  </a:cubicBezTo>
                  <a:cubicBezTo>
                    <a:pt x="1396422" y="1846327"/>
                    <a:pt x="1396422" y="1846327"/>
                    <a:pt x="1410880" y="1809962"/>
                  </a:cubicBezTo>
                  <a:cubicBezTo>
                    <a:pt x="1410880" y="1809962"/>
                    <a:pt x="1410880" y="1809962"/>
                    <a:pt x="1425337" y="1759052"/>
                  </a:cubicBezTo>
                  <a:cubicBezTo>
                    <a:pt x="1425337" y="1751779"/>
                    <a:pt x="1425337" y="1751779"/>
                    <a:pt x="1425337" y="1751779"/>
                  </a:cubicBezTo>
                  <a:cubicBezTo>
                    <a:pt x="1428952" y="1737233"/>
                    <a:pt x="1425337" y="1729960"/>
                    <a:pt x="1419012" y="1730869"/>
                  </a:cubicBezTo>
                  <a:close/>
                  <a:moveTo>
                    <a:pt x="1684672" y="1723596"/>
                  </a:moveTo>
                  <a:cubicBezTo>
                    <a:pt x="1669311" y="1722687"/>
                    <a:pt x="1653046" y="1733597"/>
                    <a:pt x="1649432" y="1759052"/>
                  </a:cubicBezTo>
                  <a:cubicBezTo>
                    <a:pt x="1642203" y="1773598"/>
                    <a:pt x="1634974" y="1788144"/>
                    <a:pt x="1634974" y="1809962"/>
                  </a:cubicBezTo>
                  <a:cubicBezTo>
                    <a:pt x="1634974" y="1809962"/>
                    <a:pt x="1634974" y="1809962"/>
                    <a:pt x="1627745" y="1824508"/>
                  </a:cubicBezTo>
                  <a:cubicBezTo>
                    <a:pt x="1627745" y="1839054"/>
                    <a:pt x="1620516" y="1846327"/>
                    <a:pt x="1620516" y="1860873"/>
                  </a:cubicBezTo>
                  <a:cubicBezTo>
                    <a:pt x="1620516" y="1860873"/>
                    <a:pt x="1620516" y="1860873"/>
                    <a:pt x="1620516" y="1868146"/>
                  </a:cubicBezTo>
                  <a:cubicBezTo>
                    <a:pt x="1620516" y="1868146"/>
                    <a:pt x="1620516" y="1868146"/>
                    <a:pt x="1613287" y="1897238"/>
                  </a:cubicBezTo>
                  <a:cubicBezTo>
                    <a:pt x="1613287" y="1897238"/>
                    <a:pt x="1613287" y="1897238"/>
                    <a:pt x="1606058" y="1919056"/>
                  </a:cubicBezTo>
                  <a:cubicBezTo>
                    <a:pt x="1598830" y="1940875"/>
                    <a:pt x="1598830" y="1955421"/>
                    <a:pt x="1591601" y="1977240"/>
                  </a:cubicBezTo>
                  <a:cubicBezTo>
                    <a:pt x="1613287" y="1977240"/>
                    <a:pt x="1627745" y="1977240"/>
                    <a:pt x="1649432" y="1984513"/>
                  </a:cubicBezTo>
                  <a:cubicBezTo>
                    <a:pt x="1649432" y="1984513"/>
                    <a:pt x="1656660" y="1984513"/>
                    <a:pt x="1663889" y="1984513"/>
                  </a:cubicBezTo>
                  <a:cubicBezTo>
                    <a:pt x="1663889" y="1984513"/>
                    <a:pt x="1663889" y="1984513"/>
                    <a:pt x="1663889" y="1969967"/>
                  </a:cubicBezTo>
                  <a:cubicBezTo>
                    <a:pt x="1671118" y="1940875"/>
                    <a:pt x="1678347" y="1904510"/>
                    <a:pt x="1685577" y="1875419"/>
                  </a:cubicBezTo>
                  <a:cubicBezTo>
                    <a:pt x="1685577" y="1875419"/>
                    <a:pt x="1685577" y="1875419"/>
                    <a:pt x="1685577" y="1868146"/>
                  </a:cubicBezTo>
                  <a:cubicBezTo>
                    <a:pt x="1685577" y="1868146"/>
                    <a:pt x="1685577" y="1868146"/>
                    <a:pt x="1692805" y="1839054"/>
                  </a:cubicBezTo>
                  <a:cubicBezTo>
                    <a:pt x="1692805" y="1839054"/>
                    <a:pt x="1692805" y="1839054"/>
                    <a:pt x="1700034" y="1809962"/>
                  </a:cubicBezTo>
                  <a:cubicBezTo>
                    <a:pt x="1700034" y="1809962"/>
                    <a:pt x="1700034" y="1809962"/>
                    <a:pt x="1707262" y="1773598"/>
                  </a:cubicBezTo>
                  <a:cubicBezTo>
                    <a:pt x="1707262" y="1773598"/>
                    <a:pt x="1707262" y="1773598"/>
                    <a:pt x="1714491" y="1766325"/>
                  </a:cubicBezTo>
                  <a:cubicBezTo>
                    <a:pt x="1714491" y="1759052"/>
                    <a:pt x="1714491" y="1759052"/>
                    <a:pt x="1714491" y="1759052"/>
                  </a:cubicBezTo>
                  <a:cubicBezTo>
                    <a:pt x="1714491" y="1737233"/>
                    <a:pt x="1700034" y="1724505"/>
                    <a:pt x="1684672" y="1723596"/>
                  </a:cubicBezTo>
                  <a:close/>
                  <a:moveTo>
                    <a:pt x="1478085" y="1721096"/>
                  </a:moveTo>
                  <a:cubicBezTo>
                    <a:pt x="1475487" y="1720414"/>
                    <a:pt x="1472325" y="1720869"/>
                    <a:pt x="1468710" y="1722687"/>
                  </a:cubicBezTo>
                  <a:cubicBezTo>
                    <a:pt x="1468710" y="1722687"/>
                    <a:pt x="1461481" y="1722687"/>
                    <a:pt x="1461481" y="1729960"/>
                  </a:cubicBezTo>
                  <a:cubicBezTo>
                    <a:pt x="1454252" y="1737233"/>
                    <a:pt x="1447024" y="1744506"/>
                    <a:pt x="1447024" y="1751779"/>
                  </a:cubicBezTo>
                  <a:cubicBezTo>
                    <a:pt x="1447024" y="1751779"/>
                    <a:pt x="1447024" y="1751779"/>
                    <a:pt x="1432566" y="1788144"/>
                  </a:cubicBezTo>
                  <a:cubicBezTo>
                    <a:pt x="1432566" y="1788144"/>
                    <a:pt x="1432566" y="1788144"/>
                    <a:pt x="1425337" y="1824508"/>
                  </a:cubicBezTo>
                  <a:cubicBezTo>
                    <a:pt x="1425337" y="1824508"/>
                    <a:pt x="1425337" y="1824508"/>
                    <a:pt x="1418108" y="1860873"/>
                  </a:cubicBezTo>
                  <a:cubicBezTo>
                    <a:pt x="1418108" y="1860873"/>
                    <a:pt x="1418108" y="1860873"/>
                    <a:pt x="1418108" y="1868146"/>
                  </a:cubicBezTo>
                  <a:cubicBezTo>
                    <a:pt x="1403650" y="1897238"/>
                    <a:pt x="1396422" y="1933602"/>
                    <a:pt x="1389193" y="1969967"/>
                  </a:cubicBezTo>
                  <a:cubicBezTo>
                    <a:pt x="1389193" y="1969967"/>
                    <a:pt x="1389193" y="1969967"/>
                    <a:pt x="1410880" y="1969967"/>
                  </a:cubicBezTo>
                  <a:cubicBezTo>
                    <a:pt x="1410880" y="1969967"/>
                    <a:pt x="1410880" y="1969967"/>
                    <a:pt x="1425337" y="1962694"/>
                  </a:cubicBezTo>
                  <a:cubicBezTo>
                    <a:pt x="1425337" y="1962694"/>
                    <a:pt x="1425337" y="1962694"/>
                    <a:pt x="1425337" y="1955421"/>
                  </a:cubicBezTo>
                  <a:cubicBezTo>
                    <a:pt x="1425337" y="1955421"/>
                    <a:pt x="1425337" y="1955421"/>
                    <a:pt x="1432566" y="1940875"/>
                  </a:cubicBezTo>
                  <a:cubicBezTo>
                    <a:pt x="1439795" y="1911783"/>
                    <a:pt x="1447024" y="1882692"/>
                    <a:pt x="1454252" y="1860873"/>
                  </a:cubicBezTo>
                  <a:cubicBezTo>
                    <a:pt x="1454252" y="1860873"/>
                    <a:pt x="1454252" y="1860873"/>
                    <a:pt x="1461481" y="1839054"/>
                  </a:cubicBezTo>
                  <a:cubicBezTo>
                    <a:pt x="1461481" y="1839054"/>
                    <a:pt x="1461481" y="1839054"/>
                    <a:pt x="1468710" y="1795417"/>
                  </a:cubicBezTo>
                  <a:cubicBezTo>
                    <a:pt x="1468710" y="1795417"/>
                    <a:pt x="1468710" y="1795417"/>
                    <a:pt x="1483168" y="1759052"/>
                  </a:cubicBezTo>
                  <a:cubicBezTo>
                    <a:pt x="1483168" y="1759052"/>
                    <a:pt x="1483168" y="1759052"/>
                    <a:pt x="1483168" y="1751779"/>
                  </a:cubicBezTo>
                  <a:cubicBezTo>
                    <a:pt x="1488590" y="1735415"/>
                    <a:pt x="1485879" y="1723142"/>
                    <a:pt x="1478085" y="1721096"/>
                  </a:cubicBezTo>
                  <a:close/>
                  <a:moveTo>
                    <a:pt x="1606058" y="1715414"/>
                  </a:moveTo>
                  <a:cubicBezTo>
                    <a:pt x="1591601" y="1715414"/>
                    <a:pt x="1584372" y="1715414"/>
                    <a:pt x="1577143" y="1729960"/>
                  </a:cubicBezTo>
                  <a:cubicBezTo>
                    <a:pt x="1569914" y="1737233"/>
                    <a:pt x="1569914" y="1737233"/>
                    <a:pt x="1569914" y="1744506"/>
                  </a:cubicBezTo>
                  <a:cubicBezTo>
                    <a:pt x="1569914" y="1744506"/>
                    <a:pt x="1569914" y="1744506"/>
                    <a:pt x="1562685" y="1766325"/>
                  </a:cubicBezTo>
                  <a:cubicBezTo>
                    <a:pt x="1555456" y="1795417"/>
                    <a:pt x="1548228" y="1824508"/>
                    <a:pt x="1540999" y="1853600"/>
                  </a:cubicBezTo>
                  <a:cubicBezTo>
                    <a:pt x="1540999" y="1853600"/>
                    <a:pt x="1540999" y="1853600"/>
                    <a:pt x="1533770" y="1875419"/>
                  </a:cubicBezTo>
                  <a:cubicBezTo>
                    <a:pt x="1533770" y="1875419"/>
                    <a:pt x="1533770" y="1875419"/>
                    <a:pt x="1533770" y="1889965"/>
                  </a:cubicBezTo>
                  <a:cubicBezTo>
                    <a:pt x="1533770" y="1889965"/>
                    <a:pt x="1533770" y="1889965"/>
                    <a:pt x="1519312" y="1926329"/>
                  </a:cubicBezTo>
                  <a:cubicBezTo>
                    <a:pt x="1519312" y="1926329"/>
                    <a:pt x="1519312" y="1926329"/>
                    <a:pt x="1512083" y="1962694"/>
                  </a:cubicBezTo>
                  <a:lnTo>
                    <a:pt x="1512083" y="1969967"/>
                  </a:lnTo>
                  <a:cubicBezTo>
                    <a:pt x="1519312" y="1969967"/>
                    <a:pt x="1526541" y="1969967"/>
                    <a:pt x="1533770" y="1969967"/>
                  </a:cubicBezTo>
                  <a:cubicBezTo>
                    <a:pt x="1540999" y="1969967"/>
                    <a:pt x="1555456" y="1969967"/>
                    <a:pt x="1569914" y="1969967"/>
                  </a:cubicBezTo>
                  <a:cubicBezTo>
                    <a:pt x="1569914" y="1969967"/>
                    <a:pt x="1569914" y="1969967"/>
                    <a:pt x="1577143" y="1940875"/>
                  </a:cubicBezTo>
                  <a:cubicBezTo>
                    <a:pt x="1577143" y="1940875"/>
                    <a:pt x="1577143" y="1940875"/>
                    <a:pt x="1584372" y="1911783"/>
                  </a:cubicBezTo>
                  <a:cubicBezTo>
                    <a:pt x="1584372" y="1911783"/>
                    <a:pt x="1584372" y="1911783"/>
                    <a:pt x="1591601" y="1882692"/>
                  </a:cubicBezTo>
                  <a:cubicBezTo>
                    <a:pt x="1591601" y="1882692"/>
                    <a:pt x="1591601" y="1882692"/>
                    <a:pt x="1598830" y="1860873"/>
                  </a:cubicBezTo>
                  <a:cubicBezTo>
                    <a:pt x="1598830" y="1860873"/>
                    <a:pt x="1598830" y="1860873"/>
                    <a:pt x="1598830" y="1846327"/>
                  </a:cubicBezTo>
                  <a:cubicBezTo>
                    <a:pt x="1598830" y="1846327"/>
                    <a:pt x="1598830" y="1846327"/>
                    <a:pt x="1606058" y="1824508"/>
                  </a:cubicBezTo>
                  <a:cubicBezTo>
                    <a:pt x="1606058" y="1824508"/>
                    <a:pt x="1606058" y="1824508"/>
                    <a:pt x="1627745" y="1751779"/>
                  </a:cubicBezTo>
                  <a:cubicBezTo>
                    <a:pt x="1627745" y="1744506"/>
                    <a:pt x="1627745" y="1737233"/>
                    <a:pt x="1627745" y="1729960"/>
                  </a:cubicBezTo>
                  <a:cubicBezTo>
                    <a:pt x="1620516" y="1715414"/>
                    <a:pt x="1613287" y="1715414"/>
                    <a:pt x="1606058" y="1715414"/>
                  </a:cubicBezTo>
                  <a:close/>
                  <a:moveTo>
                    <a:pt x="1548228" y="1715414"/>
                  </a:moveTo>
                  <a:cubicBezTo>
                    <a:pt x="1533770" y="1708141"/>
                    <a:pt x="1512083" y="1715414"/>
                    <a:pt x="1504854" y="1744506"/>
                  </a:cubicBezTo>
                  <a:cubicBezTo>
                    <a:pt x="1504854" y="1744506"/>
                    <a:pt x="1504854" y="1744506"/>
                    <a:pt x="1490397" y="1780871"/>
                  </a:cubicBezTo>
                  <a:cubicBezTo>
                    <a:pt x="1490397" y="1780871"/>
                    <a:pt x="1490397" y="1780871"/>
                    <a:pt x="1483168" y="1824508"/>
                  </a:cubicBezTo>
                  <a:cubicBezTo>
                    <a:pt x="1483168" y="1824508"/>
                    <a:pt x="1483168" y="1824508"/>
                    <a:pt x="1475939" y="1853600"/>
                  </a:cubicBezTo>
                  <a:cubicBezTo>
                    <a:pt x="1475939" y="1853600"/>
                    <a:pt x="1475939" y="1853600"/>
                    <a:pt x="1454252" y="1926329"/>
                  </a:cubicBezTo>
                  <a:cubicBezTo>
                    <a:pt x="1454252" y="1926329"/>
                    <a:pt x="1454252" y="1926329"/>
                    <a:pt x="1447024" y="1940875"/>
                  </a:cubicBezTo>
                  <a:cubicBezTo>
                    <a:pt x="1447024" y="1940875"/>
                    <a:pt x="1447024" y="1940875"/>
                    <a:pt x="1439795" y="1962694"/>
                  </a:cubicBezTo>
                  <a:cubicBezTo>
                    <a:pt x="1439795" y="1962694"/>
                    <a:pt x="1439795" y="1962694"/>
                    <a:pt x="1461481" y="1962694"/>
                  </a:cubicBezTo>
                  <a:cubicBezTo>
                    <a:pt x="1468710" y="1962694"/>
                    <a:pt x="1483168" y="1962694"/>
                    <a:pt x="1490397" y="1969967"/>
                  </a:cubicBezTo>
                  <a:cubicBezTo>
                    <a:pt x="1490397" y="1969967"/>
                    <a:pt x="1490397" y="1969967"/>
                    <a:pt x="1497627" y="1940875"/>
                  </a:cubicBezTo>
                  <a:cubicBezTo>
                    <a:pt x="1497627" y="1940875"/>
                    <a:pt x="1497627" y="1940875"/>
                    <a:pt x="1504854" y="1904510"/>
                  </a:cubicBezTo>
                  <a:cubicBezTo>
                    <a:pt x="1504854" y="1904510"/>
                    <a:pt x="1504854" y="1904510"/>
                    <a:pt x="1512083" y="1889965"/>
                  </a:cubicBezTo>
                  <a:cubicBezTo>
                    <a:pt x="1512083" y="1889965"/>
                    <a:pt x="1512083" y="1889965"/>
                    <a:pt x="1519312" y="1853600"/>
                  </a:cubicBezTo>
                  <a:cubicBezTo>
                    <a:pt x="1526541" y="1831781"/>
                    <a:pt x="1533770" y="1809962"/>
                    <a:pt x="1540999" y="1788144"/>
                  </a:cubicBezTo>
                  <a:cubicBezTo>
                    <a:pt x="1540999" y="1788144"/>
                    <a:pt x="1540999" y="1788144"/>
                    <a:pt x="1548228" y="1744506"/>
                  </a:cubicBezTo>
                  <a:cubicBezTo>
                    <a:pt x="1555456" y="1729960"/>
                    <a:pt x="1548228" y="1722687"/>
                    <a:pt x="1548228" y="1715414"/>
                  </a:cubicBezTo>
                  <a:close/>
                  <a:moveTo>
                    <a:pt x="11812311" y="1708518"/>
                  </a:moveTo>
                  <a:lnTo>
                    <a:pt x="11805081" y="1715788"/>
                  </a:lnTo>
                  <a:cubicBezTo>
                    <a:pt x="11805081" y="1715788"/>
                    <a:pt x="11805081" y="1715788"/>
                    <a:pt x="11783390" y="1737599"/>
                  </a:cubicBezTo>
                  <a:cubicBezTo>
                    <a:pt x="11783390" y="1737599"/>
                    <a:pt x="11783390" y="1737599"/>
                    <a:pt x="11783390" y="1744870"/>
                  </a:cubicBezTo>
                  <a:cubicBezTo>
                    <a:pt x="11783390" y="1744870"/>
                    <a:pt x="11783390" y="1744870"/>
                    <a:pt x="11826772" y="1788491"/>
                  </a:cubicBezTo>
                  <a:cubicBezTo>
                    <a:pt x="11826772" y="1788491"/>
                    <a:pt x="11826772" y="1788491"/>
                    <a:pt x="11826772" y="1781221"/>
                  </a:cubicBezTo>
                  <a:cubicBezTo>
                    <a:pt x="11826772" y="1766681"/>
                    <a:pt x="11819542" y="1752140"/>
                    <a:pt x="11819542" y="1730329"/>
                  </a:cubicBezTo>
                  <a:cubicBezTo>
                    <a:pt x="11819542" y="1723059"/>
                    <a:pt x="11819542" y="1715788"/>
                    <a:pt x="11812311" y="1708518"/>
                  </a:cubicBezTo>
                  <a:close/>
                  <a:moveTo>
                    <a:pt x="11711086" y="1708518"/>
                  </a:moveTo>
                  <a:cubicBezTo>
                    <a:pt x="11711086" y="1708518"/>
                    <a:pt x="11711086" y="1708518"/>
                    <a:pt x="11696625" y="1723059"/>
                  </a:cubicBezTo>
                  <a:cubicBezTo>
                    <a:pt x="11696625" y="1723059"/>
                    <a:pt x="11696625" y="1723059"/>
                    <a:pt x="11689395" y="1730329"/>
                  </a:cubicBezTo>
                  <a:cubicBezTo>
                    <a:pt x="11689395" y="1730329"/>
                    <a:pt x="11689395" y="1730329"/>
                    <a:pt x="11682164" y="1744870"/>
                  </a:cubicBezTo>
                  <a:cubicBezTo>
                    <a:pt x="11682164" y="1744870"/>
                    <a:pt x="11682164" y="1744870"/>
                    <a:pt x="11718316" y="1781221"/>
                  </a:cubicBezTo>
                  <a:cubicBezTo>
                    <a:pt x="11718316" y="1781221"/>
                    <a:pt x="11718316" y="1781221"/>
                    <a:pt x="11718316" y="1759410"/>
                  </a:cubicBezTo>
                  <a:cubicBezTo>
                    <a:pt x="11718316" y="1759410"/>
                    <a:pt x="11718316" y="1759410"/>
                    <a:pt x="11711086" y="1744870"/>
                  </a:cubicBezTo>
                  <a:cubicBezTo>
                    <a:pt x="11711086" y="1730329"/>
                    <a:pt x="11711086" y="1715788"/>
                    <a:pt x="11711086" y="1708518"/>
                  </a:cubicBezTo>
                  <a:close/>
                  <a:moveTo>
                    <a:pt x="11638782" y="1708518"/>
                  </a:moveTo>
                  <a:cubicBezTo>
                    <a:pt x="11638782" y="1708518"/>
                    <a:pt x="11638782" y="1708518"/>
                    <a:pt x="11638782" y="1723059"/>
                  </a:cubicBezTo>
                  <a:cubicBezTo>
                    <a:pt x="11638782" y="1737599"/>
                    <a:pt x="11638782" y="1752140"/>
                    <a:pt x="11638782" y="1766681"/>
                  </a:cubicBezTo>
                  <a:cubicBezTo>
                    <a:pt x="11638782" y="1766681"/>
                    <a:pt x="11638782" y="1766681"/>
                    <a:pt x="11638782" y="1781221"/>
                  </a:cubicBezTo>
                  <a:cubicBezTo>
                    <a:pt x="11638782" y="1781221"/>
                    <a:pt x="11638782" y="1781221"/>
                    <a:pt x="11646013" y="1773951"/>
                  </a:cubicBezTo>
                  <a:cubicBezTo>
                    <a:pt x="11646013" y="1773951"/>
                    <a:pt x="11646013" y="1773951"/>
                    <a:pt x="11667704" y="1744870"/>
                  </a:cubicBezTo>
                  <a:close/>
                  <a:moveTo>
                    <a:pt x="11624321" y="1708518"/>
                  </a:moveTo>
                  <a:cubicBezTo>
                    <a:pt x="11624321" y="1708518"/>
                    <a:pt x="11624321" y="1708518"/>
                    <a:pt x="11602630" y="1730329"/>
                  </a:cubicBezTo>
                  <a:cubicBezTo>
                    <a:pt x="11602630" y="1730329"/>
                    <a:pt x="11602630" y="1730329"/>
                    <a:pt x="11595400" y="1737599"/>
                  </a:cubicBezTo>
                  <a:cubicBezTo>
                    <a:pt x="11595400" y="1737599"/>
                    <a:pt x="11595400" y="1737599"/>
                    <a:pt x="11588169" y="1744870"/>
                  </a:cubicBezTo>
                  <a:cubicBezTo>
                    <a:pt x="11588169" y="1744870"/>
                    <a:pt x="11588169" y="1744870"/>
                    <a:pt x="11624321" y="1788491"/>
                  </a:cubicBezTo>
                  <a:cubicBezTo>
                    <a:pt x="11624321" y="1788491"/>
                    <a:pt x="11624321" y="1788491"/>
                    <a:pt x="11624321" y="1766681"/>
                  </a:cubicBezTo>
                  <a:cubicBezTo>
                    <a:pt x="11624321" y="1766681"/>
                    <a:pt x="11624321" y="1766681"/>
                    <a:pt x="11624321" y="1752140"/>
                  </a:cubicBezTo>
                  <a:cubicBezTo>
                    <a:pt x="11624321" y="1737599"/>
                    <a:pt x="11624321" y="1723059"/>
                    <a:pt x="11624321" y="1708518"/>
                  </a:cubicBezTo>
                  <a:close/>
                  <a:moveTo>
                    <a:pt x="11537557" y="1708518"/>
                  </a:moveTo>
                  <a:cubicBezTo>
                    <a:pt x="11537557" y="1723059"/>
                    <a:pt x="11530326" y="1737599"/>
                    <a:pt x="11530326" y="1744870"/>
                  </a:cubicBezTo>
                  <a:cubicBezTo>
                    <a:pt x="11530326" y="1759410"/>
                    <a:pt x="11530326" y="1773951"/>
                    <a:pt x="11530326" y="1788491"/>
                  </a:cubicBezTo>
                  <a:cubicBezTo>
                    <a:pt x="11530326" y="1788491"/>
                    <a:pt x="11530326" y="1788491"/>
                    <a:pt x="11552018" y="1766681"/>
                  </a:cubicBezTo>
                  <a:cubicBezTo>
                    <a:pt x="11552018" y="1766681"/>
                    <a:pt x="11552018" y="1766681"/>
                    <a:pt x="11566478" y="1744870"/>
                  </a:cubicBezTo>
                  <a:cubicBezTo>
                    <a:pt x="11566478" y="1744870"/>
                    <a:pt x="11566478" y="1744870"/>
                    <a:pt x="11537557" y="1708518"/>
                  </a:cubicBezTo>
                  <a:close/>
                  <a:moveTo>
                    <a:pt x="11725547" y="1701248"/>
                  </a:moveTo>
                  <a:cubicBezTo>
                    <a:pt x="11725547" y="1723059"/>
                    <a:pt x="11725547" y="1737599"/>
                    <a:pt x="11725547" y="1759410"/>
                  </a:cubicBezTo>
                  <a:cubicBezTo>
                    <a:pt x="11725547" y="1759410"/>
                    <a:pt x="11725547" y="1759410"/>
                    <a:pt x="11732777" y="1766681"/>
                  </a:cubicBezTo>
                  <a:cubicBezTo>
                    <a:pt x="11732777" y="1766681"/>
                    <a:pt x="11732777" y="1766681"/>
                    <a:pt x="11732777" y="1788491"/>
                  </a:cubicBezTo>
                  <a:lnTo>
                    <a:pt x="11740007" y="1781221"/>
                  </a:lnTo>
                  <a:cubicBezTo>
                    <a:pt x="11740007" y="1781221"/>
                    <a:pt x="11740007" y="1781221"/>
                    <a:pt x="11747238" y="1773951"/>
                  </a:cubicBezTo>
                  <a:cubicBezTo>
                    <a:pt x="11747238" y="1773951"/>
                    <a:pt x="11747238" y="1773951"/>
                    <a:pt x="11768929" y="1744870"/>
                  </a:cubicBezTo>
                  <a:cubicBezTo>
                    <a:pt x="11768929" y="1744870"/>
                    <a:pt x="11768929" y="1744870"/>
                    <a:pt x="11725547" y="1701248"/>
                  </a:cubicBezTo>
                  <a:close/>
                  <a:moveTo>
                    <a:pt x="11740007" y="1693978"/>
                  </a:moveTo>
                  <a:cubicBezTo>
                    <a:pt x="11740007" y="1693978"/>
                    <a:pt x="11740007" y="1693978"/>
                    <a:pt x="11776159" y="1730329"/>
                  </a:cubicBezTo>
                  <a:lnTo>
                    <a:pt x="11790620" y="1708518"/>
                  </a:lnTo>
                  <a:cubicBezTo>
                    <a:pt x="11790620" y="1708518"/>
                    <a:pt x="11790620" y="1708518"/>
                    <a:pt x="11805081" y="1693978"/>
                  </a:cubicBezTo>
                  <a:cubicBezTo>
                    <a:pt x="11805081" y="1693978"/>
                    <a:pt x="11805081" y="1693978"/>
                    <a:pt x="11797851" y="1693978"/>
                  </a:cubicBezTo>
                  <a:cubicBezTo>
                    <a:pt x="11797851" y="1693978"/>
                    <a:pt x="11797851" y="1693978"/>
                    <a:pt x="11776159" y="1693978"/>
                  </a:cubicBezTo>
                  <a:cubicBezTo>
                    <a:pt x="11776159" y="1693978"/>
                    <a:pt x="11776159" y="1693978"/>
                    <a:pt x="11757857" y="1693978"/>
                  </a:cubicBezTo>
                  <a:close/>
                  <a:moveTo>
                    <a:pt x="11646013" y="1693978"/>
                  </a:moveTo>
                  <a:cubicBezTo>
                    <a:pt x="11646013" y="1693978"/>
                    <a:pt x="11646013" y="1693978"/>
                    <a:pt x="11674934" y="1730329"/>
                  </a:cubicBezTo>
                  <a:cubicBezTo>
                    <a:pt x="11674934" y="1730329"/>
                    <a:pt x="11674934" y="1730329"/>
                    <a:pt x="11682164" y="1723059"/>
                  </a:cubicBezTo>
                  <a:cubicBezTo>
                    <a:pt x="11682164" y="1723059"/>
                    <a:pt x="11682164" y="1723059"/>
                    <a:pt x="11689395" y="1715788"/>
                  </a:cubicBezTo>
                  <a:cubicBezTo>
                    <a:pt x="11689395" y="1715788"/>
                    <a:pt x="11689395" y="1715788"/>
                    <a:pt x="11703856" y="1693978"/>
                  </a:cubicBezTo>
                  <a:cubicBezTo>
                    <a:pt x="11703856" y="1693978"/>
                    <a:pt x="11703856" y="1693978"/>
                    <a:pt x="11660473" y="1693978"/>
                  </a:cubicBezTo>
                  <a:cubicBezTo>
                    <a:pt x="11660473" y="1693978"/>
                    <a:pt x="11660473" y="1693978"/>
                    <a:pt x="11646013" y="1693978"/>
                  </a:cubicBezTo>
                  <a:close/>
                  <a:moveTo>
                    <a:pt x="11544787" y="1693978"/>
                  </a:moveTo>
                  <a:cubicBezTo>
                    <a:pt x="11544787" y="1693978"/>
                    <a:pt x="11544787" y="1693978"/>
                    <a:pt x="11552018" y="1701248"/>
                  </a:cubicBezTo>
                  <a:cubicBezTo>
                    <a:pt x="11552018" y="1701248"/>
                    <a:pt x="11552018" y="1701248"/>
                    <a:pt x="11580939" y="1737599"/>
                  </a:cubicBezTo>
                  <a:cubicBezTo>
                    <a:pt x="11580939" y="1737599"/>
                    <a:pt x="11580939" y="1737599"/>
                    <a:pt x="11580939" y="1730329"/>
                  </a:cubicBezTo>
                  <a:cubicBezTo>
                    <a:pt x="11580939" y="1730329"/>
                    <a:pt x="11580939" y="1730329"/>
                    <a:pt x="11588169" y="1723059"/>
                  </a:cubicBezTo>
                  <a:cubicBezTo>
                    <a:pt x="11588169" y="1723059"/>
                    <a:pt x="11588169" y="1723059"/>
                    <a:pt x="11617091" y="1693978"/>
                  </a:cubicBezTo>
                  <a:cubicBezTo>
                    <a:pt x="11617091" y="1693978"/>
                    <a:pt x="11617091" y="1693978"/>
                    <a:pt x="11609861" y="1693978"/>
                  </a:cubicBezTo>
                  <a:cubicBezTo>
                    <a:pt x="11609861" y="1693978"/>
                    <a:pt x="11609861" y="1693978"/>
                    <a:pt x="11566478" y="1693978"/>
                  </a:cubicBezTo>
                  <a:close/>
                  <a:moveTo>
                    <a:pt x="11674934" y="1643086"/>
                  </a:moveTo>
                  <a:lnTo>
                    <a:pt x="11646013" y="1679437"/>
                  </a:lnTo>
                  <a:cubicBezTo>
                    <a:pt x="11646013" y="1679437"/>
                    <a:pt x="11646013" y="1679437"/>
                    <a:pt x="11703856" y="1679437"/>
                  </a:cubicBezTo>
                  <a:cubicBezTo>
                    <a:pt x="11703856" y="1679437"/>
                    <a:pt x="11703856" y="1679437"/>
                    <a:pt x="11674934" y="1643086"/>
                  </a:cubicBezTo>
                  <a:close/>
                  <a:moveTo>
                    <a:pt x="11588169" y="1643086"/>
                  </a:moveTo>
                  <a:cubicBezTo>
                    <a:pt x="11588169" y="1643086"/>
                    <a:pt x="11588169" y="1643086"/>
                    <a:pt x="11573709" y="1657626"/>
                  </a:cubicBezTo>
                  <a:cubicBezTo>
                    <a:pt x="11573709" y="1657626"/>
                    <a:pt x="11573709" y="1657626"/>
                    <a:pt x="11544787" y="1679437"/>
                  </a:cubicBezTo>
                  <a:cubicBezTo>
                    <a:pt x="11544787" y="1679437"/>
                    <a:pt x="11544787" y="1679437"/>
                    <a:pt x="11552018" y="1679437"/>
                  </a:cubicBezTo>
                  <a:cubicBezTo>
                    <a:pt x="11552018" y="1679437"/>
                    <a:pt x="11552018" y="1679437"/>
                    <a:pt x="11595400" y="1679437"/>
                  </a:cubicBezTo>
                  <a:cubicBezTo>
                    <a:pt x="11595400" y="1679437"/>
                    <a:pt x="11595400" y="1679437"/>
                    <a:pt x="11617091" y="1679437"/>
                  </a:cubicBezTo>
                  <a:close/>
                  <a:moveTo>
                    <a:pt x="11761699" y="1635815"/>
                  </a:moveTo>
                  <a:cubicBezTo>
                    <a:pt x="11761699" y="1635815"/>
                    <a:pt x="11761699" y="1635815"/>
                    <a:pt x="11754468" y="1650356"/>
                  </a:cubicBezTo>
                  <a:cubicBezTo>
                    <a:pt x="11754468" y="1650356"/>
                    <a:pt x="11754468" y="1650356"/>
                    <a:pt x="11747238" y="1664896"/>
                  </a:cubicBezTo>
                  <a:cubicBezTo>
                    <a:pt x="11747238" y="1664896"/>
                    <a:pt x="11747238" y="1664896"/>
                    <a:pt x="11732777" y="1679437"/>
                  </a:cubicBezTo>
                  <a:cubicBezTo>
                    <a:pt x="11732777" y="1679437"/>
                    <a:pt x="11732777" y="1679437"/>
                    <a:pt x="11761699" y="1679437"/>
                  </a:cubicBezTo>
                  <a:cubicBezTo>
                    <a:pt x="11761699" y="1679437"/>
                    <a:pt x="11761699" y="1679437"/>
                    <a:pt x="11783390" y="1679437"/>
                  </a:cubicBezTo>
                  <a:lnTo>
                    <a:pt x="11805081" y="1679437"/>
                  </a:lnTo>
                  <a:cubicBezTo>
                    <a:pt x="11805081" y="1679437"/>
                    <a:pt x="11805081" y="1679437"/>
                    <a:pt x="11761699" y="1635815"/>
                  </a:cubicBezTo>
                  <a:close/>
                  <a:moveTo>
                    <a:pt x="11343311" y="1632676"/>
                  </a:moveTo>
                  <a:cubicBezTo>
                    <a:pt x="11353786" y="1631919"/>
                    <a:pt x="11362883" y="1632827"/>
                    <a:pt x="11370567" y="1635550"/>
                  </a:cubicBezTo>
                  <a:cubicBezTo>
                    <a:pt x="11428423" y="1657334"/>
                    <a:pt x="11356103" y="1882436"/>
                    <a:pt x="11240391" y="2158368"/>
                  </a:cubicBezTo>
                  <a:cubicBezTo>
                    <a:pt x="11168071" y="2339902"/>
                    <a:pt x="11074055" y="2535958"/>
                    <a:pt x="10987271" y="2717492"/>
                  </a:cubicBezTo>
                  <a:cubicBezTo>
                    <a:pt x="10980039" y="2724753"/>
                    <a:pt x="10980039" y="2732015"/>
                    <a:pt x="10972807" y="2739276"/>
                  </a:cubicBezTo>
                  <a:cubicBezTo>
                    <a:pt x="10878791" y="2739276"/>
                    <a:pt x="10784775" y="2739276"/>
                    <a:pt x="10690760" y="2739276"/>
                  </a:cubicBezTo>
                  <a:cubicBezTo>
                    <a:pt x="10690760" y="2739276"/>
                    <a:pt x="10690760" y="2739276"/>
                    <a:pt x="10690760" y="2441561"/>
                  </a:cubicBezTo>
                  <a:cubicBezTo>
                    <a:pt x="10618440" y="2535958"/>
                    <a:pt x="10546120" y="2637617"/>
                    <a:pt x="10481032" y="2739276"/>
                  </a:cubicBezTo>
                  <a:cubicBezTo>
                    <a:pt x="10358088" y="2739276"/>
                    <a:pt x="10235144" y="2739276"/>
                    <a:pt x="10112200" y="2739276"/>
                  </a:cubicBezTo>
                  <a:cubicBezTo>
                    <a:pt x="10097736" y="2637617"/>
                    <a:pt x="10090504" y="2528697"/>
                    <a:pt x="10076040" y="2419776"/>
                  </a:cubicBezTo>
                  <a:cubicBezTo>
                    <a:pt x="10068808" y="2376208"/>
                    <a:pt x="10061576" y="2332640"/>
                    <a:pt x="10054344" y="2281811"/>
                  </a:cubicBezTo>
                  <a:cubicBezTo>
                    <a:pt x="10718784" y="2029932"/>
                    <a:pt x="11186179" y="1644031"/>
                    <a:pt x="11343311" y="1632676"/>
                  </a:cubicBezTo>
                  <a:close/>
                  <a:moveTo>
                    <a:pt x="11703856" y="1599464"/>
                  </a:moveTo>
                  <a:cubicBezTo>
                    <a:pt x="11703856" y="1599464"/>
                    <a:pt x="11703856" y="1599464"/>
                    <a:pt x="11689395" y="1614004"/>
                  </a:cubicBezTo>
                  <a:cubicBezTo>
                    <a:pt x="11689395" y="1614004"/>
                    <a:pt x="11689395" y="1614004"/>
                    <a:pt x="11682164" y="1628545"/>
                  </a:cubicBezTo>
                  <a:cubicBezTo>
                    <a:pt x="11682164" y="1628545"/>
                    <a:pt x="11682164" y="1628545"/>
                    <a:pt x="11711086" y="1664896"/>
                  </a:cubicBezTo>
                  <a:cubicBezTo>
                    <a:pt x="11711086" y="1650356"/>
                    <a:pt x="11711086" y="1643086"/>
                    <a:pt x="11711086" y="1628545"/>
                  </a:cubicBezTo>
                  <a:cubicBezTo>
                    <a:pt x="11711086" y="1628545"/>
                    <a:pt x="11711086" y="1628545"/>
                    <a:pt x="11703856" y="1606734"/>
                  </a:cubicBezTo>
                  <a:cubicBezTo>
                    <a:pt x="11703856" y="1606734"/>
                    <a:pt x="11703856" y="1606734"/>
                    <a:pt x="11703856" y="1604917"/>
                  </a:cubicBezTo>
                  <a:close/>
                  <a:moveTo>
                    <a:pt x="11638782" y="1599464"/>
                  </a:moveTo>
                  <a:cubicBezTo>
                    <a:pt x="11638782" y="1599464"/>
                    <a:pt x="11638782" y="1599464"/>
                    <a:pt x="11638782" y="1606734"/>
                  </a:cubicBezTo>
                  <a:cubicBezTo>
                    <a:pt x="11638782" y="1628545"/>
                    <a:pt x="11638782" y="1643086"/>
                    <a:pt x="11638782" y="1664896"/>
                  </a:cubicBezTo>
                  <a:cubicBezTo>
                    <a:pt x="11638782" y="1664896"/>
                    <a:pt x="11638782" y="1664896"/>
                    <a:pt x="11667704" y="1628545"/>
                  </a:cubicBezTo>
                  <a:close/>
                  <a:moveTo>
                    <a:pt x="11797851" y="1592194"/>
                  </a:moveTo>
                  <a:lnTo>
                    <a:pt x="11790620" y="1606734"/>
                  </a:lnTo>
                  <a:cubicBezTo>
                    <a:pt x="11790620" y="1606734"/>
                    <a:pt x="11790620" y="1606734"/>
                    <a:pt x="11768929" y="1628545"/>
                  </a:cubicBezTo>
                  <a:cubicBezTo>
                    <a:pt x="11768929" y="1628545"/>
                    <a:pt x="11768929" y="1628545"/>
                    <a:pt x="11805081" y="1657626"/>
                  </a:cubicBezTo>
                  <a:cubicBezTo>
                    <a:pt x="11805081" y="1657626"/>
                    <a:pt x="11805081" y="1657626"/>
                    <a:pt x="11812311" y="1664896"/>
                  </a:cubicBezTo>
                  <a:cubicBezTo>
                    <a:pt x="11805081" y="1650356"/>
                    <a:pt x="11805081" y="1635815"/>
                    <a:pt x="11805081" y="1614004"/>
                  </a:cubicBezTo>
                  <a:cubicBezTo>
                    <a:pt x="11805081" y="1606734"/>
                    <a:pt x="11797851" y="1599464"/>
                    <a:pt x="11797851" y="1592194"/>
                  </a:cubicBezTo>
                  <a:close/>
                  <a:moveTo>
                    <a:pt x="11718316" y="1592194"/>
                  </a:moveTo>
                  <a:cubicBezTo>
                    <a:pt x="11718316" y="1592194"/>
                    <a:pt x="11718316" y="1592194"/>
                    <a:pt x="11718316" y="1621275"/>
                  </a:cubicBezTo>
                  <a:cubicBezTo>
                    <a:pt x="11718316" y="1621275"/>
                    <a:pt x="11718316" y="1621275"/>
                    <a:pt x="11725547" y="1643086"/>
                  </a:cubicBezTo>
                  <a:cubicBezTo>
                    <a:pt x="11725547" y="1643086"/>
                    <a:pt x="11725547" y="1643086"/>
                    <a:pt x="11725547" y="1664896"/>
                  </a:cubicBezTo>
                  <a:lnTo>
                    <a:pt x="11732777" y="1650356"/>
                  </a:lnTo>
                  <a:cubicBezTo>
                    <a:pt x="11732777" y="1650356"/>
                    <a:pt x="11732777" y="1650356"/>
                    <a:pt x="11747238" y="1643086"/>
                  </a:cubicBezTo>
                  <a:cubicBezTo>
                    <a:pt x="11747238" y="1643086"/>
                    <a:pt x="11747238" y="1643086"/>
                    <a:pt x="11754468" y="1628545"/>
                  </a:cubicBezTo>
                  <a:cubicBezTo>
                    <a:pt x="11754468" y="1628545"/>
                    <a:pt x="11754468" y="1628545"/>
                    <a:pt x="11718316" y="1592194"/>
                  </a:cubicBezTo>
                  <a:close/>
                  <a:moveTo>
                    <a:pt x="11631552" y="1592194"/>
                  </a:moveTo>
                  <a:cubicBezTo>
                    <a:pt x="11631552" y="1592194"/>
                    <a:pt x="11631552" y="1592194"/>
                    <a:pt x="11595400" y="1628545"/>
                  </a:cubicBezTo>
                  <a:cubicBezTo>
                    <a:pt x="11595400" y="1628545"/>
                    <a:pt x="11595400" y="1628545"/>
                    <a:pt x="11595400" y="1635815"/>
                  </a:cubicBezTo>
                  <a:cubicBezTo>
                    <a:pt x="11595400" y="1635815"/>
                    <a:pt x="11595400" y="1635815"/>
                    <a:pt x="11624321" y="1672167"/>
                  </a:cubicBezTo>
                  <a:cubicBezTo>
                    <a:pt x="11624321" y="1672167"/>
                    <a:pt x="11624321" y="1672167"/>
                    <a:pt x="11624321" y="1657626"/>
                  </a:cubicBezTo>
                  <a:cubicBezTo>
                    <a:pt x="11624321" y="1635815"/>
                    <a:pt x="11631552" y="1614004"/>
                    <a:pt x="11631552" y="1592194"/>
                  </a:cubicBezTo>
                  <a:close/>
                  <a:moveTo>
                    <a:pt x="11544787" y="1592194"/>
                  </a:moveTo>
                  <a:cubicBezTo>
                    <a:pt x="11544787" y="1592194"/>
                    <a:pt x="11544787" y="1592194"/>
                    <a:pt x="11544787" y="1599464"/>
                  </a:cubicBezTo>
                  <a:cubicBezTo>
                    <a:pt x="11544787" y="1606734"/>
                    <a:pt x="11544787" y="1621275"/>
                    <a:pt x="11544787" y="1628545"/>
                  </a:cubicBezTo>
                  <a:cubicBezTo>
                    <a:pt x="11544787" y="1643086"/>
                    <a:pt x="11544787" y="1657626"/>
                    <a:pt x="11537557" y="1672167"/>
                  </a:cubicBezTo>
                  <a:cubicBezTo>
                    <a:pt x="11537557" y="1672167"/>
                    <a:pt x="11537557" y="1672167"/>
                    <a:pt x="11559248" y="1650356"/>
                  </a:cubicBezTo>
                  <a:cubicBezTo>
                    <a:pt x="11559248" y="1650356"/>
                    <a:pt x="11559248" y="1650356"/>
                    <a:pt x="11573709" y="1628545"/>
                  </a:cubicBezTo>
                  <a:cubicBezTo>
                    <a:pt x="11573709" y="1628545"/>
                    <a:pt x="11573709" y="1628545"/>
                    <a:pt x="11566478" y="1614004"/>
                  </a:cubicBezTo>
                  <a:cubicBezTo>
                    <a:pt x="11566478" y="1614004"/>
                    <a:pt x="11566478" y="1614004"/>
                    <a:pt x="11544787" y="1592194"/>
                  </a:cubicBezTo>
                  <a:close/>
                  <a:moveTo>
                    <a:pt x="11646013" y="1584923"/>
                  </a:moveTo>
                  <a:cubicBezTo>
                    <a:pt x="11646013" y="1584923"/>
                    <a:pt x="11646013" y="1584923"/>
                    <a:pt x="11674934" y="1614004"/>
                  </a:cubicBezTo>
                  <a:cubicBezTo>
                    <a:pt x="11674934" y="1614004"/>
                    <a:pt x="11674934" y="1614004"/>
                    <a:pt x="11682164" y="1606734"/>
                  </a:cubicBezTo>
                  <a:cubicBezTo>
                    <a:pt x="11682164" y="1606734"/>
                    <a:pt x="11682164" y="1606734"/>
                    <a:pt x="11689395" y="1592194"/>
                  </a:cubicBezTo>
                  <a:cubicBezTo>
                    <a:pt x="11689395" y="1592194"/>
                    <a:pt x="11689395" y="1592194"/>
                    <a:pt x="11696625" y="1584923"/>
                  </a:cubicBezTo>
                  <a:cubicBezTo>
                    <a:pt x="11696625" y="1584923"/>
                    <a:pt x="11696625" y="1584923"/>
                    <a:pt x="11682164" y="1584923"/>
                  </a:cubicBezTo>
                  <a:cubicBezTo>
                    <a:pt x="11682164" y="1584923"/>
                    <a:pt x="11682164" y="1584923"/>
                    <a:pt x="11660473" y="1584923"/>
                  </a:cubicBezTo>
                  <a:close/>
                  <a:moveTo>
                    <a:pt x="11559248" y="1584923"/>
                  </a:moveTo>
                  <a:cubicBezTo>
                    <a:pt x="11559248" y="1584923"/>
                    <a:pt x="11559248" y="1584923"/>
                    <a:pt x="11588169" y="1621275"/>
                  </a:cubicBezTo>
                  <a:cubicBezTo>
                    <a:pt x="11588169" y="1621275"/>
                    <a:pt x="11588169" y="1621275"/>
                    <a:pt x="11617091" y="1584923"/>
                  </a:cubicBezTo>
                  <a:close/>
                  <a:moveTo>
                    <a:pt x="11761699" y="1577653"/>
                  </a:moveTo>
                  <a:cubicBezTo>
                    <a:pt x="11761699" y="1577653"/>
                    <a:pt x="11761699" y="1577653"/>
                    <a:pt x="11725547" y="1584923"/>
                  </a:cubicBezTo>
                  <a:cubicBezTo>
                    <a:pt x="11725547" y="1584923"/>
                    <a:pt x="11725547" y="1584923"/>
                    <a:pt x="11761699" y="1614004"/>
                  </a:cubicBezTo>
                  <a:lnTo>
                    <a:pt x="11776159" y="1592194"/>
                  </a:lnTo>
                  <a:cubicBezTo>
                    <a:pt x="11776159" y="1592194"/>
                    <a:pt x="11776159" y="1592194"/>
                    <a:pt x="11790620" y="1584923"/>
                  </a:cubicBezTo>
                  <a:cubicBezTo>
                    <a:pt x="11790620" y="1584923"/>
                    <a:pt x="11790620" y="1584923"/>
                    <a:pt x="11790620" y="1577653"/>
                  </a:cubicBezTo>
                  <a:cubicBezTo>
                    <a:pt x="11790620" y="1577653"/>
                    <a:pt x="11790620" y="1577653"/>
                    <a:pt x="11761699" y="1577653"/>
                  </a:cubicBezTo>
                  <a:close/>
                  <a:moveTo>
                    <a:pt x="11754468" y="1534031"/>
                  </a:moveTo>
                  <a:cubicBezTo>
                    <a:pt x="11754468" y="1534031"/>
                    <a:pt x="11754468" y="1534031"/>
                    <a:pt x="11747238" y="1541302"/>
                  </a:cubicBezTo>
                  <a:cubicBezTo>
                    <a:pt x="11747238" y="1541302"/>
                    <a:pt x="11747238" y="1541302"/>
                    <a:pt x="11740007" y="1555842"/>
                  </a:cubicBezTo>
                  <a:cubicBezTo>
                    <a:pt x="11740007" y="1555842"/>
                    <a:pt x="11740007" y="1555842"/>
                    <a:pt x="11725547" y="1570383"/>
                  </a:cubicBezTo>
                  <a:cubicBezTo>
                    <a:pt x="11725547" y="1570383"/>
                    <a:pt x="11725547" y="1570383"/>
                    <a:pt x="11747238" y="1570383"/>
                  </a:cubicBezTo>
                  <a:cubicBezTo>
                    <a:pt x="11747238" y="1570383"/>
                    <a:pt x="11747238" y="1570383"/>
                    <a:pt x="11776159" y="1570383"/>
                  </a:cubicBezTo>
                  <a:lnTo>
                    <a:pt x="11790620" y="1570383"/>
                  </a:lnTo>
                  <a:cubicBezTo>
                    <a:pt x="11790620" y="1570383"/>
                    <a:pt x="11790620" y="1570383"/>
                    <a:pt x="11754468" y="1534031"/>
                  </a:cubicBezTo>
                  <a:close/>
                  <a:moveTo>
                    <a:pt x="11674934" y="1534031"/>
                  </a:moveTo>
                  <a:cubicBezTo>
                    <a:pt x="11674934" y="1534031"/>
                    <a:pt x="11674934" y="1534031"/>
                    <a:pt x="11653243" y="1555842"/>
                  </a:cubicBezTo>
                  <a:cubicBezTo>
                    <a:pt x="11653243" y="1555842"/>
                    <a:pt x="11653243" y="1555842"/>
                    <a:pt x="11646013" y="1570383"/>
                  </a:cubicBezTo>
                  <a:cubicBezTo>
                    <a:pt x="11646013" y="1570383"/>
                    <a:pt x="11646013" y="1570383"/>
                    <a:pt x="11667704" y="1570383"/>
                  </a:cubicBezTo>
                  <a:cubicBezTo>
                    <a:pt x="11667704" y="1570383"/>
                    <a:pt x="11667704" y="1570383"/>
                    <a:pt x="11696625" y="1570383"/>
                  </a:cubicBezTo>
                  <a:cubicBezTo>
                    <a:pt x="11696625" y="1570383"/>
                    <a:pt x="11696625" y="1570383"/>
                    <a:pt x="11682164" y="1541302"/>
                  </a:cubicBezTo>
                  <a:cubicBezTo>
                    <a:pt x="11682164" y="1541302"/>
                    <a:pt x="11682164" y="1541302"/>
                    <a:pt x="11674934" y="1534031"/>
                  </a:cubicBezTo>
                  <a:close/>
                  <a:moveTo>
                    <a:pt x="11595400" y="1534031"/>
                  </a:moveTo>
                  <a:cubicBezTo>
                    <a:pt x="11595400" y="1534031"/>
                    <a:pt x="11595400" y="1534031"/>
                    <a:pt x="11580939" y="1548572"/>
                  </a:cubicBezTo>
                  <a:cubicBezTo>
                    <a:pt x="11580939" y="1548572"/>
                    <a:pt x="11580939" y="1548572"/>
                    <a:pt x="11559248" y="1570383"/>
                  </a:cubicBezTo>
                  <a:cubicBezTo>
                    <a:pt x="11559248" y="1570383"/>
                    <a:pt x="11559248" y="1570383"/>
                    <a:pt x="11602630" y="1570383"/>
                  </a:cubicBezTo>
                  <a:cubicBezTo>
                    <a:pt x="11602630" y="1570383"/>
                    <a:pt x="11602630" y="1570383"/>
                    <a:pt x="11624321" y="1570383"/>
                  </a:cubicBezTo>
                  <a:close/>
                  <a:moveTo>
                    <a:pt x="2090392" y="1526318"/>
                  </a:moveTo>
                  <a:cubicBezTo>
                    <a:pt x="2083163" y="1526318"/>
                    <a:pt x="2075934" y="1526318"/>
                    <a:pt x="2075934" y="1540864"/>
                  </a:cubicBezTo>
                  <a:cubicBezTo>
                    <a:pt x="2075934" y="1540864"/>
                    <a:pt x="2068706" y="1548137"/>
                    <a:pt x="2068706" y="1548137"/>
                  </a:cubicBezTo>
                  <a:cubicBezTo>
                    <a:pt x="2068706" y="1548137"/>
                    <a:pt x="2068706" y="1548137"/>
                    <a:pt x="2068706" y="1577229"/>
                  </a:cubicBezTo>
                  <a:cubicBezTo>
                    <a:pt x="2068706" y="1577229"/>
                    <a:pt x="2068706" y="1577229"/>
                    <a:pt x="2061477" y="1606320"/>
                  </a:cubicBezTo>
                  <a:cubicBezTo>
                    <a:pt x="2061477" y="1606320"/>
                    <a:pt x="2061477" y="1606320"/>
                    <a:pt x="2054248" y="1628139"/>
                  </a:cubicBezTo>
                  <a:cubicBezTo>
                    <a:pt x="2054248" y="1628139"/>
                    <a:pt x="2054248" y="1628139"/>
                    <a:pt x="2054248" y="1657231"/>
                  </a:cubicBezTo>
                  <a:cubicBezTo>
                    <a:pt x="2054248" y="1657231"/>
                    <a:pt x="2054248" y="1657231"/>
                    <a:pt x="2039790" y="1729960"/>
                  </a:cubicBezTo>
                  <a:cubicBezTo>
                    <a:pt x="2039790" y="1729960"/>
                    <a:pt x="2039790" y="1729960"/>
                    <a:pt x="2032562" y="1766325"/>
                  </a:cubicBezTo>
                  <a:cubicBezTo>
                    <a:pt x="2032562" y="1766325"/>
                    <a:pt x="2039790" y="1766325"/>
                    <a:pt x="2047019" y="1773598"/>
                  </a:cubicBezTo>
                  <a:cubicBezTo>
                    <a:pt x="2050634" y="1773598"/>
                    <a:pt x="2054248" y="1775416"/>
                    <a:pt x="2057862" y="1777234"/>
                  </a:cubicBezTo>
                  <a:lnTo>
                    <a:pt x="2061477" y="1778446"/>
                  </a:lnTo>
                  <a:lnTo>
                    <a:pt x="2061477" y="1780871"/>
                  </a:lnTo>
                  <a:cubicBezTo>
                    <a:pt x="2068706" y="1780871"/>
                    <a:pt x="2068706" y="1780871"/>
                    <a:pt x="2068706" y="1780871"/>
                  </a:cubicBezTo>
                  <a:lnTo>
                    <a:pt x="2061477" y="1778446"/>
                  </a:lnTo>
                  <a:lnTo>
                    <a:pt x="2061477" y="1778143"/>
                  </a:lnTo>
                  <a:cubicBezTo>
                    <a:pt x="2061477" y="1775416"/>
                    <a:pt x="2061477" y="1769961"/>
                    <a:pt x="2061477" y="1759052"/>
                  </a:cubicBezTo>
                  <a:cubicBezTo>
                    <a:pt x="2061477" y="1751779"/>
                    <a:pt x="2068706" y="1744506"/>
                    <a:pt x="2083163" y="1744506"/>
                  </a:cubicBezTo>
                  <a:cubicBezTo>
                    <a:pt x="2083163" y="1744506"/>
                    <a:pt x="2083163" y="1744506"/>
                    <a:pt x="2090392" y="1693596"/>
                  </a:cubicBezTo>
                  <a:cubicBezTo>
                    <a:pt x="2090392" y="1693596"/>
                    <a:pt x="2090392" y="1693596"/>
                    <a:pt x="2090392" y="1679050"/>
                  </a:cubicBezTo>
                  <a:cubicBezTo>
                    <a:pt x="2090392" y="1664504"/>
                    <a:pt x="2097621" y="1649958"/>
                    <a:pt x="2097621" y="1635412"/>
                  </a:cubicBezTo>
                  <a:lnTo>
                    <a:pt x="2104850" y="1533591"/>
                  </a:lnTo>
                  <a:cubicBezTo>
                    <a:pt x="2097621" y="1526318"/>
                    <a:pt x="2097621" y="1526318"/>
                    <a:pt x="2090392" y="1526318"/>
                  </a:cubicBezTo>
                  <a:close/>
                  <a:moveTo>
                    <a:pt x="11783390" y="1490409"/>
                  </a:moveTo>
                  <a:lnTo>
                    <a:pt x="11776159" y="1504950"/>
                  </a:lnTo>
                  <a:cubicBezTo>
                    <a:pt x="11776159" y="1504950"/>
                    <a:pt x="11776159" y="1504950"/>
                    <a:pt x="11761699" y="1519491"/>
                  </a:cubicBezTo>
                  <a:cubicBezTo>
                    <a:pt x="11761699" y="1519491"/>
                    <a:pt x="11761699" y="1519491"/>
                    <a:pt x="11797851" y="1555842"/>
                  </a:cubicBezTo>
                  <a:cubicBezTo>
                    <a:pt x="11790620" y="1541302"/>
                    <a:pt x="11790620" y="1534031"/>
                    <a:pt x="11790620" y="1519491"/>
                  </a:cubicBezTo>
                  <a:cubicBezTo>
                    <a:pt x="11790620" y="1512220"/>
                    <a:pt x="11790620" y="1497680"/>
                    <a:pt x="11790620" y="1490409"/>
                  </a:cubicBezTo>
                  <a:cubicBezTo>
                    <a:pt x="11790620" y="1490409"/>
                    <a:pt x="11790620" y="1490409"/>
                    <a:pt x="11783390" y="1490409"/>
                  </a:cubicBezTo>
                  <a:close/>
                  <a:moveTo>
                    <a:pt x="11711086" y="1490409"/>
                  </a:moveTo>
                  <a:cubicBezTo>
                    <a:pt x="11711086" y="1490409"/>
                    <a:pt x="11711086" y="1490409"/>
                    <a:pt x="11718316" y="1512220"/>
                  </a:cubicBezTo>
                  <a:cubicBezTo>
                    <a:pt x="11718316" y="1512220"/>
                    <a:pt x="11718316" y="1512220"/>
                    <a:pt x="11718316" y="1534031"/>
                  </a:cubicBezTo>
                  <a:cubicBezTo>
                    <a:pt x="11718316" y="1534031"/>
                    <a:pt x="11718316" y="1534031"/>
                    <a:pt x="11718316" y="1555842"/>
                  </a:cubicBezTo>
                  <a:lnTo>
                    <a:pt x="11725547" y="1541302"/>
                  </a:lnTo>
                  <a:cubicBezTo>
                    <a:pt x="11725547" y="1541302"/>
                    <a:pt x="11725547" y="1541302"/>
                    <a:pt x="11740007" y="1534031"/>
                  </a:cubicBezTo>
                  <a:cubicBezTo>
                    <a:pt x="11740007" y="1534031"/>
                    <a:pt x="11740007" y="1534031"/>
                    <a:pt x="11747238" y="1519491"/>
                  </a:cubicBezTo>
                  <a:cubicBezTo>
                    <a:pt x="11747238" y="1519491"/>
                    <a:pt x="11747238" y="1519491"/>
                    <a:pt x="11732777" y="1504950"/>
                  </a:cubicBezTo>
                  <a:cubicBezTo>
                    <a:pt x="11732777" y="1504950"/>
                    <a:pt x="11732777" y="1504950"/>
                    <a:pt x="11711086" y="1490409"/>
                  </a:cubicBezTo>
                  <a:close/>
                  <a:moveTo>
                    <a:pt x="11703856" y="1490409"/>
                  </a:moveTo>
                  <a:lnTo>
                    <a:pt x="11696625" y="1497680"/>
                  </a:lnTo>
                  <a:cubicBezTo>
                    <a:pt x="11696625" y="1497680"/>
                    <a:pt x="11696625" y="1497680"/>
                    <a:pt x="11689395" y="1512220"/>
                  </a:cubicBezTo>
                  <a:cubicBezTo>
                    <a:pt x="11689395" y="1512220"/>
                    <a:pt x="11689395" y="1512220"/>
                    <a:pt x="11682164" y="1519491"/>
                  </a:cubicBezTo>
                  <a:cubicBezTo>
                    <a:pt x="11682164" y="1519491"/>
                    <a:pt x="11682164" y="1519491"/>
                    <a:pt x="11703856" y="1555842"/>
                  </a:cubicBezTo>
                  <a:cubicBezTo>
                    <a:pt x="11703856" y="1555842"/>
                    <a:pt x="11703856" y="1555842"/>
                    <a:pt x="11703856" y="1519491"/>
                  </a:cubicBezTo>
                  <a:cubicBezTo>
                    <a:pt x="11703856" y="1519491"/>
                    <a:pt x="11703856" y="1519491"/>
                    <a:pt x="11703856" y="1497680"/>
                  </a:cubicBezTo>
                  <a:cubicBezTo>
                    <a:pt x="11703856" y="1497680"/>
                    <a:pt x="11703856" y="1497680"/>
                    <a:pt x="11703856" y="1490409"/>
                  </a:cubicBezTo>
                  <a:close/>
                  <a:moveTo>
                    <a:pt x="11646013" y="1490409"/>
                  </a:moveTo>
                  <a:cubicBezTo>
                    <a:pt x="11646013" y="1490409"/>
                    <a:pt x="11646013" y="1490409"/>
                    <a:pt x="11646013" y="1512220"/>
                  </a:cubicBezTo>
                  <a:cubicBezTo>
                    <a:pt x="11646013" y="1512220"/>
                    <a:pt x="11646013" y="1512220"/>
                    <a:pt x="11646013" y="1548572"/>
                  </a:cubicBezTo>
                  <a:cubicBezTo>
                    <a:pt x="11646013" y="1548572"/>
                    <a:pt x="11646013" y="1548572"/>
                    <a:pt x="11660473" y="1526761"/>
                  </a:cubicBezTo>
                  <a:cubicBezTo>
                    <a:pt x="11660473" y="1526761"/>
                    <a:pt x="11660473" y="1526761"/>
                    <a:pt x="11667704" y="1519491"/>
                  </a:cubicBezTo>
                  <a:close/>
                  <a:moveTo>
                    <a:pt x="11559248" y="1490409"/>
                  </a:moveTo>
                  <a:cubicBezTo>
                    <a:pt x="11559248" y="1504950"/>
                    <a:pt x="11552018" y="1512220"/>
                    <a:pt x="11552018" y="1526761"/>
                  </a:cubicBezTo>
                  <a:cubicBezTo>
                    <a:pt x="11552018" y="1534031"/>
                    <a:pt x="11552018" y="1548572"/>
                    <a:pt x="11552018" y="1555842"/>
                  </a:cubicBezTo>
                  <a:cubicBezTo>
                    <a:pt x="11552018" y="1555842"/>
                    <a:pt x="11552018" y="1555842"/>
                    <a:pt x="11566478" y="1541302"/>
                  </a:cubicBezTo>
                  <a:cubicBezTo>
                    <a:pt x="11566478" y="1541302"/>
                    <a:pt x="11566478" y="1541302"/>
                    <a:pt x="11580939" y="1519491"/>
                  </a:cubicBezTo>
                  <a:cubicBezTo>
                    <a:pt x="11580939" y="1519491"/>
                    <a:pt x="11580939" y="1519491"/>
                    <a:pt x="11559248" y="1490409"/>
                  </a:cubicBezTo>
                  <a:close/>
                  <a:moveTo>
                    <a:pt x="2037079" y="1489953"/>
                  </a:moveTo>
                  <a:cubicBezTo>
                    <a:pt x="2025332" y="1484499"/>
                    <a:pt x="2010875" y="1489953"/>
                    <a:pt x="2003646" y="1511772"/>
                  </a:cubicBezTo>
                  <a:cubicBezTo>
                    <a:pt x="2003646" y="1511772"/>
                    <a:pt x="2003646" y="1511772"/>
                    <a:pt x="1996418" y="1577229"/>
                  </a:cubicBezTo>
                  <a:cubicBezTo>
                    <a:pt x="1996418" y="1577229"/>
                    <a:pt x="1996418" y="1577229"/>
                    <a:pt x="1989188" y="1591775"/>
                  </a:cubicBezTo>
                  <a:cubicBezTo>
                    <a:pt x="1989188" y="1591775"/>
                    <a:pt x="1989188" y="1591775"/>
                    <a:pt x="1981959" y="1620866"/>
                  </a:cubicBezTo>
                  <a:cubicBezTo>
                    <a:pt x="1981959" y="1620866"/>
                    <a:pt x="1981959" y="1620866"/>
                    <a:pt x="1981959" y="1628139"/>
                  </a:cubicBezTo>
                  <a:cubicBezTo>
                    <a:pt x="1981959" y="1628139"/>
                    <a:pt x="1981959" y="1628139"/>
                    <a:pt x="1974730" y="1657231"/>
                  </a:cubicBezTo>
                  <a:cubicBezTo>
                    <a:pt x="1974730" y="1657231"/>
                    <a:pt x="1974730" y="1657231"/>
                    <a:pt x="1974730" y="1686323"/>
                  </a:cubicBezTo>
                  <a:cubicBezTo>
                    <a:pt x="1974730" y="1686323"/>
                    <a:pt x="1974730" y="1686323"/>
                    <a:pt x="1960273" y="1729960"/>
                  </a:cubicBezTo>
                  <a:cubicBezTo>
                    <a:pt x="1974730" y="1737233"/>
                    <a:pt x="1989188" y="1744506"/>
                    <a:pt x="2003646" y="1751779"/>
                  </a:cubicBezTo>
                  <a:cubicBezTo>
                    <a:pt x="2010875" y="1751779"/>
                    <a:pt x="2010875" y="1751779"/>
                    <a:pt x="2010875" y="1751779"/>
                  </a:cubicBezTo>
                  <a:cubicBezTo>
                    <a:pt x="2010875" y="1751779"/>
                    <a:pt x="2010875" y="1751779"/>
                    <a:pt x="2018103" y="1744506"/>
                  </a:cubicBezTo>
                  <a:lnTo>
                    <a:pt x="2032562" y="1642685"/>
                  </a:lnTo>
                  <a:cubicBezTo>
                    <a:pt x="2032562" y="1642685"/>
                    <a:pt x="2032562" y="1642685"/>
                    <a:pt x="2039790" y="1620866"/>
                  </a:cubicBezTo>
                  <a:cubicBezTo>
                    <a:pt x="2039790" y="1620866"/>
                    <a:pt x="2039790" y="1620866"/>
                    <a:pt x="2047019" y="1584502"/>
                  </a:cubicBezTo>
                  <a:cubicBezTo>
                    <a:pt x="2047019" y="1584502"/>
                    <a:pt x="2047019" y="1584502"/>
                    <a:pt x="2054248" y="1555410"/>
                  </a:cubicBezTo>
                  <a:cubicBezTo>
                    <a:pt x="2054248" y="1555410"/>
                    <a:pt x="2054248" y="1555410"/>
                    <a:pt x="2054248" y="1533591"/>
                  </a:cubicBezTo>
                  <a:cubicBezTo>
                    <a:pt x="2057862" y="1511772"/>
                    <a:pt x="2048826" y="1495408"/>
                    <a:pt x="2037079" y="1489953"/>
                  </a:cubicBezTo>
                  <a:close/>
                  <a:moveTo>
                    <a:pt x="11725547" y="1475869"/>
                  </a:moveTo>
                  <a:cubicBezTo>
                    <a:pt x="11725547" y="1475869"/>
                    <a:pt x="11725547" y="1475869"/>
                    <a:pt x="11754468" y="1512220"/>
                  </a:cubicBezTo>
                  <a:lnTo>
                    <a:pt x="11761699" y="1497680"/>
                  </a:lnTo>
                  <a:cubicBezTo>
                    <a:pt x="11761699" y="1497680"/>
                    <a:pt x="11761699" y="1497680"/>
                    <a:pt x="11776159" y="1483139"/>
                  </a:cubicBezTo>
                  <a:cubicBezTo>
                    <a:pt x="11776159" y="1483139"/>
                    <a:pt x="11776159" y="1483139"/>
                    <a:pt x="11776159" y="1475869"/>
                  </a:cubicBezTo>
                  <a:cubicBezTo>
                    <a:pt x="11776159" y="1475869"/>
                    <a:pt x="11776159" y="1475869"/>
                    <a:pt x="11747238" y="1475869"/>
                  </a:cubicBezTo>
                  <a:cubicBezTo>
                    <a:pt x="11747238" y="1475869"/>
                    <a:pt x="11747238" y="1475869"/>
                    <a:pt x="11725547" y="1475869"/>
                  </a:cubicBezTo>
                  <a:close/>
                  <a:moveTo>
                    <a:pt x="11653243" y="1475869"/>
                  </a:moveTo>
                  <a:cubicBezTo>
                    <a:pt x="11653243" y="1475869"/>
                    <a:pt x="11653243" y="1475869"/>
                    <a:pt x="11674934" y="1512220"/>
                  </a:cubicBezTo>
                  <a:cubicBezTo>
                    <a:pt x="11674934" y="1512220"/>
                    <a:pt x="11674934" y="1512220"/>
                    <a:pt x="11682164" y="1497680"/>
                  </a:cubicBezTo>
                  <a:cubicBezTo>
                    <a:pt x="11682164" y="1497680"/>
                    <a:pt x="11682164" y="1497680"/>
                    <a:pt x="11689395" y="1483139"/>
                  </a:cubicBezTo>
                  <a:cubicBezTo>
                    <a:pt x="11689395" y="1483139"/>
                    <a:pt x="11689395" y="1483139"/>
                    <a:pt x="11696625" y="1475869"/>
                  </a:cubicBezTo>
                  <a:cubicBezTo>
                    <a:pt x="11696625" y="1475869"/>
                    <a:pt x="11696625" y="1475869"/>
                    <a:pt x="11682164" y="1475869"/>
                  </a:cubicBezTo>
                  <a:cubicBezTo>
                    <a:pt x="11682164" y="1475869"/>
                    <a:pt x="11682164" y="1475869"/>
                    <a:pt x="11653243" y="1475869"/>
                  </a:cubicBezTo>
                  <a:close/>
                  <a:moveTo>
                    <a:pt x="11609861" y="1475869"/>
                  </a:moveTo>
                  <a:cubicBezTo>
                    <a:pt x="11609861" y="1475869"/>
                    <a:pt x="11609861" y="1475869"/>
                    <a:pt x="11573709" y="1483139"/>
                  </a:cubicBezTo>
                  <a:lnTo>
                    <a:pt x="11566478" y="1483139"/>
                  </a:lnTo>
                  <a:cubicBezTo>
                    <a:pt x="11566478" y="1483139"/>
                    <a:pt x="11566478" y="1483139"/>
                    <a:pt x="11595400" y="1512220"/>
                  </a:cubicBezTo>
                  <a:cubicBezTo>
                    <a:pt x="11595400" y="1512220"/>
                    <a:pt x="11595400" y="1512220"/>
                    <a:pt x="11595400" y="1504950"/>
                  </a:cubicBezTo>
                  <a:cubicBezTo>
                    <a:pt x="11595400" y="1504950"/>
                    <a:pt x="11595400" y="1504950"/>
                    <a:pt x="11617091" y="1483139"/>
                  </a:cubicBezTo>
                  <a:cubicBezTo>
                    <a:pt x="11617091" y="1483139"/>
                    <a:pt x="11617091" y="1483139"/>
                    <a:pt x="11624321" y="1475869"/>
                  </a:cubicBezTo>
                  <a:cubicBezTo>
                    <a:pt x="11624321" y="1475869"/>
                    <a:pt x="11624321" y="1475869"/>
                    <a:pt x="11609861" y="1475869"/>
                  </a:cubicBezTo>
                  <a:close/>
                  <a:moveTo>
                    <a:pt x="4454229" y="1468135"/>
                  </a:moveTo>
                  <a:cubicBezTo>
                    <a:pt x="4454229" y="1468135"/>
                    <a:pt x="4447000" y="1475408"/>
                    <a:pt x="4447000" y="1475408"/>
                  </a:cubicBezTo>
                  <a:cubicBezTo>
                    <a:pt x="4447000" y="1475408"/>
                    <a:pt x="4447000" y="1482681"/>
                    <a:pt x="4447000" y="1482681"/>
                  </a:cubicBezTo>
                  <a:lnTo>
                    <a:pt x="4447000" y="1519045"/>
                  </a:lnTo>
                  <a:cubicBezTo>
                    <a:pt x="4447000" y="1519045"/>
                    <a:pt x="4454229" y="1519045"/>
                    <a:pt x="4454229" y="1519045"/>
                  </a:cubicBezTo>
                  <a:cubicBezTo>
                    <a:pt x="4454229" y="1511772"/>
                    <a:pt x="4461458" y="1511772"/>
                    <a:pt x="4468687" y="1511772"/>
                  </a:cubicBezTo>
                  <a:cubicBezTo>
                    <a:pt x="4475916" y="1511772"/>
                    <a:pt x="4475916" y="1511772"/>
                    <a:pt x="4475916" y="1511772"/>
                  </a:cubicBezTo>
                  <a:cubicBezTo>
                    <a:pt x="4483144" y="1519045"/>
                    <a:pt x="4490373" y="1519045"/>
                    <a:pt x="4490373" y="1519045"/>
                  </a:cubicBezTo>
                  <a:cubicBezTo>
                    <a:pt x="4490373" y="1519045"/>
                    <a:pt x="4490373" y="1519045"/>
                    <a:pt x="4490373" y="1511772"/>
                  </a:cubicBezTo>
                  <a:cubicBezTo>
                    <a:pt x="4490373" y="1511772"/>
                    <a:pt x="4490373" y="1511772"/>
                    <a:pt x="4490373" y="1482681"/>
                  </a:cubicBezTo>
                  <a:cubicBezTo>
                    <a:pt x="4490373" y="1475408"/>
                    <a:pt x="4490373" y="1475408"/>
                    <a:pt x="4483144" y="1475408"/>
                  </a:cubicBezTo>
                  <a:cubicBezTo>
                    <a:pt x="4483144" y="1468135"/>
                    <a:pt x="4483144" y="1468135"/>
                    <a:pt x="4483144" y="1468135"/>
                  </a:cubicBezTo>
                  <a:cubicBezTo>
                    <a:pt x="4475916" y="1468135"/>
                    <a:pt x="4468687" y="1475408"/>
                    <a:pt x="4468687" y="1482681"/>
                  </a:cubicBezTo>
                  <a:cubicBezTo>
                    <a:pt x="4468687" y="1475408"/>
                    <a:pt x="4461458" y="1475408"/>
                    <a:pt x="4461458" y="1475408"/>
                  </a:cubicBezTo>
                  <a:cubicBezTo>
                    <a:pt x="4461458" y="1468135"/>
                    <a:pt x="4454229" y="1468135"/>
                    <a:pt x="4454229" y="1468135"/>
                  </a:cubicBezTo>
                  <a:close/>
                  <a:moveTo>
                    <a:pt x="2733761" y="1468135"/>
                  </a:moveTo>
                  <a:cubicBezTo>
                    <a:pt x="2726532" y="1468135"/>
                    <a:pt x="2726532" y="1468135"/>
                    <a:pt x="2726532" y="1475408"/>
                  </a:cubicBezTo>
                  <a:lnTo>
                    <a:pt x="2726532" y="1511772"/>
                  </a:lnTo>
                  <a:cubicBezTo>
                    <a:pt x="2726532" y="1511772"/>
                    <a:pt x="2733761" y="1511772"/>
                    <a:pt x="2733761" y="1511772"/>
                  </a:cubicBezTo>
                  <a:lnTo>
                    <a:pt x="2748157" y="1511772"/>
                  </a:lnTo>
                  <a:lnTo>
                    <a:pt x="2748157" y="1494799"/>
                  </a:lnTo>
                  <a:cubicBezTo>
                    <a:pt x="2748157" y="1482292"/>
                    <a:pt x="2748157" y="1482292"/>
                    <a:pt x="2748157" y="1482292"/>
                  </a:cubicBezTo>
                  <a:cubicBezTo>
                    <a:pt x="2748157" y="1478586"/>
                    <a:pt x="2748157" y="1476733"/>
                    <a:pt x="2748157" y="1475807"/>
                  </a:cubicBezTo>
                  <a:lnTo>
                    <a:pt x="2748157" y="1475300"/>
                  </a:lnTo>
                  <a:lnTo>
                    <a:pt x="2744604" y="1469044"/>
                  </a:lnTo>
                  <a:cubicBezTo>
                    <a:pt x="2742797" y="1468135"/>
                    <a:pt x="2740990" y="1468135"/>
                    <a:pt x="2740990" y="1468135"/>
                  </a:cubicBezTo>
                  <a:cubicBezTo>
                    <a:pt x="2740990" y="1468135"/>
                    <a:pt x="2733761" y="1468135"/>
                    <a:pt x="2733761" y="1468135"/>
                  </a:cubicBezTo>
                  <a:close/>
                  <a:moveTo>
                    <a:pt x="2083163" y="1460862"/>
                  </a:moveTo>
                  <a:cubicBezTo>
                    <a:pt x="2083163" y="1460862"/>
                    <a:pt x="2083163" y="1460862"/>
                    <a:pt x="2083163" y="1475408"/>
                  </a:cubicBezTo>
                  <a:cubicBezTo>
                    <a:pt x="2090392" y="1475408"/>
                    <a:pt x="2097621" y="1482681"/>
                    <a:pt x="2104850" y="1482681"/>
                  </a:cubicBezTo>
                  <a:lnTo>
                    <a:pt x="2104850" y="1475408"/>
                  </a:lnTo>
                  <a:cubicBezTo>
                    <a:pt x="2104850" y="1475408"/>
                    <a:pt x="2104850" y="1475408"/>
                    <a:pt x="2097621" y="1468135"/>
                  </a:cubicBezTo>
                  <a:cubicBezTo>
                    <a:pt x="2097621" y="1468135"/>
                    <a:pt x="2097621" y="1468135"/>
                    <a:pt x="2083163" y="1460862"/>
                  </a:cubicBezTo>
                  <a:close/>
                  <a:moveTo>
                    <a:pt x="1960273" y="1453589"/>
                  </a:moveTo>
                  <a:cubicBezTo>
                    <a:pt x="1945815" y="1453589"/>
                    <a:pt x="1938586" y="1453589"/>
                    <a:pt x="1931357" y="1468135"/>
                  </a:cubicBezTo>
                  <a:cubicBezTo>
                    <a:pt x="1931357" y="1475408"/>
                    <a:pt x="1931357" y="1475408"/>
                    <a:pt x="1924128" y="1482681"/>
                  </a:cubicBezTo>
                  <a:cubicBezTo>
                    <a:pt x="1924128" y="1482681"/>
                    <a:pt x="1924128" y="1482681"/>
                    <a:pt x="1924128" y="1504499"/>
                  </a:cubicBezTo>
                  <a:cubicBezTo>
                    <a:pt x="1924128" y="1504499"/>
                    <a:pt x="1924128" y="1504499"/>
                    <a:pt x="1916899" y="1540864"/>
                  </a:cubicBezTo>
                  <a:cubicBezTo>
                    <a:pt x="1916899" y="1540864"/>
                    <a:pt x="1916899" y="1540864"/>
                    <a:pt x="1902442" y="1591775"/>
                  </a:cubicBezTo>
                  <a:cubicBezTo>
                    <a:pt x="1902442" y="1591775"/>
                    <a:pt x="1902442" y="1591775"/>
                    <a:pt x="1895213" y="1642685"/>
                  </a:cubicBezTo>
                  <a:cubicBezTo>
                    <a:pt x="1895213" y="1642685"/>
                    <a:pt x="1895213" y="1642685"/>
                    <a:pt x="1887984" y="1657231"/>
                  </a:cubicBezTo>
                  <a:cubicBezTo>
                    <a:pt x="1887984" y="1657231"/>
                    <a:pt x="1887984" y="1657231"/>
                    <a:pt x="1880755" y="1693596"/>
                  </a:cubicBezTo>
                  <a:lnTo>
                    <a:pt x="1880755" y="1700869"/>
                  </a:lnTo>
                  <a:cubicBezTo>
                    <a:pt x="1887984" y="1700869"/>
                    <a:pt x="1895213" y="1708141"/>
                    <a:pt x="1902442" y="1708141"/>
                  </a:cubicBezTo>
                  <a:cubicBezTo>
                    <a:pt x="1909671" y="1708141"/>
                    <a:pt x="1916899" y="1715414"/>
                    <a:pt x="1924128" y="1715414"/>
                  </a:cubicBezTo>
                  <a:cubicBezTo>
                    <a:pt x="1931357" y="1715414"/>
                    <a:pt x="1938586" y="1722687"/>
                    <a:pt x="1938586" y="1722687"/>
                  </a:cubicBezTo>
                  <a:cubicBezTo>
                    <a:pt x="1938586" y="1722687"/>
                    <a:pt x="1938586" y="1722687"/>
                    <a:pt x="1945815" y="1700869"/>
                  </a:cubicBezTo>
                  <a:cubicBezTo>
                    <a:pt x="1945815" y="1700869"/>
                    <a:pt x="1945815" y="1700869"/>
                    <a:pt x="1953044" y="1679050"/>
                  </a:cubicBezTo>
                  <a:cubicBezTo>
                    <a:pt x="1953044" y="1679050"/>
                    <a:pt x="1953044" y="1679050"/>
                    <a:pt x="1960273" y="1642685"/>
                  </a:cubicBezTo>
                  <a:cubicBezTo>
                    <a:pt x="1960273" y="1642685"/>
                    <a:pt x="1960273" y="1642685"/>
                    <a:pt x="1967501" y="1613593"/>
                  </a:cubicBezTo>
                  <a:cubicBezTo>
                    <a:pt x="1967501" y="1613593"/>
                    <a:pt x="1967501" y="1613593"/>
                    <a:pt x="1967501" y="1606320"/>
                  </a:cubicBezTo>
                  <a:cubicBezTo>
                    <a:pt x="1967501" y="1606320"/>
                    <a:pt x="1967501" y="1606320"/>
                    <a:pt x="1967501" y="1591775"/>
                  </a:cubicBezTo>
                  <a:cubicBezTo>
                    <a:pt x="1974730" y="1562683"/>
                    <a:pt x="1981959" y="1533591"/>
                    <a:pt x="1989188" y="1504499"/>
                  </a:cubicBezTo>
                  <a:cubicBezTo>
                    <a:pt x="1989188" y="1497227"/>
                    <a:pt x="1989188" y="1497227"/>
                    <a:pt x="1989188" y="1497227"/>
                  </a:cubicBezTo>
                  <a:cubicBezTo>
                    <a:pt x="1989188" y="1482681"/>
                    <a:pt x="1989188" y="1475408"/>
                    <a:pt x="1981959" y="1468135"/>
                  </a:cubicBezTo>
                  <a:cubicBezTo>
                    <a:pt x="1974730" y="1460862"/>
                    <a:pt x="1967501" y="1453589"/>
                    <a:pt x="1960273" y="1453589"/>
                  </a:cubicBezTo>
                  <a:close/>
                  <a:moveTo>
                    <a:pt x="11747238" y="1439517"/>
                  </a:moveTo>
                  <a:cubicBezTo>
                    <a:pt x="11747238" y="1439517"/>
                    <a:pt x="11747238" y="1439517"/>
                    <a:pt x="11740007" y="1446788"/>
                  </a:cubicBezTo>
                  <a:cubicBezTo>
                    <a:pt x="11740007" y="1446788"/>
                    <a:pt x="11740007" y="1446788"/>
                    <a:pt x="11725547" y="1461328"/>
                  </a:cubicBezTo>
                  <a:cubicBezTo>
                    <a:pt x="11725547" y="1461328"/>
                    <a:pt x="11725547" y="1461328"/>
                    <a:pt x="11732777" y="1461328"/>
                  </a:cubicBezTo>
                  <a:cubicBezTo>
                    <a:pt x="11732777" y="1461328"/>
                    <a:pt x="11732777" y="1461328"/>
                    <a:pt x="11761699" y="1461328"/>
                  </a:cubicBezTo>
                  <a:lnTo>
                    <a:pt x="11776159" y="1461328"/>
                  </a:lnTo>
                  <a:cubicBezTo>
                    <a:pt x="11776159" y="1461328"/>
                    <a:pt x="11776159" y="1461328"/>
                    <a:pt x="11747238" y="1439517"/>
                  </a:cubicBezTo>
                  <a:close/>
                  <a:moveTo>
                    <a:pt x="11674934" y="1439517"/>
                  </a:moveTo>
                  <a:lnTo>
                    <a:pt x="11667704" y="1446788"/>
                  </a:lnTo>
                  <a:cubicBezTo>
                    <a:pt x="11667704" y="1446788"/>
                    <a:pt x="11667704" y="1446788"/>
                    <a:pt x="11660473" y="1461328"/>
                  </a:cubicBezTo>
                  <a:cubicBezTo>
                    <a:pt x="11660473" y="1461328"/>
                    <a:pt x="11660473" y="1461328"/>
                    <a:pt x="11653243" y="1468599"/>
                  </a:cubicBezTo>
                  <a:cubicBezTo>
                    <a:pt x="11653243" y="1468599"/>
                    <a:pt x="11653243" y="1468599"/>
                    <a:pt x="11667704" y="1461328"/>
                  </a:cubicBezTo>
                  <a:cubicBezTo>
                    <a:pt x="11667704" y="1461328"/>
                    <a:pt x="11667704" y="1461328"/>
                    <a:pt x="11689395" y="1461328"/>
                  </a:cubicBezTo>
                  <a:cubicBezTo>
                    <a:pt x="11689395" y="1461328"/>
                    <a:pt x="11689395" y="1461328"/>
                    <a:pt x="11674934" y="1439517"/>
                  </a:cubicBezTo>
                  <a:close/>
                  <a:moveTo>
                    <a:pt x="11595400" y="1439517"/>
                  </a:moveTo>
                  <a:cubicBezTo>
                    <a:pt x="11595400" y="1439517"/>
                    <a:pt x="11595400" y="1439517"/>
                    <a:pt x="11580939" y="1454058"/>
                  </a:cubicBezTo>
                  <a:cubicBezTo>
                    <a:pt x="11580939" y="1454058"/>
                    <a:pt x="11580939" y="1454058"/>
                    <a:pt x="11566478" y="1468599"/>
                  </a:cubicBezTo>
                  <a:cubicBezTo>
                    <a:pt x="11566478" y="1468599"/>
                    <a:pt x="11566478" y="1468599"/>
                    <a:pt x="11595400" y="1468599"/>
                  </a:cubicBezTo>
                  <a:cubicBezTo>
                    <a:pt x="11595400" y="1468599"/>
                    <a:pt x="11595400" y="1468599"/>
                    <a:pt x="11624321" y="1468599"/>
                  </a:cubicBezTo>
                  <a:close/>
                  <a:moveTo>
                    <a:pt x="1503047" y="1437225"/>
                  </a:moveTo>
                  <a:cubicBezTo>
                    <a:pt x="1495819" y="1439043"/>
                    <a:pt x="1486782" y="1449952"/>
                    <a:pt x="1483168" y="1468135"/>
                  </a:cubicBezTo>
                  <a:cubicBezTo>
                    <a:pt x="1483168" y="1468135"/>
                    <a:pt x="1483168" y="1468135"/>
                    <a:pt x="1475939" y="1482681"/>
                  </a:cubicBezTo>
                  <a:cubicBezTo>
                    <a:pt x="1475939" y="1497227"/>
                    <a:pt x="1468710" y="1519045"/>
                    <a:pt x="1461481" y="1533591"/>
                  </a:cubicBezTo>
                  <a:cubicBezTo>
                    <a:pt x="1461481" y="1533591"/>
                    <a:pt x="1461481" y="1533591"/>
                    <a:pt x="1454252" y="1569956"/>
                  </a:cubicBezTo>
                  <a:cubicBezTo>
                    <a:pt x="1454252" y="1569956"/>
                    <a:pt x="1454252" y="1569956"/>
                    <a:pt x="1439795" y="1613593"/>
                  </a:cubicBezTo>
                  <a:lnTo>
                    <a:pt x="1425337" y="1671777"/>
                  </a:lnTo>
                  <a:cubicBezTo>
                    <a:pt x="1432566" y="1671777"/>
                    <a:pt x="1439795" y="1664504"/>
                    <a:pt x="1447024" y="1664504"/>
                  </a:cubicBezTo>
                  <a:cubicBezTo>
                    <a:pt x="1447024" y="1664504"/>
                    <a:pt x="1447024" y="1664504"/>
                    <a:pt x="1468710" y="1591775"/>
                  </a:cubicBezTo>
                  <a:cubicBezTo>
                    <a:pt x="1468710" y="1591775"/>
                    <a:pt x="1468710" y="1591775"/>
                    <a:pt x="1475939" y="1562683"/>
                  </a:cubicBezTo>
                  <a:cubicBezTo>
                    <a:pt x="1475939" y="1562683"/>
                    <a:pt x="1475939" y="1562683"/>
                    <a:pt x="1483168" y="1548137"/>
                  </a:cubicBezTo>
                  <a:cubicBezTo>
                    <a:pt x="1483168" y="1548137"/>
                    <a:pt x="1483168" y="1548137"/>
                    <a:pt x="1490397" y="1519045"/>
                  </a:cubicBezTo>
                  <a:cubicBezTo>
                    <a:pt x="1490397" y="1519045"/>
                    <a:pt x="1490397" y="1519045"/>
                    <a:pt x="1512083" y="1460862"/>
                  </a:cubicBezTo>
                  <a:cubicBezTo>
                    <a:pt x="1515698" y="1442680"/>
                    <a:pt x="1510276" y="1435407"/>
                    <a:pt x="1503047" y="1437225"/>
                  </a:cubicBezTo>
                  <a:close/>
                  <a:moveTo>
                    <a:pt x="4092787" y="1424497"/>
                  </a:moveTo>
                  <a:cubicBezTo>
                    <a:pt x="4092787" y="1424497"/>
                    <a:pt x="4085557" y="1431770"/>
                    <a:pt x="4085557" y="1446316"/>
                  </a:cubicBezTo>
                  <a:lnTo>
                    <a:pt x="4085557" y="1497227"/>
                  </a:lnTo>
                  <a:cubicBezTo>
                    <a:pt x="4085557" y="1497227"/>
                    <a:pt x="4085557" y="1497227"/>
                    <a:pt x="4092787" y="1497227"/>
                  </a:cubicBezTo>
                  <a:cubicBezTo>
                    <a:pt x="4092787" y="1497227"/>
                    <a:pt x="4092787" y="1497227"/>
                    <a:pt x="4107244" y="1497227"/>
                  </a:cubicBezTo>
                  <a:cubicBezTo>
                    <a:pt x="4107244" y="1497227"/>
                    <a:pt x="4107244" y="1497227"/>
                    <a:pt x="4107244" y="1446316"/>
                  </a:cubicBezTo>
                  <a:cubicBezTo>
                    <a:pt x="4107244" y="1439043"/>
                    <a:pt x="4100015" y="1431770"/>
                    <a:pt x="4100015" y="1431770"/>
                  </a:cubicBezTo>
                  <a:cubicBezTo>
                    <a:pt x="4100015" y="1424497"/>
                    <a:pt x="4100015" y="1424497"/>
                    <a:pt x="4092787" y="1424497"/>
                  </a:cubicBezTo>
                  <a:close/>
                  <a:moveTo>
                    <a:pt x="3926522" y="1424497"/>
                  </a:moveTo>
                  <a:cubicBezTo>
                    <a:pt x="3919293" y="1424497"/>
                    <a:pt x="3919293" y="1431770"/>
                    <a:pt x="3919293" y="1446316"/>
                  </a:cubicBezTo>
                  <a:lnTo>
                    <a:pt x="3919293" y="1497227"/>
                  </a:lnTo>
                  <a:cubicBezTo>
                    <a:pt x="3919293" y="1497227"/>
                    <a:pt x="3919293" y="1497227"/>
                    <a:pt x="3933751" y="1497227"/>
                  </a:cubicBezTo>
                  <a:cubicBezTo>
                    <a:pt x="3933751" y="1497227"/>
                    <a:pt x="3933751" y="1497227"/>
                    <a:pt x="3933751" y="1446316"/>
                  </a:cubicBezTo>
                  <a:cubicBezTo>
                    <a:pt x="3933751" y="1439043"/>
                    <a:pt x="3933751" y="1431770"/>
                    <a:pt x="3933751" y="1431770"/>
                  </a:cubicBezTo>
                  <a:cubicBezTo>
                    <a:pt x="3926522" y="1424497"/>
                    <a:pt x="3926522" y="1424497"/>
                    <a:pt x="3926522" y="1424497"/>
                  </a:cubicBezTo>
                  <a:close/>
                  <a:moveTo>
                    <a:pt x="2965085" y="1424497"/>
                  </a:moveTo>
                  <a:cubicBezTo>
                    <a:pt x="2965085" y="1424497"/>
                    <a:pt x="2972314" y="1424497"/>
                    <a:pt x="2972314" y="1424497"/>
                  </a:cubicBezTo>
                  <a:cubicBezTo>
                    <a:pt x="2972314" y="1424497"/>
                    <a:pt x="2972314" y="1424497"/>
                    <a:pt x="2972314" y="1431770"/>
                  </a:cubicBezTo>
                  <a:cubicBezTo>
                    <a:pt x="2972314" y="1424497"/>
                    <a:pt x="2965085" y="1424497"/>
                    <a:pt x="2965085" y="1424497"/>
                  </a:cubicBezTo>
                  <a:close/>
                  <a:moveTo>
                    <a:pt x="1859069" y="1424497"/>
                  </a:moveTo>
                  <a:cubicBezTo>
                    <a:pt x="1844611" y="1424497"/>
                    <a:pt x="1837382" y="1431770"/>
                    <a:pt x="1830153" y="1446316"/>
                  </a:cubicBezTo>
                  <a:cubicBezTo>
                    <a:pt x="1822924" y="1446316"/>
                    <a:pt x="1822924" y="1446316"/>
                    <a:pt x="1822924" y="1453589"/>
                  </a:cubicBezTo>
                  <a:cubicBezTo>
                    <a:pt x="1822924" y="1453589"/>
                    <a:pt x="1822924" y="1453589"/>
                    <a:pt x="1822924" y="1460862"/>
                  </a:cubicBezTo>
                  <a:cubicBezTo>
                    <a:pt x="1822924" y="1460862"/>
                    <a:pt x="1822924" y="1460862"/>
                    <a:pt x="1815695" y="1504499"/>
                  </a:cubicBezTo>
                  <a:cubicBezTo>
                    <a:pt x="1815695" y="1504499"/>
                    <a:pt x="1815695" y="1504499"/>
                    <a:pt x="1801238" y="1555410"/>
                  </a:cubicBezTo>
                  <a:cubicBezTo>
                    <a:pt x="1801238" y="1555410"/>
                    <a:pt x="1801238" y="1555410"/>
                    <a:pt x="1794009" y="1569956"/>
                  </a:cubicBezTo>
                  <a:cubicBezTo>
                    <a:pt x="1794009" y="1569956"/>
                    <a:pt x="1794009" y="1569956"/>
                    <a:pt x="1794009" y="1591775"/>
                  </a:cubicBezTo>
                  <a:cubicBezTo>
                    <a:pt x="1794009" y="1591775"/>
                    <a:pt x="1794009" y="1591775"/>
                    <a:pt x="1779551" y="1628139"/>
                  </a:cubicBezTo>
                  <a:cubicBezTo>
                    <a:pt x="1779551" y="1642685"/>
                    <a:pt x="1772322" y="1657231"/>
                    <a:pt x="1772322" y="1671777"/>
                  </a:cubicBezTo>
                  <a:cubicBezTo>
                    <a:pt x="1786780" y="1679050"/>
                    <a:pt x="1808468" y="1679050"/>
                    <a:pt x="1822924" y="1686323"/>
                  </a:cubicBezTo>
                  <a:cubicBezTo>
                    <a:pt x="1830153" y="1686323"/>
                    <a:pt x="1837382" y="1686323"/>
                    <a:pt x="1837382" y="1693596"/>
                  </a:cubicBezTo>
                  <a:cubicBezTo>
                    <a:pt x="1837382" y="1693596"/>
                    <a:pt x="1837382" y="1693596"/>
                    <a:pt x="1844611" y="1693596"/>
                  </a:cubicBezTo>
                  <a:cubicBezTo>
                    <a:pt x="1844611" y="1693596"/>
                    <a:pt x="1844611" y="1693596"/>
                    <a:pt x="1844611" y="1686323"/>
                  </a:cubicBezTo>
                  <a:cubicBezTo>
                    <a:pt x="1844611" y="1686323"/>
                    <a:pt x="1844611" y="1686323"/>
                    <a:pt x="1851840" y="1671777"/>
                  </a:cubicBezTo>
                  <a:cubicBezTo>
                    <a:pt x="1859069" y="1642685"/>
                    <a:pt x="1859069" y="1613593"/>
                    <a:pt x="1866297" y="1584502"/>
                  </a:cubicBezTo>
                  <a:cubicBezTo>
                    <a:pt x="1866297" y="1584502"/>
                    <a:pt x="1866297" y="1584502"/>
                    <a:pt x="1873526" y="1569956"/>
                  </a:cubicBezTo>
                  <a:cubicBezTo>
                    <a:pt x="1873526" y="1569956"/>
                    <a:pt x="1873526" y="1569956"/>
                    <a:pt x="1880755" y="1533591"/>
                  </a:cubicBezTo>
                  <a:cubicBezTo>
                    <a:pt x="1880755" y="1533591"/>
                    <a:pt x="1880755" y="1533591"/>
                    <a:pt x="1887984" y="1497227"/>
                  </a:cubicBezTo>
                  <a:cubicBezTo>
                    <a:pt x="1887984" y="1497227"/>
                    <a:pt x="1887984" y="1497227"/>
                    <a:pt x="1895213" y="1475408"/>
                  </a:cubicBezTo>
                  <a:cubicBezTo>
                    <a:pt x="1895213" y="1468135"/>
                    <a:pt x="1895213" y="1453589"/>
                    <a:pt x="1887984" y="1446316"/>
                  </a:cubicBezTo>
                  <a:cubicBezTo>
                    <a:pt x="1887984" y="1439043"/>
                    <a:pt x="1873526" y="1424497"/>
                    <a:pt x="1866297" y="1424497"/>
                  </a:cubicBezTo>
                  <a:cubicBezTo>
                    <a:pt x="1859069" y="1424497"/>
                    <a:pt x="1859069" y="1424497"/>
                    <a:pt x="1859069" y="1424497"/>
                  </a:cubicBezTo>
                  <a:close/>
                  <a:moveTo>
                    <a:pt x="1562685" y="1424497"/>
                  </a:moveTo>
                  <a:cubicBezTo>
                    <a:pt x="1555456" y="1424497"/>
                    <a:pt x="1540999" y="1431770"/>
                    <a:pt x="1533770" y="1446316"/>
                  </a:cubicBezTo>
                  <a:cubicBezTo>
                    <a:pt x="1533770" y="1446316"/>
                    <a:pt x="1533770" y="1453589"/>
                    <a:pt x="1533770" y="1460862"/>
                  </a:cubicBezTo>
                  <a:cubicBezTo>
                    <a:pt x="1533770" y="1460862"/>
                    <a:pt x="1533770" y="1460862"/>
                    <a:pt x="1519312" y="1497227"/>
                  </a:cubicBezTo>
                  <a:cubicBezTo>
                    <a:pt x="1519312" y="1497227"/>
                    <a:pt x="1519312" y="1497227"/>
                    <a:pt x="1512083" y="1533591"/>
                  </a:cubicBezTo>
                  <a:cubicBezTo>
                    <a:pt x="1512083" y="1533591"/>
                    <a:pt x="1512083" y="1533591"/>
                    <a:pt x="1504854" y="1562683"/>
                  </a:cubicBezTo>
                  <a:cubicBezTo>
                    <a:pt x="1504854" y="1562683"/>
                    <a:pt x="1504854" y="1562683"/>
                    <a:pt x="1497627" y="1577229"/>
                  </a:cubicBezTo>
                  <a:cubicBezTo>
                    <a:pt x="1490397" y="1599048"/>
                    <a:pt x="1483168" y="1628139"/>
                    <a:pt x="1475939" y="1657231"/>
                  </a:cubicBezTo>
                  <a:cubicBezTo>
                    <a:pt x="1475939" y="1657231"/>
                    <a:pt x="1475939" y="1657231"/>
                    <a:pt x="1475939" y="1664504"/>
                  </a:cubicBezTo>
                  <a:cubicBezTo>
                    <a:pt x="1475939" y="1664504"/>
                    <a:pt x="1483168" y="1664504"/>
                    <a:pt x="1490397" y="1664504"/>
                  </a:cubicBezTo>
                  <a:cubicBezTo>
                    <a:pt x="1490397" y="1664504"/>
                    <a:pt x="1490397" y="1664504"/>
                    <a:pt x="1497627" y="1664504"/>
                  </a:cubicBezTo>
                  <a:cubicBezTo>
                    <a:pt x="1497627" y="1664504"/>
                    <a:pt x="1497627" y="1664504"/>
                    <a:pt x="1512083" y="1657231"/>
                  </a:cubicBezTo>
                  <a:cubicBezTo>
                    <a:pt x="1512083" y="1657231"/>
                    <a:pt x="1512083" y="1657231"/>
                    <a:pt x="1512083" y="1649958"/>
                  </a:cubicBezTo>
                  <a:cubicBezTo>
                    <a:pt x="1512083" y="1649958"/>
                    <a:pt x="1512083" y="1649958"/>
                    <a:pt x="1519312" y="1628139"/>
                  </a:cubicBezTo>
                  <a:cubicBezTo>
                    <a:pt x="1519312" y="1628139"/>
                    <a:pt x="1519312" y="1628139"/>
                    <a:pt x="1533770" y="1555410"/>
                  </a:cubicBezTo>
                  <a:cubicBezTo>
                    <a:pt x="1533770" y="1555410"/>
                    <a:pt x="1533770" y="1555410"/>
                    <a:pt x="1540999" y="1548137"/>
                  </a:cubicBezTo>
                  <a:cubicBezTo>
                    <a:pt x="1540999" y="1548137"/>
                    <a:pt x="1540999" y="1548137"/>
                    <a:pt x="1555456" y="1504499"/>
                  </a:cubicBezTo>
                  <a:cubicBezTo>
                    <a:pt x="1555456" y="1504499"/>
                    <a:pt x="1555456" y="1504499"/>
                    <a:pt x="1562685" y="1475408"/>
                  </a:cubicBezTo>
                  <a:cubicBezTo>
                    <a:pt x="1562685" y="1475408"/>
                    <a:pt x="1562685" y="1475408"/>
                    <a:pt x="1562685" y="1453589"/>
                  </a:cubicBezTo>
                  <a:cubicBezTo>
                    <a:pt x="1569914" y="1439043"/>
                    <a:pt x="1569914" y="1431770"/>
                    <a:pt x="1562685" y="1424497"/>
                  </a:cubicBezTo>
                  <a:close/>
                  <a:moveTo>
                    <a:pt x="1618935" y="1418815"/>
                  </a:moveTo>
                  <a:cubicBezTo>
                    <a:pt x="1607415" y="1418133"/>
                    <a:pt x="1589794" y="1431770"/>
                    <a:pt x="1584372" y="1453589"/>
                  </a:cubicBezTo>
                  <a:cubicBezTo>
                    <a:pt x="1584372" y="1453589"/>
                    <a:pt x="1584372" y="1453589"/>
                    <a:pt x="1584372" y="1460862"/>
                  </a:cubicBezTo>
                  <a:cubicBezTo>
                    <a:pt x="1584372" y="1460862"/>
                    <a:pt x="1584372" y="1460862"/>
                    <a:pt x="1577143" y="1489954"/>
                  </a:cubicBezTo>
                  <a:cubicBezTo>
                    <a:pt x="1577143" y="1489954"/>
                    <a:pt x="1577143" y="1489954"/>
                    <a:pt x="1562685" y="1533591"/>
                  </a:cubicBezTo>
                  <a:cubicBezTo>
                    <a:pt x="1562685" y="1533591"/>
                    <a:pt x="1562685" y="1533591"/>
                    <a:pt x="1555456" y="1555410"/>
                  </a:cubicBezTo>
                  <a:cubicBezTo>
                    <a:pt x="1548228" y="1577229"/>
                    <a:pt x="1548228" y="1591775"/>
                    <a:pt x="1540999" y="1613593"/>
                  </a:cubicBezTo>
                  <a:cubicBezTo>
                    <a:pt x="1540999" y="1613593"/>
                    <a:pt x="1540999" y="1613593"/>
                    <a:pt x="1533770" y="1635412"/>
                  </a:cubicBezTo>
                  <a:cubicBezTo>
                    <a:pt x="1533770" y="1635412"/>
                    <a:pt x="1533770" y="1635412"/>
                    <a:pt x="1526541" y="1657231"/>
                  </a:cubicBezTo>
                  <a:cubicBezTo>
                    <a:pt x="1540999" y="1657231"/>
                    <a:pt x="1555456" y="1657231"/>
                    <a:pt x="1569914" y="1657231"/>
                  </a:cubicBezTo>
                  <a:cubicBezTo>
                    <a:pt x="1569914" y="1657231"/>
                    <a:pt x="1569914" y="1657231"/>
                    <a:pt x="1577143" y="1657231"/>
                  </a:cubicBezTo>
                  <a:cubicBezTo>
                    <a:pt x="1577143" y="1635412"/>
                    <a:pt x="1584372" y="1620866"/>
                    <a:pt x="1584372" y="1606320"/>
                  </a:cubicBezTo>
                  <a:cubicBezTo>
                    <a:pt x="1584372" y="1606320"/>
                    <a:pt x="1584372" y="1606320"/>
                    <a:pt x="1591601" y="1599048"/>
                  </a:cubicBezTo>
                  <a:cubicBezTo>
                    <a:pt x="1591601" y="1599048"/>
                    <a:pt x="1591601" y="1599048"/>
                    <a:pt x="1591601" y="1577229"/>
                  </a:cubicBezTo>
                  <a:cubicBezTo>
                    <a:pt x="1591601" y="1577229"/>
                    <a:pt x="1591601" y="1577229"/>
                    <a:pt x="1598830" y="1555410"/>
                  </a:cubicBezTo>
                  <a:cubicBezTo>
                    <a:pt x="1598830" y="1555410"/>
                    <a:pt x="1598830" y="1555410"/>
                    <a:pt x="1613287" y="1497227"/>
                  </a:cubicBezTo>
                  <a:cubicBezTo>
                    <a:pt x="1613287" y="1497227"/>
                    <a:pt x="1613287" y="1497227"/>
                    <a:pt x="1627745" y="1453589"/>
                  </a:cubicBezTo>
                  <a:cubicBezTo>
                    <a:pt x="1634974" y="1439043"/>
                    <a:pt x="1627745" y="1431770"/>
                    <a:pt x="1627745" y="1424497"/>
                  </a:cubicBezTo>
                  <a:cubicBezTo>
                    <a:pt x="1625938" y="1420861"/>
                    <a:pt x="1622775" y="1419043"/>
                    <a:pt x="1618935" y="1418815"/>
                  </a:cubicBezTo>
                  <a:close/>
                  <a:moveTo>
                    <a:pt x="4049413" y="1417224"/>
                  </a:moveTo>
                  <a:cubicBezTo>
                    <a:pt x="4027728" y="1417224"/>
                    <a:pt x="4020498" y="1424497"/>
                    <a:pt x="4020498" y="1439043"/>
                  </a:cubicBezTo>
                  <a:lnTo>
                    <a:pt x="4020498" y="1497227"/>
                  </a:lnTo>
                  <a:cubicBezTo>
                    <a:pt x="4020498" y="1497227"/>
                    <a:pt x="4020498" y="1497227"/>
                    <a:pt x="4042184" y="1497227"/>
                  </a:cubicBezTo>
                  <a:cubicBezTo>
                    <a:pt x="4042184" y="1497227"/>
                    <a:pt x="4042184" y="1497227"/>
                    <a:pt x="4078328" y="1497227"/>
                  </a:cubicBezTo>
                  <a:cubicBezTo>
                    <a:pt x="4078328" y="1497227"/>
                    <a:pt x="4078328" y="1497227"/>
                    <a:pt x="4078328" y="1439043"/>
                  </a:cubicBezTo>
                  <a:cubicBezTo>
                    <a:pt x="4078328" y="1431770"/>
                    <a:pt x="4063871" y="1417224"/>
                    <a:pt x="4056642" y="1417224"/>
                  </a:cubicBezTo>
                  <a:cubicBezTo>
                    <a:pt x="4049413" y="1417224"/>
                    <a:pt x="4049413" y="1417224"/>
                    <a:pt x="4049413" y="1417224"/>
                  </a:cubicBezTo>
                  <a:close/>
                  <a:moveTo>
                    <a:pt x="3268696" y="1417224"/>
                  </a:moveTo>
                  <a:cubicBezTo>
                    <a:pt x="3261467" y="1417224"/>
                    <a:pt x="3261467" y="1431770"/>
                    <a:pt x="3261467" y="1446316"/>
                  </a:cubicBezTo>
                  <a:lnTo>
                    <a:pt x="3261467" y="1489954"/>
                  </a:lnTo>
                  <a:cubicBezTo>
                    <a:pt x="3261467" y="1489954"/>
                    <a:pt x="3261467" y="1489954"/>
                    <a:pt x="3275926" y="1489954"/>
                  </a:cubicBezTo>
                  <a:cubicBezTo>
                    <a:pt x="3275926" y="1489954"/>
                    <a:pt x="3275926" y="1489954"/>
                    <a:pt x="3275926" y="1446316"/>
                  </a:cubicBezTo>
                  <a:cubicBezTo>
                    <a:pt x="3275926" y="1439043"/>
                    <a:pt x="3275926" y="1431770"/>
                    <a:pt x="3275926" y="1424497"/>
                  </a:cubicBezTo>
                  <a:cubicBezTo>
                    <a:pt x="3268696" y="1424497"/>
                    <a:pt x="3268696" y="1417224"/>
                    <a:pt x="3268696" y="1417224"/>
                  </a:cubicBezTo>
                  <a:close/>
                  <a:moveTo>
                    <a:pt x="3095205" y="1417224"/>
                  </a:moveTo>
                  <a:cubicBezTo>
                    <a:pt x="3095205" y="1417224"/>
                    <a:pt x="3087975" y="1431770"/>
                    <a:pt x="3087975" y="1446316"/>
                  </a:cubicBezTo>
                  <a:lnTo>
                    <a:pt x="3087975" y="1489954"/>
                  </a:lnTo>
                  <a:cubicBezTo>
                    <a:pt x="3087975" y="1489954"/>
                    <a:pt x="3087975" y="1489954"/>
                    <a:pt x="3095205" y="1489954"/>
                  </a:cubicBezTo>
                  <a:cubicBezTo>
                    <a:pt x="3095205" y="1489954"/>
                    <a:pt x="3095205" y="1489954"/>
                    <a:pt x="3102432" y="1489954"/>
                  </a:cubicBezTo>
                  <a:cubicBezTo>
                    <a:pt x="3102432" y="1489954"/>
                    <a:pt x="3102432" y="1489954"/>
                    <a:pt x="3102432" y="1446316"/>
                  </a:cubicBezTo>
                  <a:cubicBezTo>
                    <a:pt x="3102432" y="1439043"/>
                    <a:pt x="3102432" y="1431770"/>
                    <a:pt x="3102432" y="1424497"/>
                  </a:cubicBezTo>
                  <a:cubicBezTo>
                    <a:pt x="3102432" y="1424497"/>
                    <a:pt x="3095205" y="1417224"/>
                    <a:pt x="3095205" y="1417224"/>
                  </a:cubicBezTo>
                  <a:close/>
                  <a:moveTo>
                    <a:pt x="3959279" y="1415520"/>
                  </a:moveTo>
                  <a:cubicBezTo>
                    <a:pt x="3949113" y="1417224"/>
                    <a:pt x="3940981" y="1428134"/>
                    <a:pt x="3940981" y="1439043"/>
                  </a:cubicBezTo>
                  <a:lnTo>
                    <a:pt x="3940981" y="1497227"/>
                  </a:lnTo>
                  <a:cubicBezTo>
                    <a:pt x="3940981" y="1497227"/>
                    <a:pt x="3940981" y="1497227"/>
                    <a:pt x="3969895" y="1497227"/>
                  </a:cubicBezTo>
                  <a:cubicBezTo>
                    <a:pt x="3969895" y="1497227"/>
                    <a:pt x="3969895" y="1497227"/>
                    <a:pt x="4006040" y="1497227"/>
                  </a:cubicBezTo>
                  <a:cubicBezTo>
                    <a:pt x="4006040" y="1497227"/>
                    <a:pt x="4006040" y="1497227"/>
                    <a:pt x="4006040" y="1439043"/>
                  </a:cubicBezTo>
                  <a:cubicBezTo>
                    <a:pt x="4006040" y="1424497"/>
                    <a:pt x="3991583" y="1417224"/>
                    <a:pt x="3977125" y="1417224"/>
                  </a:cubicBezTo>
                  <a:cubicBezTo>
                    <a:pt x="3977125" y="1417224"/>
                    <a:pt x="3977125" y="1417224"/>
                    <a:pt x="3969895" y="1417224"/>
                  </a:cubicBezTo>
                  <a:cubicBezTo>
                    <a:pt x="3966282" y="1415406"/>
                    <a:pt x="3962668" y="1414951"/>
                    <a:pt x="3959279" y="1415520"/>
                  </a:cubicBezTo>
                  <a:close/>
                  <a:moveTo>
                    <a:pt x="11696625" y="1410436"/>
                  </a:moveTo>
                  <a:cubicBezTo>
                    <a:pt x="11696625" y="1410436"/>
                    <a:pt x="11696625" y="1410436"/>
                    <a:pt x="11689395" y="1424977"/>
                  </a:cubicBezTo>
                  <a:cubicBezTo>
                    <a:pt x="11689395" y="1424977"/>
                    <a:pt x="11689395" y="1424977"/>
                    <a:pt x="11682164" y="1432247"/>
                  </a:cubicBezTo>
                  <a:lnTo>
                    <a:pt x="11696625" y="1454058"/>
                  </a:lnTo>
                  <a:cubicBezTo>
                    <a:pt x="11696625" y="1454058"/>
                    <a:pt x="11696625" y="1454058"/>
                    <a:pt x="11696625" y="1432247"/>
                  </a:cubicBezTo>
                  <a:cubicBezTo>
                    <a:pt x="11696625" y="1432247"/>
                    <a:pt x="11696625" y="1432247"/>
                    <a:pt x="11696625" y="1410436"/>
                  </a:cubicBezTo>
                  <a:close/>
                  <a:moveTo>
                    <a:pt x="11646013" y="1410436"/>
                  </a:moveTo>
                  <a:cubicBezTo>
                    <a:pt x="11646013" y="1410436"/>
                    <a:pt x="11646013" y="1410436"/>
                    <a:pt x="11646013" y="1424977"/>
                  </a:cubicBezTo>
                  <a:cubicBezTo>
                    <a:pt x="11646013" y="1424977"/>
                    <a:pt x="11646013" y="1424977"/>
                    <a:pt x="11646013" y="1446788"/>
                  </a:cubicBezTo>
                  <a:cubicBezTo>
                    <a:pt x="11646013" y="1446788"/>
                    <a:pt x="11646013" y="1446788"/>
                    <a:pt x="11660473" y="1439517"/>
                  </a:cubicBezTo>
                  <a:cubicBezTo>
                    <a:pt x="11660473" y="1439517"/>
                    <a:pt x="11660473" y="1439517"/>
                    <a:pt x="11660473" y="1432247"/>
                  </a:cubicBezTo>
                  <a:close/>
                  <a:moveTo>
                    <a:pt x="11566478" y="1410436"/>
                  </a:moveTo>
                  <a:cubicBezTo>
                    <a:pt x="11566478" y="1410436"/>
                    <a:pt x="11566478" y="1410436"/>
                    <a:pt x="11559248" y="1432247"/>
                  </a:cubicBezTo>
                  <a:lnTo>
                    <a:pt x="11559248" y="1454058"/>
                  </a:lnTo>
                  <a:cubicBezTo>
                    <a:pt x="11559248" y="1454058"/>
                    <a:pt x="11559248" y="1454058"/>
                    <a:pt x="11573709" y="1446788"/>
                  </a:cubicBezTo>
                  <a:cubicBezTo>
                    <a:pt x="11573709" y="1446788"/>
                    <a:pt x="11573709" y="1446788"/>
                    <a:pt x="11588169" y="1432247"/>
                  </a:cubicBezTo>
                  <a:cubicBezTo>
                    <a:pt x="11588169" y="1432247"/>
                    <a:pt x="11588169" y="1432247"/>
                    <a:pt x="11566478" y="1410436"/>
                  </a:cubicBezTo>
                  <a:close/>
                  <a:moveTo>
                    <a:pt x="3218094" y="1409951"/>
                  </a:moveTo>
                  <a:cubicBezTo>
                    <a:pt x="3203637" y="1409951"/>
                    <a:pt x="3189179" y="1424497"/>
                    <a:pt x="3189179" y="1439043"/>
                  </a:cubicBezTo>
                  <a:lnTo>
                    <a:pt x="3189179" y="1489954"/>
                  </a:lnTo>
                  <a:cubicBezTo>
                    <a:pt x="3189179" y="1489954"/>
                    <a:pt x="3189179" y="1489954"/>
                    <a:pt x="3218094" y="1489954"/>
                  </a:cubicBezTo>
                  <a:cubicBezTo>
                    <a:pt x="3218094" y="1489954"/>
                    <a:pt x="3218094" y="1489954"/>
                    <a:pt x="3247010" y="1489954"/>
                  </a:cubicBezTo>
                  <a:cubicBezTo>
                    <a:pt x="3247010" y="1489954"/>
                    <a:pt x="3247010" y="1489954"/>
                    <a:pt x="3247010" y="1439043"/>
                  </a:cubicBezTo>
                  <a:cubicBezTo>
                    <a:pt x="3247010" y="1424497"/>
                    <a:pt x="3239781" y="1417224"/>
                    <a:pt x="3225323" y="1409951"/>
                  </a:cubicBezTo>
                  <a:cubicBezTo>
                    <a:pt x="3225323" y="1409951"/>
                    <a:pt x="3218094" y="1409951"/>
                    <a:pt x="3218094" y="1409951"/>
                  </a:cubicBezTo>
                  <a:close/>
                  <a:moveTo>
                    <a:pt x="3145805" y="1409951"/>
                  </a:moveTo>
                  <a:cubicBezTo>
                    <a:pt x="3131348" y="1409951"/>
                    <a:pt x="3116890" y="1424497"/>
                    <a:pt x="3116890" y="1439043"/>
                  </a:cubicBezTo>
                  <a:lnTo>
                    <a:pt x="3116890" y="1489954"/>
                  </a:lnTo>
                  <a:cubicBezTo>
                    <a:pt x="3116890" y="1489954"/>
                    <a:pt x="3116890" y="1489954"/>
                    <a:pt x="3138578" y="1489954"/>
                  </a:cubicBezTo>
                  <a:cubicBezTo>
                    <a:pt x="3138578" y="1489954"/>
                    <a:pt x="3138578" y="1489954"/>
                    <a:pt x="3174721" y="1489954"/>
                  </a:cubicBezTo>
                  <a:cubicBezTo>
                    <a:pt x="3174721" y="1489954"/>
                    <a:pt x="3174721" y="1489954"/>
                    <a:pt x="3174721" y="1439043"/>
                  </a:cubicBezTo>
                  <a:cubicBezTo>
                    <a:pt x="3174721" y="1424497"/>
                    <a:pt x="3167492" y="1417224"/>
                    <a:pt x="3153034" y="1409951"/>
                  </a:cubicBezTo>
                  <a:cubicBezTo>
                    <a:pt x="3153034" y="1409951"/>
                    <a:pt x="3145805" y="1409951"/>
                    <a:pt x="3145805" y="1409951"/>
                  </a:cubicBezTo>
                  <a:close/>
                  <a:moveTo>
                    <a:pt x="1769498" y="1408588"/>
                  </a:moveTo>
                  <a:cubicBezTo>
                    <a:pt x="1765545" y="1407679"/>
                    <a:pt x="1761479" y="1408133"/>
                    <a:pt x="1757864" y="1409951"/>
                  </a:cubicBezTo>
                  <a:cubicBezTo>
                    <a:pt x="1750636" y="1409951"/>
                    <a:pt x="1743407" y="1417224"/>
                    <a:pt x="1736178" y="1424497"/>
                  </a:cubicBezTo>
                  <a:cubicBezTo>
                    <a:pt x="1728949" y="1424497"/>
                    <a:pt x="1728949" y="1431770"/>
                    <a:pt x="1721721" y="1446316"/>
                  </a:cubicBezTo>
                  <a:cubicBezTo>
                    <a:pt x="1721721" y="1460862"/>
                    <a:pt x="1714491" y="1482681"/>
                    <a:pt x="1707262" y="1504499"/>
                  </a:cubicBezTo>
                  <a:cubicBezTo>
                    <a:pt x="1707262" y="1504499"/>
                    <a:pt x="1707262" y="1504499"/>
                    <a:pt x="1707262" y="1526318"/>
                  </a:cubicBezTo>
                  <a:cubicBezTo>
                    <a:pt x="1707262" y="1526318"/>
                    <a:pt x="1707262" y="1526318"/>
                    <a:pt x="1700034" y="1555410"/>
                  </a:cubicBezTo>
                  <a:cubicBezTo>
                    <a:pt x="1700034" y="1555410"/>
                    <a:pt x="1700034" y="1555410"/>
                    <a:pt x="1692805" y="1577229"/>
                  </a:cubicBezTo>
                  <a:cubicBezTo>
                    <a:pt x="1692805" y="1577229"/>
                    <a:pt x="1692805" y="1577229"/>
                    <a:pt x="1678347" y="1635412"/>
                  </a:cubicBezTo>
                  <a:lnTo>
                    <a:pt x="1671118" y="1657231"/>
                  </a:lnTo>
                  <a:cubicBezTo>
                    <a:pt x="1671118" y="1657231"/>
                    <a:pt x="1671118" y="1657231"/>
                    <a:pt x="1685577" y="1664504"/>
                  </a:cubicBezTo>
                  <a:cubicBezTo>
                    <a:pt x="1692805" y="1664504"/>
                    <a:pt x="1707262" y="1664504"/>
                    <a:pt x="1721721" y="1664504"/>
                  </a:cubicBezTo>
                  <a:cubicBezTo>
                    <a:pt x="1728949" y="1664504"/>
                    <a:pt x="1728949" y="1664504"/>
                    <a:pt x="1736178" y="1671777"/>
                  </a:cubicBezTo>
                  <a:cubicBezTo>
                    <a:pt x="1736178" y="1671777"/>
                    <a:pt x="1736178" y="1671777"/>
                    <a:pt x="1736178" y="1657231"/>
                  </a:cubicBezTo>
                  <a:cubicBezTo>
                    <a:pt x="1736178" y="1657231"/>
                    <a:pt x="1736178" y="1657231"/>
                    <a:pt x="1750636" y="1620866"/>
                  </a:cubicBezTo>
                  <a:cubicBezTo>
                    <a:pt x="1750636" y="1620866"/>
                    <a:pt x="1750636" y="1620866"/>
                    <a:pt x="1757864" y="1584502"/>
                  </a:cubicBezTo>
                  <a:cubicBezTo>
                    <a:pt x="1757864" y="1584502"/>
                    <a:pt x="1757864" y="1584502"/>
                    <a:pt x="1765093" y="1562683"/>
                  </a:cubicBezTo>
                  <a:cubicBezTo>
                    <a:pt x="1765093" y="1562683"/>
                    <a:pt x="1765093" y="1562683"/>
                    <a:pt x="1772322" y="1526318"/>
                  </a:cubicBezTo>
                  <a:cubicBezTo>
                    <a:pt x="1772322" y="1526318"/>
                    <a:pt x="1772322" y="1526318"/>
                    <a:pt x="1779551" y="1475408"/>
                  </a:cubicBezTo>
                  <a:cubicBezTo>
                    <a:pt x="1779551" y="1475408"/>
                    <a:pt x="1779551" y="1475408"/>
                    <a:pt x="1786780" y="1453589"/>
                  </a:cubicBezTo>
                  <a:cubicBezTo>
                    <a:pt x="1792202" y="1426315"/>
                    <a:pt x="1781358" y="1411315"/>
                    <a:pt x="1769498" y="1408588"/>
                  </a:cubicBezTo>
                  <a:close/>
                  <a:moveTo>
                    <a:pt x="1680945" y="1408360"/>
                  </a:moveTo>
                  <a:cubicBezTo>
                    <a:pt x="1668407" y="1410406"/>
                    <a:pt x="1654853" y="1422679"/>
                    <a:pt x="1649432" y="1439043"/>
                  </a:cubicBezTo>
                  <a:cubicBezTo>
                    <a:pt x="1649432" y="1439043"/>
                    <a:pt x="1649432" y="1446316"/>
                    <a:pt x="1649432" y="1446316"/>
                  </a:cubicBezTo>
                  <a:cubicBezTo>
                    <a:pt x="1649432" y="1446316"/>
                    <a:pt x="1649432" y="1446316"/>
                    <a:pt x="1634974" y="1482681"/>
                  </a:cubicBezTo>
                  <a:cubicBezTo>
                    <a:pt x="1634974" y="1482681"/>
                    <a:pt x="1634974" y="1482681"/>
                    <a:pt x="1620516" y="1548137"/>
                  </a:cubicBezTo>
                  <a:cubicBezTo>
                    <a:pt x="1620516" y="1548137"/>
                    <a:pt x="1620516" y="1548137"/>
                    <a:pt x="1620516" y="1562683"/>
                  </a:cubicBezTo>
                  <a:cubicBezTo>
                    <a:pt x="1620516" y="1562683"/>
                    <a:pt x="1620516" y="1562683"/>
                    <a:pt x="1613287" y="1584502"/>
                  </a:cubicBezTo>
                  <a:cubicBezTo>
                    <a:pt x="1613287" y="1584502"/>
                    <a:pt x="1613287" y="1584502"/>
                    <a:pt x="1613287" y="1591775"/>
                  </a:cubicBezTo>
                  <a:cubicBezTo>
                    <a:pt x="1613287" y="1591775"/>
                    <a:pt x="1613287" y="1591775"/>
                    <a:pt x="1598830" y="1642685"/>
                  </a:cubicBezTo>
                  <a:cubicBezTo>
                    <a:pt x="1598830" y="1642685"/>
                    <a:pt x="1598830" y="1642685"/>
                    <a:pt x="1591601" y="1657231"/>
                  </a:cubicBezTo>
                  <a:cubicBezTo>
                    <a:pt x="1606058" y="1657231"/>
                    <a:pt x="1620516" y="1657231"/>
                    <a:pt x="1642203" y="1657231"/>
                  </a:cubicBezTo>
                  <a:cubicBezTo>
                    <a:pt x="1642203" y="1657231"/>
                    <a:pt x="1642203" y="1657231"/>
                    <a:pt x="1649432" y="1657231"/>
                  </a:cubicBezTo>
                  <a:cubicBezTo>
                    <a:pt x="1649432" y="1657231"/>
                    <a:pt x="1649432" y="1657231"/>
                    <a:pt x="1649432" y="1649958"/>
                  </a:cubicBezTo>
                  <a:cubicBezTo>
                    <a:pt x="1649432" y="1649958"/>
                    <a:pt x="1649432" y="1649958"/>
                    <a:pt x="1663889" y="1599048"/>
                  </a:cubicBezTo>
                  <a:lnTo>
                    <a:pt x="1678347" y="1555410"/>
                  </a:lnTo>
                  <a:cubicBezTo>
                    <a:pt x="1678347" y="1555410"/>
                    <a:pt x="1678347" y="1555410"/>
                    <a:pt x="1678347" y="1548137"/>
                  </a:cubicBezTo>
                  <a:cubicBezTo>
                    <a:pt x="1678347" y="1548137"/>
                    <a:pt x="1678347" y="1548137"/>
                    <a:pt x="1678347" y="1540864"/>
                  </a:cubicBezTo>
                  <a:cubicBezTo>
                    <a:pt x="1678347" y="1540864"/>
                    <a:pt x="1678347" y="1540864"/>
                    <a:pt x="1685577" y="1519045"/>
                  </a:cubicBezTo>
                  <a:cubicBezTo>
                    <a:pt x="1685577" y="1519045"/>
                    <a:pt x="1685577" y="1519045"/>
                    <a:pt x="1700034" y="1446316"/>
                  </a:cubicBezTo>
                  <a:cubicBezTo>
                    <a:pt x="1707262" y="1424497"/>
                    <a:pt x="1700034" y="1417224"/>
                    <a:pt x="1692805" y="1409951"/>
                  </a:cubicBezTo>
                  <a:cubicBezTo>
                    <a:pt x="1689190" y="1408133"/>
                    <a:pt x="1685124" y="1407679"/>
                    <a:pt x="1680945" y="1408360"/>
                  </a:cubicBezTo>
                  <a:close/>
                  <a:moveTo>
                    <a:pt x="11776159" y="1403166"/>
                  </a:moveTo>
                  <a:cubicBezTo>
                    <a:pt x="11776159" y="1403166"/>
                    <a:pt x="11776159" y="1403166"/>
                    <a:pt x="11776159" y="1410436"/>
                  </a:cubicBezTo>
                  <a:lnTo>
                    <a:pt x="11768929" y="1417707"/>
                  </a:lnTo>
                  <a:cubicBezTo>
                    <a:pt x="11768929" y="1417707"/>
                    <a:pt x="11768929" y="1417707"/>
                    <a:pt x="11754468" y="1432247"/>
                  </a:cubicBezTo>
                  <a:cubicBezTo>
                    <a:pt x="11754468" y="1432247"/>
                    <a:pt x="11754468" y="1432247"/>
                    <a:pt x="11783390" y="1454058"/>
                  </a:cubicBezTo>
                  <a:cubicBezTo>
                    <a:pt x="11783390" y="1454058"/>
                    <a:pt x="11783390" y="1454058"/>
                    <a:pt x="11783390" y="1432247"/>
                  </a:cubicBezTo>
                  <a:cubicBezTo>
                    <a:pt x="11783390" y="1432247"/>
                    <a:pt x="11783390" y="1432247"/>
                    <a:pt x="11783390" y="1417707"/>
                  </a:cubicBezTo>
                  <a:cubicBezTo>
                    <a:pt x="11783390" y="1417707"/>
                    <a:pt x="11783390" y="1417707"/>
                    <a:pt x="11776159" y="1403166"/>
                  </a:cubicBezTo>
                  <a:close/>
                  <a:moveTo>
                    <a:pt x="11711086" y="1403166"/>
                  </a:moveTo>
                  <a:cubicBezTo>
                    <a:pt x="11711086" y="1403166"/>
                    <a:pt x="11711086" y="1403166"/>
                    <a:pt x="11711086" y="1417707"/>
                  </a:cubicBezTo>
                  <a:cubicBezTo>
                    <a:pt x="11711086" y="1417707"/>
                    <a:pt x="11711086" y="1417707"/>
                    <a:pt x="11711086" y="1446788"/>
                  </a:cubicBezTo>
                  <a:cubicBezTo>
                    <a:pt x="11711086" y="1446788"/>
                    <a:pt x="11711086" y="1446788"/>
                    <a:pt x="11711086" y="1454058"/>
                  </a:cubicBezTo>
                  <a:cubicBezTo>
                    <a:pt x="11711086" y="1454058"/>
                    <a:pt x="11711086" y="1454058"/>
                    <a:pt x="11718316" y="1454058"/>
                  </a:cubicBezTo>
                  <a:cubicBezTo>
                    <a:pt x="11718316" y="1454058"/>
                    <a:pt x="11718316" y="1454058"/>
                    <a:pt x="11732777" y="1439517"/>
                  </a:cubicBezTo>
                  <a:lnTo>
                    <a:pt x="11740007" y="1432247"/>
                  </a:lnTo>
                  <a:cubicBezTo>
                    <a:pt x="11740007" y="1432247"/>
                    <a:pt x="11740007" y="1432247"/>
                    <a:pt x="11711086" y="1403166"/>
                  </a:cubicBezTo>
                  <a:close/>
                  <a:moveTo>
                    <a:pt x="4331338" y="1402678"/>
                  </a:moveTo>
                  <a:cubicBezTo>
                    <a:pt x="4331338" y="1402678"/>
                    <a:pt x="4331338" y="1402678"/>
                    <a:pt x="4338567" y="1402678"/>
                  </a:cubicBezTo>
                  <a:cubicBezTo>
                    <a:pt x="4338567" y="1402678"/>
                    <a:pt x="4338567" y="1409951"/>
                    <a:pt x="4338567" y="1409951"/>
                  </a:cubicBezTo>
                  <a:cubicBezTo>
                    <a:pt x="4331338" y="1409951"/>
                    <a:pt x="4331338" y="1402678"/>
                    <a:pt x="4331338" y="1402678"/>
                  </a:cubicBezTo>
                  <a:close/>
                  <a:moveTo>
                    <a:pt x="4460197" y="1396319"/>
                  </a:moveTo>
                  <a:cubicBezTo>
                    <a:pt x="4460197" y="1396319"/>
                    <a:pt x="4466867" y="1396319"/>
                    <a:pt x="4466867" y="1396319"/>
                  </a:cubicBezTo>
                  <a:cubicBezTo>
                    <a:pt x="4466867" y="1396319"/>
                    <a:pt x="4473538" y="1396319"/>
                    <a:pt x="4473538" y="1396319"/>
                  </a:cubicBezTo>
                  <a:cubicBezTo>
                    <a:pt x="4473538" y="1396319"/>
                    <a:pt x="4466867" y="1400766"/>
                    <a:pt x="4466867" y="1400766"/>
                  </a:cubicBezTo>
                  <a:cubicBezTo>
                    <a:pt x="4466867" y="1400766"/>
                    <a:pt x="4460197" y="1396319"/>
                    <a:pt x="4460197" y="1396319"/>
                  </a:cubicBezTo>
                  <a:close/>
                  <a:moveTo>
                    <a:pt x="11718316" y="1395896"/>
                  </a:moveTo>
                  <a:cubicBezTo>
                    <a:pt x="11718316" y="1395896"/>
                    <a:pt x="11718316" y="1395896"/>
                    <a:pt x="11747238" y="1417707"/>
                  </a:cubicBezTo>
                  <a:cubicBezTo>
                    <a:pt x="11747238" y="1417707"/>
                    <a:pt x="11747238" y="1417707"/>
                    <a:pt x="11754468" y="1410436"/>
                  </a:cubicBezTo>
                  <a:cubicBezTo>
                    <a:pt x="11754468" y="1410436"/>
                    <a:pt x="11754468" y="1410436"/>
                    <a:pt x="11761699" y="1403166"/>
                  </a:cubicBezTo>
                  <a:cubicBezTo>
                    <a:pt x="11761699" y="1403166"/>
                    <a:pt x="11761699" y="1403166"/>
                    <a:pt x="11768929" y="1395896"/>
                  </a:cubicBezTo>
                  <a:lnTo>
                    <a:pt x="11754468" y="1395896"/>
                  </a:lnTo>
                  <a:cubicBezTo>
                    <a:pt x="11754468" y="1395896"/>
                    <a:pt x="11754468" y="1395896"/>
                    <a:pt x="11747238" y="1395896"/>
                  </a:cubicBezTo>
                  <a:cubicBezTo>
                    <a:pt x="11747238" y="1395896"/>
                    <a:pt x="11747238" y="1395896"/>
                    <a:pt x="11718316" y="1395896"/>
                  </a:cubicBezTo>
                  <a:close/>
                  <a:moveTo>
                    <a:pt x="11653243" y="1395896"/>
                  </a:moveTo>
                  <a:cubicBezTo>
                    <a:pt x="11653243" y="1395896"/>
                    <a:pt x="11653243" y="1395896"/>
                    <a:pt x="11674934" y="1417707"/>
                  </a:cubicBezTo>
                  <a:cubicBezTo>
                    <a:pt x="11674934" y="1417707"/>
                    <a:pt x="11674934" y="1417707"/>
                    <a:pt x="11674934" y="1410436"/>
                  </a:cubicBezTo>
                  <a:cubicBezTo>
                    <a:pt x="11674934" y="1410436"/>
                    <a:pt x="11674934" y="1410436"/>
                    <a:pt x="11689395" y="1395896"/>
                  </a:cubicBezTo>
                  <a:cubicBezTo>
                    <a:pt x="11689395" y="1395896"/>
                    <a:pt x="11689395" y="1395896"/>
                    <a:pt x="11660473" y="1395896"/>
                  </a:cubicBezTo>
                  <a:close/>
                  <a:moveTo>
                    <a:pt x="11573709" y="1395896"/>
                  </a:moveTo>
                  <a:cubicBezTo>
                    <a:pt x="11573709" y="1395896"/>
                    <a:pt x="11573709" y="1395896"/>
                    <a:pt x="11595400" y="1424977"/>
                  </a:cubicBezTo>
                  <a:cubicBezTo>
                    <a:pt x="11595400" y="1424977"/>
                    <a:pt x="11595400" y="1424977"/>
                    <a:pt x="11609861" y="1410436"/>
                  </a:cubicBezTo>
                  <a:cubicBezTo>
                    <a:pt x="11609861" y="1410436"/>
                    <a:pt x="11609861" y="1410436"/>
                    <a:pt x="11617091" y="1403166"/>
                  </a:cubicBezTo>
                  <a:cubicBezTo>
                    <a:pt x="11617091" y="1403166"/>
                    <a:pt x="11617091" y="1403166"/>
                    <a:pt x="11624321" y="1395896"/>
                  </a:cubicBezTo>
                  <a:cubicBezTo>
                    <a:pt x="11624321" y="1395896"/>
                    <a:pt x="11624321" y="1395896"/>
                    <a:pt x="11617091" y="1395896"/>
                  </a:cubicBezTo>
                  <a:cubicBezTo>
                    <a:pt x="11617091" y="1395896"/>
                    <a:pt x="11617091" y="1395896"/>
                    <a:pt x="11595400" y="1395896"/>
                  </a:cubicBezTo>
                  <a:close/>
                  <a:moveTo>
                    <a:pt x="4157847" y="1395405"/>
                  </a:moveTo>
                  <a:cubicBezTo>
                    <a:pt x="4157847" y="1395405"/>
                    <a:pt x="4157847" y="1395405"/>
                    <a:pt x="4150617" y="1409951"/>
                  </a:cubicBezTo>
                  <a:cubicBezTo>
                    <a:pt x="4150617" y="1409951"/>
                    <a:pt x="4150617" y="1409951"/>
                    <a:pt x="4143388" y="1424497"/>
                  </a:cubicBezTo>
                  <a:lnTo>
                    <a:pt x="4114474" y="1424497"/>
                  </a:lnTo>
                  <a:cubicBezTo>
                    <a:pt x="4114474" y="1424497"/>
                    <a:pt x="4114474" y="1424497"/>
                    <a:pt x="4114474" y="1497227"/>
                  </a:cubicBezTo>
                  <a:cubicBezTo>
                    <a:pt x="4114474" y="1497227"/>
                    <a:pt x="4114474" y="1497227"/>
                    <a:pt x="4136160" y="1497227"/>
                  </a:cubicBezTo>
                  <a:cubicBezTo>
                    <a:pt x="4136160" y="1497227"/>
                    <a:pt x="4136160" y="1497227"/>
                    <a:pt x="4165075" y="1497227"/>
                  </a:cubicBezTo>
                  <a:cubicBezTo>
                    <a:pt x="4165075" y="1497227"/>
                    <a:pt x="4165075" y="1497227"/>
                    <a:pt x="4165075" y="1417224"/>
                  </a:cubicBezTo>
                  <a:cubicBezTo>
                    <a:pt x="4165075" y="1417224"/>
                    <a:pt x="4165075" y="1409951"/>
                    <a:pt x="4165075" y="1409951"/>
                  </a:cubicBezTo>
                  <a:cubicBezTo>
                    <a:pt x="4165075" y="1409951"/>
                    <a:pt x="4165075" y="1409951"/>
                    <a:pt x="4172304" y="1409951"/>
                  </a:cubicBezTo>
                  <a:cubicBezTo>
                    <a:pt x="4165075" y="1409951"/>
                    <a:pt x="4165075" y="1402678"/>
                    <a:pt x="4165075" y="1402678"/>
                  </a:cubicBezTo>
                  <a:cubicBezTo>
                    <a:pt x="4165075" y="1395405"/>
                    <a:pt x="4157847" y="1395405"/>
                    <a:pt x="4157847" y="1395405"/>
                  </a:cubicBezTo>
                  <a:close/>
                  <a:moveTo>
                    <a:pt x="2856652" y="1395405"/>
                  </a:moveTo>
                  <a:cubicBezTo>
                    <a:pt x="2856652" y="1395405"/>
                    <a:pt x="2856652" y="1395405"/>
                    <a:pt x="2856652" y="1402678"/>
                  </a:cubicBezTo>
                  <a:cubicBezTo>
                    <a:pt x="2856652" y="1402678"/>
                    <a:pt x="2849423" y="1402678"/>
                    <a:pt x="2849423" y="1402678"/>
                  </a:cubicBezTo>
                  <a:cubicBezTo>
                    <a:pt x="2849423" y="1395405"/>
                    <a:pt x="2856652" y="1395405"/>
                    <a:pt x="2856652" y="1395405"/>
                  </a:cubicBezTo>
                  <a:close/>
                  <a:moveTo>
                    <a:pt x="2856652" y="1388133"/>
                  </a:moveTo>
                  <a:cubicBezTo>
                    <a:pt x="2856652" y="1388133"/>
                    <a:pt x="2856652" y="1395405"/>
                    <a:pt x="2856652" y="1395405"/>
                  </a:cubicBezTo>
                  <a:cubicBezTo>
                    <a:pt x="2856652" y="1395405"/>
                    <a:pt x="2849423" y="1395405"/>
                    <a:pt x="2849423" y="1395405"/>
                  </a:cubicBezTo>
                  <a:cubicBezTo>
                    <a:pt x="2849423" y="1395405"/>
                    <a:pt x="2856652" y="1388133"/>
                    <a:pt x="2856652" y="1388133"/>
                  </a:cubicBezTo>
                  <a:close/>
                  <a:moveTo>
                    <a:pt x="4338567" y="1380860"/>
                  </a:moveTo>
                  <a:cubicBezTo>
                    <a:pt x="4338567" y="1380860"/>
                    <a:pt x="4338567" y="1388133"/>
                    <a:pt x="4338567" y="1395405"/>
                  </a:cubicBezTo>
                  <a:cubicBezTo>
                    <a:pt x="4338567" y="1395405"/>
                    <a:pt x="4338567" y="1402678"/>
                    <a:pt x="4338567" y="1402678"/>
                  </a:cubicBezTo>
                  <a:cubicBezTo>
                    <a:pt x="4331338" y="1402678"/>
                    <a:pt x="4331338" y="1395405"/>
                    <a:pt x="4331338" y="1395405"/>
                  </a:cubicBezTo>
                  <a:cubicBezTo>
                    <a:pt x="4331338" y="1388133"/>
                    <a:pt x="4338567" y="1380860"/>
                    <a:pt x="4338567" y="1380860"/>
                  </a:cubicBezTo>
                  <a:close/>
                  <a:moveTo>
                    <a:pt x="4469091" y="1378532"/>
                  </a:moveTo>
                  <a:lnTo>
                    <a:pt x="4469832" y="1380015"/>
                  </a:lnTo>
                  <a:lnTo>
                    <a:pt x="4471315" y="1378532"/>
                  </a:lnTo>
                  <a:cubicBezTo>
                    <a:pt x="4472543" y="1378532"/>
                    <a:pt x="4473539" y="1379528"/>
                    <a:pt x="4473539" y="1380756"/>
                  </a:cubicBezTo>
                  <a:cubicBezTo>
                    <a:pt x="4473539" y="1381984"/>
                    <a:pt x="4472543" y="1382980"/>
                    <a:pt x="4471315" y="1382980"/>
                  </a:cubicBezTo>
                  <a:lnTo>
                    <a:pt x="4473538" y="1387426"/>
                  </a:lnTo>
                  <a:cubicBezTo>
                    <a:pt x="4473538" y="1387426"/>
                    <a:pt x="4469091" y="1387426"/>
                    <a:pt x="4469091" y="1387426"/>
                  </a:cubicBezTo>
                  <a:cubicBezTo>
                    <a:pt x="4469091" y="1387426"/>
                    <a:pt x="4469091" y="1385202"/>
                    <a:pt x="4469091" y="1382979"/>
                  </a:cubicBezTo>
                  <a:lnTo>
                    <a:pt x="4469091" y="1380756"/>
                  </a:lnTo>
                  <a:close/>
                  <a:moveTo>
                    <a:pt x="2721476" y="1374085"/>
                  </a:moveTo>
                  <a:lnTo>
                    <a:pt x="2723700" y="1375197"/>
                  </a:lnTo>
                  <a:lnTo>
                    <a:pt x="2725923" y="1374085"/>
                  </a:lnTo>
                  <a:lnTo>
                    <a:pt x="2725923" y="1376309"/>
                  </a:lnTo>
                  <a:lnTo>
                    <a:pt x="2725923" y="1378532"/>
                  </a:lnTo>
                  <a:lnTo>
                    <a:pt x="2721479" y="1378532"/>
                  </a:lnTo>
                  <a:lnTo>
                    <a:pt x="2721476" y="1378533"/>
                  </a:lnTo>
                  <a:lnTo>
                    <a:pt x="2721474" y="1378532"/>
                  </a:lnTo>
                  <a:lnTo>
                    <a:pt x="2717029" y="1378532"/>
                  </a:lnTo>
                  <a:lnTo>
                    <a:pt x="2719253" y="1377420"/>
                  </a:lnTo>
                  <a:lnTo>
                    <a:pt x="2717029" y="1376309"/>
                  </a:lnTo>
                  <a:cubicBezTo>
                    <a:pt x="2717029" y="1375081"/>
                    <a:pt x="2719021" y="1374085"/>
                    <a:pt x="2721476" y="1374085"/>
                  </a:cubicBezTo>
                  <a:close/>
                  <a:moveTo>
                    <a:pt x="2104850" y="1373587"/>
                  </a:moveTo>
                  <a:cubicBezTo>
                    <a:pt x="2104850" y="1373587"/>
                    <a:pt x="2104850" y="1373587"/>
                    <a:pt x="2097621" y="1395405"/>
                  </a:cubicBezTo>
                  <a:cubicBezTo>
                    <a:pt x="2097621" y="1395405"/>
                    <a:pt x="2097621" y="1395405"/>
                    <a:pt x="2090392" y="1417224"/>
                  </a:cubicBezTo>
                  <a:cubicBezTo>
                    <a:pt x="2097621" y="1417224"/>
                    <a:pt x="2097621" y="1417224"/>
                    <a:pt x="2104850" y="1417224"/>
                  </a:cubicBezTo>
                  <a:cubicBezTo>
                    <a:pt x="2104850" y="1417224"/>
                    <a:pt x="2104850" y="1417224"/>
                    <a:pt x="2104850" y="1409951"/>
                  </a:cubicBezTo>
                  <a:cubicBezTo>
                    <a:pt x="2104850" y="1409951"/>
                    <a:pt x="2104850" y="1409951"/>
                    <a:pt x="2104850" y="1388133"/>
                  </a:cubicBezTo>
                  <a:close/>
                  <a:moveTo>
                    <a:pt x="4466867" y="1365191"/>
                  </a:moveTo>
                  <a:cubicBezTo>
                    <a:pt x="4466867" y="1365191"/>
                    <a:pt x="4473538" y="1378532"/>
                    <a:pt x="4466867" y="1378532"/>
                  </a:cubicBezTo>
                  <a:cubicBezTo>
                    <a:pt x="4460197" y="1378532"/>
                    <a:pt x="4466867" y="1365191"/>
                    <a:pt x="4466867" y="1365191"/>
                  </a:cubicBezTo>
                  <a:close/>
                  <a:moveTo>
                    <a:pt x="11740007" y="1359544"/>
                  </a:moveTo>
                  <a:cubicBezTo>
                    <a:pt x="11740007" y="1359544"/>
                    <a:pt x="11740007" y="1359544"/>
                    <a:pt x="11732777" y="1374085"/>
                  </a:cubicBezTo>
                  <a:cubicBezTo>
                    <a:pt x="11732777" y="1374085"/>
                    <a:pt x="11732777" y="1374085"/>
                    <a:pt x="11725547" y="1374085"/>
                  </a:cubicBezTo>
                  <a:lnTo>
                    <a:pt x="11718316" y="1381355"/>
                  </a:lnTo>
                  <a:cubicBezTo>
                    <a:pt x="11718316" y="1381355"/>
                    <a:pt x="11718316" y="1381355"/>
                    <a:pt x="11732777" y="1381355"/>
                  </a:cubicBezTo>
                  <a:cubicBezTo>
                    <a:pt x="11732777" y="1381355"/>
                    <a:pt x="11732777" y="1381355"/>
                    <a:pt x="11740007" y="1381355"/>
                  </a:cubicBezTo>
                  <a:cubicBezTo>
                    <a:pt x="11740007" y="1381355"/>
                    <a:pt x="11740007" y="1381355"/>
                    <a:pt x="11761699" y="1381355"/>
                  </a:cubicBezTo>
                  <a:cubicBezTo>
                    <a:pt x="11761699" y="1381355"/>
                    <a:pt x="11761699" y="1381355"/>
                    <a:pt x="11768929" y="1381355"/>
                  </a:cubicBezTo>
                  <a:cubicBezTo>
                    <a:pt x="11768929" y="1381355"/>
                    <a:pt x="11768929" y="1381355"/>
                    <a:pt x="11740007" y="1359544"/>
                  </a:cubicBezTo>
                  <a:close/>
                  <a:moveTo>
                    <a:pt x="11667704" y="1359544"/>
                  </a:moveTo>
                  <a:lnTo>
                    <a:pt x="11660473" y="1374085"/>
                  </a:lnTo>
                  <a:cubicBezTo>
                    <a:pt x="11660473" y="1374085"/>
                    <a:pt x="11660473" y="1374085"/>
                    <a:pt x="11653243" y="1381355"/>
                  </a:cubicBezTo>
                  <a:cubicBezTo>
                    <a:pt x="11653243" y="1381355"/>
                    <a:pt x="11653243" y="1381355"/>
                    <a:pt x="11674934" y="1381355"/>
                  </a:cubicBezTo>
                  <a:cubicBezTo>
                    <a:pt x="11674934" y="1381355"/>
                    <a:pt x="11674934" y="1381355"/>
                    <a:pt x="11689395" y="1381355"/>
                  </a:cubicBezTo>
                  <a:cubicBezTo>
                    <a:pt x="11689395" y="1381355"/>
                    <a:pt x="11689395" y="1381355"/>
                    <a:pt x="11674934" y="1366815"/>
                  </a:cubicBezTo>
                  <a:cubicBezTo>
                    <a:pt x="11674934" y="1366815"/>
                    <a:pt x="11674934" y="1366815"/>
                    <a:pt x="11667704" y="1359544"/>
                  </a:cubicBezTo>
                  <a:close/>
                  <a:moveTo>
                    <a:pt x="11602630" y="1359544"/>
                  </a:moveTo>
                  <a:cubicBezTo>
                    <a:pt x="11602630" y="1359544"/>
                    <a:pt x="11602630" y="1359544"/>
                    <a:pt x="11588169" y="1374085"/>
                  </a:cubicBezTo>
                  <a:cubicBezTo>
                    <a:pt x="11588169" y="1374085"/>
                    <a:pt x="11588169" y="1374085"/>
                    <a:pt x="11580939" y="1381355"/>
                  </a:cubicBezTo>
                  <a:cubicBezTo>
                    <a:pt x="11580939" y="1381355"/>
                    <a:pt x="11580939" y="1381355"/>
                    <a:pt x="11573709" y="1388625"/>
                  </a:cubicBezTo>
                  <a:cubicBezTo>
                    <a:pt x="11573709" y="1388625"/>
                    <a:pt x="11573709" y="1388625"/>
                    <a:pt x="11580939" y="1388625"/>
                  </a:cubicBezTo>
                  <a:cubicBezTo>
                    <a:pt x="11580939" y="1388625"/>
                    <a:pt x="11580939" y="1388625"/>
                    <a:pt x="11602630" y="1381355"/>
                  </a:cubicBezTo>
                  <a:cubicBezTo>
                    <a:pt x="11602630" y="1381355"/>
                    <a:pt x="11602630" y="1381355"/>
                    <a:pt x="11624321" y="1381355"/>
                  </a:cubicBezTo>
                  <a:close/>
                  <a:moveTo>
                    <a:pt x="2725923" y="1356297"/>
                  </a:moveTo>
                  <a:cubicBezTo>
                    <a:pt x="2725923" y="1356297"/>
                    <a:pt x="2725923" y="1374085"/>
                    <a:pt x="2725923" y="1374085"/>
                  </a:cubicBezTo>
                  <a:cubicBezTo>
                    <a:pt x="2717029" y="1374085"/>
                    <a:pt x="2725923" y="1356297"/>
                    <a:pt x="2725923" y="1356297"/>
                  </a:cubicBezTo>
                  <a:close/>
                  <a:moveTo>
                    <a:pt x="11703856" y="1330463"/>
                  </a:moveTo>
                  <a:cubicBezTo>
                    <a:pt x="11703856" y="1330463"/>
                    <a:pt x="11703856" y="1330463"/>
                    <a:pt x="11711086" y="1352274"/>
                  </a:cubicBezTo>
                  <a:cubicBezTo>
                    <a:pt x="11711086" y="1352274"/>
                    <a:pt x="11711086" y="1352274"/>
                    <a:pt x="11711086" y="1359544"/>
                  </a:cubicBezTo>
                  <a:cubicBezTo>
                    <a:pt x="11711086" y="1359544"/>
                    <a:pt x="11711086" y="1359544"/>
                    <a:pt x="11711086" y="1374085"/>
                  </a:cubicBezTo>
                  <a:cubicBezTo>
                    <a:pt x="11711086" y="1374085"/>
                    <a:pt x="11711086" y="1374085"/>
                    <a:pt x="11718316" y="1366815"/>
                  </a:cubicBezTo>
                  <a:cubicBezTo>
                    <a:pt x="11718316" y="1366815"/>
                    <a:pt x="11718316" y="1366815"/>
                    <a:pt x="11718316" y="1359544"/>
                  </a:cubicBezTo>
                  <a:cubicBezTo>
                    <a:pt x="11718316" y="1359544"/>
                    <a:pt x="11718316" y="1359544"/>
                    <a:pt x="11732777" y="1352274"/>
                  </a:cubicBezTo>
                  <a:close/>
                  <a:moveTo>
                    <a:pt x="11696625" y="1330463"/>
                  </a:moveTo>
                  <a:lnTo>
                    <a:pt x="11689395" y="1337733"/>
                  </a:lnTo>
                  <a:cubicBezTo>
                    <a:pt x="11689395" y="1337733"/>
                    <a:pt x="11689395" y="1337733"/>
                    <a:pt x="11689395" y="1345004"/>
                  </a:cubicBezTo>
                  <a:cubicBezTo>
                    <a:pt x="11689395" y="1345004"/>
                    <a:pt x="11689395" y="1345004"/>
                    <a:pt x="11682164" y="1352274"/>
                  </a:cubicBezTo>
                  <a:cubicBezTo>
                    <a:pt x="11682164" y="1352274"/>
                    <a:pt x="11682164" y="1352274"/>
                    <a:pt x="11696625" y="1374085"/>
                  </a:cubicBezTo>
                  <a:cubicBezTo>
                    <a:pt x="11696625" y="1374085"/>
                    <a:pt x="11696625" y="1374085"/>
                    <a:pt x="11696625" y="1352274"/>
                  </a:cubicBezTo>
                  <a:cubicBezTo>
                    <a:pt x="11696625" y="1352274"/>
                    <a:pt x="11696625" y="1352274"/>
                    <a:pt x="11696625" y="1337733"/>
                  </a:cubicBezTo>
                  <a:cubicBezTo>
                    <a:pt x="11696625" y="1337733"/>
                    <a:pt x="11696625" y="1337733"/>
                    <a:pt x="11696625" y="1330463"/>
                  </a:cubicBezTo>
                  <a:close/>
                  <a:moveTo>
                    <a:pt x="11646013" y="1330463"/>
                  </a:moveTo>
                  <a:cubicBezTo>
                    <a:pt x="11646013" y="1330463"/>
                    <a:pt x="11646013" y="1330463"/>
                    <a:pt x="11646013" y="1337733"/>
                  </a:cubicBezTo>
                  <a:cubicBezTo>
                    <a:pt x="11646013" y="1337733"/>
                    <a:pt x="11646013" y="1337733"/>
                    <a:pt x="11646013" y="1359544"/>
                  </a:cubicBezTo>
                  <a:cubicBezTo>
                    <a:pt x="11646013" y="1359544"/>
                    <a:pt x="11646013" y="1359544"/>
                    <a:pt x="11646013" y="1374085"/>
                  </a:cubicBezTo>
                  <a:cubicBezTo>
                    <a:pt x="11646013" y="1374085"/>
                    <a:pt x="11646013" y="1374085"/>
                    <a:pt x="11653243" y="1366815"/>
                  </a:cubicBezTo>
                  <a:cubicBezTo>
                    <a:pt x="11653243" y="1366815"/>
                    <a:pt x="11653243" y="1366815"/>
                    <a:pt x="11660473" y="1352274"/>
                  </a:cubicBezTo>
                  <a:close/>
                  <a:moveTo>
                    <a:pt x="11631552" y="1330463"/>
                  </a:moveTo>
                  <a:cubicBezTo>
                    <a:pt x="11631552" y="1330463"/>
                    <a:pt x="11631552" y="1330463"/>
                    <a:pt x="11624321" y="1337733"/>
                  </a:cubicBezTo>
                  <a:cubicBezTo>
                    <a:pt x="11624321" y="1337733"/>
                    <a:pt x="11624321" y="1337733"/>
                    <a:pt x="11609861" y="1352274"/>
                  </a:cubicBezTo>
                  <a:lnTo>
                    <a:pt x="11631552" y="1374085"/>
                  </a:lnTo>
                  <a:cubicBezTo>
                    <a:pt x="11631552" y="1374085"/>
                    <a:pt x="11631552" y="1374085"/>
                    <a:pt x="11631552" y="1345004"/>
                  </a:cubicBezTo>
                  <a:cubicBezTo>
                    <a:pt x="11631552" y="1345004"/>
                    <a:pt x="11631552" y="1345004"/>
                    <a:pt x="11631552" y="1330463"/>
                  </a:cubicBezTo>
                  <a:close/>
                  <a:moveTo>
                    <a:pt x="11566478" y="1330463"/>
                  </a:moveTo>
                  <a:cubicBezTo>
                    <a:pt x="11566478" y="1330463"/>
                    <a:pt x="11566478" y="1330463"/>
                    <a:pt x="11566478" y="1352274"/>
                  </a:cubicBezTo>
                  <a:cubicBezTo>
                    <a:pt x="11566478" y="1352274"/>
                    <a:pt x="11566478" y="1352274"/>
                    <a:pt x="11566478" y="1374085"/>
                  </a:cubicBezTo>
                  <a:cubicBezTo>
                    <a:pt x="11566478" y="1374085"/>
                    <a:pt x="11566478" y="1374085"/>
                    <a:pt x="11580939" y="1366815"/>
                  </a:cubicBezTo>
                  <a:cubicBezTo>
                    <a:pt x="11580939" y="1366815"/>
                    <a:pt x="11580939" y="1366815"/>
                    <a:pt x="11588169" y="1352274"/>
                  </a:cubicBezTo>
                  <a:cubicBezTo>
                    <a:pt x="11588169" y="1352274"/>
                    <a:pt x="11588169" y="1352274"/>
                    <a:pt x="11566478" y="1330463"/>
                  </a:cubicBezTo>
                  <a:close/>
                  <a:moveTo>
                    <a:pt x="11718316" y="1323193"/>
                  </a:moveTo>
                  <a:lnTo>
                    <a:pt x="11740007" y="1337733"/>
                  </a:lnTo>
                  <a:cubicBezTo>
                    <a:pt x="11740007" y="1337733"/>
                    <a:pt x="11740007" y="1337733"/>
                    <a:pt x="11754468" y="1330463"/>
                  </a:cubicBezTo>
                  <a:cubicBezTo>
                    <a:pt x="11754468" y="1330463"/>
                    <a:pt x="11754468" y="1330463"/>
                    <a:pt x="11761699" y="1323193"/>
                  </a:cubicBezTo>
                  <a:cubicBezTo>
                    <a:pt x="11761699" y="1323193"/>
                    <a:pt x="11761699" y="1323193"/>
                    <a:pt x="11747238" y="1323193"/>
                  </a:cubicBezTo>
                  <a:cubicBezTo>
                    <a:pt x="11747238" y="1323193"/>
                    <a:pt x="11747238" y="1323193"/>
                    <a:pt x="11718316" y="1323193"/>
                  </a:cubicBezTo>
                  <a:close/>
                  <a:moveTo>
                    <a:pt x="11653243" y="1323193"/>
                  </a:moveTo>
                  <a:cubicBezTo>
                    <a:pt x="11653243" y="1323193"/>
                    <a:pt x="11653243" y="1323193"/>
                    <a:pt x="11667704" y="1337733"/>
                  </a:cubicBezTo>
                  <a:cubicBezTo>
                    <a:pt x="11667704" y="1337733"/>
                    <a:pt x="11667704" y="1337733"/>
                    <a:pt x="11674934" y="1330463"/>
                  </a:cubicBezTo>
                  <a:cubicBezTo>
                    <a:pt x="11674934" y="1330463"/>
                    <a:pt x="11674934" y="1330463"/>
                    <a:pt x="11682164" y="1323193"/>
                  </a:cubicBezTo>
                  <a:cubicBezTo>
                    <a:pt x="11682164" y="1323193"/>
                    <a:pt x="11682164" y="1323193"/>
                    <a:pt x="11674934" y="1323193"/>
                  </a:cubicBezTo>
                  <a:cubicBezTo>
                    <a:pt x="11674934" y="1323193"/>
                    <a:pt x="11674934" y="1323193"/>
                    <a:pt x="11667704" y="1323193"/>
                  </a:cubicBezTo>
                  <a:close/>
                  <a:moveTo>
                    <a:pt x="11580939" y="1323193"/>
                  </a:moveTo>
                  <a:cubicBezTo>
                    <a:pt x="11580939" y="1323193"/>
                    <a:pt x="11580939" y="1323193"/>
                    <a:pt x="11602630" y="1345004"/>
                  </a:cubicBezTo>
                  <a:cubicBezTo>
                    <a:pt x="11602630" y="1345004"/>
                    <a:pt x="11602630" y="1345004"/>
                    <a:pt x="11617091" y="1330463"/>
                  </a:cubicBezTo>
                  <a:cubicBezTo>
                    <a:pt x="11617091" y="1330463"/>
                    <a:pt x="11617091" y="1330463"/>
                    <a:pt x="11624321" y="1323193"/>
                  </a:cubicBezTo>
                  <a:cubicBezTo>
                    <a:pt x="11624321" y="1323193"/>
                    <a:pt x="11624321" y="1323193"/>
                    <a:pt x="11609861" y="1323193"/>
                  </a:cubicBezTo>
                  <a:cubicBezTo>
                    <a:pt x="11609861" y="1323193"/>
                    <a:pt x="11609861" y="1323193"/>
                    <a:pt x="11580939" y="1323193"/>
                  </a:cubicBezTo>
                  <a:close/>
                  <a:moveTo>
                    <a:pt x="4295194" y="1322676"/>
                  </a:moveTo>
                  <a:cubicBezTo>
                    <a:pt x="4295194" y="1329949"/>
                    <a:pt x="4302423" y="1329949"/>
                    <a:pt x="4302423" y="1329949"/>
                  </a:cubicBezTo>
                  <a:cubicBezTo>
                    <a:pt x="4302423" y="1329949"/>
                    <a:pt x="4295194" y="1329949"/>
                    <a:pt x="4295194" y="1329949"/>
                  </a:cubicBezTo>
                  <a:cubicBezTo>
                    <a:pt x="4295194" y="1329949"/>
                    <a:pt x="4295194" y="1322676"/>
                    <a:pt x="4295194" y="1322676"/>
                  </a:cubicBezTo>
                  <a:close/>
                  <a:moveTo>
                    <a:pt x="11732777" y="1279571"/>
                  </a:moveTo>
                  <a:cubicBezTo>
                    <a:pt x="11732777" y="1279571"/>
                    <a:pt x="11732777" y="1279571"/>
                    <a:pt x="11732777" y="1286841"/>
                  </a:cubicBezTo>
                  <a:cubicBezTo>
                    <a:pt x="11732777" y="1286841"/>
                    <a:pt x="11732777" y="1286841"/>
                    <a:pt x="11718316" y="1301382"/>
                  </a:cubicBezTo>
                  <a:cubicBezTo>
                    <a:pt x="11718316" y="1301382"/>
                    <a:pt x="11718316" y="1301382"/>
                    <a:pt x="11711086" y="1308652"/>
                  </a:cubicBezTo>
                  <a:cubicBezTo>
                    <a:pt x="11711086" y="1308652"/>
                    <a:pt x="11711086" y="1308652"/>
                    <a:pt x="11732777" y="1308652"/>
                  </a:cubicBezTo>
                  <a:cubicBezTo>
                    <a:pt x="11732777" y="1308652"/>
                    <a:pt x="11732777" y="1308652"/>
                    <a:pt x="11754468" y="1308652"/>
                  </a:cubicBezTo>
                  <a:lnTo>
                    <a:pt x="11761699" y="1308652"/>
                  </a:lnTo>
                  <a:cubicBezTo>
                    <a:pt x="11761699" y="1308652"/>
                    <a:pt x="11761699" y="1308652"/>
                    <a:pt x="11747238" y="1294112"/>
                  </a:cubicBezTo>
                  <a:cubicBezTo>
                    <a:pt x="11747238" y="1294112"/>
                    <a:pt x="11747238" y="1294112"/>
                    <a:pt x="11732777" y="1279571"/>
                  </a:cubicBezTo>
                  <a:close/>
                  <a:moveTo>
                    <a:pt x="11667704" y="1279571"/>
                  </a:moveTo>
                  <a:lnTo>
                    <a:pt x="11660473" y="1294112"/>
                  </a:lnTo>
                  <a:cubicBezTo>
                    <a:pt x="11660473" y="1294112"/>
                    <a:pt x="11660473" y="1294112"/>
                    <a:pt x="11653243" y="1301382"/>
                  </a:cubicBezTo>
                  <a:cubicBezTo>
                    <a:pt x="11653243" y="1301382"/>
                    <a:pt x="11653243" y="1301382"/>
                    <a:pt x="11653243" y="1308652"/>
                  </a:cubicBezTo>
                  <a:cubicBezTo>
                    <a:pt x="11653243" y="1308652"/>
                    <a:pt x="11653243" y="1308652"/>
                    <a:pt x="11660473" y="1308652"/>
                  </a:cubicBezTo>
                  <a:cubicBezTo>
                    <a:pt x="11660473" y="1308652"/>
                    <a:pt x="11660473" y="1308652"/>
                    <a:pt x="11682164" y="1308652"/>
                  </a:cubicBezTo>
                  <a:cubicBezTo>
                    <a:pt x="11682164" y="1308652"/>
                    <a:pt x="11682164" y="1308652"/>
                    <a:pt x="11689395" y="1308652"/>
                  </a:cubicBezTo>
                  <a:cubicBezTo>
                    <a:pt x="11689395" y="1308652"/>
                    <a:pt x="11689395" y="1308652"/>
                    <a:pt x="11667704" y="1279571"/>
                  </a:cubicBezTo>
                  <a:close/>
                  <a:moveTo>
                    <a:pt x="11602630" y="1279571"/>
                  </a:moveTo>
                  <a:cubicBezTo>
                    <a:pt x="11602630" y="1279571"/>
                    <a:pt x="11602630" y="1279571"/>
                    <a:pt x="11595400" y="1294112"/>
                  </a:cubicBezTo>
                  <a:cubicBezTo>
                    <a:pt x="11595400" y="1294112"/>
                    <a:pt x="11595400" y="1294112"/>
                    <a:pt x="11588169" y="1301382"/>
                  </a:cubicBezTo>
                  <a:cubicBezTo>
                    <a:pt x="11588169" y="1301382"/>
                    <a:pt x="11588169" y="1301382"/>
                    <a:pt x="11580939" y="1308652"/>
                  </a:cubicBezTo>
                  <a:cubicBezTo>
                    <a:pt x="11580939" y="1308652"/>
                    <a:pt x="11580939" y="1308652"/>
                    <a:pt x="11595400" y="1308652"/>
                  </a:cubicBezTo>
                  <a:cubicBezTo>
                    <a:pt x="11595400" y="1308652"/>
                    <a:pt x="11595400" y="1308652"/>
                    <a:pt x="11609861" y="1308652"/>
                  </a:cubicBezTo>
                  <a:cubicBezTo>
                    <a:pt x="11609861" y="1308652"/>
                    <a:pt x="11609861" y="1308652"/>
                    <a:pt x="11624321" y="1308652"/>
                  </a:cubicBezTo>
                  <a:close/>
                  <a:moveTo>
                    <a:pt x="11761699" y="1250490"/>
                  </a:moveTo>
                  <a:cubicBezTo>
                    <a:pt x="11761699" y="1250490"/>
                    <a:pt x="11761699" y="1250490"/>
                    <a:pt x="11747238" y="1265030"/>
                  </a:cubicBezTo>
                  <a:cubicBezTo>
                    <a:pt x="11747238" y="1265030"/>
                    <a:pt x="11747238" y="1265030"/>
                    <a:pt x="11768929" y="1294112"/>
                  </a:cubicBezTo>
                  <a:cubicBezTo>
                    <a:pt x="11768929" y="1294112"/>
                    <a:pt x="11768929" y="1294112"/>
                    <a:pt x="11768929" y="1286841"/>
                  </a:cubicBezTo>
                  <a:cubicBezTo>
                    <a:pt x="11768929" y="1286841"/>
                    <a:pt x="11768929" y="1286841"/>
                    <a:pt x="11761699" y="1257760"/>
                  </a:cubicBezTo>
                  <a:cubicBezTo>
                    <a:pt x="11761699" y="1257760"/>
                    <a:pt x="11761699" y="1257760"/>
                    <a:pt x="11761699" y="1255943"/>
                  </a:cubicBezTo>
                  <a:close/>
                  <a:moveTo>
                    <a:pt x="11689395" y="1250490"/>
                  </a:moveTo>
                  <a:cubicBezTo>
                    <a:pt x="11689395" y="1250490"/>
                    <a:pt x="11689395" y="1250490"/>
                    <a:pt x="11682164" y="1265030"/>
                  </a:cubicBezTo>
                  <a:cubicBezTo>
                    <a:pt x="11682164" y="1265030"/>
                    <a:pt x="11682164" y="1265030"/>
                    <a:pt x="11674934" y="1272301"/>
                  </a:cubicBezTo>
                  <a:lnTo>
                    <a:pt x="11689395" y="1294112"/>
                  </a:lnTo>
                  <a:cubicBezTo>
                    <a:pt x="11689395" y="1294112"/>
                    <a:pt x="11689395" y="1294112"/>
                    <a:pt x="11689395" y="1272301"/>
                  </a:cubicBezTo>
                  <a:cubicBezTo>
                    <a:pt x="11689395" y="1272301"/>
                    <a:pt x="11689395" y="1272301"/>
                    <a:pt x="11689395" y="1250490"/>
                  </a:cubicBezTo>
                  <a:close/>
                  <a:moveTo>
                    <a:pt x="11646013" y="1250490"/>
                  </a:moveTo>
                  <a:cubicBezTo>
                    <a:pt x="11646013" y="1250490"/>
                    <a:pt x="11646013" y="1250490"/>
                    <a:pt x="11646013" y="1272301"/>
                  </a:cubicBezTo>
                  <a:cubicBezTo>
                    <a:pt x="11646013" y="1272301"/>
                    <a:pt x="11646013" y="1272301"/>
                    <a:pt x="11646013" y="1294112"/>
                  </a:cubicBezTo>
                  <a:cubicBezTo>
                    <a:pt x="11646013" y="1294112"/>
                    <a:pt x="11646013" y="1294112"/>
                    <a:pt x="11653243" y="1279571"/>
                  </a:cubicBezTo>
                  <a:cubicBezTo>
                    <a:pt x="11653243" y="1279571"/>
                    <a:pt x="11653243" y="1279571"/>
                    <a:pt x="11660473" y="1272301"/>
                  </a:cubicBezTo>
                  <a:cubicBezTo>
                    <a:pt x="11660473" y="1272301"/>
                    <a:pt x="11660473" y="1272301"/>
                    <a:pt x="11646013" y="1250490"/>
                  </a:cubicBezTo>
                  <a:close/>
                  <a:moveTo>
                    <a:pt x="11573709" y="1250490"/>
                  </a:moveTo>
                  <a:cubicBezTo>
                    <a:pt x="11573709" y="1250490"/>
                    <a:pt x="11573709" y="1250490"/>
                    <a:pt x="11573709" y="1272301"/>
                  </a:cubicBezTo>
                  <a:cubicBezTo>
                    <a:pt x="11573709" y="1272301"/>
                    <a:pt x="11573709" y="1272301"/>
                    <a:pt x="11573709" y="1286841"/>
                  </a:cubicBezTo>
                  <a:lnTo>
                    <a:pt x="11573709" y="1294112"/>
                  </a:lnTo>
                  <a:cubicBezTo>
                    <a:pt x="11573709" y="1294112"/>
                    <a:pt x="11573709" y="1294112"/>
                    <a:pt x="11580939" y="1279571"/>
                  </a:cubicBezTo>
                  <a:cubicBezTo>
                    <a:pt x="11580939" y="1279571"/>
                    <a:pt x="11580939" y="1279571"/>
                    <a:pt x="11595400" y="1272301"/>
                  </a:cubicBezTo>
                  <a:cubicBezTo>
                    <a:pt x="11595400" y="1272301"/>
                    <a:pt x="11595400" y="1272301"/>
                    <a:pt x="11573709" y="1250490"/>
                  </a:cubicBezTo>
                  <a:close/>
                  <a:moveTo>
                    <a:pt x="11703856" y="1243220"/>
                  </a:moveTo>
                  <a:cubicBezTo>
                    <a:pt x="11703856" y="1243220"/>
                    <a:pt x="11703856" y="1243220"/>
                    <a:pt x="11703856" y="1250490"/>
                  </a:cubicBezTo>
                  <a:cubicBezTo>
                    <a:pt x="11703856" y="1250490"/>
                    <a:pt x="11703856" y="1250490"/>
                    <a:pt x="11703856" y="1265030"/>
                  </a:cubicBezTo>
                  <a:cubicBezTo>
                    <a:pt x="11703856" y="1265030"/>
                    <a:pt x="11703856" y="1265030"/>
                    <a:pt x="11703856" y="1286841"/>
                  </a:cubicBezTo>
                  <a:cubicBezTo>
                    <a:pt x="11703856" y="1286841"/>
                    <a:pt x="11703856" y="1286841"/>
                    <a:pt x="11703856" y="1294112"/>
                  </a:cubicBezTo>
                  <a:lnTo>
                    <a:pt x="11711086" y="1286841"/>
                  </a:lnTo>
                  <a:cubicBezTo>
                    <a:pt x="11711086" y="1286841"/>
                    <a:pt x="11711086" y="1286841"/>
                    <a:pt x="11718316" y="1279571"/>
                  </a:cubicBezTo>
                  <a:cubicBezTo>
                    <a:pt x="11718316" y="1279571"/>
                    <a:pt x="11718316" y="1279571"/>
                    <a:pt x="11725547" y="1272301"/>
                  </a:cubicBezTo>
                  <a:cubicBezTo>
                    <a:pt x="11725547" y="1272301"/>
                    <a:pt x="11725547" y="1272301"/>
                    <a:pt x="11703856" y="1243220"/>
                  </a:cubicBezTo>
                  <a:close/>
                  <a:moveTo>
                    <a:pt x="11631552" y="1243220"/>
                  </a:moveTo>
                  <a:cubicBezTo>
                    <a:pt x="11631552" y="1243220"/>
                    <a:pt x="11631552" y="1243220"/>
                    <a:pt x="11624321" y="1257760"/>
                  </a:cubicBezTo>
                  <a:cubicBezTo>
                    <a:pt x="11624321" y="1257760"/>
                    <a:pt x="11624321" y="1257760"/>
                    <a:pt x="11617091" y="1265030"/>
                  </a:cubicBezTo>
                  <a:cubicBezTo>
                    <a:pt x="11617091" y="1265030"/>
                    <a:pt x="11617091" y="1265030"/>
                    <a:pt x="11609861" y="1272301"/>
                  </a:cubicBezTo>
                  <a:cubicBezTo>
                    <a:pt x="11609861" y="1272301"/>
                    <a:pt x="11609861" y="1272301"/>
                    <a:pt x="11617091" y="1272301"/>
                  </a:cubicBezTo>
                  <a:lnTo>
                    <a:pt x="11631552" y="1294112"/>
                  </a:lnTo>
                  <a:cubicBezTo>
                    <a:pt x="11631552" y="1294112"/>
                    <a:pt x="11631552" y="1294112"/>
                    <a:pt x="11631552" y="1279571"/>
                  </a:cubicBezTo>
                  <a:cubicBezTo>
                    <a:pt x="11631552" y="1279571"/>
                    <a:pt x="11631552" y="1279571"/>
                    <a:pt x="11631552" y="1265030"/>
                  </a:cubicBezTo>
                  <a:cubicBezTo>
                    <a:pt x="11631552" y="1265030"/>
                    <a:pt x="11631552" y="1265030"/>
                    <a:pt x="11631552" y="1243220"/>
                  </a:cubicBezTo>
                  <a:close/>
                  <a:moveTo>
                    <a:pt x="11711086" y="1235949"/>
                  </a:moveTo>
                  <a:cubicBezTo>
                    <a:pt x="11711086" y="1235949"/>
                    <a:pt x="11711086" y="1235949"/>
                    <a:pt x="11732777" y="1257760"/>
                  </a:cubicBezTo>
                  <a:cubicBezTo>
                    <a:pt x="11732777" y="1257760"/>
                    <a:pt x="11732777" y="1257760"/>
                    <a:pt x="11747238" y="1243220"/>
                  </a:cubicBezTo>
                  <a:cubicBezTo>
                    <a:pt x="11747238" y="1243220"/>
                    <a:pt x="11747238" y="1243220"/>
                    <a:pt x="11754468" y="1235949"/>
                  </a:cubicBezTo>
                  <a:cubicBezTo>
                    <a:pt x="11754468" y="1235949"/>
                    <a:pt x="11754468" y="1235949"/>
                    <a:pt x="11740007" y="1235949"/>
                  </a:cubicBezTo>
                  <a:cubicBezTo>
                    <a:pt x="11740007" y="1235949"/>
                    <a:pt x="11740007" y="1235949"/>
                    <a:pt x="11711086" y="1235949"/>
                  </a:cubicBezTo>
                  <a:close/>
                  <a:moveTo>
                    <a:pt x="11653243" y="1235949"/>
                  </a:moveTo>
                  <a:cubicBezTo>
                    <a:pt x="11653243" y="1235949"/>
                    <a:pt x="11653243" y="1235949"/>
                    <a:pt x="11667704" y="1257760"/>
                  </a:cubicBezTo>
                  <a:cubicBezTo>
                    <a:pt x="11667704" y="1257760"/>
                    <a:pt x="11667704" y="1257760"/>
                    <a:pt x="11674934" y="1250490"/>
                  </a:cubicBezTo>
                  <a:cubicBezTo>
                    <a:pt x="11674934" y="1250490"/>
                    <a:pt x="11674934" y="1250490"/>
                    <a:pt x="11682164" y="1235949"/>
                  </a:cubicBezTo>
                  <a:cubicBezTo>
                    <a:pt x="11682164" y="1235949"/>
                    <a:pt x="11682164" y="1235949"/>
                    <a:pt x="11674934" y="1235949"/>
                  </a:cubicBezTo>
                  <a:cubicBezTo>
                    <a:pt x="11674934" y="1235949"/>
                    <a:pt x="11674934" y="1235949"/>
                    <a:pt x="11653243" y="1235949"/>
                  </a:cubicBezTo>
                  <a:close/>
                  <a:moveTo>
                    <a:pt x="11580939" y="1235949"/>
                  </a:moveTo>
                  <a:cubicBezTo>
                    <a:pt x="11580939" y="1235949"/>
                    <a:pt x="11580939" y="1235949"/>
                    <a:pt x="11602630" y="1257760"/>
                  </a:cubicBezTo>
                  <a:cubicBezTo>
                    <a:pt x="11602630" y="1257760"/>
                    <a:pt x="11602630" y="1257760"/>
                    <a:pt x="11609861" y="1257760"/>
                  </a:cubicBezTo>
                  <a:cubicBezTo>
                    <a:pt x="11609861" y="1257760"/>
                    <a:pt x="11609861" y="1257760"/>
                    <a:pt x="11617091" y="1243220"/>
                  </a:cubicBezTo>
                  <a:cubicBezTo>
                    <a:pt x="11617091" y="1243220"/>
                    <a:pt x="11617091" y="1243220"/>
                    <a:pt x="11624321" y="1235949"/>
                  </a:cubicBezTo>
                  <a:cubicBezTo>
                    <a:pt x="11624321" y="1235949"/>
                    <a:pt x="11624321" y="1235949"/>
                    <a:pt x="11602630" y="1235949"/>
                  </a:cubicBezTo>
                  <a:cubicBezTo>
                    <a:pt x="11602630" y="1235949"/>
                    <a:pt x="11602630" y="1235949"/>
                    <a:pt x="11588169" y="1235949"/>
                  </a:cubicBezTo>
                  <a:close/>
                  <a:moveTo>
                    <a:pt x="9268362" y="1225721"/>
                  </a:moveTo>
                  <a:cubicBezTo>
                    <a:pt x="9579086" y="1218444"/>
                    <a:pt x="9853680" y="1720537"/>
                    <a:pt x="10005429" y="2440931"/>
                  </a:cubicBezTo>
                  <a:cubicBezTo>
                    <a:pt x="10027107" y="2535528"/>
                    <a:pt x="10048786" y="2630125"/>
                    <a:pt x="10063238" y="2739276"/>
                  </a:cubicBezTo>
                  <a:cubicBezTo>
                    <a:pt x="10019881" y="2739276"/>
                    <a:pt x="9983750" y="2739276"/>
                    <a:pt x="9940394" y="2739276"/>
                  </a:cubicBezTo>
                  <a:cubicBezTo>
                    <a:pt x="9911489" y="2644679"/>
                    <a:pt x="9875358" y="2557358"/>
                    <a:pt x="9832001" y="2477315"/>
                  </a:cubicBezTo>
                  <a:cubicBezTo>
                    <a:pt x="9665800" y="2142586"/>
                    <a:pt x="9441790" y="1924285"/>
                    <a:pt x="9268362" y="1924285"/>
                  </a:cubicBezTo>
                  <a:cubicBezTo>
                    <a:pt x="9058804" y="1931562"/>
                    <a:pt x="8791437" y="2259013"/>
                    <a:pt x="8625235" y="2731999"/>
                  </a:cubicBezTo>
                  <a:cubicBezTo>
                    <a:pt x="8589105" y="2731999"/>
                    <a:pt x="8545748" y="2731999"/>
                    <a:pt x="8502391" y="2731999"/>
                  </a:cubicBezTo>
                  <a:cubicBezTo>
                    <a:pt x="8639688" y="1866071"/>
                    <a:pt x="8907055" y="1225721"/>
                    <a:pt x="9268362" y="1225721"/>
                  </a:cubicBezTo>
                  <a:close/>
                  <a:moveTo>
                    <a:pt x="3183950" y="1218444"/>
                  </a:moveTo>
                  <a:cubicBezTo>
                    <a:pt x="3186407" y="1218444"/>
                    <a:pt x="3188397" y="1220435"/>
                    <a:pt x="3188397" y="1222891"/>
                  </a:cubicBezTo>
                  <a:cubicBezTo>
                    <a:pt x="3188397" y="1225347"/>
                    <a:pt x="3186407" y="1227338"/>
                    <a:pt x="3183950" y="1227338"/>
                  </a:cubicBezTo>
                  <a:cubicBezTo>
                    <a:pt x="3181495" y="1227338"/>
                    <a:pt x="3179504" y="1225347"/>
                    <a:pt x="3179504" y="1222891"/>
                  </a:cubicBezTo>
                  <a:cubicBezTo>
                    <a:pt x="3179504" y="1220435"/>
                    <a:pt x="3181495" y="1218444"/>
                    <a:pt x="3183950" y="1218444"/>
                  </a:cubicBezTo>
                  <a:close/>
                  <a:moveTo>
                    <a:pt x="2085874" y="1214491"/>
                  </a:moveTo>
                  <a:cubicBezTo>
                    <a:pt x="2075934" y="1211764"/>
                    <a:pt x="2065091" y="1217219"/>
                    <a:pt x="2061477" y="1235401"/>
                  </a:cubicBezTo>
                  <a:cubicBezTo>
                    <a:pt x="2061477" y="1235401"/>
                    <a:pt x="2061477" y="1235401"/>
                    <a:pt x="2054248" y="1279039"/>
                  </a:cubicBezTo>
                  <a:cubicBezTo>
                    <a:pt x="2054248" y="1279039"/>
                    <a:pt x="2054248" y="1279039"/>
                    <a:pt x="2047019" y="1300857"/>
                  </a:cubicBezTo>
                  <a:cubicBezTo>
                    <a:pt x="2047019" y="1300857"/>
                    <a:pt x="2047019" y="1300857"/>
                    <a:pt x="2047019" y="1308130"/>
                  </a:cubicBezTo>
                  <a:cubicBezTo>
                    <a:pt x="2047019" y="1308130"/>
                    <a:pt x="2047019" y="1308130"/>
                    <a:pt x="2039790" y="1337222"/>
                  </a:cubicBezTo>
                  <a:cubicBezTo>
                    <a:pt x="2039790" y="1337222"/>
                    <a:pt x="2039790" y="1337222"/>
                    <a:pt x="2039790" y="1359041"/>
                  </a:cubicBezTo>
                  <a:cubicBezTo>
                    <a:pt x="2032562" y="1373587"/>
                    <a:pt x="2032562" y="1388133"/>
                    <a:pt x="2025332" y="1409951"/>
                  </a:cubicBezTo>
                  <a:cubicBezTo>
                    <a:pt x="2025332" y="1409951"/>
                    <a:pt x="2025332" y="1409951"/>
                    <a:pt x="2018103" y="1439043"/>
                  </a:cubicBezTo>
                  <a:cubicBezTo>
                    <a:pt x="2018103" y="1439043"/>
                    <a:pt x="2018103" y="1439043"/>
                    <a:pt x="2025332" y="1439043"/>
                  </a:cubicBezTo>
                  <a:cubicBezTo>
                    <a:pt x="2032562" y="1446316"/>
                    <a:pt x="2039790" y="1453589"/>
                    <a:pt x="2047019" y="1453589"/>
                  </a:cubicBezTo>
                  <a:cubicBezTo>
                    <a:pt x="2054248" y="1460862"/>
                    <a:pt x="2061477" y="1460862"/>
                    <a:pt x="2068706" y="1460862"/>
                  </a:cubicBezTo>
                  <a:cubicBezTo>
                    <a:pt x="2068706" y="1460862"/>
                    <a:pt x="2068706" y="1460862"/>
                    <a:pt x="2075934" y="1439043"/>
                  </a:cubicBezTo>
                  <a:cubicBezTo>
                    <a:pt x="2075934" y="1439043"/>
                    <a:pt x="2075934" y="1439043"/>
                    <a:pt x="2075934" y="1402678"/>
                  </a:cubicBezTo>
                  <a:cubicBezTo>
                    <a:pt x="2075934" y="1402678"/>
                    <a:pt x="2075934" y="1402678"/>
                    <a:pt x="2083163" y="1366314"/>
                  </a:cubicBezTo>
                  <a:cubicBezTo>
                    <a:pt x="2083163" y="1366314"/>
                    <a:pt x="2083163" y="1366314"/>
                    <a:pt x="2090392" y="1359041"/>
                  </a:cubicBezTo>
                  <a:cubicBezTo>
                    <a:pt x="2090392" y="1359041"/>
                    <a:pt x="2090392" y="1359041"/>
                    <a:pt x="2097621" y="1315403"/>
                  </a:cubicBezTo>
                  <a:cubicBezTo>
                    <a:pt x="2097621" y="1300857"/>
                    <a:pt x="2104850" y="1286312"/>
                    <a:pt x="2104850" y="1271766"/>
                  </a:cubicBezTo>
                  <a:cubicBezTo>
                    <a:pt x="2104850" y="1271766"/>
                    <a:pt x="2104850" y="1271766"/>
                    <a:pt x="2104850" y="1264493"/>
                  </a:cubicBezTo>
                  <a:cubicBezTo>
                    <a:pt x="2104850" y="1264493"/>
                    <a:pt x="2104850" y="1264493"/>
                    <a:pt x="2104850" y="1257220"/>
                  </a:cubicBezTo>
                  <a:cubicBezTo>
                    <a:pt x="2104850" y="1257220"/>
                    <a:pt x="2104850" y="1249947"/>
                    <a:pt x="2104850" y="1242674"/>
                  </a:cubicBezTo>
                  <a:cubicBezTo>
                    <a:pt x="2104850" y="1228128"/>
                    <a:pt x="2095814" y="1217219"/>
                    <a:pt x="2085874" y="1214491"/>
                  </a:cubicBezTo>
                  <a:close/>
                  <a:moveTo>
                    <a:pt x="3181726" y="1205104"/>
                  </a:moveTo>
                  <a:cubicBezTo>
                    <a:pt x="3189508" y="1205104"/>
                    <a:pt x="3197291" y="1205104"/>
                    <a:pt x="3197291" y="1211774"/>
                  </a:cubicBezTo>
                  <a:cubicBezTo>
                    <a:pt x="3197291" y="1218445"/>
                    <a:pt x="3189508" y="1218445"/>
                    <a:pt x="3181726" y="1218445"/>
                  </a:cubicBezTo>
                  <a:cubicBezTo>
                    <a:pt x="3181726" y="1218445"/>
                    <a:pt x="3181726" y="1218445"/>
                    <a:pt x="3173944" y="1218445"/>
                  </a:cubicBezTo>
                  <a:cubicBezTo>
                    <a:pt x="3173944" y="1218445"/>
                    <a:pt x="3166162" y="1218445"/>
                    <a:pt x="3166162" y="1211774"/>
                  </a:cubicBezTo>
                  <a:cubicBezTo>
                    <a:pt x="3166162" y="1205104"/>
                    <a:pt x="3173944" y="1205104"/>
                    <a:pt x="3181726" y="1205104"/>
                  </a:cubicBezTo>
                  <a:close/>
                  <a:moveTo>
                    <a:pt x="11667704" y="1199598"/>
                  </a:moveTo>
                  <a:lnTo>
                    <a:pt x="11660473" y="1206868"/>
                  </a:lnTo>
                  <a:cubicBezTo>
                    <a:pt x="11660473" y="1206868"/>
                    <a:pt x="11660473" y="1206868"/>
                    <a:pt x="11653243" y="1214138"/>
                  </a:cubicBezTo>
                  <a:cubicBezTo>
                    <a:pt x="11653243" y="1214138"/>
                    <a:pt x="11653243" y="1214138"/>
                    <a:pt x="11653243" y="1221409"/>
                  </a:cubicBezTo>
                  <a:cubicBezTo>
                    <a:pt x="11653243" y="1221409"/>
                    <a:pt x="11653243" y="1221409"/>
                    <a:pt x="11660473" y="1221409"/>
                  </a:cubicBezTo>
                  <a:cubicBezTo>
                    <a:pt x="11660473" y="1221409"/>
                    <a:pt x="11660473" y="1221409"/>
                    <a:pt x="11674934" y="1221409"/>
                  </a:cubicBezTo>
                  <a:cubicBezTo>
                    <a:pt x="11674934" y="1221409"/>
                    <a:pt x="11674934" y="1221409"/>
                    <a:pt x="11682164" y="1221409"/>
                  </a:cubicBezTo>
                  <a:cubicBezTo>
                    <a:pt x="11682164" y="1221409"/>
                    <a:pt x="11682164" y="1221409"/>
                    <a:pt x="11667704" y="1199598"/>
                  </a:cubicBezTo>
                  <a:close/>
                  <a:moveTo>
                    <a:pt x="11602630" y="1199598"/>
                  </a:moveTo>
                  <a:lnTo>
                    <a:pt x="11595400" y="1206868"/>
                  </a:lnTo>
                  <a:cubicBezTo>
                    <a:pt x="11595400" y="1206868"/>
                    <a:pt x="11595400" y="1206868"/>
                    <a:pt x="11588169" y="1221409"/>
                  </a:cubicBezTo>
                  <a:cubicBezTo>
                    <a:pt x="11588169" y="1221409"/>
                    <a:pt x="11588169" y="1221409"/>
                    <a:pt x="11617091" y="1221409"/>
                  </a:cubicBezTo>
                  <a:cubicBezTo>
                    <a:pt x="11617091" y="1221409"/>
                    <a:pt x="11617091" y="1221409"/>
                    <a:pt x="11624321" y="1221409"/>
                  </a:cubicBezTo>
                  <a:cubicBezTo>
                    <a:pt x="11624321" y="1221409"/>
                    <a:pt x="11624321" y="1221409"/>
                    <a:pt x="11602630" y="1199598"/>
                  </a:cubicBezTo>
                  <a:close/>
                  <a:moveTo>
                    <a:pt x="3179504" y="1196210"/>
                  </a:moveTo>
                  <a:lnTo>
                    <a:pt x="3181726" y="1196210"/>
                  </a:lnTo>
                  <a:lnTo>
                    <a:pt x="3188397" y="1196210"/>
                  </a:lnTo>
                  <a:cubicBezTo>
                    <a:pt x="3188397" y="1205104"/>
                    <a:pt x="3179504" y="1205104"/>
                    <a:pt x="3179504" y="1205104"/>
                  </a:cubicBezTo>
                  <a:cubicBezTo>
                    <a:pt x="3179504" y="1205104"/>
                    <a:pt x="3179504" y="1196210"/>
                    <a:pt x="3179504" y="1196210"/>
                  </a:cubicBezTo>
                  <a:close/>
                  <a:moveTo>
                    <a:pt x="11732777" y="1192328"/>
                  </a:moveTo>
                  <a:cubicBezTo>
                    <a:pt x="11732777" y="1192328"/>
                    <a:pt x="11732777" y="1192328"/>
                    <a:pt x="11725547" y="1199598"/>
                  </a:cubicBezTo>
                  <a:cubicBezTo>
                    <a:pt x="11725547" y="1199598"/>
                    <a:pt x="11725547" y="1199598"/>
                    <a:pt x="11718316" y="1214138"/>
                  </a:cubicBezTo>
                  <a:cubicBezTo>
                    <a:pt x="11718316" y="1214138"/>
                    <a:pt x="11718316" y="1214138"/>
                    <a:pt x="11711086" y="1221409"/>
                  </a:cubicBezTo>
                  <a:cubicBezTo>
                    <a:pt x="11711086" y="1221409"/>
                    <a:pt x="11711086" y="1221409"/>
                    <a:pt x="11725547" y="1221409"/>
                  </a:cubicBezTo>
                  <a:cubicBezTo>
                    <a:pt x="11725547" y="1221409"/>
                    <a:pt x="11725547" y="1221409"/>
                    <a:pt x="11747238" y="1221409"/>
                  </a:cubicBezTo>
                  <a:lnTo>
                    <a:pt x="11754468" y="1221409"/>
                  </a:lnTo>
                  <a:cubicBezTo>
                    <a:pt x="11754468" y="1221409"/>
                    <a:pt x="11754468" y="1221409"/>
                    <a:pt x="11732777" y="1192328"/>
                  </a:cubicBezTo>
                  <a:close/>
                  <a:moveTo>
                    <a:pt x="4012548" y="1182869"/>
                  </a:moveTo>
                  <a:cubicBezTo>
                    <a:pt x="4012548" y="1182869"/>
                    <a:pt x="4019958" y="1182869"/>
                    <a:pt x="4019958" y="1189539"/>
                  </a:cubicBezTo>
                  <a:cubicBezTo>
                    <a:pt x="4019958" y="1196210"/>
                    <a:pt x="4012548" y="1196210"/>
                    <a:pt x="4012548" y="1196210"/>
                  </a:cubicBezTo>
                  <a:lnTo>
                    <a:pt x="4011066" y="1196210"/>
                  </a:lnTo>
                  <a:cubicBezTo>
                    <a:pt x="4011066" y="1196210"/>
                    <a:pt x="4011066" y="1196210"/>
                    <a:pt x="4011066" y="1205104"/>
                  </a:cubicBezTo>
                  <a:lnTo>
                    <a:pt x="4012548" y="1205104"/>
                  </a:lnTo>
                  <a:cubicBezTo>
                    <a:pt x="4019958" y="1205104"/>
                    <a:pt x="4019958" y="1212515"/>
                    <a:pt x="4019958" y="1219927"/>
                  </a:cubicBezTo>
                  <a:cubicBezTo>
                    <a:pt x="4019958" y="1219927"/>
                    <a:pt x="4019958" y="1227338"/>
                    <a:pt x="4012548" y="1227338"/>
                  </a:cubicBezTo>
                  <a:lnTo>
                    <a:pt x="4008843" y="1227338"/>
                  </a:lnTo>
                  <a:lnTo>
                    <a:pt x="4005135" y="1227338"/>
                  </a:lnTo>
                  <a:cubicBezTo>
                    <a:pt x="3997724" y="1219927"/>
                    <a:pt x="3997724" y="1219927"/>
                    <a:pt x="3997724" y="1212515"/>
                  </a:cubicBezTo>
                  <a:cubicBezTo>
                    <a:pt x="3997724" y="1212515"/>
                    <a:pt x="4005135" y="1205104"/>
                    <a:pt x="4005135" y="1205104"/>
                  </a:cubicBezTo>
                  <a:lnTo>
                    <a:pt x="4006618" y="1205104"/>
                  </a:lnTo>
                  <a:cubicBezTo>
                    <a:pt x="4006618" y="1205104"/>
                    <a:pt x="4006618" y="1196210"/>
                    <a:pt x="4006618" y="1196210"/>
                  </a:cubicBezTo>
                  <a:lnTo>
                    <a:pt x="4005135" y="1196210"/>
                  </a:lnTo>
                  <a:cubicBezTo>
                    <a:pt x="4005135" y="1196210"/>
                    <a:pt x="3997724" y="1196210"/>
                    <a:pt x="3997724" y="1189539"/>
                  </a:cubicBezTo>
                  <a:cubicBezTo>
                    <a:pt x="3997724" y="1182869"/>
                    <a:pt x="4005135" y="1182869"/>
                    <a:pt x="4012548" y="1182869"/>
                  </a:cubicBezTo>
                  <a:close/>
                  <a:moveTo>
                    <a:pt x="1578950" y="1179945"/>
                  </a:moveTo>
                  <a:cubicBezTo>
                    <a:pt x="1573529" y="1182672"/>
                    <a:pt x="1566300" y="1191764"/>
                    <a:pt x="1562685" y="1206309"/>
                  </a:cubicBezTo>
                  <a:cubicBezTo>
                    <a:pt x="1562685" y="1206309"/>
                    <a:pt x="1562685" y="1206309"/>
                    <a:pt x="1562685" y="1213582"/>
                  </a:cubicBezTo>
                  <a:cubicBezTo>
                    <a:pt x="1562685" y="1213582"/>
                    <a:pt x="1562685" y="1213582"/>
                    <a:pt x="1548228" y="1264493"/>
                  </a:cubicBezTo>
                  <a:cubicBezTo>
                    <a:pt x="1548228" y="1264493"/>
                    <a:pt x="1548228" y="1264493"/>
                    <a:pt x="1533770" y="1308130"/>
                  </a:cubicBezTo>
                  <a:cubicBezTo>
                    <a:pt x="1533770" y="1308130"/>
                    <a:pt x="1533770" y="1308130"/>
                    <a:pt x="1526541" y="1329949"/>
                  </a:cubicBezTo>
                  <a:cubicBezTo>
                    <a:pt x="1526541" y="1329949"/>
                    <a:pt x="1526541" y="1329949"/>
                    <a:pt x="1519312" y="1344495"/>
                  </a:cubicBezTo>
                  <a:cubicBezTo>
                    <a:pt x="1512083" y="1366314"/>
                    <a:pt x="1512083" y="1380860"/>
                    <a:pt x="1504854" y="1402678"/>
                  </a:cubicBezTo>
                  <a:cubicBezTo>
                    <a:pt x="1512083" y="1402678"/>
                    <a:pt x="1512083" y="1402678"/>
                    <a:pt x="1519312" y="1395405"/>
                  </a:cubicBezTo>
                  <a:cubicBezTo>
                    <a:pt x="1519312" y="1395405"/>
                    <a:pt x="1519312" y="1395405"/>
                    <a:pt x="1526541" y="1395405"/>
                  </a:cubicBezTo>
                  <a:cubicBezTo>
                    <a:pt x="1526541" y="1395405"/>
                    <a:pt x="1526541" y="1395405"/>
                    <a:pt x="1533770" y="1388133"/>
                  </a:cubicBezTo>
                  <a:cubicBezTo>
                    <a:pt x="1533770" y="1388133"/>
                    <a:pt x="1533770" y="1388133"/>
                    <a:pt x="1548228" y="1322676"/>
                  </a:cubicBezTo>
                  <a:cubicBezTo>
                    <a:pt x="1548228" y="1322676"/>
                    <a:pt x="1548228" y="1322676"/>
                    <a:pt x="1555456" y="1315403"/>
                  </a:cubicBezTo>
                  <a:cubicBezTo>
                    <a:pt x="1555456" y="1315403"/>
                    <a:pt x="1555456" y="1315403"/>
                    <a:pt x="1555456" y="1300857"/>
                  </a:cubicBezTo>
                  <a:cubicBezTo>
                    <a:pt x="1555456" y="1300857"/>
                    <a:pt x="1555456" y="1300857"/>
                    <a:pt x="1569914" y="1242674"/>
                  </a:cubicBezTo>
                  <a:cubicBezTo>
                    <a:pt x="1569914" y="1242674"/>
                    <a:pt x="1569914" y="1242674"/>
                    <a:pt x="1584372" y="1199036"/>
                  </a:cubicBezTo>
                  <a:cubicBezTo>
                    <a:pt x="1584372" y="1199036"/>
                    <a:pt x="1584372" y="1199036"/>
                    <a:pt x="1584372" y="1191763"/>
                  </a:cubicBezTo>
                  <a:cubicBezTo>
                    <a:pt x="1587986" y="1180854"/>
                    <a:pt x="1584372" y="1177218"/>
                    <a:pt x="1578950" y="1179945"/>
                  </a:cubicBezTo>
                  <a:close/>
                  <a:moveTo>
                    <a:pt x="4006618" y="1178422"/>
                  </a:moveTo>
                  <a:cubicBezTo>
                    <a:pt x="4006618" y="1178422"/>
                    <a:pt x="4006618" y="1178422"/>
                    <a:pt x="4011066" y="1178422"/>
                  </a:cubicBezTo>
                  <a:cubicBezTo>
                    <a:pt x="4011066" y="1182869"/>
                    <a:pt x="4011066" y="1182869"/>
                    <a:pt x="4011066" y="1182869"/>
                  </a:cubicBezTo>
                  <a:cubicBezTo>
                    <a:pt x="4006618" y="1182869"/>
                    <a:pt x="4006618" y="1182869"/>
                    <a:pt x="4006618" y="1178422"/>
                  </a:cubicBezTo>
                  <a:close/>
                  <a:moveTo>
                    <a:pt x="3181726" y="1178422"/>
                  </a:moveTo>
                  <a:cubicBezTo>
                    <a:pt x="3188397" y="1178422"/>
                    <a:pt x="3188397" y="1184351"/>
                    <a:pt x="3188397" y="1190281"/>
                  </a:cubicBezTo>
                  <a:cubicBezTo>
                    <a:pt x="3188397" y="1190281"/>
                    <a:pt x="3188397" y="1196210"/>
                    <a:pt x="3181726" y="1196210"/>
                  </a:cubicBezTo>
                  <a:cubicBezTo>
                    <a:pt x="3175057" y="1196210"/>
                    <a:pt x="3175057" y="1190281"/>
                    <a:pt x="3175057" y="1190281"/>
                  </a:cubicBezTo>
                  <a:cubicBezTo>
                    <a:pt x="3175057" y="1184351"/>
                    <a:pt x="3175057" y="1178422"/>
                    <a:pt x="3181726" y="1178422"/>
                  </a:cubicBezTo>
                  <a:close/>
                  <a:moveTo>
                    <a:pt x="2018103" y="1177218"/>
                  </a:moveTo>
                  <a:cubicBezTo>
                    <a:pt x="2003646" y="1177218"/>
                    <a:pt x="1996418" y="1177218"/>
                    <a:pt x="1989188" y="1199036"/>
                  </a:cubicBezTo>
                  <a:cubicBezTo>
                    <a:pt x="1989188" y="1199036"/>
                    <a:pt x="1989188" y="1199036"/>
                    <a:pt x="1989188" y="1206309"/>
                  </a:cubicBezTo>
                  <a:cubicBezTo>
                    <a:pt x="1989188" y="1206309"/>
                    <a:pt x="1989188" y="1206309"/>
                    <a:pt x="1981959" y="1228128"/>
                  </a:cubicBezTo>
                  <a:cubicBezTo>
                    <a:pt x="1981959" y="1228128"/>
                    <a:pt x="1981959" y="1228128"/>
                    <a:pt x="1974730" y="1271766"/>
                  </a:cubicBezTo>
                  <a:cubicBezTo>
                    <a:pt x="1974730" y="1271766"/>
                    <a:pt x="1974730" y="1271766"/>
                    <a:pt x="1967501" y="1308130"/>
                  </a:cubicBezTo>
                  <a:cubicBezTo>
                    <a:pt x="1967501" y="1308130"/>
                    <a:pt x="1967501" y="1308130"/>
                    <a:pt x="1953044" y="1344495"/>
                  </a:cubicBezTo>
                  <a:cubicBezTo>
                    <a:pt x="1953044" y="1344495"/>
                    <a:pt x="1953044" y="1344495"/>
                    <a:pt x="1953044" y="1366314"/>
                  </a:cubicBezTo>
                  <a:cubicBezTo>
                    <a:pt x="1953044" y="1366314"/>
                    <a:pt x="1953044" y="1366314"/>
                    <a:pt x="1938586" y="1409951"/>
                  </a:cubicBezTo>
                  <a:cubicBezTo>
                    <a:pt x="1938586" y="1409951"/>
                    <a:pt x="1938586" y="1409951"/>
                    <a:pt x="1953044" y="1409951"/>
                  </a:cubicBezTo>
                  <a:cubicBezTo>
                    <a:pt x="1967501" y="1417224"/>
                    <a:pt x="1981959" y="1424497"/>
                    <a:pt x="1996418" y="1431770"/>
                  </a:cubicBezTo>
                  <a:cubicBezTo>
                    <a:pt x="1996418" y="1431770"/>
                    <a:pt x="1996418" y="1431770"/>
                    <a:pt x="2003646" y="1424497"/>
                  </a:cubicBezTo>
                  <a:cubicBezTo>
                    <a:pt x="2003646" y="1424497"/>
                    <a:pt x="2003646" y="1424497"/>
                    <a:pt x="2010875" y="1373587"/>
                  </a:cubicBezTo>
                  <a:lnTo>
                    <a:pt x="2018103" y="1329949"/>
                  </a:lnTo>
                  <a:cubicBezTo>
                    <a:pt x="2018103" y="1329949"/>
                    <a:pt x="2018103" y="1329949"/>
                    <a:pt x="2018103" y="1322676"/>
                  </a:cubicBezTo>
                  <a:cubicBezTo>
                    <a:pt x="2018103" y="1322676"/>
                    <a:pt x="2018103" y="1322676"/>
                    <a:pt x="2025332" y="1322676"/>
                  </a:cubicBezTo>
                  <a:cubicBezTo>
                    <a:pt x="2025332" y="1322676"/>
                    <a:pt x="2025332" y="1322676"/>
                    <a:pt x="2025332" y="1300857"/>
                  </a:cubicBezTo>
                  <a:cubicBezTo>
                    <a:pt x="2032562" y="1271766"/>
                    <a:pt x="2039790" y="1249947"/>
                    <a:pt x="2039790" y="1228128"/>
                  </a:cubicBezTo>
                  <a:cubicBezTo>
                    <a:pt x="2039790" y="1228128"/>
                    <a:pt x="2039790" y="1228128"/>
                    <a:pt x="2039790" y="1220855"/>
                  </a:cubicBezTo>
                  <a:cubicBezTo>
                    <a:pt x="2047019" y="1206309"/>
                    <a:pt x="2039790" y="1199036"/>
                    <a:pt x="2039790" y="1191763"/>
                  </a:cubicBezTo>
                  <a:cubicBezTo>
                    <a:pt x="2032562" y="1184491"/>
                    <a:pt x="2025332" y="1177218"/>
                    <a:pt x="2018103" y="1177218"/>
                  </a:cubicBezTo>
                  <a:close/>
                  <a:moveTo>
                    <a:pt x="3179504" y="1169528"/>
                  </a:moveTo>
                  <a:cubicBezTo>
                    <a:pt x="3179504" y="1169528"/>
                    <a:pt x="3188397" y="1178422"/>
                    <a:pt x="3188397" y="1178422"/>
                  </a:cubicBezTo>
                  <a:lnTo>
                    <a:pt x="3181726" y="1178422"/>
                  </a:lnTo>
                  <a:lnTo>
                    <a:pt x="3179504" y="1178422"/>
                  </a:lnTo>
                  <a:cubicBezTo>
                    <a:pt x="3179504" y="1178422"/>
                    <a:pt x="3179504" y="1169528"/>
                    <a:pt x="3179504" y="1169528"/>
                  </a:cubicBezTo>
                  <a:close/>
                  <a:moveTo>
                    <a:pt x="11754468" y="1163246"/>
                  </a:moveTo>
                  <a:lnTo>
                    <a:pt x="11747238" y="1170517"/>
                  </a:lnTo>
                  <a:cubicBezTo>
                    <a:pt x="11747238" y="1170517"/>
                    <a:pt x="11747238" y="1170517"/>
                    <a:pt x="11740007" y="1185057"/>
                  </a:cubicBezTo>
                  <a:cubicBezTo>
                    <a:pt x="11740007" y="1185057"/>
                    <a:pt x="11740007" y="1185057"/>
                    <a:pt x="11761699" y="1206868"/>
                  </a:cubicBezTo>
                  <a:cubicBezTo>
                    <a:pt x="11761699" y="1206868"/>
                    <a:pt x="11761699" y="1206868"/>
                    <a:pt x="11754468" y="1185057"/>
                  </a:cubicBezTo>
                  <a:cubicBezTo>
                    <a:pt x="11754468" y="1185057"/>
                    <a:pt x="11754468" y="1185057"/>
                    <a:pt x="11754468" y="1170517"/>
                  </a:cubicBezTo>
                  <a:cubicBezTo>
                    <a:pt x="11754468" y="1170517"/>
                    <a:pt x="11754468" y="1170517"/>
                    <a:pt x="11754468" y="1163246"/>
                  </a:cubicBezTo>
                  <a:close/>
                  <a:moveTo>
                    <a:pt x="11703856" y="1163246"/>
                  </a:moveTo>
                  <a:cubicBezTo>
                    <a:pt x="11703856" y="1163246"/>
                    <a:pt x="11703856" y="1163246"/>
                    <a:pt x="11703856" y="1177787"/>
                  </a:cubicBezTo>
                  <a:cubicBezTo>
                    <a:pt x="11703856" y="1177787"/>
                    <a:pt x="11703856" y="1177787"/>
                    <a:pt x="11703856" y="1199598"/>
                  </a:cubicBezTo>
                  <a:cubicBezTo>
                    <a:pt x="11703856" y="1199598"/>
                    <a:pt x="11703856" y="1199598"/>
                    <a:pt x="11718316" y="1192328"/>
                  </a:cubicBezTo>
                  <a:cubicBezTo>
                    <a:pt x="11718316" y="1192328"/>
                    <a:pt x="11718316" y="1192328"/>
                    <a:pt x="11718316" y="1185057"/>
                  </a:cubicBezTo>
                  <a:cubicBezTo>
                    <a:pt x="11718316" y="1185057"/>
                    <a:pt x="11718316" y="1185057"/>
                    <a:pt x="11703856" y="1163246"/>
                  </a:cubicBezTo>
                  <a:close/>
                  <a:moveTo>
                    <a:pt x="11689395" y="1163246"/>
                  </a:moveTo>
                  <a:cubicBezTo>
                    <a:pt x="11689395" y="1163246"/>
                    <a:pt x="11689395" y="1163246"/>
                    <a:pt x="11682164" y="1177787"/>
                  </a:cubicBezTo>
                  <a:cubicBezTo>
                    <a:pt x="11682164" y="1177787"/>
                    <a:pt x="11682164" y="1177787"/>
                    <a:pt x="11674934" y="1185057"/>
                  </a:cubicBezTo>
                  <a:cubicBezTo>
                    <a:pt x="11674934" y="1185057"/>
                    <a:pt x="11674934" y="1185057"/>
                    <a:pt x="11689395" y="1206868"/>
                  </a:cubicBezTo>
                  <a:lnTo>
                    <a:pt x="11689395" y="1185057"/>
                  </a:lnTo>
                  <a:cubicBezTo>
                    <a:pt x="11689395" y="1185057"/>
                    <a:pt x="11689395" y="1185057"/>
                    <a:pt x="11689395" y="1163246"/>
                  </a:cubicBezTo>
                  <a:close/>
                  <a:moveTo>
                    <a:pt x="11646013" y="1163246"/>
                  </a:moveTo>
                  <a:cubicBezTo>
                    <a:pt x="11646013" y="1163246"/>
                    <a:pt x="11646013" y="1163246"/>
                    <a:pt x="11646013" y="1170517"/>
                  </a:cubicBezTo>
                  <a:cubicBezTo>
                    <a:pt x="11646013" y="1170517"/>
                    <a:pt x="11646013" y="1170517"/>
                    <a:pt x="11646013" y="1199598"/>
                  </a:cubicBezTo>
                  <a:cubicBezTo>
                    <a:pt x="11646013" y="1199598"/>
                    <a:pt x="11646013" y="1199598"/>
                    <a:pt x="11646013" y="1206868"/>
                  </a:cubicBezTo>
                  <a:cubicBezTo>
                    <a:pt x="11646013" y="1206868"/>
                    <a:pt x="11646013" y="1206868"/>
                    <a:pt x="11653243" y="1199598"/>
                  </a:cubicBezTo>
                  <a:cubicBezTo>
                    <a:pt x="11653243" y="1199598"/>
                    <a:pt x="11653243" y="1199598"/>
                    <a:pt x="11660473" y="1185057"/>
                  </a:cubicBezTo>
                  <a:close/>
                  <a:moveTo>
                    <a:pt x="11631552" y="1163246"/>
                  </a:moveTo>
                  <a:cubicBezTo>
                    <a:pt x="11631552" y="1163246"/>
                    <a:pt x="11631552" y="1163246"/>
                    <a:pt x="11624321" y="1177787"/>
                  </a:cubicBezTo>
                  <a:cubicBezTo>
                    <a:pt x="11624321" y="1177787"/>
                    <a:pt x="11624321" y="1177787"/>
                    <a:pt x="11617091" y="1177787"/>
                  </a:cubicBezTo>
                  <a:cubicBezTo>
                    <a:pt x="11617091" y="1177787"/>
                    <a:pt x="11617091" y="1177787"/>
                    <a:pt x="11617091" y="1185057"/>
                  </a:cubicBezTo>
                  <a:lnTo>
                    <a:pt x="11631552" y="1206868"/>
                  </a:lnTo>
                  <a:cubicBezTo>
                    <a:pt x="11631552" y="1206868"/>
                    <a:pt x="11631552" y="1206868"/>
                    <a:pt x="11631552" y="1192328"/>
                  </a:cubicBezTo>
                  <a:cubicBezTo>
                    <a:pt x="11631552" y="1192328"/>
                    <a:pt x="11631552" y="1192328"/>
                    <a:pt x="11631552" y="1185057"/>
                  </a:cubicBezTo>
                  <a:cubicBezTo>
                    <a:pt x="11631552" y="1185057"/>
                    <a:pt x="11631552" y="1185057"/>
                    <a:pt x="11631552" y="1163246"/>
                  </a:cubicBezTo>
                  <a:close/>
                  <a:moveTo>
                    <a:pt x="11580939" y="1163246"/>
                  </a:moveTo>
                  <a:cubicBezTo>
                    <a:pt x="11580939" y="1163246"/>
                    <a:pt x="11580939" y="1163246"/>
                    <a:pt x="11580939" y="1185057"/>
                  </a:cubicBezTo>
                  <a:lnTo>
                    <a:pt x="11573709" y="1206868"/>
                  </a:lnTo>
                  <a:cubicBezTo>
                    <a:pt x="11573709" y="1206868"/>
                    <a:pt x="11573709" y="1206868"/>
                    <a:pt x="11588169" y="1192328"/>
                  </a:cubicBezTo>
                  <a:cubicBezTo>
                    <a:pt x="11588169" y="1192328"/>
                    <a:pt x="11588169" y="1192328"/>
                    <a:pt x="11595400" y="1185057"/>
                  </a:cubicBezTo>
                  <a:cubicBezTo>
                    <a:pt x="11595400" y="1185057"/>
                    <a:pt x="11595400" y="1185057"/>
                    <a:pt x="11588169" y="1170517"/>
                  </a:cubicBezTo>
                  <a:cubicBezTo>
                    <a:pt x="11588169" y="1170517"/>
                    <a:pt x="11588169" y="1170517"/>
                    <a:pt x="11580939" y="1163246"/>
                  </a:cubicBezTo>
                  <a:close/>
                  <a:moveTo>
                    <a:pt x="1634974" y="1162672"/>
                  </a:moveTo>
                  <a:cubicBezTo>
                    <a:pt x="1627745" y="1162672"/>
                    <a:pt x="1620516" y="1169945"/>
                    <a:pt x="1620516" y="1177218"/>
                  </a:cubicBezTo>
                  <a:cubicBezTo>
                    <a:pt x="1613287" y="1177218"/>
                    <a:pt x="1606058" y="1184491"/>
                    <a:pt x="1606058" y="1199036"/>
                  </a:cubicBezTo>
                  <a:cubicBezTo>
                    <a:pt x="1606058" y="1199036"/>
                    <a:pt x="1606058" y="1199036"/>
                    <a:pt x="1598830" y="1228128"/>
                  </a:cubicBezTo>
                  <a:cubicBezTo>
                    <a:pt x="1591601" y="1249947"/>
                    <a:pt x="1584372" y="1271766"/>
                    <a:pt x="1577143" y="1293584"/>
                  </a:cubicBezTo>
                  <a:cubicBezTo>
                    <a:pt x="1577143" y="1293584"/>
                    <a:pt x="1577143" y="1293584"/>
                    <a:pt x="1577143" y="1300857"/>
                  </a:cubicBezTo>
                  <a:cubicBezTo>
                    <a:pt x="1577143" y="1300857"/>
                    <a:pt x="1577143" y="1300857"/>
                    <a:pt x="1577143" y="1308130"/>
                  </a:cubicBezTo>
                  <a:cubicBezTo>
                    <a:pt x="1569914" y="1329949"/>
                    <a:pt x="1562685" y="1351768"/>
                    <a:pt x="1555456" y="1373587"/>
                  </a:cubicBezTo>
                  <a:cubicBezTo>
                    <a:pt x="1555456" y="1373587"/>
                    <a:pt x="1555456" y="1373587"/>
                    <a:pt x="1548228" y="1388133"/>
                  </a:cubicBezTo>
                  <a:cubicBezTo>
                    <a:pt x="1548228" y="1388133"/>
                    <a:pt x="1548228" y="1388133"/>
                    <a:pt x="1555456" y="1388133"/>
                  </a:cubicBezTo>
                  <a:cubicBezTo>
                    <a:pt x="1555456" y="1388133"/>
                    <a:pt x="1555456" y="1388133"/>
                    <a:pt x="1569914" y="1388133"/>
                  </a:cubicBezTo>
                  <a:cubicBezTo>
                    <a:pt x="1569914" y="1388133"/>
                    <a:pt x="1569914" y="1388133"/>
                    <a:pt x="1584372" y="1388133"/>
                  </a:cubicBezTo>
                  <a:cubicBezTo>
                    <a:pt x="1584372" y="1388133"/>
                    <a:pt x="1584372" y="1388133"/>
                    <a:pt x="1591601" y="1373587"/>
                  </a:cubicBezTo>
                  <a:cubicBezTo>
                    <a:pt x="1591601" y="1373587"/>
                    <a:pt x="1591601" y="1373587"/>
                    <a:pt x="1591601" y="1366314"/>
                  </a:cubicBezTo>
                  <a:cubicBezTo>
                    <a:pt x="1591601" y="1366314"/>
                    <a:pt x="1591601" y="1366314"/>
                    <a:pt x="1598830" y="1344495"/>
                  </a:cubicBezTo>
                  <a:cubicBezTo>
                    <a:pt x="1598830" y="1344495"/>
                    <a:pt x="1598830" y="1344495"/>
                    <a:pt x="1613287" y="1286312"/>
                  </a:cubicBezTo>
                  <a:cubicBezTo>
                    <a:pt x="1613287" y="1286312"/>
                    <a:pt x="1613287" y="1286312"/>
                    <a:pt x="1620516" y="1271766"/>
                  </a:cubicBezTo>
                  <a:cubicBezTo>
                    <a:pt x="1620516" y="1271766"/>
                    <a:pt x="1620516" y="1271766"/>
                    <a:pt x="1634974" y="1206309"/>
                  </a:cubicBezTo>
                  <a:cubicBezTo>
                    <a:pt x="1634974" y="1206309"/>
                    <a:pt x="1634974" y="1206309"/>
                    <a:pt x="1642203" y="1191763"/>
                  </a:cubicBezTo>
                  <a:cubicBezTo>
                    <a:pt x="1642203" y="1169945"/>
                    <a:pt x="1642203" y="1162672"/>
                    <a:pt x="1634974" y="1162672"/>
                  </a:cubicBezTo>
                  <a:close/>
                  <a:moveTo>
                    <a:pt x="1903345" y="1155399"/>
                  </a:moveTo>
                  <a:cubicBezTo>
                    <a:pt x="1897020" y="1159035"/>
                    <a:pt x="1891598" y="1166308"/>
                    <a:pt x="1887984" y="1177218"/>
                  </a:cubicBezTo>
                  <a:cubicBezTo>
                    <a:pt x="1887984" y="1177218"/>
                    <a:pt x="1887984" y="1177218"/>
                    <a:pt x="1887984" y="1184491"/>
                  </a:cubicBezTo>
                  <a:cubicBezTo>
                    <a:pt x="1887984" y="1184491"/>
                    <a:pt x="1887984" y="1184491"/>
                    <a:pt x="1873526" y="1220855"/>
                  </a:cubicBezTo>
                  <a:cubicBezTo>
                    <a:pt x="1873526" y="1220855"/>
                    <a:pt x="1873526" y="1220855"/>
                    <a:pt x="1866297" y="1279039"/>
                  </a:cubicBezTo>
                  <a:cubicBezTo>
                    <a:pt x="1866297" y="1279039"/>
                    <a:pt x="1866297" y="1279039"/>
                    <a:pt x="1866297" y="1286312"/>
                  </a:cubicBezTo>
                  <a:cubicBezTo>
                    <a:pt x="1866297" y="1286312"/>
                    <a:pt x="1866297" y="1286312"/>
                    <a:pt x="1859069" y="1308130"/>
                  </a:cubicBezTo>
                  <a:cubicBezTo>
                    <a:pt x="1859069" y="1308130"/>
                    <a:pt x="1859069" y="1308130"/>
                    <a:pt x="1844611" y="1351768"/>
                  </a:cubicBezTo>
                  <a:cubicBezTo>
                    <a:pt x="1844611" y="1351768"/>
                    <a:pt x="1844611" y="1351768"/>
                    <a:pt x="1837382" y="1380860"/>
                  </a:cubicBezTo>
                  <a:cubicBezTo>
                    <a:pt x="1851840" y="1388133"/>
                    <a:pt x="1866297" y="1388133"/>
                    <a:pt x="1880755" y="1395405"/>
                  </a:cubicBezTo>
                  <a:cubicBezTo>
                    <a:pt x="1887984" y="1395405"/>
                    <a:pt x="1895213" y="1395405"/>
                    <a:pt x="1902442" y="1395405"/>
                  </a:cubicBezTo>
                  <a:cubicBezTo>
                    <a:pt x="1902442" y="1395405"/>
                    <a:pt x="1902442" y="1395405"/>
                    <a:pt x="1909671" y="1402678"/>
                  </a:cubicBezTo>
                  <a:cubicBezTo>
                    <a:pt x="1909671" y="1402678"/>
                    <a:pt x="1909671" y="1402678"/>
                    <a:pt x="1909671" y="1395405"/>
                  </a:cubicBezTo>
                  <a:cubicBezTo>
                    <a:pt x="1909671" y="1395405"/>
                    <a:pt x="1909671" y="1395405"/>
                    <a:pt x="1916899" y="1373587"/>
                  </a:cubicBezTo>
                  <a:cubicBezTo>
                    <a:pt x="1916899" y="1344495"/>
                    <a:pt x="1924128" y="1322676"/>
                    <a:pt x="1931357" y="1300857"/>
                  </a:cubicBezTo>
                  <a:cubicBezTo>
                    <a:pt x="1931357" y="1300857"/>
                    <a:pt x="1931357" y="1300857"/>
                    <a:pt x="1931357" y="1293584"/>
                  </a:cubicBezTo>
                  <a:lnTo>
                    <a:pt x="1938586" y="1249947"/>
                  </a:lnTo>
                  <a:cubicBezTo>
                    <a:pt x="1938586" y="1249947"/>
                    <a:pt x="1938586" y="1249947"/>
                    <a:pt x="1945815" y="1220855"/>
                  </a:cubicBezTo>
                  <a:cubicBezTo>
                    <a:pt x="1945815" y="1220855"/>
                    <a:pt x="1945815" y="1220855"/>
                    <a:pt x="1953044" y="1199036"/>
                  </a:cubicBezTo>
                  <a:cubicBezTo>
                    <a:pt x="1953044" y="1191763"/>
                    <a:pt x="1953044" y="1184491"/>
                    <a:pt x="1953044" y="1177218"/>
                  </a:cubicBezTo>
                  <a:cubicBezTo>
                    <a:pt x="1945815" y="1162672"/>
                    <a:pt x="1938586" y="1155399"/>
                    <a:pt x="1931357" y="1155399"/>
                  </a:cubicBezTo>
                  <a:cubicBezTo>
                    <a:pt x="1931357" y="1155399"/>
                    <a:pt x="1924128" y="1155399"/>
                    <a:pt x="1924128" y="1155399"/>
                  </a:cubicBezTo>
                  <a:cubicBezTo>
                    <a:pt x="1916899" y="1151762"/>
                    <a:pt x="1909671" y="1151762"/>
                    <a:pt x="1903345" y="1155399"/>
                  </a:cubicBezTo>
                  <a:close/>
                  <a:moveTo>
                    <a:pt x="1695290" y="1152785"/>
                  </a:moveTo>
                  <a:cubicBezTo>
                    <a:pt x="1686480" y="1149035"/>
                    <a:pt x="1667505" y="1162672"/>
                    <a:pt x="1656660" y="1184491"/>
                  </a:cubicBezTo>
                  <a:cubicBezTo>
                    <a:pt x="1656660" y="1184491"/>
                    <a:pt x="1656660" y="1184491"/>
                    <a:pt x="1656660" y="1191763"/>
                  </a:cubicBezTo>
                  <a:cubicBezTo>
                    <a:pt x="1649432" y="1213582"/>
                    <a:pt x="1642203" y="1235401"/>
                    <a:pt x="1642203" y="1257220"/>
                  </a:cubicBezTo>
                  <a:cubicBezTo>
                    <a:pt x="1642203" y="1257220"/>
                    <a:pt x="1642203" y="1257220"/>
                    <a:pt x="1634974" y="1271766"/>
                  </a:cubicBezTo>
                  <a:cubicBezTo>
                    <a:pt x="1634974" y="1271766"/>
                    <a:pt x="1634974" y="1271766"/>
                    <a:pt x="1634974" y="1286312"/>
                  </a:cubicBezTo>
                  <a:cubicBezTo>
                    <a:pt x="1627745" y="1300857"/>
                    <a:pt x="1620516" y="1315403"/>
                    <a:pt x="1620516" y="1337222"/>
                  </a:cubicBezTo>
                  <a:cubicBezTo>
                    <a:pt x="1620516" y="1337222"/>
                    <a:pt x="1620516" y="1337222"/>
                    <a:pt x="1613287" y="1351768"/>
                  </a:cubicBezTo>
                  <a:cubicBezTo>
                    <a:pt x="1613287" y="1351768"/>
                    <a:pt x="1613287" y="1351768"/>
                    <a:pt x="1613287" y="1359041"/>
                  </a:cubicBezTo>
                  <a:cubicBezTo>
                    <a:pt x="1613287" y="1359041"/>
                    <a:pt x="1613287" y="1359041"/>
                    <a:pt x="1606058" y="1380860"/>
                  </a:cubicBezTo>
                  <a:cubicBezTo>
                    <a:pt x="1613287" y="1380860"/>
                    <a:pt x="1627745" y="1380860"/>
                    <a:pt x="1634974" y="1380860"/>
                  </a:cubicBezTo>
                  <a:cubicBezTo>
                    <a:pt x="1642203" y="1380860"/>
                    <a:pt x="1642203" y="1380860"/>
                    <a:pt x="1649432" y="1373587"/>
                  </a:cubicBezTo>
                  <a:cubicBezTo>
                    <a:pt x="1649432" y="1373587"/>
                    <a:pt x="1649432" y="1373587"/>
                    <a:pt x="1649432" y="1366314"/>
                  </a:cubicBezTo>
                  <a:cubicBezTo>
                    <a:pt x="1656660" y="1359041"/>
                    <a:pt x="1656660" y="1344495"/>
                    <a:pt x="1663889" y="1329949"/>
                  </a:cubicBezTo>
                  <a:cubicBezTo>
                    <a:pt x="1663889" y="1329949"/>
                    <a:pt x="1663889" y="1329949"/>
                    <a:pt x="1663889" y="1315403"/>
                  </a:cubicBezTo>
                  <a:cubicBezTo>
                    <a:pt x="1663889" y="1315403"/>
                    <a:pt x="1663889" y="1315403"/>
                    <a:pt x="1671118" y="1300857"/>
                  </a:cubicBezTo>
                  <a:cubicBezTo>
                    <a:pt x="1671118" y="1300857"/>
                    <a:pt x="1671118" y="1300857"/>
                    <a:pt x="1678347" y="1279039"/>
                  </a:cubicBezTo>
                  <a:cubicBezTo>
                    <a:pt x="1678347" y="1279039"/>
                    <a:pt x="1678347" y="1279039"/>
                    <a:pt x="1685577" y="1235401"/>
                  </a:cubicBezTo>
                  <a:cubicBezTo>
                    <a:pt x="1685577" y="1235401"/>
                    <a:pt x="1685577" y="1235401"/>
                    <a:pt x="1692805" y="1228128"/>
                  </a:cubicBezTo>
                  <a:cubicBezTo>
                    <a:pt x="1692805" y="1228128"/>
                    <a:pt x="1692805" y="1228128"/>
                    <a:pt x="1700034" y="1177218"/>
                  </a:cubicBezTo>
                  <a:cubicBezTo>
                    <a:pt x="1707262" y="1169945"/>
                    <a:pt x="1707262" y="1162672"/>
                    <a:pt x="1700034" y="1162672"/>
                  </a:cubicBezTo>
                  <a:cubicBezTo>
                    <a:pt x="1700034" y="1157217"/>
                    <a:pt x="1698226" y="1154035"/>
                    <a:pt x="1695290" y="1152785"/>
                  </a:cubicBezTo>
                  <a:close/>
                  <a:moveTo>
                    <a:pt x="11711086" y="1148706"/>
                  </a:moveTo>
                  <a:cubicBezTo>
                    <a:pt x="11711086" y="1148706"/>
                    <a:pt x="11711086" y="1148706"/>
                    <a:pt x="11725547" y="1170517"/>
                  </a:cubicBezTo>
                  <a:lnTo>
                    <a:pt x="11732777" y="1163246"/>
                  </a:lnTo>
                  <a:cubicBezTo>
                    <a:pt x="11732777" y="1163246"/>
                    <a:pt x="11732777" y="1163246"/>
                    <a:pt x="11740007" y="1155976"/>
                  </a:cubicBezTo>
                  <a:cubicBezTo>
                    <a:pt x="11740007" y="1155976"/>
                    <a:pt x="11740007" y="1155976"/>
                    <a:pt x="11747238" y="1155976"/>
                  </a:cubicBezTo>
                  <a:cubicBezTo>
                    <a:pt x="11747238" y="1155976"/>
                    <a:pt x="11747238" y="1155976"/>
                    <a:pt x="11747238" y="1148706"/>
                  </a:cubicBezTo>
                  <a:cubicBezTo>
                    <a:pt x="11747238" y="1148706"/>
                    <a:pt x="11747238" y="1148706"/>
                    <a:pt x="11740007" y="1148706"/>
                  </a:cubicBezTo>
                  <a:cubicBezTo>
                    <a:pt x="11740007" y="1148706"/>
                    <a:pt x="11740007" y="1148706"/>
                    <a:pt x="11732777" y="1148706"/>
                  </a:cubicBezTo>
                  <a:cubicBezTo>
                    <a:pt x="11732777" y="1148706"/>
                    <a:pt x="11732777" y="1148706"/>
                    <a:pt x="11718316" y="1148706"/>
                  </a:cubicBezTo>
                  <a:cubicBezTo>
                    <a:pt x="11718316" y="1148706"/>
                    <a:pt x="11718316" y="1148706"/>
                    <a:pt x="11711086" y="1148706"/>
                  </a:cubicBezTo>
                  <a:close/>
                  <a:moveTo>
                    <a:pt x="11653243" y="1148706"/>
                  </a:moveTo>
                  <a:cubicBezTo>
                    <a:pt x="11653243" y="1148706"/>
                    <a:pt x="11653243" y="1148706"/>
                    <a:pt x="11653243" y="1155976"/>
                  </a:cubicBezTo>
                  <a:cubicBezTo>
                    <a:pt x="11653243" y="1155976"/>
                    <a:pt x="11653243" y="1155976"/>
                    <a:pt x="11667704" y="1170517"/>
                  </a:cubicBezTo>
                  <a:cubicBezTo>
                    <a:pt x="11667704" y="1170517"/>
                    <a:pt x="11667704" y="1170517"/>
                    <a:pt x="11682164" y="1155976"/>
                  </a:cubicBezTo>
                  <a:cubicBezTo>
                    <a:pt x="11682164" y="1155976"/>
                    <a:pt x="11682164" y="1155976"/>
                    <a:pt x="11682164" y="1148706"/>
                  </a:cubicBezTo>
                  <a:cubicBezTo>
                    <a:pt x="11682164" y="1148706"/>
                    <a:pt x="11682164" y="1148706"/>
                    <a:pt x="11674934" y="1148706"/>
                  </a:cubicBezTo>
                  <a:close/>
                  <a:moveTo>
                    <a:pt x="11588169" y="1148706"/>
                  </a:moveTo>
                  <a:cubicBezTo>
                    <a:pt x="11588169" y="1148706"/>
                    <a:pt x="11588169" y="1148706"/>
                    <a:pt x="11588169" y="1155976"/>
                  </a:cubicBezTo>
                  <a:cubicBezTo>
                    <a:pt x="11588169" y="1155976"/>
                    <a:pt x="11588169" y="1155976"/>
                    <a:pt x="11602630" y="1177787"/>
                  </a:cubicBezTo>
                  <a:cubicBezTo>
                    <a:pt x="11602630" y="1177787"/>
                    <a:pt x="11602630" y="1177787"/>
                    <a:pt x="11609861" y="1170517"/>
                  </a:cubicBezTo>
                  <a:cubicBezTo>
                    <a:pt x="11609861" y="1170517"/>
                    <a:pt x="11609861" y="1170517"/>
                    <a:pt x="11609861" y="1163246"/>
                  </a:cubicBezTo>
                  <a:cubicBezTo>
                    <a:pt x="11609861" y="1163246"/>
                    <a:pt x="11609861" y="1163246"/>
                    <a:pt x="11624321" y="1155976"/>
                  </a:cubicBezTo>
                  <a:cubicBezTo>
                    <a:pt x="11624321" y="1155976"/>
                    <a:pt x="11624321" y="1155976"/>
                    <a:pt x="11624321" y="1148706"/>
                  </a:cubicBezTo>
                  <a:cubicBezTo>
                    <a:pt x="11624321" y="1148706"/>
                    <a:pt x="11624321" y="1148706"/>
                    <a:pt x="11595400" y="1148706"/>
                  </a:cubicBezTo>
                  <a:close/>
                  <a:moveTo>
                    <a:pt x="1752443" y="1143580"/>
                  </a:moveTo>
                  <a:cubicBezTo>
                    <a:pt x="1739793" y="1144490"/>
                    <a:pt x="1725335" y="1155399"/>
                    <a:pt x="1721721" y="1177218"/>
                  </a:cubicBezTo>
                  <a:cubicBezTo>
                    <a:pt x="1721721" y="1177218"/>
                    <a:pt x="1721721" y="1177218"/>
                    <a:pt x="1707262" y="1213582"/>
                  </a:cubicBezTo>
                  <a:cubicBezTo>
                    <a:pt x="1707262" y="1213582"/>
                    <a:pt x="1707262" y="1213582"/>
                    <a:pt x="1707262" y="1220855"/>
                  </a:cubicBezTo>
                  <a:cubicBezTo>
                    <a:pt x="1707262" y="1220855"/>
                    <a:pt x="1707262" y="1220855"/>
                    <a:pt x="1692805" y="1279039"/>
                  </a:cubicBezTo>
                  <a:cubicBezTo>
                    <a:pt x="1692805" y="1279039"/>
                    <a:pt x="1692805" y="1279039"/>
                    <a:pt x="1692805" y="1286312"/>
                  </a:cubicBezTo>
                  <a:cubicBezTo>
                    <a:pt x="1692805" y="1286312"/>
                    <a:pt x="1692805" y="1286312"/>
                    <a:pt x="1685577" y="1308130"/>
                  </a:cubicBezTo>
                  <a:cubicBezTo>
                    <a:pt x="1685577" y="1308130"/>
                    <a:pt x="1685577" y="1308130"/>
                    <a:pt x="1685577" y="1315403"/>
                  </a:cubicBezTo>
                  <a:cubicBezTo>
                    <a:pt x="1685577" y="1315403"/>
                    <a:pt x="1685577" y="1315403"/>
                    <a:pt x="1671118" y="1359041"/>
                  </a:cubicBezTo>
                  <a:cubicBezTo>
                    <a:pt x="1671118" y="1359041"/>
                    <a:pt x="1671118" y="1359041"/>
                    <a:pt x="1671118" y="1373587"/>
                  </a:cubicBezTo>
                  <a:cubicBezTo>
                    <a:pt x="1685577" y="1373587"/>
                    <a:pt x="1700034" y="1373587"/>
                    <a:pt x="1714491" y="1373587"/>
                  </a:cubicBezTo>
                  <a:cubicBezTo>
                    <a:pt x="1714491" y="1373587"/>
                    <a:pt x="1714491" y="1373587"/>
                    <a:pt x="1721721" y="1373587"/>
                  </a:cubicBezTo>
                  <a:cubicBezTo>
                    <a:pt x="1721721" y="1373587"/>
                    <a:pt x="1721721" y="1373587"/>
                    <a:pt x="1721721" y="1366314"/>
                  </a:cubicBezTo>
                  <a:cubicBezTo>
                    <a:pt x="1721721" y="1366314"/>
                    <a:pt x="1721721" y="1366314"/>
                    <a:pt x="1736178" y="1315403"/>
                  </a:cubicBezTo>
                  <a:cubicBezTo>
                    <a:pt x="1736178" y="1315403"/>
                    <a:pt x="1736178" y="1315403"/>
                    <a:pt x="1743407" y="1271766"/>
                  </a:cubicBezTo>
                  <a:cubicBezTo>
                    <a:pt x="1743407" y="1271766"/>
                    <a:pt x="1743407" y="1271766"/>
                    <a:pt x="1750636" y="1264493"/>
                  </a:cubicBezTo>
                  <a:cubicBezTo>
                    <a:pt x="1750636" y="1264493"/>
                    <a:pt x="1750636" y="1264493"/>
                    <a:pt x="1750636" y="1242674"/>
                  </a:cubicBezTo>
                  <a:cubicBezTo>
                    <a:pt x="1757864" y="1228128"/>
                    <a:pt x="1765093" y="1206309"/>
                    <a:pt x="1772322" y="1184491"/>
                  </a:cubicBezTo>
                  <a:cubicBezTo>
                    <a:pt x="1772322" y="1184491"/>
                    <a:pt x="1772322" y="1184491"/>
                    <a:pt x="1772322" y="1177218"/>
                  </a:cubicBezTo>
                  <a:cubicBezTo>
                    <a:pt x="1772322" y="1177218"/>
                    <a:pt x="1772322" y="1177218"/>
                    <a:pt x="1772322" y="1169945"/>
                  </a:cubicBezTo>
                  <a:cubicBezTo>
                    <a:pt x="1775937" y="1151762"/>
                    <a:pt x="1765093" y="1142671"/>
                    <a:pt x="1752443" y="1143580"/>
                  </a:cubicBezTo>
                  <a:close/>
                  <a:moveTo>
                    <a:pt x="1822924" y="1140853"/>
                  </a:moveTo>
                  <a:cubicBezTo>
                    <a:pt x="1815695" y="1140853"/>
                    <a:pt x="1808468" y="1148126"/>
                    <a:pt x="1801238" y="1155399"/>
                  </a:cubicBezTo>
                  <a:cubicBezTo>
                    <a:pt x="1801238" y="1155399"/>
                    <a:pt x="1794009" y="1162672"/>
                    <a:pt x="1794009" y="1169945"/>
                  </a:cubicBezTo>
                  <a:cubicBezTo>
                    <a:pt x="1786780" y="1191763"/>
                    <a:pt x="1786780" y="1213582"/>
                    <a:pt x="1779551" y="1228128"/>
                  </a:cubicBezTo>
                  <a:cubicBezTo>
                    <a:pt x="1779551" y="1228128"/>
                    <a:pt x="1779551" y="1228128"/>
                    <a:pt x="1772322" y="1249947"/>
                  </a:cubicBezTo>
                  <a:cubicBezTo>
                    <a:pt x="1772322" y="1249947"/>
                    <a:pt x="1772322" y="1249947"/>
                    <a:pt x="1772322" y="1257220"/>
                  </a:cubicBezTo>
                  <a:cubicBezTo>
                    <a:pt x="1772322" y="1257220"/>
                    <a:pt x="1772322" y="1257220"/>
                    <a:pt x="1772322" y="1271766"/>
                  </a:cubicBezTo>
                  <a:cubicBezTo>
                    <a:pt x="1772322" y="1271766"/>
                    <a:pt x="1772322" y="1271766"/>
                    <a:pt x="1765093" y="1300857"/>
                  </a:cubicBezTo>
                  <a:cubicBezTo>
                    <a:pt x="1765093" y="1300857"/>
                    <a:pt x="1765093" y="1300857"/>
                    <a:pt x="1750636" y="1351768"/>
                  </a:cubicBezTo>
                  <a:cubicBezTo>
                    <a:pt x="1750636" y="1351768"/>
                    <a:pt x="1750636" y="1351768"/>
                    <a:pt x="1743407" y="1373587"/>
                  </a:cubicBezTo>
                  <a:cubicBezTo>
                    <a:pt x="1743407" y="1373587"/>
                    <a:pt x="1743407" y="1373587"/>
                    <a:pt x="1750636" y="1373587"/>
                  </a:cubicBezTo>
                  <a:cubicBezTo>
                    <a:pt x="1765093" y="1373587"/>
                    <a:pt x="1786780" y="1373587"/>
                    <a:pt x="1801238" y="1380860"/>
                  </a:cubicBezTo>
                  <a:cubicBezTo>
                    <a:pt x="1801238" y="1380860"/>
                    <a:pt x="1801238" y="1380860"/>
                    <a:pt x="1808468" y="1380860"/>
                  </a:cubicBezTo>
                  <a:cubicBezTo>
                    <a:pt x="1808468" y="1380860"/>
                    <a:pt x="1808468" y="1380860"/>
                    <a:pt x="1808468" y="1373587"/>
                  </a:cubicBezTo>
                  <a:cubicBezTo>
                    <a:pt x="1808468" y="1373587"/>
                    <a:pt x="1808468" y="1373587"/>
                    <a:pt x="1815695" y="1329949"/>
                  </a:cubicBezTo>
                  <a:cubicBezTo>
                    <a:pt x="1815695" y="1329949"/>
                    <a:pt x="1815695" y="1329949"/>
                    <a:pt x="1822924" y="1300857"/>
                  </a:cubicBezTo>
                  <a:cubicBezTo>
                    <a:pt x="1822924" y="1300857"/>
                    <a:pt x="1822924" y="1300857"/>
                    <a:pt x="1830153" y="1279039"/>
                  </a:cubicBezTo>
                  <a:cubicBezTo>
                    <a:pt x="1830153" y="1279039"/>
                    <a:pt x="1830153" y="1279039"/>
                    <a:pt x="1837382" y="1249947"/>
                  </a:cubicBezTo>
                  <a:cubicBezTo>
                    <a:pt x="1837382" y="1249947"/>
                    <a:pt x="1837382" y="1249947"/>
                    <a:pt x="1844611" y="1206309"/>
                  </a:cubicBezTo>
                  <a:cubicBezTo>
                    <a:pt x="1844611" y="1206309"/>
                    <a:pt x="1844611" y="1206309"/>
                    <a:pt x="1844611" y="1199036"/>
                  </a:cubicBezTo>
                  <a:cubicBezTo>
                    <a:pt x="1844611" y="1199036"/>
                    <a:pt x="1844611" y="1199036"/>
                    <a:pt x="1851840" y="1184491"/>
                  </a:cubicBezTo>
                  <a:cubicBezTo>
                    <a:pt x="1851840" y="1184491"/>
                    <a:pt x="1851840" y="1184491"/>
                    <a:pt x="1851840" y="1177218"/>
                  </a:cubicBezTo>
                  <a:cubicBezTo>
                    <a:pt x="1859069" y="1155399"/>
                    <a:pt x="1851840" y="1140853"/>
                    <a:pt x="1837382" y="1140853"/>
                  </a:cubicBezTo>
                  <a:cubicBezTo>
                    <a:pt x="1837382" y="1140853"/>
                    <a:pt x="1830153" y="1140853"/>
                    <a:pt x="1822924" y="1140853"/>
                  </a:cubicBezTo>
                  <a:close/>
                  <a:moveTo>
                    <a:pt x="4012548" y="1138400"/>
                  </a:moveTo>
                  <a:cubicBezTo>
                    <a:pt x="4012548" y="1138400"/>
                    <a:pt x="4012548" y="1146404"/>
                    <a:pt x="4012548" y="1154409"/>
                  </a:cubicBezTo>
                  <a:cubicBezTo>
                    <a:pt x="4019958" y="1162413"/>
                    <a:pt x="4019958" y="1178422"/>
                    <a:pt x="4012548" y="1178422"/>
                  </a:cubicBezTo>
                  <a:cubicBezTo>
                    <a:pt x="3997724" y="1178422"/>
                    <a:pt x="4012548" y="1138400"/>
                    <a:pt x="4012548" y="1138400"/>
                  </a:cubicBezTo>
                  <a:close/>
                  <a:moveTo>
                    <a:pt x="3180985" y="1138400"/>
                  </a:moveTo>
                  <a:cubicBezTo>
                    <a:pt x="3180985" y="1138400"/>
                    <a:pt x="3180985" y="1146182"/>
                    <a:pt x="3188397" y="1146182"/>
                  </a:cubicBezTo>
                  <a:cubicBezTo>
                    <a:pt x="3188397" y="1161746"/>
                    <a:pt x="3188397" y="1169528"/>
                    <a:pt x="3180985" y="1169528"/>
                  </a:cubicBezTo>
                  <a:cubicBezTo>
                    <a:pt x="3166162" y="1169528"/>
                    <a:pt x="3180985" y="1138400"/>
                    <a:pt x="3180985" y="1138400"/>
                  </a:cubicBezTo>
                  <a:close/>
                  <a:moveTo>
                    <a:pt x="11725547" y="1119625"/>
                  </a:moveTo>
                  <a:cubicBezTo>
                    <a:pt x="11725547" y="1119625"/>
                    <a:pt x="11725547" y="1119625"/>
                    <a:pt x="11718316" y="1126895"/>
                  </a:cubicBezTo>
                  <a:cubicBezTo>
                    <a:pt x="11718316" y="1126895"/>
                    <a:pt x="11718316" y="1126895"/>
                    <a:pt x="11711086" y="1134165"/>
                  </a:cubicBezTo>
                  <a:cubicBezTo>
                    <a:pt x="11711086" y="1134165"/>
                    <a:pt x="11711086" y="1134165"/>
                    <a:pt x="11718316" y="1134165"/>
                  </a:cubicBezTo>
                  <a:cubicBezTo>
                    <a:pt x="11718316" y="1134165"/>
                    <a:pt x="11718316" y="1134165"/>
                    <a:pt x="11725547" y="1134165"/>
                  </a:cubicBezTo>
                  <a:cubicBezTo>
                    <a:pt x="11725547" y="1134165"/>
                    <a:pt x="11725547" y="1134165"/>
                    <a:pt x="11732777" y="1134165"/>
                  </a:cubicBezTo>
                  <a:lnTo>
                    <a:pt x="11740007" y="1134165"/>
                  </a:lnTo>
                  <a:cubicBezTo>
                    <a:pt x="11740007" y="1134165"/>
                    <a:pt x="11740007" y="1134165"/>
                    <a:pt x="11725547" y="1119625"/>
                  </a:cubicBezTo>
                  <a:close/>
                  <a:moveTo>
                    <a:pt x="11609861" y="1119625"/>
                  </a:moveTo>
                  <a:lnTo>
                    <a:pt x="11602630" y="1126895"/>
                  </a:lnTo>
                  <a:cubicBezTo>
                    <a:pt x="11602630" y="1126895"/>
                    <a:pt x="11602630" y="1126895"/>
                    <a:pt x="11588169" y="1141436"/>
                  </a:cubicBezTo>
                  <a:cubicBezTo>
                    <a:pt x="11588169" y="1141436"/>
                    <a:pt x="11588169" y="1141436"/>
                    <a:pt x="11609861" y="1134165"/>
                  </a:cubicBezTo>
                  <a:cubicBezTo>
                    <a:pt x="11609861" y="1134165"/>
                    <a:pt x="11609861" y="1134165"/>
                    <a:pt x="11624321" y="1134165"/>
                  </a:cubicBezTo>
                  <a:cubicBezTo>
                    <a:pt x="11624321" y="1134165"/>
                    <a:pt x="11624321" y="1134165"/>
                    <a:pt x="11609861" y="1119625"/>
                  </a:cubicBezTo>
                  <a:close/>
                  <a:moveTo>
                    <a:pt x="11747238" y="1097814"/>
                  </a:moveTo>
                  <a:lnTo>
                    <a:pt x="11740007" y="1105084"/>
                  </a:lnTo>
                  <a:cubicBezTo>
                    <a:pt x="11740007" y="1105084"/>
                    <a:pt x="11740007" y="1105084"/>
                    <a:pt x="11732777" y="1112354"/>
                  </a:cubicBezTo>
                  <a:cubicBezTo>
                    <a:pt x="11732777" y="1112354"/>
                    <a:pt x="11732777" y="1112354"/>
                    <a:pt x="11754468" y="1126895"/>
                  </a:cubicBezTo>
                  <a:cubicBezTo>
                    <a:pt x="11754468" y="1126895"/>
                    <a:pt x="11754468" y="1126895"/>
                    <a:pt x="11754468" y="1112354"/>
                  </a:cubicBezTo>
                  <a:cubicBezTo>
                    <a:pt x="11754468" y="1112354"/>
                    <a:pt x="11754468" y="1112354"/>
                    <a:pt x="11747238" y="1097814"/>
                  </a:cubicBezTo>
                  <a:close/>
                  <a:moveTo>
                    <a:pt x="11696625" y="1097814"/>
                  </a:moveTo>
                  <a:cubicBezTo>
                    <a:pt x="11696625" y="1097814"/>
                    <a:pt x="11696625" y="1097814"/>
                    <a:pt x="11696625" y="1105084"/>
                  </a:cubicBezTo>
                  <a:cubicBezTo>
                    <a:pt x="11696625" y="1105084"/>
                    <a:pt x="11696625" y="1105084"/>
                    <a:pt x="11696625" y="1112354"/>
                  </a:cubicBezTo>
                  <a:cubicBezTo>
                    <a:pt x="11696625" y="1112354"/>
                    <a:pt x="11696625" y="1112354"/>
                    <a:pt x="11696625" y="1119625"/>
                  </a:cubicBezTo>
                  <a:cubicBezTo>
                    <a:pt x="11696625" y="1119625"/>
                    <a:pt x="11696625" y="1119625"/>
                    <a:pt x="11696625" y="1126895"/>
                  </a:cubicBezTo>
                  <a:cubicBezTo>
                    <a:pt x="11696625" y="1126895"/>
                    <a:pt x="11696625" y="1126895"/>
                    <a:pt x="11703856" y="1126895"/>
                  </a:cubicBezTo>
                  <a:lnTo>
                    <a:pt x="11703856" y="1119625"/>
                  </a:lnTo>
                  <a:cubicBezTo>
                    <a:pt x="11703856" y="1119625"/>
                    <a:pt x="11703856" y="1119625"/>
                    <a:pt x="11711086" y="1112354"/>
                  </a:cubicBezTo>
                  <a:cubicBezTo>
                    <a:pt x="11711086" y="1112354"/>
                    <a:pt x="11711086" y="1112354"/>
                    <a:pt x="11718316" y="1112354"/>
                  </a:cubicBezTo>
                  <a:cubicBezTo>
                    <a:pt x="11718316" y="1112354"/>
                    <a:pt x="11718316" y="1112354"/>
                    <a:pt x="11696625" y="1097814"/>
                  </a:cubicBezTo>
                  <a:close/>
                  <a:moveTo>
                    <a:pt x="11646013" y="1097814"/>
                  </a:moveTo>
                  <a:cubicBezTo>
                    <a:pt x="11646013" y="1097814"/>
                    <a:pt x="11646013" y="1097814"/>
                    <a:pt x="11646013" y="1112354"/>
                  </a:cubicBezTo>
                  <a:cubicBezTo>
                    <a:pt x="11646013" y="1112354"/>
                    <a:pt x="11646013" y="1112354"/>
                    <a:pt x="11646013" y="1126895"/>
                  </a:cubicBezTo>
                  <a:cubicBezTo>
                    <a:pt x="11646013" y="1126895"/>
                    <a:pt x="11646013" y="1126895"/>
                    <a:pt x="11653243" y="1112354"/>
                  </a:cubicBezTo>
                  <a:cubicBezTo>
                    <a:pt x="11653243" y="1112354"/>
                    <a:pt x="11653243" y="1112354"/>
                    <a:pt x="11660473" y="1112354"/>
                  </a:cubicBezTo>
                  <a:close/>
                  <a:moveTo>
                    <a:pt x="11631552" y="1097814"/>
                  </a:moveTo>
                  <a:lnTo>
                    <a:pt x="11624321" y="1105084"/>
                  </a:lnTo>
                  <a:cubicBezTo>
                    <a:pt x="11624321" y="1105084"/>
                    <a:pt x="11624321" y="1105084"/>
                    <a:pt x="11617091" y="1112354"/>
                  </a:cubicBezTo>
                  <a:cubicBezTo>
                    <a:pt x="11617091" y="1112354"/>
                    <a:pt x="11617091" y="1112354"/>
                    <a:pt x="11631552" y="1126895"/>
                  </a:cubicBezTo>
                  <a:cubicBezTo>
                    <a:pt x="11631552" y="1126895"/>
                    <a:pt x="11631552" y="1126895"/>
                    <a:pt x="11631552" y="1112354"/>
                  </a:cubicBezTo>
                  <a:cubicBezTo>
                    <a:pt x="11631552" y="1112354"/>
                    <a:pt x="11631552" y="1112354"/>
                    <a:pt x="11631552" y="1097814"/>
                  </a:cubicBezTo>
                  <a:close/>
                  <a:moveTo>
                    <a:pt x="11580939" y="1097814"/>
                  </a:moveTo>
                  <a:cubicBezTo>
                    <a:pt x="11580939" y="1097814"/>
                    <a:pt x="11580939" y="1097814"/>
                    <a:pt x="11580939" y="1112354"/>
                  </a:cubicBezTo>
                  <a:lnTo>
                    <a:pt x="11580939" y="1126895"/>
                  </a:lnTo>
                  <a:cubicBezTo>
                    <a:pt x="11580939" y="1126895"/>
                    <a:pt x="11580939" y="1126895"/>
                    <a:pt x="11588169" y="1119625"/>
                  </a:cubicBezTo>
                  <a:cubicBezTo>
                    <a:pt x="11588169" y="1119625"/>
                    <a:pt x="11588169" y="1119625"/>
                    <a:pt x="11595400" y="1112354"/>
                  </a:cubicBezTo>
                  <a:cubicBezTo>
                    <a:pt x="11595400" y="1112354"/>
                    <a:pt x="11595400" y="1112354"/>
                    <a:pt x="11580939" y="1097814"/>
                  </a:cubicBezTo>
                  <a:close/>
                  <a:moveTo>
                    <a:pt x="2090392" y="1097215"/>
                  </a:moveTo>
                  <a:cubicBezTo>
                    <a:pt x="2090392" y="1097215"/>
                    <a:pt x="2090392" y="1097215"/>
                    <a:pt x="2075934" y="1133580"/>
                  </a:cubicBezTo>
                  <a:cubicBezTo>
                    <a:pt x="2075934" y="1133580"/>
                    <a:pt x="2075934" y="1133580"/>
                    <a:pt x="2075934" y="1169945"/>
                  </a:cubicBezTo>
                  <a:cubicBezTo>
                    <a:pt x="2083163" y="1177218"/>
                    <a:pt x="2090392" y="1184491"/>
                    <a:pt x="2097621" y="1184491"/>
                  </a:cubicBezTo>
                  <a:cubicBezTo>
                    <a:pt x="2104850" y="1191763"/>
                    <a:pt x="2104850" y="1191763"/>
                    <a:pt x="2112079" y="1191763"/>
                  </a:cubicBezTo>
                  <a:cubicBezTo>
                    <a:pt x="2112079" y="1191763"/>
                    <a:pt x="2112079" y="1191763"/>
                    <a:pt x="2112079" y="1126307"/>
                  </a:cubicBezTo>
                  <a:lnTo>
                    <a:pt x="2112079" y="1119034"/>
                  </a:lnTo>
                  <a:cubicBezTo>
                    <a:pt x="2112079" y="1119034"/>
                    <a:pt x="2112079" y="1119034"/>
                    <a:pt x="2090392" y="1097215"/>
                  </a:cubicBezTo>
                  <a:close/>
                  <a:moveTo>
                    <a:pt x="11595400" y="1090543"/>
                  </a:moveTo>
                  <a:cubicBezTo>
                    <a:pt x="11595400" y="1090543"/>
                    <a:pt x="11595400" y="1090543"/>
                    <a:pt x="11609861" y="1105084"/>
                  </a:cubicBezTo>
                  <a:cubicBezTo>
                    <a:pt x="11609861" y="1105084"/>
                    <a:pt x="11609861" y="1105084"/>
                    <a:pt x="11617091" y="1097814"/>
                  </a:cubicBezTo>
                  <a:cubicBezTo>
                    <a:pt x="11617091" y="1097814"/>
                    <a:pt x="11617091" y="1097814"/>
                    <a:pt x="11624321" y="1090543"/>
                  </a:cubicBezTo>
                  <a:cubicBezTo>
                    <a:pt x="11624321" y="1090543"/>
                    <a:pt x="11624321" y="1090543"/>
                    <a:pt x="11609861" y="1090543"/>
                  </a:cubicBezTo>
                  <a:close/>
                  <a:moveTo>
                    <a:pt x="11725547" y="1083273"/>
                  </a:moveTo>
                  <a:cubicBezTo>
                    <a:pt x="11725547" y="1083273"/>
                    <a:pt x="11725547" y="1083273"/>
                    <a:pt x="11711086" y="1090543"/>
                  </a:cubicBezTo>
                  <a:cubicBezTo>
                    <a:pt x="11711086" y="1090543"/>
                    <a:pt x="11711086" y="1090543"/>
                    <a:pt x="11725547" y="1097814"/>
                  </a:cubicBezTo>
                  <a:lnTo>
                    <a:pt x="11732777" y="1090543"/>
                  </a:lnTo>
                  <a:cubicBezTo>
                    <a:pt x="11732777" y="1090543"/>
                    <a:pt x="11732777" y="1090543"/>
                    <a:pt x="11740007" y="1090543"/>
                  </a:cubicBezTo>
                  <a:cubicBezTo>
                    <a:pt x="11740007" y="1090543"/>
                    <a:pt x="11740007" y="1090543"/>
                    <a:pt x="11740007" y="1083273"/>
                  </a:cubicBezTo>
                  <a:cubicBezTo>
                    <a:pt x="11740007" y="1083273"/>
                    <a:pt x="11740007" y="1083273"/>
                    <a:pt x="11732777" y="1083273"/>
                  </a:cubicBezTo>
                  <a:cubicBezTo>
                    <a:pt x="11732777" y="1083273"/>
                    <a:pt x="11732777" y="1083273"/>
                    <a:pt x="11725547" y="1083273"/>
                  </a:cubicBezTo>
                  <a:close/>
                  <a:moveTo>
                    <a:pt x="2270211" y="1066305"/>
                  </a:moveTo>
                  <a:cubicBezTo>
                    <a:pt x="2269307" y="1064487"/>
                    <a:pt x="2267499" y="1064487"/>
                    <a:pt x="2263885" y="1068124"/>
                  </a:cubicBezTo>
                  <a:cubicBezTo>
                    <a:pt x="2263885" y="1068124"/>
                    <a:pt x="2263885" y="1068124"/>
                    <a:pt x="2263885" y="1075397"/>
                  </a:cubicBezTo>
                  <a:cubicBezTo>
                    <a:pt x="2271115" y="1075397"/>
                    <a:pt x="2271115" y="1075397"/>
                    <a:pt x="2271115" y="1075397"/>
                  </a:cubicBezTo>
                  <a:cubicBezTo>
                    <a:pt x="2271115" y="1075397"/>
                    <a:pt x="2271115" y="1075397"/>
                    <a:pt x="2271115" y="1097215"/>
                  </a:cubicBezTo>
                  <a:cubicBezTo>
                    <a:pt x="2271115" y="1097215"/>
                    <a:pt x="2271115" y="1097215"/>
                    <a:pt x="2256656" y="1104488"/>
                  </a:cubicBezTo>
                  <a:cubicBezTo>
                    <a:pt x="2256656" y="1104488"/>
                    <a:pt x="2256656" y="1104488"/>
                    <a:pt x="2242198" y="1155399"/>
                  </a:cubicBezTo>
                  <a:cubicBezTo>
                    <a:pt x="2242198" y="1155399"/>
                    <a:pt x="2242198" y="1155399"/>
                    <a:pt x="2242198" y="1177218"/>
                  </a:cubicBezTo>
                  <a:cubicBezTo>
                    <a:pt x="2242198" y="1177218"/>
                    <a:pt x="2242198" y="1177218"/>
                    <a:pt x="2242198" y="1184491"/>
                  </a:cubicBezTo>
                  <a:cubicBezTo>
                    <a:pt x="2242198" y="1184491"/>
                    <a:pt x="2242198" y="1184491"/>
                    <a:pt x="2242198" y="1191763"/>
                  </a:cubicBezTo>
                  <a:cubicBezTo>
                    <a:pt x="2242198" y="1191763"/>
                    <a:pt x="2242198" y="1191763"/>
                    <a:pt x="2242198" y="1293584"/>
                  </a:cubicBezTo>
                  <a:cubicBezTo>
                    <a:pt x="2242198" y="1293584"/>
                    <a:pt x="2242198" y="1293584"/>
                    <a:pt x="2249428" y="1264493"/>
                  </a:cubicBezTo>
                  <a:cubicBezTo>
                    <a:pt x="2249428" y="1264493"/>
                    <a:pt x="2249428" y="1264493"/>
                    <a:pt x="2256656" y="1213582"/>
                  </a:cubicBezTo>
                  <a:cubicBezTo>
                    <a:pt x="2256656" y="1213582"/>
                    <a:pt x="2256656" y="1213582"/>
                    <a:pt x="2256656" y="1199036"/>
                  </a:cubicBezTo>
                  <a:cubicBezTo>
                    <a:pt x="2256656" y="1199036"/>
                    <a:pt x="2256656" y="1199036"/>
                    <a:pt x="2263885" y="1169945"/>
                  </a:cubicBezTo>
                  <a:cubicBezTo>
                    <a:pt x="2263885" y="1169945"/>
                    <a:pt x="2263885" y="1169945"/>
                    <a:pt x="2263885" y="1162672"/>
                  </a:cubicBezTo>
                  <a:cubicBezTo>
                    <a:pt x="2263885" y="1162672"/>
                    <a:pt x="2263885" y="1162672"/>
                    <a:pt x="2271115" y="1140853"/>
                  </a:cubicBezTo>
                  <a:cubicBezTo>
                    <a:pt x="2271115" y="1140853"/>
                    <a:pt x="2271115" y="1140853"/>
                    <a:pt x="2278344" y="1104488"/>
                  </a:cubicBezTo>
                  <a:cubicBezTo>
                    <a:pt x="2278344" y="1089942"/>
                    <a:pt x="2278344" y="1082670"/>
                    <a:pt x="2271115" y="1075397"/>
                  </a:cubicBezTo>
                  <a:cubicBezTo>
                    <a:pt x="2271115" y="1071760"/>
                    <a:pt x="2271115" y="1068124"/>
                    <a:pt x="2270211" y="1066305"/>
                  </a:cubicBezTo>
                  <a:close/>
                  <a:moveTo>
                    <a:pt x="11718316" y="1061462"/>
                  </a:moveTo>
                  <a:cubicBezTo>
                    <a:pt x="11718316" y="1061462"/>
                    <a:pt x="11718316" y="1061462"/>
                    <a:pt x="11711086" y="1068733"/>
                  </a:cubicBezTo>
                  <a:cubicBezTo>
                    <a:pt x="11711086" y="1068733"/>
                    <a:pt x="11711086" y="1068733"/>
                    <a:pt x="11703856" y="1076003"/>
                  </a:cubicBezTo>
                  <a:cubicBezTo>
                    <a:pt x="11703856" y="1076003"/>
                    <a:pt x="11703856" y="1076003"/>
                    <a:pt x="11711086" y="1076003"/>
                  </a:cubicBezTo>
                  <a:cubicBezTo>
                    <a:pt x="11711086" y="1076003"/>
                    <a:pt x="11711086" y="1076003"/>
                    <a:pt x="11718316" y="1076003"/>
                  </a:cubicBezTo>
                  <a:lnTo>
                    <a:pt x="11732777" y="1076003"/>
                  </a:lnTo>
                  <a:cubicBezTo>
                    <a:pt x="11732777" y="1076003"/>
                    <a:pt x="11732777" y="1076003"/>
                    <a:pt x="11718316" y="1061462"/>
                  </a:cubicBezTo>
                  <a:close/>
                  <a:moveTo>
                    <a:pt x="11609861" y="1061462"/>
                  </a:moveTo>
                  <a:lnTo>
                    <a:pt x="11602630" y="1068733"/>
                  </a:lnTo>
                  <a:cubicBezTo>
                    <a:pt x="11602630" y="1068733"/>
                    <a:pt x="11602630" y="1068733"/>
                    <a:pt x="11595400" y="1076003"/>
                  </a:cubicBezTo>
                  <a:cubicBezTo>
                    <a:pt x="11595400" y="1076003"/>
                    <a:pt x="11595400" y="1076003"/>
                    <a:pt x="11609861" y="1076003"/>
                  </a:cubicBezTo>
                  <a:cubicBezTo>
                    <a:pt x="11609861" y="1076003"/>
                    <a:pt x="11609861" y="1076003"/>
                    <a:pt x="11624321" y="1076003"/>
                  </a:cubicBezTo>
                  <a:cubicBezTo>
                    <a:pt x="11624321" y="1076003"/>
                    <a:pt x="11624321" y="1076003"/>
                    <a:pt x="11609861" y="1061462"/>
                  </a:cubicBezTo>
                  <a:close/>
                  <a:moveTo>
                    <a:pt x="11674934" y="1046922"/>
                  </a:moveTo>
                  <a:cubicBezTo>
                    <a:pt x="11674934" y="1046922"/>
                    <a:pt x="11674934" y="1046922"/>
                    <a:pt x="11682164" y="1061462"/>
                  </a:cubicBezTo>
                  <a:cubicBezTo>
                    <a:pt x="11682164" y="1061462"/>
                    <a:pt x="11682164" y="1061462"/>
                    <a:pt x="11682164" y="1046922"/>
                  </a:cubicBezTo>
                  <a:cubicBezTo>
                    <a:pt x="11682164" y="1046922"/>
                    <a:pt x="11682164" y="1046922"/>
                    <a:pt x="11674934" y="1046922"/>
                  </a:cubicBezTo>
                  <a:close/>
                  <a:moveTo>
                    <a:pt x="11696625" y="1039651"/>
                  </a:moveTo>
                  <a:cubicBezTo>
                    <a:pt x="11696625" y="1039651"/>
                    <a:pt x="11696625" y="1039651"/>
                    <a:pt x="11696625" y="1046922"/>
                  </a:cubicBezTo>
                  <a:cubicBezTo>
                    <a:pt x="11696625" y="1046922"/>
                    <a:pt x="11696625" y="1046922"/>
                    <a:pt x="11696625" y="1061462"/>
                  </a:cubicBezTo>
                  <a:lnTo>
                    <a:pt x="11703856" y="1054192"/>
                  </a:lnTo>
                  <a:cubicBezTo>
                    <a:pt x="11703856" y="1054192"/>
                    <a:pt x="11703856" y="1054192"/>
                    <a:pt x="11711086" y="1046922"/>
                  </a:cubicBezTo>
                  <a:cubicBezTo>
                    <a:pt x="11711086" y="1046922"/>
                    <a:pt x="11711086" y="1046922"/>
                    <a:pt x="11696625" y="1039651"/>
                  </a:cubicBezTo>
                  <a:close/>
                  <a:moveTo>
                    <a:pt x="11631552" y="1039651"/>
                  </a:moveTo>
                  <a:cubicBezTo>
                    <a:pt x="11631552" y="1039651"/>
                    <a:pt x="11631552" y="1039651"/>
                    <a:pt x="11624321" y="1046922"/>
                  </a:cubicBezTo>
                  <a:cubicBezTo>
                    <a:pt x="11624321" y="1046922"/>
                    <a:pt x="11624321" y="1046922"/>
                    <a:pt x="11617091" y="1054192"/>
                  </a:cubicBezTo>
                  <a:lnTo>
                    <a:pt x="11631552" y="1068733"/>
                  </a:lnTo>
                  <a:cubicBezTo>
                    <a:pt x="11631552" y="1068733"/>
                    <a:pt x="11631552" y="1068733"/>
                    <a:pt x="11631552" y="1061462"/>
                  </a:cubicBezTo>
                  <a:cubicBezTo>
                    <a:pt x="11631552" y="1061462"/>
                    <a:pt x="11631552" y="1061462"/>
                    <a:pt x="11631552" y="1054192"/>
                  </a:cubicBezTo>
                  <a:cubicBezTo>
                    <a:pt x="11631552" y="1054192"/>
                    <a:pt x="11631552" y="1054192"/>
                    <a:pt x="11631552" y="1039651"/>
                  </a:cubicBezTo>
                  <a:close/>
                  <a:moveTo>
                    <a:pt x="11588169" y="1039651"/>
                  </a:moveTo>
                  <a:cubicBezTo>
                    <a:pt x="11588169" y="1039651"/>
                    <a:pt x="11588169" y="1039651"/>
                    <a:pt x="11588169" y="1054192"/>
                  </a:cubicBezTo>
                  <a:lnTo>
                    <a:pt x="11588169" y="1068733"/>
                  </a:lnTo>
                  <a:cubicBezTo>
                    <a:pt x="11588169" y="1068733"/>
                    <a:pt x="11588169" y="1068733"/>
                    <a:pt x="11595400" y="1061462"/>
                  </a:cubicBezTo>
                  <a:cubicBezTo>
                    <a:pt x="11595400" y="1061462"/>
                    <a:pt x="11595400" y="1061462"/>
                    <a:pt x="11602630" y="1054192"/>
                  </a:cubicBezTo>
                  <a:cubicBezTo>
                    <a:pt x="11602630" y="1054192"/>
                    <a:pt x="11602630" y="1054192"/>
                    <a:pt x="11588169" y="1039651"/>
                  </a:cubicBezTo>
                  <a:close/>
                  <a:moveTo>
                    <a:pt x="2234970" y="1031759"/>
                  </a:moveTo>
                  <a:lnTo>
                    <a:pt x="2234970" y="1046305"/>
                  </a:lnTo>
                  <a:cubicBezTo>
                    <a:pt x="2234970" y="1053578"/>
                    <a:pt x="2242198" y="1053578"/>
                    <a:pt x="2242198" y="1053578"/>
                  </a:cubicBezTo>
                  <a:cubicBezTo>
                    <a:pt x="2242198" y="1046305"/>
                    <a:pt x="2242198" y="1039032"/>
                    <a:pt x="2234970" y="1031759"/>
                  </a:cubicBezTo>
                  <a:close/>
                  <a:moveTo>
                    <a:pt x="11703856" y="1025111"/>
                  </a:moveTo>
                  <a:cubicBezTo>
                    <a:pt x="11703856" y="1025111"/>
                    <a:pt x="11703856" y="1025111"/>
                    <a:pt x="11718316" y="1039651"/>
                  </a:cubicBezTo>
                  <a:cubicBezTo>
                    <a:pt x="11718316" y="1039651"/>
                    <a:pt x="11718316" y="1039651"/>
                    <a:pt x="11725547" y="1032381"/>
                  </a:cubicBezTo>
                  <a:lnTo>
                    <a:pt x="11732777" y="1025111"/>
                  </a:lnTo>
                  <a:cubicBezTo>
                    <a:pt x="11732777" y="1025111"/>
                    <a:pt x="11732777" y="1025111"/>
                    <a:pt x="11718316" y="1025111"/>
                  </a:cubicBezTo>
                  <a:cubicBezTo>
                    <a:pt x="11718316" y="1025111"/>
                    <a:pt x="11718316" y="1025111"/>
                    <a:pt x="11711086" y="1025111"/>
                  </a:cubicBezTo>
                  <a:cubicBezTo>
                    <a:pt x="11711086" y="1025111"/>
                    <a:pt x="11711086" y="1025111"/>
                    <a:pt x="11703856" y="1025111"/>
                  </a:cubicBezTo>
                  <a:close/>
                  <a:moveTo>
                    <a:pt x="11653243" y="1025111"/>
                  </a:moveTo>
                  <a:cubicBezTo>
                    <a:pt x="11653243" y="1025111"/>
                    <a:pt x="11653243" y="1025111"/>
                    <a:pt x="11667704" y="1039651"/>
                  </a:cubicBezTo>
                  <a:cubicBezTo>
                    <a:pt x="11667704" y="1039651"/>
                    <a:pt x="11667704" y="1039651"/>
                    <a:pt x="11667704" y="1032381"/>
                  </a:cubicBezTo>
                  <a:cubicBezTo>
                    <a:pt x="11667704" y="1032381"/>
                    <a:pt x="11667704" y="1032381"/>
                    <a:pt x="11674934" y="1025111"/>
                  </a:cubicBezTo>
                  <a:cubicBezTo>
                    <a:pt x="11674934" y="1025111"/>
                    <a:pt x="11674934" y="1025111"/>
                    <a:pt x="11660473" y="1025111"/>
                  </a:cubicBezTo>
                  <a:cubicBezTo>
                    <a:pt x="11660473" y="1025111"/>
                    <a:pt x="11660473" y="1025111"/>
                    <a:pt x="11653243" y="1025111"/>
                  </a:cubicBezTo>
                  <a:close/>
                  <a:moveTo>
                    <a:pt x="11595400" y="1025111"/>
                  </a:moveTo>
                  <a:cubicBezTo>
                    <a:pt x="11595400" y="1025111"/>
                    <a:pt x="11595400" y="1025111"/>
                    <a:pt x="11609861" y="1039651"/>
                  </a:cubicBezTo>
                  <a:cubicBezTo>
                    <a:pt x="11609861" y="1039651"/>
                    <a:pt x="11609861" y="1039651"/>
                    <a:pt x="11617091" y="1032381"/>
                  </a:cubicBezTo>
                  <a:cubicBezTo>
                    <a:pt x="11617091" y="1032381"/>
                    <a:pt x="11617091" y="1032381"/>
                    <a:pt x="11624321" y="1032381"/>
                  </a:cubicBezTo>
                  <a:cubicBezTo>
                    <a:pt x="11624321" y="1032381"/>
                    <a:pt x="11624321" y="1032381"/>
                    <a:pt x="11624321" y="1025111"/>
                  </a:cubicBezTo>
                  <a:cubicBezTo>
                    <a:pt x="11624321" y="1025111"/>
                    <a:pt x="11624321" y="1025111"/>
                    <a:pt x="11617091" y="1025111"/>
                  </a:cubicBezTo>
                  <a:cubicBezTo>
                    <a:pt x="11617091" y="1025111"/>
                    <a:pt x="11617091" y="1025111"/>
                    <a:pt x="11609861" y="1025111"/>
                  </a:cubicBezTo>
                  <a:cubicBezTo>
                    <a:pt x="11609861" y="1025111"/>
                    <a:pt x="11609861" y="1025111"/>
                    <a:pt x="11602630" y="1025111"/>
                  </a:cubicBezTo>
                  <a:close/>
                  <a:moveTo>
                    <a:pt x="2227741" y="1024486"/>
                  </a:moveTo>
                  <a:cubicBezTo>
                    <a:pt x="2227741" y="1024486"/>
                    <a:pt x="2220512" y="1031759"/>
                    <a:pt x="2220512" y="1031759"/>
                  </a:cubicBezTo>
                  <a:cubicBezTo>
                    <a:pt x="2220512" y="1031759"/>
                    <a:pt x="2220512" y="1031759"/>
                    <a:pt x="2220512" y="1046305"/>
                  </a:cubicBezTo>
                  <a:cubicBezTo>
                    <a:pt x="2220512" y="1046305"/>
                    <a:pt x="2227741" y="1046305"/>
                    <a:pt x="2227741" y="1046305"/>
                  </a:cubicBezTo>
                  <a:close/>
                  <a:moveTo>
                    <a:pt x="2169909" y="1017213"/>
                  </a:moveTo>
                  <a:cubicBezTo>
                    <a:pt x="2169909" y="1017213"/>
                    <a:pt x="2169909" y="1017213"/>
                    <a:pt x="2162682" y="1039032"/>
                  </a:cubicBezTo>
                  <a:cubicBezTo>
                    <a:pt x="2162682" y="1039032"/>
                    <a:pt x="2169909" y="1039032"/>
                    <a:pt x="2169909" y="1039032"/>
                  </a:cubicBezTo>
                  <a:close/>
                  <a:moveTo>
                    <a:pt x="11718316" y="996030"/>
                  </a:moveTo>
                  <a:cubicBezTo>
                    <a:pt x="11718316" y="996030"/>
                    <a:pt x="11718316" y="996030"/>
                    <a:pt x="11711086" y="1003300"/>
                  </a:cubicBezTo>
                  <a:cubicBezTo>
                    <a:pt x="11711086" y="1003300"/>
                    <a:pt x="11711086" y="1003300"/>
                    <a:pt x="11703856" y="1010570"/>
                  </a:cubicBezTo>
                  <a:cubicBezTo>
                    <a:pt x="11703856" y="1010570"/>
                    <a:pt x="11703856" y="1010570"/>
                    <a:pt x="11725547" y="1010570"/>
                  </a:cubicBezTo>
                  <a:lnTo>
                    <a:pt x="11732777" y="1010570"/>
                  </a:lnTo>
                  <a:cubicBezTo>
                    <a:pt x="11732777" y="1010570"/>
                    <a:pt x="11732777" y="1010570"/>
                    <a:pt x="11718316" y="996030"/>
                  </a:cubicBezTo>
                  <a:close/>
                  <a:moveTo>
                    <a:pt x="11609861" y="996030"/>
                  </a:moveTo>
                  <a:lnTo>
                    <a:pt x="11602630" y="1003300"/>
                  </a:lnTo>
                  <a:cubicBezTo>
                    <a:pt x="11602630" y="1003300"/>
                    <a:pt x="11602630" y="1003300"/>
                    <a:pt x="11602630" y="1010570"/>
                  </a:cubicBezTo>
                  <a:cubicBezTo>
                    <a:pt x="11602630" y="1010570"/>
                    <a:pt x="11602630" y="1010570"/>
                    <a:pt x="11595400" y="1017841"/>
                  </a:cubicBezTo>
                  <a:cubicBezTo>
                    <a:pt x="11595400" y="1017841"/>
                    <a:pt x="11595400" y="1017841"/>
                    <a:pt x="11602630" y="1017841"/>
                  </a:cubicBezTo>
                  <a:cubicBezTo>
                    <a:pt x="11602630" y="1017841"/>
                    <a:pt x="11602630" y="1017841"/>
                    <a:pt x="11617091" y="1017841"/>
                  </a:cubicBezTo>
                  <a:cubicBezTo>
                    <a:pt x="11617091" y="1017841"/>
                    <a:pt x="11617091" y="1017841"/>
                    <a:pt x="11624321" y="1017841"/>
                  </a:cubicBezTo>
                  <a:cubicBezTo>
                    <a:pt x="11624321" y="1017841"/>
                    <a:pt x="11624321" y="1017841"/>
                    <a:pt x="11609861" y="996030"/>
                  </a:cubicBezTo>
                  <a:close/>
                  <a:moveTo>
                    <a:pt x="2186626" y="993690"/>
                  </a:moveTo>
                  <a:cubicBezTo>
                    <a:pt x="2183915" y="993122"/>
                    <a:pt x="2180753" y="993576"/>
                    <a:pt x="2177138" y="995394"/>
                  </a:cubicBezTo>
                  <a:cubicBezTo>
                    <a:pt x="2177138" y="995394"/>
                    <a:pt x="2177138" y="995394"/>
                    <a:pt x="2177138" y="1039032"/>
                  </a:cubicBezTo>
                  <a:cubicBezTo>
                    <a:pt x="2184368" y="1039032"/>
                    <a:pt x="2191597" y="1039032"/>
                    <a:pt x="2191597" y="1039032"/>
                  </a:cubicBezTo>
                  <a:cubicBezTo>
                    <a:pt x="2198825" y="1039032"/>
                    <a:pt x="2198825" y="1039032"/>
                    <a:pt x="2198825" y="1046305"/>
                  </a:cubicBezTo>
                  <a:cubicBezTo>
                    <a:pt x="2198825" y="1046305"/>
                    <a:pt x="2198825" y="1046305"/>
                    <a:pt x="2198825" y="1031759"/>
                  </a:cubicBezTo>
                  <a:cubicBezTo>
                    <a:pt x="2206055" y="1024486"/>
                    <a:pt x="2206055" y="1017213"/>
                    <a:pt x="2198825" y="1017213"/>
                  </a:cubicBezTo>
                  <a:cubicBezTo>
                    <a:pt x="2198825" y="1006304"/>
                    <a:pt x="2194760" y="995394"/>
                    <a:pt x="2186626" y="993690"/>
                  </a:cubicBezTo>
                  <a:close/>
                  <a:moveTo>
                    <a:pt x="4974707" y="988121"/>
                  </a:moveTo>
                  <a:cubicBezTo>
                    <a:pt x="4967478" y="988121"/>
                    <a:pt x="4967478" y="995394"/>
                    <a:pt x="4967478" y="1002667"/>
                  </a:cubicBezTo>
                  <a:lnTo>
                    <a:pt x="4967478" y="1060851"/>
                  </a:lnTo>
                  <a:cubicBezTo>
                    <a:pt x="4967478" y="1053578"/>
                    <a:pt x="4974707" y="1053578"/>
                    <a:pt x="4974707" y="1053578"/>
                  </a:cubicBezTo>
                  <a:cubicBezTo>
                    <a:pt x="4974707" y="1053578"/>
                    <a:pt x="4974707" y="1053578"/>
                    <a:pt x="4974707" y="1046305"/>
                  </a:cubicBezTo>
                  <a:cubicBezTo>
                    <a:pt x="4974707" y="1046305"/>
                    <a:pt x="4974707" y="1046305"/>
                    <a:pt x="4974707" y="1002667"/>
                  </a:cubicBezTo>
                  <a:cubicBezTo>
                    <a:pt x="4974707" y="1002667"/>
                    <a:pt x="4974707" y="995394"/>
                    <a:pt x="4974707" y="995394"/>
                  </a:cubicBezTo>
                  <a:cubicBezTo>
                    <a:pt x="4974707" y="988121"/>
                    <a:pt x="4974707" y="988121"/>
                    <a:pt x="4974707" y="988121"/>
                  </a:cubicBezTo>
                  <a:close/>
                  <a:moveTo>
                    <a:pt x="11646013" y="981489"/>
                  </a:moveTo>
                  <a:cubicBezTo>
                    <a:pt x="11646013" y="981489"/>
                    <a:pt x="11646013" y="981489"/>
                    <a:pt x="11646013" y="988759"/>
                  </a:cubicBezTo>
                  <a:lnTo>
                    <a:pt x="11646013" y="996030"/>
                  </a:lnTo>
                  <a:cubicBezTo>
                    <a:pt x="11646013" y="996030"/>
                    <a:pt x="11646013" y="996030"/>
                    <a:pt x="11653243" y="996030"/>
                  </a:cubicBezTo>
                  <a:cubicBezTo>
                    <a:pt x="11653243" y="996030"/>
                    <a:pt x="11653243" y="996030"/>
                    <a:pt x="11653243" y="988759"/>
                  </a:cubicBezTo>
                  <a:cubicBezTo>
                    <a:pt x="11653243" y="988759"/>
                    <a:pt x="11653243" y="988759"/>
                    <a:pt x="11646013" y="981489"/>
                  </a:cubicBezTo>
                  <a:close/>
                  <a:moveTo>
                    <a:pt x="5039767" y="980849"/>
                  </a:moveTo>
                  <a:cubicBezTo>
                    <a:pt x="5032538" y="980849"/>
                    <a:pt x="5025309" y="988121"/>
                    <a:pt x="5025309" y="995394"/>
                  </a:cubicBezTo>
                  <a:lnTo>
                    <a:pt x="5025309" y="1053578"/>
                  </a:lnTo>
                  <a:cubicBezTo>
                    <a:pt x="5025309" y="1053578"/>
                    <a:pt x="5032538" y="1053578"/>
                    <a:pt x="5032538" y="1053578"/>
                  </a:cubicBezTo>
                  <a:cubicBezTo>
                    <a:pt x="5039767" y="1053578"/>
                    <a:pt x="5046995" y="1053578"/>
                    <a:pt x="5054224" y="1053578"/>
                  </a:cubicBezTo>
                  <a:cubicBezTo>
                    <a:pt x="5054224" y="1053578"/>
                    <a:pt x="5054224" y="1053578"/>
                    <a:pt x="5054224" y="995394"/>
                  </a:cubicBezTo>
                  <a:cubicBezTo>
                    <a:pt x="5054224" y="988121"/>
                    <a:pt x="5054224" y="980849"/>
                    <a:pt x="5046995" y="980849"/>
                  </a:cubicBezTo>
                  <a:cubicBezTo>
                    <a:pt x="5046995" y="980849"/>
                    <a:pt x="5039767" y="980849"/>
                    <a:pt x="5039767" y="980849"/>
                  </a:cubicBezTo>
                  <a:close/>
                  <a:moveTo>
                    <a:pt x="4996393" y="980849"/>
                  </a:moveTo>
                  <a:cubicBezTo>
                    <a:pt x="4989165" y="980849"/>
                    <a:pt x="4989165" y="988121"/>
                    <a:pt x="4981936" y="988121"/>
                  </a:cubicBezTo>
                  <a:cubicBezTo>
                    <a:pt x="4981936" y="995394"/>
                    <a:pt x="4981936" y="995394"/>
                    <a:pt x="4981936" y="995394"/>
                  </a:cubicBezTo>
                  <a:cubicBezTo>
                    <a:pt x="4981936" y="995394"/>
                    <a:pt x="4981936" y="995394"/>
                    <a:pt x="4981936" y="1002667"/>
                  </a:cubicBezTo>
                  <a:lnTo>
                    <a:pt x="4981936" y="1053578"/>
                  </a:lnTo>
                  <a:cubicBezTo>
                    <a:pt x="4989165" y="1053578"/>
                    <a:pt x="4989165" y="1053578"/>
                    <a:pt x="4996393" y="1053578"/>
                  </a:cubicBezTo>
                  <a:cubicBezTo>
                    <a:pt x="5003622" y="1053578"/>
                    <a:pt x="5010851" y="1053578"/>
                    <a:pt x="5018080" y="1053578"/>
                  </a:cubicBezTo>
                  <a:cubicBezTo>
                    <a:pt x="5018080" y="1053578"/>
                    <a:pt x="5018080" y="1053578"/>
                    <a:pt x="5018080" y="995394"/>
                  </a:cubicBezTo>
                  <a:cubicBezTo>
                    <a:pt x="5018080" y="988121"/>
                    <a:pt x="5010851" y="980849"/>
                    <a:pt x="5003622" y="980849"/>
                  </a:cubicBezTo>
                  <a:cubicBezTo>
                    <a:pt x="5003622" y="980849"/>
                    <a:pt x="5003622" y="980849"/>
                    <a:pt x="4996393" y="980849"/>
                  </a:cubicBezTo>
                  <a:close/>
                  <a:moveTo>
                    <a:pt x="11740007" y="974219"/>
                  </a:moveTo>
                  <a:lnTo>
                    <a:pt x="11725547" y="988759"/>
                  </a:lnTo>
                  <a:cubicBezTo>
                    <a:pt x="11725547" y="988759"/>
                    <a:pt x="11725547" y="988759"/>
                    <a:pt x="11740007" y="1003300"/>
                  </a:cubicBezTo>
                  <a:cubicBezTo>
                    <a:pt x="11740007" y="1003300"/>
                    <a:pt x="11740007" y="1003300"/>
                    <a:pt x="11740007" y="974219"/>
                  </a:cubicBezTo>
                  <a:close/>
                  <a:moveTo>
                    <a:pt x="11696625" y="974219"/>
                  </a:moveTo>
                  <a:cubicBezTo>
                    <a:pt x="11696625" y="974219"/>
                    <a:pt x="11696625" y="974219"/>
                    <a:pt x="11696625" y="988759"/>
                  </a:cubicBezTo>
                  <a:cubicBezTo>
                    <a:pt x="11696625" y="988759"/>
                    <a:pt x="11696625" y="988759"/>
                    <a:pt x="11696625" y="1003300"/>
                  </a:cubicBezTo>
                  <a:lnTo>
                    <a:pt x="11703856" y="996030"/>
                  </a:lnTo>
                  <a:cubicBezTo>
                    <a:pt x="11703856" y="996030"/>
                    <a:pt x="11703856" y="996030"/>
                    <a:pt x="11711086" y="988759"/>
                  </a:cubicBezTo>
                  <a:cubicBezTo>
                    <a:pt x="11711086" y="988759"/>
                    <a:pt x="11711086" y="988759"/>
                    <a:pt x="11696625" y="974219"/>
                  </a:cubicBezTo>
                  <a:close/>
                  <a:moveTo>
                    <a:pt x="11682164" y="974219"/>
                  </a:moveTo>
                  <a:cubicBezTo>
                    <a:pt x="11682164" y="974219"/>
                    <a:pt x="11682164" y="974219"/>
                    <a:pt x="11674934" y="981489"/>
                  </a:cubicBezTo>
                  <a:cubicBezTo>
                    <a:pt x="11674934" y="981489"/>
                    <a:pt x="11674934" y="981489"/>
                    <a:pt x="11674934" y="988759"/>
                  </a:cubicBezTo>
                  <a:cubicBezTo>
                    <a:pt x="11674934" y="988759"/>
                    <a:pt x="11674934" y="988759"/>
                    <a:pt x="11682164" y="996030"/>
                  </a:cubicBezTo>
                  <a:lnTo>
                    <a:pt x="11682164" y="988759"/>
                  </a:lnTo>
                  <a:cubicBezTo>
                    <a:pt x="11682164" y="988759"/>
                    <a:pt x="11682164" y="988759"/>
                    <a:pt x="11682164" y="974219"/>
                  </a:cubicBezTo>
                  <a:close/>
                  <a:moveTo>
                    <a:pt x="11588169" y="974219"/>
                  </a:moveTo>
                  <a:cubicBezTo>
                    <a:pt x="11588169" y="974219"/>
                    <a:pt x="11588169" y="974219"/>
                    <a:pt x="11588169" y="988759"/>
                  </a:cubicBezTo>
                  <a:cubicBezTo>
                    <a:pt x="11588169" y="988759"/>
                    <a:pt x="11588169" y="988759"/>
                    <a:pt x="11588169" y="996030"/>
                  </a:cubicBezTo>
                  <a:lnTo>
                    <a:pt x="11588169" y="1003300"/>
                  </a:lnTo>
                  <a:cubicBezTo>
                    <a:pt x="11588169" y="1003300"/>
                    <a:pt x="11588169" y="1003300"/>
                    <a:pt x="11595400" y="996030"/>
                  </a:cubicBezTo>
                  <a:cubicBezTo>
                    <a:pt x="11595400" y="996030"/>
                    <a:pt x="11595400" y="996030"/>
                    <a:pt x="11602630" y="988759"/>
                  </a:cubicBezTo>
                  <a:cubicBezTo>
                    <a:pt x="11602630" y="988759"/>
                    <a:pt x="11602630" y="988759"/>
                    <a:pt x="11588169" y="974219"/>
                  </a:cubicBezTo>
                  <a:close/>
                  <a:moveTo>
                    <a:pt x="2148224" y="973576"/>
                  </a:moveTo>
                  <a:cubicBezTo>
                    <a:pt x="2148224" y="973576"/>
                    <a:pt x="2140994" y="973576"/>
                    <a:pt x="2140994" y="980849"/>
                  </a:cubicBezTo>
                  <a:cubicBezTo>
                    <a:pt x="2140994" y="980849"/>
                    <a:pt x="2140994" y="980849"/>
                    <a:pt x="2140994" y="988121"/>
                  </a:cubicBezTo>
                  <a:cubicBezTo>
                    <a:pt x="2140994" y="988121"/>
                    <a:pt x="2140994" y="988121"/>
                    <a:pt x="2140994" y="995394"/>
                  </a:cubicBezTo>
                  <a:cubicBezTo>
                    <a:pt x="2140994" y="995394"/>
                    <a:pt x="2140994" y="995394"/>
                    <a:pt x="2140994" y="1046305"/>
                  </a:cubicBezTo>
                  <a:cubicBezTo>
                    <a:pt x="2140994" y="1046305"/>
                    <a:pt x="2140994" y="1046305"/>
                    <a:pt x="2148224" y="1046305"/>
                  </a:cubicBezTo>
                  <a:cubicBezTo>
                    <a:pt x="2148224" y="1046305"/>
                    <a:pt x="2148224" y="1046305"/>
                    <a:pt x="2155452" y="1009940"/>
                  </a:cubicBezTo>
                  <a:cubicBezTo>
                    <a:pt x="2155452" y="1009940"/>
                    <a:pt x="2155452" y="1009940"/>
                    <a:pt x="2155452" y="1002667"/>
                  </a:cubicBezTo>
                  <a:cubicBezTo>
                    <a:pt x="2155452" y="995394"/>
                    <a:pt x="2155452" y="988121"/>
                    <a:pt x="2155452" y="988121"/>
                  </a:cubicBezTo>
                  <a:cubicBezTo>
                    <a:pt x="2155452" y="980849"/>
                    <a:pt x="2155452" y="973576"/>
                    <a:pt x="2148224" y="973576"/>
                  </a:cubicBezTo>
                  <a:close/>
                  <a:moveTo>
                    <a:pt x="2126537" y="973576"/>
                  </a:moveTo>
                  <a:cubicBezTo>
                    <a:pt x="2126537" y="973576"/>
                    <a:pt x="2126537" y="980849"/>
                    <a:pt x="2126537" y="995394"/>
                  </a:cubicBezTo>
                  <a:cubicBezTo>
                    <a:pt x="2126537" y="995394"/>
                    <a:pt x="2126537" y="995394"/>
                    <a:pt x="2126537" y="1046305"/>
                  </a:cubicBezTo>
                  <a:cubicBezTo>
                    <a:pt x="2126537" y="1046305"/>
                    <a:pt x="2126537" y="1046305"/>
                    <a:pt x="2133765" y="1046305"/>
                  </a:cubicBezTo>
                  <a:cubicBezTo>
                    <a:pt x="2133765" y="1046305"/>
                    <a:pt x="2133765" y="1046305"/>
                    <a:pt x="2133765" y="1039032"/>
                  </a:cubicBezTo>
                  <a:lnTo>
                    <a:pt x="2133765" y="995394"/>
                  </a:lnTo>
                  <a:cubicBezTo>
                    <a:pt x="2133765" y="988121"/>
                    <a:pt x="2133765" y="988121"/>
                    <a:pt x="2133765" y="988121"/>
                  </a:cubicBezTo>
                  <a:cubicBezTo>
                    <a:pt x="2133765" y="980849"/>
                    <a:pt x="2126537" y="973576"/>
                    <a:pt x="2126537" y="973576"/>
                  </a:cubicBezTo>
                  <a:close/>
                  <a:moveTo>
                    <a:pt x="2112079" y="973576"/>
                  </a:moveTo>
                  <a:cubicBezTo>
                    <a:pt x="2112079" y="980849"/>
                    <a:pt x="2112079" y="980849"/>
                    <a:pt x="2112079" y="980849"/>
                  </a:cubicBezTo>
                  <a:cubicBezTo>
                    <a:pt x="2112079" y="980849"/>
                    <a:pt x="2112079" y="980849"/>
                    <a:pt x="2104850" y="1024486"/>
                  </a:cubicBezTo>
                  <a:cubicBezTo>
                    <a:pt x="2104850" y="1024486"/>
                    <a:pt x="2104850" y="1024486"/>
                    <a:pt x="2097621" y="1039032"/>
                  </a:cubicBezTo>
                  <a:cubicBezTo>
                    <a:pt x="2097621" y="1039032"/>
                    <a:pt x="2097621" y="1039032"/>
                    <a:pt x="2097621" y="1046305"/>
                  </a:cubicBezTo>
                  <a:cubicBezTo>
                    <a:pt x="2097621" y="1046305"/>
                    <a:pt x="2097621" y="1046305"/>
                    <a:pt x="2097621" y="1060851"/>
                  </a:cubicBezTo>
                  <a:cubicBezTo>
                    <a:pt x="2097621" y="1053578"/>
                    <a:pt x="2104850" y="1053578"/>
                    <a:pt x="2112079" y="1046305"/>
                  </a:cubicBezTo>
                  <a:lnTo>
                    <a:pt x="2119309" y="980849"/>
                  </a:lnTo>
                  <a:cubicBezTo>
                    <a:pt x="2119309" y="980849"/>
                    <a:pt x="2119309" y="980849"/>
                    <a:pt x="2112079" y="973576"/>
                  </a:cubicBezTo>
                  <a:close/>
                  <a:moveTo>
                    <a:pt x="11703856" y="966949"/>
                  </a:moveTo>
                  <a:cubicBezTo>
                    <a:pt x="11703856" y="966949"/>
                    <a:pt x="11703856" y="966949"/>
                    <a:pt x="11718316" y="974219"/>
                  </a:cubicBezTo>
                  <a:lnTo>
                    <a:pt x="11725547" y="966949"/>
                  </a:lnTo>
                  <a:cubicBezTo>
                    <a:pt x="11725547" y="966949"/>
                    <a:pt x="11725547" y="966949"/>
                    <a:pt x="11703856" y="966949"/>
                  </a:cubicBezTo>
                  <a:close/>
                  <a:moveTo>
                    <a:pt x="11595400" y="966949"/>
                  </a:moveTo>
                  <a:cubicBezTo>
                    <a:pt x="11595400" y="966949"/>
                    <a:pt x="11595400" y="966949"/>
                    <a:pt x="11609861" y="981489"/>
                  </a:cubicBezTo>
                  <a:cubicBezTo>
                    <a:pt x="11609861" y="981489"/>
                    <a:pt x="11609861" y="981489"/>
                    <a:pt x="11617091" y="974219"/>
                  </a:cubicBezTo>
                  <a:cubicBezTo>
                    <a:pt x="11617091" y="974219"/>
                    <a:pt x="11617091" y="974219"/>
                    <a:pt x="11624321" y="966949"/>
                  </a:cubicBezTo>
                  <a:cubicBezTo>
                    <a:pt x="11624321" y="966949"/>
                    <a:pt x="11624321" y="966949"/>
                    <a:pt x="11602630" y="966949"/>
                  </a:cubicBezTo>
                  <a:close/>
                  <a:moveTo>
                    <a:pt x="2256656" y="966303"/>
                  </a:moveTo>
                  <a:cubicBezTo>
                    <a:pt x="2256656" y="966303"/>
                    <a:pt x="2256656" y="966303"/>
                    <a:pt x="2249428" y="973576"/>
                  </a:cubicBezTo>
                  <a:cubicBezTo>
                    <a:pt x="2249428" y="973576"/>
                    <a:pt x="2249428" y="973576"/>
                    <a:pt x="2234970" y="980849"/>
                  </a:cubicBezTo>
                  <a:lnTo>
                    <a:pt x="2234970" y="988121"/>
                  </a:lnTo>
                  <a:cubicBezTo>
                    <a:pt x="2234970" y="988121"/>
                    <a:pt x="2234970" y="988121"/>
                    <a:pt x="2234970" y="995394"/>
                  </a:cubicBezTo>
                  <a:cubicBezTo>
                    <a:pt x="2242198" y="995394"/>
                    <a:pt x="2249428" y="1002667"/>
                    <a:pt x="2249428" y="1009940"/>
                  </a:cubicBezTo>
                  <a:cubicBezTo>
                    <a:pt x="2249428" y="1009940"/>
                    <a:pt x="2249428" y="1009940"/>
                    <a:pt x="2256656" y="980849"/>
                  </a:cubicBezTo>
                  <a:cubicBezTo>
                    <a:pt x="2256656" y="980849"/>
                    <a:pt x="2256656" y="980849"/>
                    <a:pt x="2256656" y="966303"/>
                  </a:cubicBezTo>
                  <a:close/>
                  <a:moveTo>
                    <a:pt x="1653950" y="930847"/>
                  </a:moveTo>
                  <a:cubicBezTo>
                    <a:pt x="1647624" y="933575"/>
                    <a:pt x="1638588" y="944484"/>
                    <a:pt x="1634974" y="959030"/>
                  </a:cubicBezTo>
                  <a:cubicBezTo>
                    <a:pt x="1627745" y="988121"/>
                    <a:pt x="1620516" y="1009940"/>
                    <a:pt x="1613287" y="1031759"/>
                  </a:cubicBezTo>
                  <a:cubicBezTo>
                    <a:pt x="1613287" y="1031759"/>
                    <a:pt x="1613287" y="1031759"/>
                    <a:pt x="1606058" y="1053578"/>
                  </a:cubicBezTo>
                  <a:cubicBezTo>
                    <a:pt x="1606058" y="1053578"/>
                    <a:pt x="1606058" y="1053578"/>
                    <a:pt x="1606058" y="1068124"/>
                  </a:cubicBezTo>
                  <a:cubicBezTo>
                    <a:pt x="1606058" y="1068124"/>
                    <a:pt x="1606058" y="1068124"/>
                    <a:pt x="1584372" y="1140853"/>
                  </a:cubicBezTo>
                  <a:lnTo>
                    <a:pt x="1584372" y="1148126"/>
                  </a:lnTo>
                  <a:cubicBezTo>
                    <a:pt x="1591601" y="1140853"/>
                    <a:pt x="1598830" y="1140853"/>
                    <a:pt x="1606058" y="1140853"/>
                  </a:cubicBezTo>
                  <a:cubicBezTo>
                    <a:pt x="1606058" y="1140853"/>
                    <a:pt x="1606058" y="1140853"/>
                    <a:pt x="1606058" y="1126307"/>
                  </a:cubicBezTo>
                  <a:cubicBezTo>
                    <a:pt x="1606058" y="1126307"/>
                    <a:pt x="1606058" y="1126307"/>
                    <a:pt x="1627745" y="1053578"/>
                  </a:cubicBezTo>
                  <a:cubicBezTo>
                    <a:pt x="1627745" y="1053578"/>
                    <a:pt x="1627745" y="1053578"/>
                    <a:pt x="1634974" y="1046305"/>
                  </a:cubicBezTo>
                  <a:cubicBezTo>
                    <a:pt x="1634974" y="1046305"/>
                    <a:pt x="1634974" y="1046305"/>
                    <a:pt x="1642203" y="1017213"/>
                  </a:cubicBezTo>
                  <a:cubicBezTo>
                    <a:pt x="1642203" y="1017213"/>
                    <a:pt x="1642203" y="1017213"/>
                    <a:pt x="1656660" y="951757"/>
                  </a:cubicBezTo>
                  <a:cubicBezTo>
                    <a:pt x="1663889" y="933575"/>
                    <a:pt x="1660275" y="928120"/>
                    <a:pt x="1653950" y="930847"/>
                  </a:cubicBezTo>
                  <a:close/>
                  <a:moveTo>
                    <a:pt x="11711086" y="930597"/>
                  </a:moveTo>
                  <a:cubicBezTo>
                    <a:pt x="11711086" y="930597"/>
                    <a:pt x="11711086" y="930597"/>
                    <a:pt x="11703856" y="945138"/>
                  </a:cubicBezTo>
                  <a:cubicBezTo>
                    <a:pt x="11703856" y="945138"/>
                    <a:pt x="11703856" y="945138"/>
                    <a:pt x="11696625" y="952408"/>
                  </a:cubicBezTo>
                  <a:cubicBezTo>
                    <a:pt x="11696625" y="952408"/>
                    <a:pt x="11696625" y="952408"/>
                    <a:pt x="11711086" y="952408"/>
                  </a:cubicBezTo>
                  <a:cubicBezTo>
                    <a:pt x="11711086" y="952408"/>
                    <a:pt x="11711086" y="952408"/>
                    <a:pt x="11725547" y="952408"/>
                  </a:cubicBezTo>
                  <a:lnTo>
                    <a:pt x="11732777" y="952408"/>
                  </a:lnTo>
                  <a:cubicBezTo>
                    <a:pt x="11732777" y="952408"/>
                    <a:pt x="11732777" y="952408"/>
                    <a:pt x="11711086" y="930597"/>
                  </a:cubicBezTo>
                  <a:close/>
                  <a:moveTo>
                    <a:pt x="11617091" y="930597"/>
                  </a:moveTo>
                  <a:lnTo>
                    <a:pt x="11609861" y="937867"/>
                  </a:lnTo>
                  <a:cubicBezTo>
                    <a:pt x="11609861" y="937867"/>
                    <a:pt x="11609861" y="937867"/>
                    <a:pt x="11602630" y="945138"/>
                  </a:cubicBezTo>
                  <a:cubicBezTo>
                    <a:pt x="11602630" y="945138"/>
                    <a:pt x="11602630" y="945138"/>
                    <a:pt x="11595400" y="952408"/>
                  </a:cubicBezTo>
                  <a:cubicBezTo>
                    <a:pt x="11595400" y="952408"/>
                    <a:pt x="11595400" y="952408"/>
                    <a:pt x="11609861" y="952408"/>
                  </a:cubicBezTo>
                  <a:cubicBezTo>
                    <a:pt x="11609861" y="952408"/>
                    <a:pt x="11609861" y="952408"/>
                    <a:pt x="11624321" y="952408"/>
                  </a:cubicBezTo>
                  <a:cubicBezTo>
                    <a:pt x="11624321" y="952408"/>
                    <a:pt x="11624321" y="952408"/>
                    <a:pt x="11631552" y="952408"/>
                  </a:cubicBezTo>
                  <a:cubicBezTo>
                    <a:pt x="11631552" y="952408"/>
                    <a:pt x="11631552" y="952408"/>
                    <a:pt x="11617091" y="930597"/>
                  </a:cubicBezTo>
                  <a:close/>
                  <a:moveTo>
                    <a:pt x="2068706" y="922665"/>
                  </a:moveTo>
                  <a:cubicBezTo>
                    <a:pt x="2061477" y="922665"/>
                    <a:pt x="2047019" y="929938"/>
                    <a:pt x="2039790" y="944484"/>
                  </a:cubicBezTo>
                  <a:cubicBezTo>
                    <a:pt x="2039790" y="944484"/>
                    <a:pt x="2039790" y="944484"/>
                    <a:pt x="2039790" y="951757"/>
                  </a:cubicBezTo>
                  <a:cubicBezTo>
                    <a:pt x="2039790" y="951757"/>
                    <a:pt x="2039790" y="951757"/>
                    <a:pt x="2025332" y="1009940"/>
                  </a:cubicBezTo>
                  <a:cubicBezTo>
                    <a:pt x="2025332" y="1009940"/>
                    <a:pt x="2025332" y="1009940"/>
                    <a:pt x="2025332" y="1017213"/>
                  </a:cubicBezTo>
                  <a:cubicBezTo>
                    <a:pt x="2025332" y="1017213"/>
                    <a:pt x="2025332" y="1017213"/>
                    <a:pt x="2018103" y="1046305"/>
                  </a:cubicBezTo>
                  <a:cubicBezTo>
                    <a:pt x="2018103" y="1046305"/>
                    <a:pt x="2018103" y="1046305"/>
                    <a:pt x="2010875" y="1082670"/>
                  </a:cubicBezTo>
                  <a:cubicBezTo>
                    <a:pt x="2010875" y="1082670"/>
                    <a:pt x="2010875" y="1082670"/>
                    <a:pt x="2010875" y="1097215"/>
                  </a:cubicBezTo>
                  <a:cubicBezTo>
                    <a:pt x="2010875" y="1097215"/>
                    <a:pt x="2010875" y="1097215"/>
                    <a:pt x="2003646" y="1104488"/>
                  </a:cubicBezTo>
                  <a:cubicBezTo>
                    <a:pt x="2003646" y="1104488"/>
                    <a:pt x="2003646" y="1104488"/>
                    <a:pt x="1996418" y="1140853"/>
                  </a:cubicBezTo>
                  <a:cubicBezTo>
                    <a:pt x="1996418" y="1140853"/>
                    <a:pt x="1996418" y="1140853"/>
                    <a:pt x="2003646" y="1140853"/>
                  </a:cubicBezTo>
                  <a:cubicBezTo>
                    <a:pt x="2018103" y="1148126"/>
                    <a:pt x="2032562" y="1155399"/>
                    <a:pt x="2047019" y="1155399"/>
                  </a:cubicBezTo>
                  <a:cubicBezTo>
                    <a:pt x="2047019" y="1162672"/>
                    <a:pt x="2047019" y="1162672"/>
                    <a:pt x="2054248" y="1162672"/>
                  </a:cubicBezTo>
                  <a:cubicBezTo>
                    <a:pt x="2054248" y="1162672"/>
                    <a:pt x="2054248" y="1162672"/>
                    <a:pt x="2054248" y="1155399"/>
                  </a:cubicBezTo>
                  <a:cubicBezTo>
                    <a:pt x="2054248" y="1155399"/>
                    <a:pt x="2054248" y="1155399"/>
                    <a:pt x="2068706" y="1104488"/>
                  </a:cubicBezTo>
                  <a:cubicBezTo>
                    <a:pt x="2068706" y="1104488"/>
                    <a:pt x="2068706" y="1104488"/>
                    <a:pt x="2075934" y="1068124"/>
                  </a:cubicBezTo>
                  <a:cubicBezTo>
                    <a:pt x="2075934" y="1068124"/>
                    <a:pt x="2075934" y="1068124"/>
                    <a:pt x="2075934" y="1060851"/>
                  </a:cubicBezTo>
                  <a:cubicBezTo>
                    <a:pt x="2075934" y="1060851"/>
                    <a:pt x="2075934" y="1060851"/>
                    <a:pt x="2075934" y="1053578"/>
                  </a:cubicBezTo>
                  <a:cubicBezTo>
                    <a:pt x="2075934" y="1053578"/>
                    <a:pt x="2075934" y="1053578"/>
                    <a:pt x="2075934" y="1039032"/>
                  </a:cubicBezTo>
                  <a:cubicBezTo>
                    <a:pt x="2075934" y="1039032"/>
                    <a:pt x="2075934" y="1039032"/>
                    <a:pt x="2090392" y="973576"/>
                  </a:cubicBezTo>
                  <a:cubicBezTo>
                    <a:pt x="2090392" y="973576"/>
                    <a:pt x="2090392" y="973576"/>
                    <a:pt x="2090392" y="966303"/>
                  </a:cubicBezTo>
                  <a:lnTo>
                    <a:pt x="2083163" y="951757"/>
                  </a:lnTo>
                  <a:cubicBezTo>
                    <a:pt x="2083163" y="951757"/>
                    <a:pt x="2083163" y="951757"/>
                    <a:pt x="2090392" y="951757"/>
                  </a:cubicBezTo>
                  <a:cubicBezTo>
                    <a:pt x="2090392" y="937211"/>
                    <a:pt x="2075934" y="929938"/>
                    <a:pt x="2068706" y="922665"/>
                  </a:cubicBezTo>
                  <a:close/>
                  <a:moveTo>
                    <a:pt x="1704552" y="913574"/>
                  </a:moveTo>
                  <a:cubicBezTo>
                    <a:pt x="1696420" y="915392"/>
                    <a:pt x="1685577" y="926302"/>
                    <a:pt x="1678347" y="944484"/>
                  </a:cubicBezTo>
                  <a:cubicBezTo>
                    <a:pt x="1671118" y="966303"/>
                    <a:pt x="1671118" y="980849"/>
                    <a:pt x="1663889" y="1002667"/>
                  </a:cubicBezTo>
                  <a:cubicBezTo>
                    <a:pt x="1663889" y="1002667"/>
                    <a:pt x="1663889" y="1002667"/>
                    <a:pt x="1656660" y="1039032"/>
                  </a:cubicBezTo>
                  <a:cubicBezTo>
                    <a:pt x="1649432" y="1060851"/>
                    <a:pt x="1642203" y="1082670"/>
                    <a:pt x="1634974" y="1111761"/>
                  </a:cubicBezTo>
                  <a:cubicBezTo>
                    <a:pt x="1634974" y="1111761"/>
                    <a:pt x="1634974" y="1111761"/>
                    <a:pt x="1627745" y="1126307"/>
                  </a:cubicBezTo>
                  <a:cubicBezTo>
                    <a:pt x="1627745" y="1126307"/>
                    <a:pt x="1627745" y="1126307"/>
                    <a:pt x="1627745" y="1133580"/>
                  </a:cubicBezTo>
                  <a:cubicBezTo>
                    <a:pt x="1634974" y="1126307"/>
                    <a:pt x="1649432" y="1126307"/>
                    <a:pt x="1663889" y="1126307"/>
                  </a:cubicBezTo>
                  <a:cubicBezTo>
                    <a:pt x="1663889" y="1126307"/>
                    <a:pt x="1663889" y="1126307"/>
                    <a:pt x="1663889" y="1104488"/>
                  </a:cubicBezTo>
                  <a:cubicBezTo>
                    <a:pt x="1663889" y="1104488"/>
                    <a:pt x="1663889" y="1104488"/>
                    <a:pt x="1671118" y="1082670"/>
                  </a:cubicBezTo>
                  <a:cubicBezTo>
                    <a:pt x="1671118" y="1082670"/>
                    <a:pt x="1671118" y="1082670"/>
                    <a:pt x="1685577" y="1031759"/>
                  </a:cubicBezTo>
                  <a:cubicBezTo>
                    <a:pt x="1685577" y="1031759"/>
                    <a:pt x="1685577" y="1031759"/>
                    <a:pt x="1692805" y="1009940"/>
                  </a:cubicBezTo>
                  <a:cubicBezTo>
                    <a:pt x="1692805" y="1009940"/>
                    <a:pt x="1692805" y="1009940"/>
                    <a:pt x="1700034" y="980849"/>
                  </a:cubicBezTo>
                  <a:cubicBezTo>
                    <a:pt x="1700034" y="980849"/>
                    <a:pt x="1700034" y="980849"/>
                    <a:pt x="1714491" y="937211"/>
                  </a:cubicBezTo>
                  <a:cubicBezTo>
                    <a:pt x="1718106" y="919029"/>
                    <a:pt x="1712684" y="911756"/>
                    <a:pt x="1704552" y="913574"/>
                  </a:cubicBezTo>
                  <a:close/>
                  <a:moveTo>
                    <a:pt x="1758768" y="902665"/>
                  </a:moveTo>
                  <a:cubicBezTo>
                    <a:pt x="1748828" y="902665"/>
                    <a:pt x="1736178" y="911756"/>
                    <a:pt x="1728949" y="929938"/>
                  </a:cubicBezTo>
                  <a:cubicBezTo>
                    <a:pt x="1728949" y="929938"/>
                    <a:pt x="1728949" y="929938"/>
                    <a:pt x="1721721" y="966303"/>
                  </a:cubicBezTo>
                  <a:cubicBezTo>
                    <a:pt x="1721721" y="966303"/>
                    <a:pt x="1721721" y="966303"/>
                    <a:pt x="1714491" y="1002667"/>
                  </a:cubicBezTo>
                  <a:cubicBezTo>
                    <a:pt x="1714491" y="1002667"/>
                    <a:pt x="1714491" y="1002667"/>
                    <a:pt x="1707262" y="1024486"/>
                  </a:cubicBezTo>
                  <a:cubicBezTo>
                    <a:pt x="1707262" y="1024486"/>
                    <a:pt x="1707262" y="1024486"/>
                    <a:pt x="1692805" y="1075397"/>
                  </a:cubicBezTo>
                  <a:cubicBezTo>
                    <a:pt x="1692805" y="1075397"/>
                    <a:pt x="1692805" y="1075397"/>
                    <a:pt x="1685577" y="1089942"/>
                  </a:cubicBezTo>
                  <a:cubicBezTo>
                    <a:pt x="1685577" y="1089942"/>
                    <a:pt x="1685577" y="1089942"/>
                    <a:pt x="1678347" y="1119034"/>
                  </a:cubicBezTo>
                  <a:cubicBezTo>
                    <a:pt x="1685577" y="1119034"/>
                    <a:pt x="1700034" y="1119034"/>
                    <a:pt x="1707262" y="1119034"/>
                  </a:cubicBezTo>
                  <a:cubicBezTo>
                    <a:pt x="1714491" y="1119034"/>
                    <a:pt x="1714491" y="1119034"/>
                    <a:pt x="1721721" y="1111761"/>
                  </a:cubicBezTo>
                  <a:cubicBezTo>
                    <a:pt x="1721721" y="1111761"/>
                    <a:pt x="1721721" y="1111761"/>
                    <a:pt x="1721721" y="1104488"/>
                  </a:cubicBezTo>
                  <a:cubicBezTo>
                    <a:pt x="1728949" y="1089942"/>
                    <a:pt x="1728949" y="1075397"/>
                    <a:pt x="1736178" y="1053578"/>
                  </a:cubicBezTo>
                  <a:cubicBezTo>
                    <a:pt x="1736178" y="1053578"/>
                    <a:pt x="1736178" y="1053578"/>
                    <a:pt x="1743407" y="1039032"/>
                  </a:cubicBezTo>
                  <a:cubicBezTo>
                    <a:pt x="1743407" y="1039032"/>
                    <a:pt x="1743407" y="1039032"/>
                    <a:pt x="1743407" y="1024486"/>
                  </a:cubicBezTo>
                  <a:cubicBezTo>
                    <a:pt x="1743407" y="1024486"/>
                    <a:pt x="1743407" y="1024486"/>
                    <a:pt x="1757864" y="966303"/>
                  </a:cubicBezTo>
                  <a:cubicBezTo>
                    <a:pt x="1757864" y="966303"/>
                    <a:pt x="1757864" y="966303"/>
                    <a:pt x="1772322" y="937211"/>
                  </a:cubicBezTo>
                  <a:cubicBezTo>
                    <a:pt x="1772322" y="937211"/>
                    <a:pt x="1772322" y="937211"/>
                    <a:pt x="1772322" y="929938"/>
                  </a:cubicBezTo>
                  <a:cubicBezTo>
                    <a:pt x="1775937" y="911756"/>
                    <a:pt x="1768708" y="902665"/>
                    <a:pt x="1758768" y="902665"/>
                  </a:cubicBezTo>
                  <a:close/>
                  <a:moveTo>
                    <a:pt x="11689395" y="901516"/>
                  </a:moveTo>
                  <a:cubicBezTo>
                    <a:pt x="11689395" y="901516"/>
                    <a:pt x="11689395" y="901516"/>
                    <a:pt x="11689395" y="916057"/>
                  </a:cubicBezTo>
                  <a:cubicBezTo>
                    <a:pt x="11689395" y="916057"/>
                    <a:pt x="11689395" y="916057"/>
                    <a:pt x="11689395" y="930597"/>
                  </a:cubicBezTo>
                  <a:cubicBezTo>
                    <a:pt x="11689395" y="930597"/>
                    <a:pt x="11689395" y="930597"/>
                    <a:pt x="11689395" y="937867"/>
                  </a:cubicBezTo>
                  <a:lnTo>
                    <a:pt x="11696625" y="930597"/>
                  </a:lnTo>
                  <a:cubicBezTo>
                    <a:pt x="11696625" y="930597"/>
                    <a:pt x="11696625" y="930597"/>
                    <a:pt x="11703856" y="923327"/>
                  </a:cubicBezTo>
                  <a:cubicBezTo>
                    <a:pt x="11703856" y="923327"/>
                    <a:pt x="11703856" y="923327"/>
                    <a:pt x="11703856" y="916057"/>
                  </a:cubicBezTo>
                  <a:cubicBezTo>
                    <a:pt x="11703856" y="916057"/>
                    <a:pt x="11703856" y="916057"/>
                    <a:pt x="11689395" y="901516"/>
                  </a:cubicBezTo>
                  <a:close/>
                  <a:moveTo>
                    <a:pt x="11674934" y="901516"/>
                  </a:moveTo>
                  <a:lnTo>
                    <a:pt x="11674934" y="916057"/>
                  </a:lnTo>
                  <a:cubicBezTo>
                    <a:pt x="11674934" y="916057"/>
                    <a:pt x="11674934" y="916057"/>
                    <a:pt x="11682164" y="930597"/>
                  </a:cubicBezTo>
                  <a:cubicBezTo>
                    <a:pt x="11682164" y="930597"/>
                    <a:pt x="11682164" y="930597"/>
                    <a:pt x="11682164" y="916057"/>
                  </a:cubicBezTo>
                  <a:cubicBezTo>
                    <a:pt x="11682164" y="916057"/>
                    <a:pt x="11682164" y="916057"/>
                    <a:pt x="11674934" y="901516"/>
                  </a:cubicBezTo>
                  <a:close/>
                  <a:moveTo>
                    <a:pt x="11646013" y="901516"/>
                  </a:moveTo>
                  <a:cubicBezTo>
                    <a:pt x="11646013" y="901516"/>
                    <a:pt x="11646013" y="901516"/>
                    <a:pt x="11646013" y="916057"/>
                  </a:cubicBezTo>
                  <a:cubicBezTo>
                    <a:pt x="11646013" y="916057"/>
                    <a:pt x="11646013" y="916057"/>
                    <a:pt x="11646013" y="930597"/>
                  </a:cubicBezTo>
                  <a:cubicBezTo>
                    <a:pt x="11646013" y="930597"/>
                    <a:pt x="11646013" y="930597"/>
                    <a:pt x="11653243" y="923327"/>
                  </a:cubicBezTo>
                  <a:cubicBezTo>
                    <a:pt x="11653243" y="923327"/>
                    <a:pt x="11653243" y="923327"/>
                    <a:pt x="11653243" y="916057"/>
                  </a:cubicBezTo>
                  <a:close/>
                  <a:moveTo>
                    <a:pt x="11595400" y="901516"/>
                  </a:moveTo>
                  <a:cubicBezTo>
                    <a:pt x="11595400" y="901516"/>
                    <a:pt x="11595400" y="901516"/>
                    <a:pt x="11595400" y="908786"/>
                  </a:cubicBezTo>
                  <a:cubicBezTo>
                    <a:pt x="11595400" y="908786"/>
                    <a:pt x="11595400" y="908786"/>
                    <a:pt x="11595400" y="916057"/>
                  </a:cubicBezTo>
                  <a:cubicBezTo>
                    <a:pt x="11595400" y="916057"/>
                    <a:pt x="11595400" y="916057"/>
                    <a:pt x="11588169" y="937867"/>
                  </a:cubicBezTo>
                  <a:cubicBezTo>
                    <a:pt x="11588169" y="937867"/>
                    <a:pt x="11588169" y="937867"/>
                    <a:pt x="11595400" y="937867"/>
                  </a:cubicBezTo>
                  <a:cubicBezTo>
                    <a:pt x="11595400" y="937867"/>
                    <a:pt x="11595400" y="937867"/>
                    <a:pt x="11602630" y="923327"/>
                  </a:cubicBezTo>
                  <a:cubicBezTo>
                    <a:pt x="11602630" y="923327"/>
                    <a:pt x="11602630" y="923327"/>
                    <a:pt x="11602630" y="916057"/>
                  </a:cubicBezTo>
                  <a:cubicBezTo>
                    <a:pt x="11602630" y="916057"/>
                    <a:pt x="11602630" y="916057"/>
                    <a:pt x="11595400" y="901516"/>
                  </a:cubicBezTo>
                  <a:close/>
                  <a:moveTo>
                    <a:pt x="1974730" y="900846"/>
                  </a:moveTo>
                  <a:cubicBezTo>
                    <a:pt x="1967501" y="900846"/>
                    <a:pt x="1953044" y="908119"/>
                    <a:pt x="1953044" y="915392"/>
                  </a:cubicBezTo>
                  <a:cubicBezTo>
                    <a:pt x="1945815" y="922665"/>
                    <a:pt x="1945815" y="929938"/>
                    <a:pt x="1945815" y="929938"/>
                  </a:cubicBezTo>
                  <a:cubicBezTo>
                    <a:pt x="1945815" y="929938"/>
                    <a:pt x="1945815" y="929938"/>
                    <a:pt x="1938586" y="966303"/>
                  </a:cubicBezTo>
                  <a:cubicBezTo>
                    <a:pt x="1938586" y="966303"/>
                    <a:pt x="1938586" y="966303"/>
                    <a:pt x="1924128" y="1017213"/>
                  </a:cubicBezTo>
                  <a:cubicBezTo>
                    <a:pt x="1924128" y="1017213"/>
                    <a:pt x="1924128" y="1017213"/>
                    <a:pt x="1924128" y="1024486"/>
                  </a:cubicBezTo>
                  <a:cubicBezTo>
                    <a:pt x="1916899" y="1046305"/>
                    <a:pt x="1916899" y="1060851"/>
                    <a:pt x="1909671" y="1082670"/>
                  </a:cubicBezTo>
                  <a:cubicBezTo>
                    <a:pt x="1909671" y="1082670"/>
                    <a:pt x="1909671" y="1082670"/>
                    <a:pt x="1909671" y="1097215"/>
                  </a:cubicBezTo>
                  <a:cubicBezTo>
                    <a:pt x="1909671" y="1097215"/>
                    <a:pt x="1909671" y="1097215"/>
                    <a:pt x="1902442" y="1119034"/>
                  </a:cubicBezTo>
                  <a:cubicBezTo>
                    <a:pt x="1916899" y="1119034"/>
                    <a:pt x="1931357" y="1119034"/>
                    <a:pt x="1938586" y="1126307"/>
                  </a:cubicBezTo>
                  <a:cubicBezTo>
                    <a:pt x="1945815" y="1126307"/>
                    <a:pt x="1953044" y="1126307"/>
                    <a:pt x="1960273" y="1126307"/>
                  </a:cubicBezTo>
                  <a:cubicBezTo>
                    <a:pt x="1960273" y="1126307"/>
                    <a:pt x="1967501" y="1133580"/>
                    <a:pt x="1967501" y="1133580"/>
                  </a:cubicBezTo>
                  <a:cubicBezTo>
                    <a:pt x="1967501" y="1133580"/>
                    <a:pt x="1967501" y="1133580"/>
                    <a:pt x="1967501" y="1119034"/>
                  </a:cubicBezTo>
                  <a:cubicBezTo>
                    <a:pt x="1967501" y="1119034"/>
                    <a:pt x="1967501" y="1119034"/>
                    <a:pt x="1974730" y="1104488"/>
                  </a:cubicBezTo>
                  <a:cubicBezTo>
                    <a:pt x="1974730" y="1082670"/>
                    <a:pt x="1981959" y="1060851"/>
                    <a:pt x="1989188" y="1046305"/>
                  </a:cubicBezTo>
                  <a:cubicBezTo>
                    <a:pt x="1989188" y="1046305"/>
                    <a:pt x="1989188" y="1046305"/>
                    <a:pt x="1989188" y="1039032"/>
                  </a:cubicBezTo>
                  <a:cubicBezTo>
                    <a:pt x="1989188" y="1039032"/>
                    <a:pt x="1989188" y="1039032"/>
                    <a:pt x="1989188" y="1031759"/>
                  </a:cubicBezTo>
                  <a:cubicBezTo>
                    <a:pt x="1989188" y="1031759"/>
                    <a:pt x="1989188" y="1031759"/>
                    <a:pt x="2003646" y="966303"/>
                  </a:cubicBezTo>
                  <a:cubicBezTo>
                    <a:pt x="2003646" y="966303"/>
                    <a:pt x="2003646" y="966303"/>
                    <a:pt x="2010875" y="944484"/>
                  </a:cubicBezTo>
                  <a:cubicBezTo>
                    <a:pt x="2010875" y="937211"/>
                    <a:pt x="2010875" y="929938"/>
                    <a:pt x="2003646" y="922665"/>
                  </a:cubicBezTo>
                  <a:cubicBezTo>
                    <a:pt x="2003646" y="908119"/>
                    <a:pt x="1989188" y="900846"/>
                    <a:pt x="1974730" y="900846"/>
                  </a:cubicBezTo>
                  <a:close/>
                  <a:moveTo>
                    <a:pt x="318277" y="899727"/>
                  </a:moveTo>
                  <a:cubicBezTo>
                    <a:pt x="318277" y="914285"/>
                    <a:pt x="332744" y="921564"/>
                    <a:pt x="339977" y="921564"/>
                  </a:cubicBezTo>
                  <a:cubicBezTo>
                    <a:pt x="339977" y="921564"/>
                    <a:pt x="347211" y="936122"/>
                    <a:pt x="354445" y="950680"/>
                  </a:cubicBezTo>
                  <a:cubicBezTo>
                    <a:pt x="354445" y="950680"/>
                    <a:pt x="361678" y="950680"/>
                    <a:pt x="361678" y="957958"/>
                  </a:cubicBezTo>
                  <a:cubicBezTo>
                    <a:pt x="368912" y="972516"/>
                    <a:pt x="368912" y="979795"/>
                    <a:pt x="376145" y="987074"/>
                  </a:cubicBezTo>
                  <a:cubicBezTo>
                    <a:pt x="376145" y="994353"/>
                    <a:pt x="376145" y="1001632"/>
                    <a:pt x="383379" y="1008911"/>
                  </a:cubicBezTo>
                  <a:cubicBezTo>
                    <a:pt x="390612" y="1023469"/>
                    <a:pt x="383379" y="1030747"/>
                    <a:pt x="390612" y="1045305"/>
                  </a:cubicBezTo>
                  <a:cubicBezTo>
                    <a:pt x="390612" y="1045305"/>
                    <a:pt x="390612" y="1045305"/>
                    <a:pt x="390612" y="1052584"/>
                  </a:cubicBezTo>
                  <a:cubicBezTo>
                    <a:pt x="397846" y="1059863"/>
                    <a:pt x="397846" y="1059863"/>
                    <a:pt x="405079" y="1067142"/>
                  </a:cubicBezTo>
                  <a:cubicBezTo>
                    <a:pt x="419547" y="1081700"/>
                    <a:pt x="448481" y="1096258"/>
                    <a:pt x="448481" y="1096258"/>
                  </a:cubicBezTo>
                  <a:cubicBezTo>
                    <a:pt x="448481" y="1096258"/>
                    <a:pt x="455714" y="1081700"/>
                    <a:pt x="462948" y="1067142"/>
                  </a:cubicBezTo>
                  <a:cubicBezTo>
                    <a:pt x="470181" y="1052584"/>
                    <a:pt x="477415" y="1038026"/>
                    <a:pt x="477415" y="1038026"/>
                  </a:cubicBezTo>
                  <a:cubicBezTo>
                    <a:pt x="477415" y="1038026"/>
                    <a:pt x="477415" y="1038026"/>
                    <a:pt x="477415" y="1023469"/>
                  </a:cubicBezTo>
                  <a:cubicBezTo>
                    <a:pt x="477415" y="1023469"/>
                    <a:pt x="470181" y="1030747"/>
                    <a:pt x="462948" y="1030747"/>
                  </a:cubicBezTo>
                  <a:cubicBezTo>
                    <a:pt x="455714" y="1023469"/>
                    <a:pt x="448481" y="1016190"/>
                    <a:pt x="448481" y="1001632"/>
                  </a:cubicBezTo>
                  <a:cubicBezTo>
                    <a:pt x="448481" y="994353"/>
                    <a:pt x="448481" y="987074"/>
                    <a:pt x="448481" y="979795"/>
                  </a:cubicBezTo>
                  <a:cubicBezTo>
                    <a:pt x="441247" y="972516"/>
                    <a:pt x="441247" y="965237"/>
                    <a:pt x="441247" y="957958"/>
                  </a:cubicBezTo>
                  <a:cubicBezTo>
                    <a:pt x="441247" y="957958"/>
                    <a:pt x="441247" y="957958"/>
                    <a:pt x="390612" y="957958"/>
                  </a:cubicBezTo>
                  <a:cubicBezTo>
                    <a:pt x="390612" y="957958"/>
                    <a:pt x="390612" y="957958"/>
                    <a:pt x="361678" y="957958"/>
                  </a:cubicBezTo>
                  <a:cubicBezTo>
                    <a:pt x="361678" y="957958"/>
                    <a:pt x="361678" y="957958"/>
                    <a:pt x="405079" y="943401"/>
                  </a:cubicBezTo>
                  <a:cubicBezTo>
                    <a:pt x="405079" y="943401"/>
                    <a:pt x="405079" y="943401"/>
                    <a:pt x="441247" y="928843"/>
                  </a:cubicBezTo>
                  <a:cubicBezTo>
                    <a:pt x="441247" y="928843"/>
                    <a:pt x="434014" y="921564"/>
                    <a:pt x="434014" y="907006"/>
                  </a:cubicBezTo>
                  <a:cubicBezTo>
                    <a:pt x="426780" y="907006"/>
                    <a:pt x="426780" y="907006"/>
                    <a:pt x="426780" y="899727"/>
                  </a:cubicBezTo>
                  <a:cubicBezTo>
                    <a:pt x="426780" y="899727"/>
                    <a:pt x="426780" y="899727"/>
                    <a:pt x="390612" y="899727"/>
                  </a:cubicBezTo>
                  <a:close/>
                  <a:moveTo>
                    <a:pt x="11732777" y="894246"/>
                  </a:moveTo>
                  <a:lnTo>
                    <a:pt x="11725547" y="908786"/>
                  </a:lnTo>
                  <a:cubicBezTo>
                    <a:pt x="11725547" y="908786"/>
                    <a:pt x="11725547" y="908786"/>
                    <a:pt x="11725547" y="916057"/>
                  </a:cubicBezTo>
                  <a:cubicBezTo>
                    <a:pt x="11725547" y="916057"/>
                    <a:pt x="11725547" y="916057"/>
                    <a:pt x="11727355" y="917874"/>
                  </a:cubicBezTo>
                  <a:lnTo>
                    <a:pt x="11732777" y="923327"/>
                  </a:lnTo>
                  <a:cubicBezTo>
                    <a:pt x="11740007" y="937867"/>
                    <a:pt x="11740007" y="937867"/>
                    <a:pt x="11740007" y="937867"/>
                  </a:cubicBezTo>
                  <a:cubicBezTo>
                    <a:pt x="11740007" y="930597"/>
                    <a:pt x="11740007" y="930597"/>
                    <a:pt x="11740007" y="930597"/>
                  </a:cubicBezTo>
                  <a:lnTo>
                    <a:pt x="11732777" y="923327"/>
                  </a:lnTo>
                  <a:lnTo>
                    <a:pt x="11732777" y="916057"/>
                  </a:lnTo>
                  <a:cubicBezTo>
                    <a:pt x="11732777" y="916057"/>
                    <a:pt x="11732777" y="916057"/>
                    <a:pt x="11732777" y="894246"/>
                  </a:cubicBezTo>
                  <a:close/>
                  <a:moveTo>
                    <a:pt x="1880755" y="893573"/>
                  </a:moveTo>
                  <a:cubicBezTo>
                    <a:pt x="1873526" y="893573"/>
                    <a:pt x="1873526" y="893573"/>
                    <a:pt x="1873526" y="900846"/>
                  </a:cubicBezTo>
                  <a:cubicBezTo>
                    <a:pt x="1866297" y="900846"/>
                    <a:pt x="1859069" y="908119"/>
                    <a:pt x="1859069" y="922665"/>
                  </a:cubicBezTo>
                  <a:cubicBezTo>
                    <a:pt x="1851840" y="937211"/>
                    <a:pt x="1851840" y="959030"/>
                    <a:pt x="1844611" y="973576"/>
                  </a:cubicBezTo>
                  <a:cubicBezTo>
                    <a:pt x="1844611" y="973576"/>
                    <a:pt x="1844611" y="973576"/>
                    <a:pt x="1837382" y="988121"/>
                  </a:cubicBezTo>
                  <a:cubicBezTo>
                    <a:pt x="1837382" y="988121"/>
                    <a:pt x="1837382" y="988121"/>
                    <a:pt x="1837382" y="1017213"/>
                  </a:cubicBezTo>
                  <a:cubicBezTo>
                    <a:pt x="1837382" y="1017213"/>
                    <a:pt x="1837382" y="1017213"/>
                    <a:pt x="1830153" y="1039032"/>
                  </a:cubicBezTo>
                  <a:cubicBezTo>
                    <a:pt x="1822924" y="1053578"/>
                    <a:pt x="1822924" y="1075397"/>
                    <a:pt x="1815695" y="1089942"/>
                  </a:cubicBezTo>
                  <a:cubicBezTo>
                    <a:pt x="1815695" y="1089942"/>
                    <a:pt x="1815695" y="1089942"/>
                    <a:pt x="1808468" y="1111761"/>
                  </a:cubicBezTo>
                  <a:cubicBezTo>
                    <a:pt x="1830153" y="1111761"/>
                    <a:pt x="1844611" y="1111761"/>
                    <a:pt x="1866297" y="1111761"/>
                  </a:cubicBezTo>
                  <a:cubicBezTo>
                    <a:pt x="1866297" y="1111761"/>
                    <a:pt x="1866297" y="1111761"/>
                    <a:pt x="1873526" y="1111761"/>
                  </a:cubicBezTo>
                  <a:cubicBezTo>
                    <a:pt x="1873526" y="1111761"/>
                    <a:pt x="1873526" y="1111761"/>
                    <a:pt x="1887984" y="1046305"/>
                  </a:cubicBezTo>
                  <a:cubicBezTo>
                    <a:pt x="1887984" y="1046305"/>
                    <a:pt x="1887984" y="1046305"/>
                    <a:pt x="1887984" y="1017213"/>
                  </a:cubicBezTo>
                  <a:cubicBezTo>
                    <a:pt x="1887984" y="1017213"/>
                    <a:pt x="1887984" y="1017213"/>
                    <a:pt x="1895213" y="995394"/>
                  </a:cubicBezTo>
                  <a:cubicBezTo>
                    <a:pt x="1895213" y="995394"/>
                    <a:pt x="1895213" y="995394"/>
                    <a:pt x="1909671" y="944484"/>
                  </a:cubicBezTo>
                  <a:cubicBezTo>
                    <a:pt x="1909671" y="944484"/>
                    <a:pt x="1909671" y="944484"/>
                    <a:pt x="1909671" y="929938"/>
                  </a:cubicBezTo>
                  <a:cubicBezTo>
                    <a:pt x="1909671" y="929938"/>
                    <a:pt x="1909671" y="929938"/>
                    <a:pt x="1916899" y="922665"/>
                  </a:cubicBezTo>
                  <a:cubicBezTo>
                    <a:pt x="1924128" y="893573"/>
                    <a:pt x="1895213" y="886300"/>
                    <a:pt x="1880755" y="893573"/>
                  </a:cubicBezTo>
                  <a:close/>
                  <a:moveTo>
                    <a:pt x="1830153" y="893573"/>
                  </a:moveTo>
                  <a:cubicBezTo>
                    <a:pt x="1822924" y="886300"/>
                    <a:pt x="1794009" y="893573"/>
                    <a:pt x="1786780" y="922665"/>
                  </a:cubicBezTo>
                  <a:cubicBezTo>
                    <a:pt x="1786780" y="922665"/>
                    <a:pt x="1786780" y="922665"/>
                    <a:pt x="1779551" y="959030"/>
                  </a:cubicBezTo>
                  <a:cubicBezTo>
                    <a:pt x="1772322" y="973576"/>
                    <a:pt x="1765093" y="995394"/>
                    <a:pt x="1765093" y="1017213"/>
                  </a:cubicBezTo>
                  <a:cubicBezTo>
                    <a:pt x="1765093" y="1017213"/>
                    <a:pt x="1765093" y="1017213"/>
                    <a:pt x="1757864" y="1024486"/>
                  </a:cubicBezTo>
                  <a:cubicBezTo>
                    <a:pt x="1757864" y="1024486"/>
                    <a:pt x="1757864" y="1024486"/>
                    <a:pt x="1757864" y="1046305"/>
                  </a:cubicBezTo>
                  <a:cubicBezTo>
                    <a:pt x="1757864" y="1046305"/>
                    <a:pt x="1757864" y="1046305"/>
                    <a:pt x="1743407" y="1089942"/>
                  </a:cubicBezTo>
                  <a:cubicBezTo>
                    <a:pt x="1743407" y="1089942"/>
                    <a:pt x="1743407" y="1089942"/>
                    <a:pt x="1736178" y="1111761"/>
                  </a:cubicBezTo>
                  <a:cubicBezTo>
                    <a:pt x="1750636" y="1111761"/>
                    <a:pt x="1765093" y="1111761"/>
                    <a:pt x="1779551" y="1111761"/>
                  </a:cubicBezTo>
                  <a:cubicBezTo>
                    <a:pt x="1779551" y="1111761"/>
                    <a:pt x="1779551" y="1111761"/>
                    <a:pt x="1786780" y="1111761"/>
                  </a:cubicBezTo>
                  <a:cubicBezTo>
                    <a:pt x="1786780" y="1111761"/>
                    <a:pt x="1786780" y="1111761"/>
                    <a:pt x="1794009" y="1104488"/>
                  </a:cubicBezTo>
                  <a:cubicBezTo>
                    <a:pt x="1794009" y="1104488"/>
                    <a:pt x="1794009" y="1104488"/>
                    <a:pt x="1801238" y="1053578"/>
                  </a:cubicBezTo>
                  <a:cubicBezTo>
                    <a:pt x="1801238" y="1053578"/>
                    <a:pt x="1801238" y="1053578"/>
                    <a:pt x="1815695" y="1017213"/>
                  </a:cubicBezTo>
                  <a:cubicBezTo>
                    <a:pt x="1815695" y="1017213"/>
                    <a:pt x="1815695" y="1017213"/>
                    <a:pt x="1815695" y="1002667"/>
                  </a:cubicBezTo>
                  <a:cubicBezTo>
                    <a:pt x="1815695" y="1002667"/>
                    <a:pt x="1815695" y="1002667"/>
                    <a:pt x="1822924" y="988121"/>
                  </a:cubicBezTo>
                  <a:cubicBezTo>
                    <a:pt x="1822924" y="988121"/>
                    <a:pt x="1822924" y="988121"/>
                    <a:pt x="1837382" y="922665"/>
                  </a:cubicBezTo>
                  <a:cubicBezTo>
                    <a:pt x="1837382" y="922665"/>
                    <a:pt x="1837382" y="922665"/>
                    <a:pt x="1837382" y="915392"/>
                  </a:cubicBezTo>
                  <a:cubicBezTo>
                    <a:pt x="1837382" y="908119"/>
                    <a:pt x="1837382" y="900846"/>
                    <a:pt x="1830153" y="893573"/>
                  </a:cubicBezTo>
                  <a:close/>
                  <a:moveTo>
                    <a:pt x="11653243" y="886975"/>
                  </a:moveTo>
                  <a:cubicBezTo>
                    <a:pt x="11653243" y="886975"/>
                    <a:pt x="11653243" y="886975"/>
                    <a:pt x="11660473" y="901516"/>
                  </a:cubicBezTo>
                  <a:cubicBezTo>
                    <a:pt x="11660473" y="901516"/>
                    <a:pt x="11660473" y="901516"/>
                    <a:pt x="11667704" y="894246"/>
                  </a:cubicBezTo>
                  <a:cubicBezTo>
                    <a:pt x="11667704" y="894246"/>
                    <a:pt x="11667704" y="894246"/>
                    <a:pt x="11674934" y="886975"/>
                  </a:cubicBezTo>
                  <a:cubicBezTo>
                    <a:pt x="11674934" y="886975"/>
                    <a:pt x="11674934" y="886975"/>
                    <a:pt x="11667704" y="886975"/>
                  </a:cubicBezTo>
                  <a:cubicBezTo>
                    <a:pt x="11667704" y="886975"/>
                    <a:pt x="11667704" y="886975"/>
                    <a:pt x="11660473" y="886975"/>
                  </a:cubicBezTo>
                  <a:cubicBezTo>
                    <a:pt x="11660473" y="886975"/>
                    <a:pt x="11660473" y="886975"/>
                    <a:pt x="11653243" y="886975"/>
                  </a:cubicBezTo>
                  <a:close/>
                  <a:moveTo>
                    <a:pt x="11602630" y="886975"/>
                  </a:moveTo>
                  <a:cubicBezTo>
                    <a:pt x="11602630" y="886975"/>
                    <a:pt x="11602630" y="886975"/>
                    <a:pt x="11617091" y="908786"/>
                  </a:cubicBezTo>
                  <a:cubicBezTo>
                    <a:pt x="11617091" y="908786"/>
                    <a:pt x="11617091" y="908786"/>
                    <a:pt x="11617091" y="901516"/>
                  </a:cubicBezTo>
                  <a:cubicBezTo>
                    <a:pt x="11617091" y="901516"/>
                    <a:pt x="11617091" y="901516"/>
                    <a:pt x="11624321" y="894246"/>
                  </a:cubicBezTo>
                  <a:cubicBezTo>
                    <a:pt x="11624321" y="894246"/>
                    <a:pt x="11624321" y="894246"/>
                    <a:pt x="11631552" y="886975"/>
                  </a:cubicBezTo>
                  <a:lnTo>
                    <a:pt x="11617091" y="886975"/>
                  </a:lnTo>
                  <a:cubicBezTo>
                    <a:pt x="11617091" y="886975"/>
                    <a:pt x="11617091" y="886975"/>
                    <a:pt x="11602630" y="886975"/>
                  </a:cubicBezTo>
                  <a:close/>
                  <a:moveTo>
                    <a:pt x="5018279" y="864176"/>
                  </a:moveTo>
                  <a:cubicBezTo>
                    <a:pt x="5018279" y="864176"/>
                    <a:pt x="5024949" y="864176"/>
                    <a:pt x="5024949" y="864176"/>
                  </a:cubicBezTo>
                  <a:cubicBezTo>
                    <a:pt x="5024949" y="864176"/>
                    <a:pt x="5018279" y="871587"/>
                    <a:pt x="5018279" y="871587"/>
                  </a:cubicBezTo>
                  <a:cubicBezTo>
                    <a:pt x="5018279" y="871587"/>
                    <a:pt x="5018279" y="864176"/>
                    <a:pt x="5018279" y="864176"/>
                  </a:cubicBezTo>
                  <a:close/>
                  <a:moveTo>
                    <a:pt x="11703856" y="850624"/>
                  </a:moveTo>
                  <a:cubicBezTo>
                    <a:pt x="11703856" y="850624"/>
                    <a:pt x="11703856" y="850624"/>
                    <a:pt x="11703856" y="865164"/>
                  </a:cubicBezTo>
                  <a:cubicBezTo>
                    <a:pt x="11703856" y="865164"/>
                    <a:pt x="11703856" y="865164"/>
                    <a:pt x="11696625" y="872435"/>
                  </a:cubicBezTo>
                  <a:cubicBezTo>
                    <a:pt x="11696625" y="872435"/>
                    <a:pt x="11696625" y="872435"/>
                    <a:pt x="11711086" y="872435"/>
                  </a:cubicBezTo>
                  <a:lnTo>
                    <a:pt x="11725547" y="872435"/>
                  </a:lnTo>
                  <a:cubicBezTo>
                    <a:pt x="11725547" y="872435"/>
                    <a:pt x="11725547" y="872435"/>
                    <a:pt x="11711086" y="850624"/>
                  </a:cubicBezTo>
                  <a:cubicBezTo>
                    <a:pt x="11711086" y="850624"/>
                    <a:pt x="11711086" y="850624"/>
                    <a:pt x="11703856" y="850624"/>
                  </a:cubicBezTo>
                  <a:close/>
                  <a:moveTo>
                    <a:pt x="2177138" y="842663"/>
                  </a:moveTo>
                  <a:cubicBezTo>
                    <a:pt x="2177138" y="842663"/>
                    <a:pt x="2184368" y="842663"/>
                    <a:pt x="2184368" y="849936"/>
                  </a:cubicBezTo>
                  <a:lnTo>
                    <a:pt x="2178391" y="855948"/>
                  </a:lnTo>
                  <a:lnTo>
                    <a:pt x="2177138" y="857209"/>
                  </a:lnTo>
                  <a:cubicBezTo>
                    <a:pt x="2169909" y="857209"/>
                    <a:pt x="2169909" y="849936"/>
                    <a:pt x="2169909" y="849936"/>
                  </a:cubicBezTo>
                  <a:cubicBezTo>
                    <a:pt x="2169909" y="842663"/>
                    <a:pt x="2169909" y="842663"/>
                    <a:pt x="2177138" y="842663"/>
                  </a:cubicBezTo>
                  <a:close/>
                  <a:moveTo>
                    <a:pt x="5018279" y="836013"/>
                  </a:moveTo>
                  <a:lnTo>
                    <a:pt x="5020501" y="836013"/>
                  </a:lnTo>
                  <a:lnTo>
                    <a:pt x="5024949" y="836013"/>
                  </a:lnTo>
                  <a:cubicBezTo>
                    <a:pt x="5024949" y="842683"/>
                    <a:pt x="5024949" y="842683"/>
                    <a:pt x="5024949" y="842683"/>
                  </a:cubicBezTo>
                  <a:cubicBezTo>
                    <a:pt x="5024949" y="842683"/>
                    <a:pt x="5024949" y="844351"/>
                    <a:pt x="5024115" y="846019"/>
                  </a:cubicBezTo>
                  <a:lnTo>
                    <a:pt x="5018279" y="849354"/>
                  </a:lnTo>
                  <a:lnTo>
                    <a:pt x="5024115" y="855838"/>
                  </a:lnTo>
                  <a:cubicBezTo>
                    <a:pt x="5024949" y="856764"/>
                    <a:pt x="5024949" y="856764"/>
                    <a:pt x="5024949" y="856764"/>
                  </a:cubicBezTo>
                  <a:cubicBezTo>
                    <a:pt x="5024949" y="864176"/>
                    <a:pt x="5024949" y="864176"/>
                    <a:pt x="5018279" y="864176"/>
                  </a:cubicBezTo>
                  <a:cubicBezTo>
                    <a:pt x="5018279" y="864176"/>
                    <a:pt x="5011608" y="864176"/>
                    <a:pt x="5011608" y="856764"/>
                  </a:cubicBezTo>
                  <a:cubicBezTo>
                    <a:pt x="5011608" y="856764"/>
                    <a:pt x="5013276" y="854911"/>
                    <a:pt x="5014943" y="853059"/>
                  </a:cubicBezTo>
                  <a:lnTo>
                    <a:pt x="5018278" y="849353"/>
                  </a:lnTo>
                  <a:lnTo>
                    <a:pt x="5014943" y="846019"/>
                  </a:lnTo>
                  <a:cubicBezTo>
                    <a:pt x="5013276" y="844351"/>
                    <a:pt x="5011608" y="842683"/>
                    <a:pt x="5011608" y="842683"/>
                  </a:cubicBezTo>
                  <a:cubicBezTo>
                    <a:pt x="5011608" y="842683"/>
                    <a:pt x="5013276" y="841016"/>
                    <a:pt x="5014943" y="839348"/>
                  </a:cubicBezTo>
                  <a:lnTo>
                    <a:pt x="5016055" y="838237"/>
                  </a:lnTo>
                  <a:lnTo>
                    <a:pt x="5016054" y="838237"/>
                  </a:lnTo>
                  <a:lnTo>
                    <a:pt x="5016055" y="838236"/>
                  </a:lnTo>
                  <a:close/>
                  <a:moveTo>
                    <a:pt x="2304548" y="830844"/>
                  </a:moveTo>
                  <a:cubicBezTo>
                    <a:pt x="2301836" y="831754"/>
                    <a:pt x="2300029" y="835390"/>
                    <a:pt x="2300029" y="842663"/>
                  </a:cubicBezTo>
                  <a:cubicBezTo>
                    <a:pt x="2300029" y="842663"/>
                    <a:pt x="2300029" y="842663"/>
                    <a:pt x="2285571" y="900846"/>
                  </a:cubicBezTo>
                  <a:cubicBezTo>
                    <a:pt x="2285571" y="900846"/>
                    <a:pt x="2285571" y="900846"/>
                    <a:pt x="2285571" y="915392"/>
                  </a:cubicBezTo>
                  <a:cubicBezTo>
                    <a:pt x="2285571" y="915392"/>
                    <a:pt x="2285571" y="915392"/>
                    <a:pt x="2285571" y="922665"/>
                  </a:cubicBezTo>
                  <a:lnTo>
                    <a:pt x="2285571" y="937211"/>
                  </a:lnTo>
                  <a:cubicBezTo>
                    <a:pt x="2285571" y="937211"/>
                    <a:pt x="2285571" y="937211"/>
                    <a:pt x="2278344" y="966303"/>
                  </a:cubicBezTo>
                  <a:cubicBezTo>
                    <a:pt x="2278344" y="966303"/>
                    <a:pt x="2278344" y="966303"/>
                    <a:pt x="2271115" y="1017213"/>
                  </a:cubicBezTo>
                  <a:cubicBezTo>
                    <a:pt x="2271115" y="1017213"/>
                    <a:pt x="2271115" y="1017213"/>
                    <a:pt x="2271115" y="1024486"/>
                  </a:cubicBezTo>
                  <a:cubicBezTo>
                    <a:pt x="2271115" y="1024486"/>
                    <a:pt x="2271115" y="1031759"/>
                    <a:pt x="2278344" y="1031759"/>
                  </a:cubicBezTo>
                  <a:cubicBezTo>
                    <a:pt x="2278344" y="1039032"/>
                    <a:pt x="2285571" y="1039032"/>
                    <a:pt x="2285571" y="1046305"/>
                  </a:cubicBezTo>
                  <a:cubicBezTo>
                    <a:pt x="2285571" y="1046305"/>
                    <a:pt x="2285571" y="1046305"/>
                    <a:pt x="2285571" y="1024486"/>
                  </a:cubicBezTo>
                  <a:cubicBezTo>
                    <a:pt x="2285571" y="1024486"/>
                    <a:pt x="2285571" y="1024486"/>
                    <a:pt x="2292800" y="1002667"/>
                  </a:cubicBezTo>
                  <a:cubicBezTo>
                    <a:pt x="2292800" y="1002667"/>
                    <a:pt x="2292800" y="1002667"/>
                    <a:pt x="2300029" y="951757"/>
                  </a:cubicBezTo>
                  <a:cubicBezTo>
                    <a:pt x="2300029" y="951757"/>
                    <a:pt x="2300029" y="951757"/>
                    <a:pt x="2307259" y="908119"/>
                  </a:cubicBezTo>
                  <a:cubicBezTo>
                    <a:pt x="2307259" y="908119"/>
                    <a:pt x="2307259" y="908119"/>
                    <a:pt x="2307259" y="900846"/>
                  </a:cubicBezTo>
                  <a:cubicBezTo>
                    <a:pt x="2307259" y="900846"/>
                    <a:pt x="2307259" y="900846"/>
                    <a:pt x="2307259" y="886300"/>
                  </a:cubicBezTo>
                  <a:cubicBezTo>
                    <a:pt x="2307259" y="886300"/>
                    <a:pt x="2307259" y="886300"/>
                    <a:pt x="2314488" y="864482"/>
                  </a:cubicBezTo>
                  <a:cubicBezTo>
                    <a:pt x="2314488" y="849936"/>
                    <a:pt x="2314488" y="842663"/>
                    <a:pt x="2314488" y="835390"/>
                  </a:cubicBezTo>
                  <a:cubicBezTo>
                    <a:pt x="2310872" y="831754"/>
                    <a:pt x="2307259" y="829935"/>
                    <a:pt x="2304548" y="830844"/>
                  </a:cubicBezTo>
                  <a:close/>
                  <a:moveTo>
                    <a:pt x="2176737" y="827119"/>
                  </a:moveTo>
                  <a:cubicBezTo>
                    <a:pt x="2183407" y="827119"/>
                    <a:pt x="2183407" y="827119"/>
                    <a:pt x="2183407" y="836013"/>
                  </a:cubicBezTo>
                  <a:cubicBezTo>
                    <a:pt x="2183407" y="836013"/>
                    <a:pt x="2176737" y="836013"/>
                    <a:pt x="2176737" y="836013"/>
                  </a:cubicBezTo>
                  <a:lnTo>
                    <a:pt x="2174514" y="836013"/>
                  </a:lnTo>
                  <a:lnTo>
                    <a:pt x="2170066" y="836013"/>
                  </a:lnTo>
                  <a:cubicBezTo>
                    <a:pt x="2170066" y="827119"/>
                    <a:pt x="2170066" y="827119"/>
                    <a:pt x="2176737" y="827119"/>
                  </a:cubicBezTo>
                  <a:close/>
                  <a:moveTo>
                    <a:pt x="11725547" y="821543"/>
                  </a:moveTo>
                  <a:lnTo>
                    <a:pt x="11725547" y="828813"/>
                  </a:lnTo>
                  <a:cubicBezTo>
                    <a:pt x="11725547" y="828813"/>
                    <a:pt x="11725547" y="828813"/>
                    <a:pt x="11718316" y="836083"/>
                  </a:cubicBezTo>
                  <a:cubicBezTo>
                    <a:pt x="11718316" y="836083"/>
                    <a:pt x="11718316" y="836083"/>
                    <a:pt x="11732777" y="857894"/>
                  </a:cubicBezTo>
                  <a:cubicBezTo>
                    <a:pt x="11732777" y="857894"/>
                    <a:pt x="11732777" y="857894"/>
                    <a:pt x="11732777" y="843354"/>
                  </a:cubicBezTo>
                  <a:cubicBezTo>
                    <a:pt x="11732777" y="843354"/>
                    <a:pt x="11732777" y="843354"/>
                    <a:pt x="11732777" y="836083"/>
                  </a:cubicBezTo>
                  <a:cubicBezTo>
                    <a:pt x="11732777" y="836083"/>
                    <a:pt x="11732777" y="836083"/>
                    <a:pt x="11725547" y="821543"/>
                  </a:cubicBezTo>
                  <a:close/>
                  <a:moveTo>
                    <a:pt x="11595400" y="821543"/>
                  </a:moveTo>
                  <a:cubicBezTo>
                    <a:pt x="11595400" y="821543"/>
                    <a:pt x="11595400" y="821543"/>
                    <a:pt x="11595400" y="828813"/>
                  </a:cubicBezTo>
                  <a:cubicBezTo>
                    <a:pt x="11595400" y="828813"/>
                    <a:pt x="11595400" y="828813"/>
                    <a:pt x="11595400" y="836083"/>
                  </a:cubicBezTo>
                  <a:lnTo>
                    <a:pt x="11595400" y="857894"/>
                  </a:lnTo>
                  <a:cubicBezTo>
                    <a:pt x="11595400" y="857894"/>
                    <a:pt x="11595400" y="857894"/>
                    <a:pt x="11602630" y="843354"/>
                  </a:cubicBezTo>
                  <a:cubicBezTo>
                    <a:pt x="11602630" y="843354"/>
                    <a:pt x="11602630" y="843354"/>
                    <a:pt x="11609861" y="836083"/>
                  </a:cubicBezTo>
                  <a:cubicBezTo>
                    <a:pt x="11609861" y="836083"/>
                    <a:pt x="11609861" y="836083"/>
                    <a:pt x="11602630" y="828813"/>
                  </a:cubicBezTo>
                  <a:cubicBezTo>
                    <a:pt x="11602630" y="828813"/>
                    <a:pt x="11602630" y="828813"/>
                    <a:pt x="11595400" y="821543"/>
                  </a:cubicBezTo>
                  <a:close/>
                  <a:moveTo>
                    <a:pt x="5018279" y="813778"/>
                  </a:moveTo>
                  <a:cubicBezTo>
                    <a:pt x="5018279" y="813778"/>
                    <a:pt x="5024949" y="836012"/>
                    <a:pt x="5018279" y="836012"/>
                  </a:cubicBezTo>
                  <a:cubicBezTo>
                    <a:pt x="5011608" y="836012"/>
                    <a:pt x="5018279" y="813778"/>
                    <a:pt x="5018279" y="813778"/>
                  </a:cubicBezTo>
                  <a:close/>
                  <a:moveTo>
                    <a:pt x="11653243" y="807002"/>
                  </a:moveTo>
                  <a:cubicBezTo>
                    <a:pt x="11653243" y="807002"/>
                    <a:pt x="11653243" y="807002"/>
                    <a:pt x="11660473" y="821543"/>
                  </a:cubicBezTo>
                  <a:cubicBezTo>
                    <a:pt x="11660473" y="821543"/>
                    <a:pt x="11660473" y="821543"/>
                    <a:pt x="11667704" y="814272"/>
                  </a:cubicBezTo>
                  <a:cubicBezTo>
                    <a:pt x="11667704" y="814272"/>
                    <a:pt x="11667704" y="814272"/>
                    <a:pt x="11667704" y="807002"/>
                  </a:cubicBezTo>
                  <a:cubicBezTo>
                    <a:pt x="11667704" y="807002"/>
                    <a:pt x="11667704" y="807002"/>
                    <a:pt x="11660473" y="807002"/>
                  </a:cubicBezTo>
                  <a:cubicBezTo>
                    <a:pt x="11660473" y="807002"/>
                    <a:pt x="11660473" y="807002"/>
                    <a:pt x="11653243" y="807002"/>
                  </a:cubicBezTo>
                  <a:close/>
                  <a:moveTo>
                    <a:pt x="11602630" y="807002"/>
                  </a:moveTo>
                  <a:cubicBezTo>
                    <a:pt x="11602630" y="807002"/>
                    <a:pt x="11602630" y="807002"/>
                    <a:pt x="11617091" y="828813"/>
                  </a:cubicBezTo>
                  <a:cubicBezTo>
                    <a:pt x="11617091" y="828813"/>
                    <a:pt x="11617091" y="828813"/>
                    <a:pt x="11617091" y="821543"/>
                  </a:cubicBezTo>
                  <a:cubicBezTo>
                    <a:pt x="11617091" y="821543"/>
                    <a:pt x="11617091" y="821543"/>
                    <a:pt x="11624321" y="814272"/>
                  </a:cubicBezTo>
                  <a:cubicBezTo>
                    <a:pt x="11624321" y="814272"/>
                    <a:pt x="11624321" y="814272"/>
                    <a:pt x="11631552" y="807002"/>
                  </a:cubicBezTo>
                  <a:cubicBezTo>
                    <a:pt x="11631552" y="807002"/>
                    <a:pt x="11631552" y="807002"/>
                    <a:pt x="11617091" y="807002"/>
                  </a:cubicBezTo>
                  <a:lnTo>
                    <a:pt x="11609861" y="807002"/>
                  </a:lnTo>
                  <a:cubicBezTo>
                    <a:pt x="11609861" y="807002"/>
                    <a:pt x="11609861" y="807002"/>
                    <a:pt x="11602630" y="807002"/>
                  </a:cubicBezTo>
                  <a:close/>
                  <a:moveTo>
                    <a:pt x="2176737" y="804885"/>
                  </a:moveTo>
                  <a:cubicBezTo>
                    <a:pt x="2176737" y="804885"/>
                    <a:pt x="2178404" y="808220"/>
                    <a:pt x="2179239" y="811555"/>
                  </a:cubicBezTo>
                  <a:lnTo>
                    <a:pt x="2176737" y="818225"/>
                  </a:lnTo>
                  <a:lnTo>
                    <a:pt x="2178961" y="822672"/>
                  </a:lnTo>
                  <a:cubicBezTo>
                    <a:pt x="2178961" y="825128"/>
                    <a:pt x="2177965" y="827119"/>
                    <a:pt x="2176737" y="827119"/>
                  </a:cubicBezTo>
                  <a:cubicBezTo>
                    <a:pt x="2175510" y="827119"/>
                    <a:pt x="2174514" y="825128"/>
                    <a:pt x="2174514" y="822672"/>
                  </a:cubicBezTo>
                  <a:lnTo>
                    <a:pt x="2176737" y="818226"/>
                  </a:lnTo>
                  <a:lnTo>
                    <a:pt x="2174236" y="811555"/>
                  </a:lnTo>
                  <a:cubicBezTo>
                    <a:pt x="2175070" y="808220"/>
                    <a:pt x="2176737" y="804885"/>
                    <a:pt x="2176737" y="804885"/>
                  </a:cubicBezTo>
                  <a:close/>
                  <a:moveTo>
                    <a:pt x="2264788" y="796298"/>
                  </a:moveTo>
                  <a:cubicBezTo>
                    <a:pt x="2263885" y="797207"/>
                    <a:pt x="2263885" y="799025"/>
                    <a:pt x="2263885" y="799025"/>
                  </a:cubicBezTo>
                  <a:cubicBezTo>
                    <a:pt x="2256656" y="806298"/>
                    <a:pt x="2256656" y="806298"/>
                    <a:pt x="2256656" y="813571"/>
                  </a:cubicBezTo>
                  <a:cubicBezTo>
                    <a:pt x="2256656" y="828117"/>
                    <a:pt x="2249428" y="849936"/>
                    <a:pt x="2249428" y="864482"/>
                  </a:cubicBezTo>
                  <a:cubicBezTo>
                    <a:pt x="2249428" y="864482"/>
                    <a:pt x="2249428" y="864482"/>
                    <a:pt x="2249428" y="879028"/>
                  </a:cubicBezTo>
                  <a:cubicBezTo>
                    <a:pt x="2249428" y="879028"/>
                    <a:pt x="2249428" y="879028"/>
                    <a:pt x="2242198" y="900846"/>
                  </a:cubicBezTo>
                  <a:cubicBezTo>
                    <a:pt x="2242198" y="900846"/>
                    <a:pt x="2242198" y="900846"/>
                    <a:pt x="2234970" y="922665"/>
                  </a:cubicBezTo>
                  <a:cubicBezTo>
                    <a:pt x="2234970" y="922665"/>
                    <a:pt x="2234970" y="922665"/>
                    <a:pt x="2242198" y="929938"/>
                  </a:cubicBezTo>
                  <a:cubicBezTo>
                    <a:pt x="2242198" y="929938"/>
                    <a:pt x="2242198" y="929938"/>
                    <a:pt x="2242198" y="944484"/>
                  </a:cubicBezTo>
                  <a:cubicBezTo>
                    <a:pt x="2242198" y="944484"/>
                    <a:pt x="2242198" y="944484"/>
                    <a:pt x="2263885" y="951757"/>
                  </a:cubicBezTo>
                  <a:cubicBezTo>
                    <a:pt x="2263885" y="951757"/>
                    <a:pt x="2263885" y="951757"/>
                    <a:pt x="2263885" y="937211"/>
                  </a:cubicBezTo>
                  <a:cubicBezTo>
                    <a:pt x="2263885" y="937211"/>
                    <a:pt x="2263885" y="937211"/>
                    <a:pt x="2263885" y="929938"/>
                  </a:cubicBezTo>
                  <a:cubicBezTo>
                    <a:pt x="2263885" y="929938"/>
                    <a:pt x="2263885" y="929938"/>
                    <a:pt x="2271115" y="922665"/>
                  </a:cubicBezTo>
                  <a:cubicBezTo>
                    <a:pt x="2271115" y="922665"/>
                    <a:pt x="2271115" y="922665"/>
                    <a:pt x="2271115" y="915392"/>
                  </a:cubicBezTo>
                  <a:cubicBezTo>
                    <a:pt x="2271115" y="893573"/>
                    <a:pt x="2278344" y="871755"/>
                    <a:pt x="2278344" y="857209"/>
                  </a:cubicBezTo>
                  <a:cubicBezTo>
                    <a:pt x="2278344" y="857209"/>
                    <a:pt x="2278344" y="857209"/>
                    <a:pt x="2278344" y="842663"/>
                  </a:cubicBezTo>
                  <a:cubicBezTo>
                    <a:pt x="2278344" y="842663"/>
                    <a:pt x="2278344" y="842663"/>
                    <a:pt x="2285571" y="835390"/>
                  </a:cubicBezTo>
                  <a:cubicBezTo>
                    <a:pt x="2285571" y="813571"/>
                    <a:pt x="2278344" y="799025"/>
                    <a:pt x="2271115" y="799025"/>
                  </a:cubicBezTo>
                  <a:cubicBezTo>
                    <a:pt x="2267499" y="795389"/>
                    <a:pt x="2265693" y="795389"/>
                    <a:pt x="2264788" y="796298"/>
                  </a:cubicBezTo>
                  <a:close/>
                  <a:moveTo>
                    <a:pt x="11703856" y="777921"/>
                  </a:moveTo>
                  <a:cubicBezTo>
                    <a:pt x="11703856" y="777921"/>
                    <a:pt x="11703856" y="777921"/>
                    <a:pt x="11696625" y="785191"/>
                  </a:cubicBezTo>
                  <a:cubicBezTo>
                    <a:pt x="11696625" y="785191"/>
                    <a:pt x="11696625" y="785191"/>
                    <a:pt x="11696625" y="792462"/>
                  </a:cubicBezTo>
                  <a:cubicBezTo>
                    <a:pt x="11696625" y="792462"/>
                    <a:pt x="11696625" y="792462"/>
                    <a:pt x="11703856" y="792462"/>
                  </a:cubicBezTo>
                  <a:lnTo>
                    <a:pt x="11718316" y="792462"/>
                  </a:lnTo>
                  <a:cubicBezTo>
                    <a:pt x="11718316" y="792462"/>
                    <a:pt x="11718316" y="792462"/>
                    <a:pt x="11703856" y="777921"/>
                  </a:cubicBezTo>
                  <a:close/>
                  <a:moveTo>
                    <a:pt x="2225030" y="759933"/>
                  </a:moveTo>
                  <a:cubicBezTo>
                    <a:pt x="2218704" y="760842"/>
                    <a:pt x="2213284" y="766297"/>
                    <a:pt x="2213284" y="777207"/>
                  </a:cubicBezTo>
                  <a:cubicBezTo>
                    <a:pt x="2213284" y="777207"/>
                    <a:pt x="2213284" y="777207"/>
                    <a:pt x="2206055" y="791752"/>
                  </a:cubicBezTo>
                  <a:cubicBezTo>
                    <a:pt x="2206055" y="791752"/>
                    <a:pt x="2206055" y="791752"/>
                    <a:pt x="2198825" y="842663"/>
                  </a:cubicBezTo>
                  <a:cubicBezTo>
                    <a:pt x="2198825" y="842663"/>
                    <a:pt x="2198825" y="842663"/>
                    <a:pt x="2198825" y="864482"/>
                  </a:cubicBezTo>
                  <a:cubicBezTo>
                    <a:pt x="2198825" y="864482"/>
                    <a:pt x="2198825" y="864482"/>
                    <a:pt x="2191597" y="871755"/>
                  </a:cubicBezTo>
                  <a:cubicBezTo>
                    <a:pt x="2198825" y="871755"/>
                    <a:pt x="2198825" y="871755"/>
                    <a:pt x="2198825" y="871755"/>
                  </a:cubicBezTo>
                  <a:cubicBezTo>
                    <a:pt x="2206055" y="879028"/>
                    <a:pt x="2206055" y="879028"/>
                    <a:pt x="2213284" y="886300"/>
                  </a:cubicBezTo>
                  <a:cubicBezTo>
                    <a:pt x="2220512" y="886300"/>
                    <a:pt x="2220512" y="893573"/>
                    <a:pt x="2227741" y="900846"/>
                  </a:cubicBezTo>
                  <a:cubicBezTo>
                    <a:pt x="2227741" y="900846"/>
                    <a:pt x="2227741" y="900846"/>
                    <a:pt x="2227741" y="886300"/>
                  </a:cubicBezTo>
                  <a:lnTo>
                    <a:pt x="2227741" y="879028"/>
                  </a:lnTo>
                  <a:cubicBezTo>
                    <a:pt x="2234970" y="857209"/>
                    <a:pt x="2234970" y="835390"/>
                    <a:pt x="2242198" y="813571"/>
                  </a:cubicBezTo>
                  <a:cubicBezTo>
                    <a:pt x="2242198" y="813571"/>
                    <a:pt x="2242198" y="813571"/>
                    <a:pt x="2242198" y="799025"/>
                  </a:cubicBezTo>
                  <a:cubicBezTo>
                    <a:pt x="2249428" y="791752"/>
                    <a:pt x="2242198" y="777207"/>
                    <a:pt x="2242198" y="769934"/>
                  </a:cubicBezTo>
                  <a:cubicBezTo>
                    <a:pt x="2238584" y="762661"/>
                    <a:pt x="2231356" y="759024"/>
                    <a:pt x="2225030" y="759933"/>
                  </a:cubicBezTo>
                  <a:close/>
                  <a:moveTo>
                    <a:pt x="11725547" y="748840"/>
                  </a:moveTo>
                  <a:lnTo>
                    <a:pt x="11718316" y="756110"/>
                  </a:lnTo>
                  <a:cubicBezTo>
                    <a:pt x="11718316" y="756110"/>
                    <a:pt x="11718316" y="756110"/>
                    <a:pt x="11718316" y="763380"/>
                  </a:cubicBezTo>
                  <a:cubicBezTo>
                    <a:pt x="11718316" y="763380"/>
                    <a:pt x="11718316" y="763380"/>
                    <a:pt x="11711086" y="763380"/>
                  </a:cubicBezTo>
                  <a:cubicBezTo>
                    <a:pt x="11711086" y="763380"/>
                    <a:pt x="11711086" y="763380"/>
                    <a:pt x="11725547" y="777921"/>
                  </a:cubicBezTo>
                  <a:cubicBezTo>
                    <a:pt x="11725547" y="777921"/>
                    <a:pt x="11725547" y="777921"/>
                    <a:pt x="11725547" y="770651"/>
                  </a:cubicBezTo>
                  <a:cubicBezTo>
                    <a:pt x="11725547" y="770651"/>
                    <a:pt x="11725547" y="770651"/>
                    <a:pt x="11725547" y="763380"/>
                  </a:cubicBezTo>
                  <a:cubicBezTo>
                    <a:pt x="11725547" y="763380"/>
                    <a:pt x="11725547" y="763380"/>
                    <a:pt x="11725547" y="748840"/>
                  </a:cubicBezTo>
                  <a:close/>
                  <a:moveTo>
                    <a:pt x="11602630" y="748840"/>
                  </a:moveTo>
                  <a:cubicBezTo>
                    <a:pt x="11602630" y="748840"/>
                    <a:pt x="11602630" y="748840"/>
                    <a:pt x="11595400" y="763380"/>
                  </a:cubicBezTo>
                  <a:lnTo>
                    <a:pt x="11595400" y="777921"/>
                  </a:lnTo>
                  <a:cubicBezTo>
                    <a:pt x="11595400" y="777921"/>
                    <a:pt x="11595400" y="777921"/>
                    <a:pt x="11602630" y="770651"/>
                  </a:cubicBezTo>
                  <a:cubicBezTo>
                    <a:pt x="11602630" y="770651"/>
                    <a:pt x="11602630" y="770651"/>
                    <a:pt x="11609861" y="763380"/>
                  </a:cubicBezTo>
                  <a:cubicBezTo>
                    <a:pt x="11609861" y="763380"/>
                    <a:pt x="11609861" y="763380"/>
                    <a:pt x="11602630" y="756110"/>
                  </a:cubicBezTo>
                  <a:cubicBezTo>
                    <a:pt x="11602630" y="756110"/>
                    <a:pt x="11602630" y="756110"/>
                    <a:pt x="11602630" y="748840"/>
                  </a:cubicBezTo>
                  <a:close/>
                  <a:moveTo>
                    <a:pt x="11602630" y="741570"/>
                  </a:moveTo>
                  <a:cubicBezTo>
                    <a:pt x="11602630" y="741570"/>
                    <a:pt x="11602630" y="741570"/>
                    <a:pt x="11617091" y="756110"/>
                  </a:cubicBezTo>
                  <a:cubicBezTo>
                    <a:pt x="11617091" y="756110"/>
                    <a:pt x="11617091" y="756110"/>
                    <a:pt x="11617091" y="748840"/>
                  </a:cubicBezTo>
                  <a:cubicBezTo>
                    <a:pt x="11617091" y="748840"/>
                    <a:pt x="11617091" y="748840"/>
                    <a:pt x="11624321" y="741570"/>
                  </a:cubicBezTo>
                  <a:cubicBezTo>
                    <a:pt x="11624321" y="741570"/>
                    <a:pt x="11624321" y="741570"/>
                    <a:pt x="11617091" y="741570"/>
                  </a:cubicBezTo>
                  <a:cubicBezTo>
                    <a:pt x="11617091" y="741570"/>
                    <a:pt x="11617091" y="741570"/>
                    <a:pt x="11609861" y="741570"/>
                  </a:cubicBezTo>
                  <a:close/>
                  <a:moveTo>
                    <a:pt x="11653243" y="734299"/>
                  </a:moveTo>
                  <a:cubicBezTo>
                    <a:pt x="11653243" y="734299"/>
                    <a:pt x="11653243" y="734299"/>
                    <a:pt x="11660473" y="748840"/>
                  </a:cubicBezTo>
                  <a:cubicBezTo>
                    <a:pt x="11660473" y="748840"/>
                    <a:pt x="11660473" y="748840"/>
                    <a:pt x="11667704" y="741570"/>
                  </a:cubicBezTo>
                  <a:cubicBezTo>
                    <a:pt x="11667704" y="741570"/>
                    <a:pt x="11667704" y="741570"/>
                    <a:pt x="11667704" y="734299"/>
                  </a:cubicBezTo>
                  <a:cubicBezTo>
                    <a:pt x="11667704" y="734299"/>
                    <a:pt x="11667704" y="734299"/>
                    <a:pt x="11660473" y="734299"/>
                  </a:cubicBezTo>
                  <a:cubicBezTo>
                    <a:pt x="11660473" y="734299"/>
                    <a:pt x="11660473" y="734299"/>
                    <a:pt x="11653243" y="734299"/>
                  </a:cubicBezTo>
                  <a:close/>
                  <a:moveTo>
                    <a:pt x="2177138" y="729023"/>
                  </a:moveTo>
                  <a:cubicBezTo>
                    <a:pt x="2168103" y="728114"/>
                    <a:pt x="2159066" y="733569"/>
                    <a:pt x="2155452" y="748115"/>
                  </a:cubicBezTo>
                  <a:cubicBezTo>
                    <a:pt x="2155452" y="748115"/>
                    <a:pt x="2155452" y="748115"/>
                    <a:pt x="2148224" y="777207"/>
                  </a:cubicBezTo>
                  <a:lnTo>
                    <a:pt x="2148224" y="791752"/>
                  </a:lnTo>
                  <a:cubicBezTo>
                    <a:pt x="2148224" y="791752"/>
                    <a:pt x="2148224" y="791752"/>
                    <a:pt x="2140994" y="828117"/>
                  </a:cubicBezTo>
                  <a:cubicBezTo>
                    <a:pt x="2140994" y="828117"/>
                    <a:pt x="2140994" y="828117"/>
                    <a:pt x="2140994" y="835390"/>
                  </a:cubicBezTo>
                  <a:cubicBezTo>
                    <a:pt x="2140994" y="835390"/>
                    <a:pt x="2140994" y="835390"/>
                    <a:pt x="2126537" y="886300"/>
                  </a:cubicBezTo>
                  <a:cubicBezTo>
                    <a:pt x="2126537" y="886300"/>
                    <a:pt x="2126537" y="886300"/>
                    <a:pt x="2126537" y="900846"/>
                  </a:cubicBezTo>
                  <a:cubicBezTo>
                    <a:pt x="2133765" y="893573"/>
                    <a:pt x="2140994" y="886300"/>
                    <a:pt x="2148224" y="879028"/>
                  </a:cubicBezTo>
                  <a:cubicBezTo>
                    <a:pt x="2148224" y="879028"/>
                    <a:pt x="2148224" y="879028"/>
                    <a:pt x="2155452" y="871755"/>
                  </a:cubicBezTo>
                  <a:cubicBezTo>
                    <a:pt x="2155452" y="871755"/>
                    <a:pt x="2162682" y="864482"/>
                    <a:pt x="2169909" y="864482"/>
                  </a:cubicBezTo>
                  <a:cubicBezTo>
                    <a:pt x="2169909" y="864482"/>
                    <a:pt x="2169909" y="857209"/>
                    <a:pt x="2177138" y="857209"/>
                  </a:cubicBezTo>
                  <a:cubicBezTo>
                    <a:pt x="2177138" y="857209"/>
                    <a:pt x="2177138" y="857209"/>
                    <a:pt x="2178042" y="856300"/>
                  </a:cubicBezTo>
                  <a:lnTo>
                    <a:pt x="2178391" y="855948"/>
                  </a:lnTo>
                  <a:lnTo>
                    <a:pt x="2180753" y="853573"/>
                  </a:lnTo>
                  <a:cubicBezTo>
                    <a:pt x="2182560" y="851754"/>
                    <a:pt x="2184368" y="849936"/>
                    <a:pt x="2184368" y="849936"/>
                  </a:cubicBezTo>
                  <a:cubicBezTo>
                    <a:pt x="2184368" y="849936"/>
                    <a:pt x="2184368" y="849936"/>
                    <a:pt x="2191597" y="806298"/>
                  </a:cubicBezTo>
                  <a:cubicBezTo>
                    <a:pt x="2191597" y="806298"/>
                    <a:pt x="2191597" y="806298"/>
                    <a:pt x="2198825" y="769934"/>
                  </a:cubicBezTo>
                  <a:cubicBezTo>
                    <a:pt x="2198825" y="762661"/>
                    <a:pt x="2198825" y="762661"/>
                    <a:pt x="2198825" y="755388"/>
                  </a:cubicBezTo>
                  <a:cubicBezTo>
                    <a:pt x="2198825" y="755388"/>
                    <a:pt x="2198825" y="748115"/>
                    <a:pt x="2198825" y="748115"/>
                  </a:cubicBezTo>
                  <a:cubicBezTo>
                    <a:pt x="2195212" y="737206"/>
                    <a:pt x="2186176" y="729933"/>
                    <a:pt x="2177138" y="729023"/>
                  </a:cubicBezTo>
                  <a:close/>
                  <a:moveTo>
                    <a:pt x="11703856" y="705218"/>
                  </a:moveTo>
                  <a:cubicBezTo>
                    <a:pt x="11703856" y="705218"/>
                    <a:pt x="11703856" y="705218"/>
                    <a:pt x="11696625" y="712488"/>
                  </a:cubicBezTo>
                  <a:cubicBezTo>
                    <a:pt x="11696625" y="712488"/>
                    <a:pt x="11696625" y="712488"/>
                    <a:pt x="11696625" y="719759"/>
                  </a:cubicBezTo>
                  <a:cubicBezTo>
                    <a:pt x="11696625" y="719759"/>
                    <a:pt x="11696625" y="719759"/>
                    <a:pt x="11689395" y="727029"/>
                  </a:cubicBezTo>
                  <a:cubicBezTo>
                    <a:pt x="11689395" y="727029"/>
                    <a:pt x="11689395" y="727029"/>
                    <a:pt x="11696625" y="719759"/>
                  </a:cubicBezTo>
                  <a:cubicBezTo>
                    <a:pt x="11696625" y="719759"/>
                    <a:pt x="11696625" y="719759"/>
                    <a:pt x="11703856" y="719759"/>
                  </a:cubicBezTo>
                  <a:lnTo>
                    <a:pt x="11711086" y="719759"/>
                  </a:lnTo>
                  <a:cubicBezTo>
                    <a:pt x="11711086" y="719759"/>
                    <a:pt x="11711086" y="719759"/>
                    <a:pt x="11718316" y="719759"/>
                  </a:cubicBezTo>
                  <a:cubicBezTo>
                    <a:pt x="11718316" y="719759"/>
                    <a:pt x="11718316" y="719759"/>
                    <a:pt x="11703856" y="705218"/>
                  </a:cubicBezTo>
                  <a:close/>
                  <a:moveTo>
                    <a:pt x="11617091" y="705218"/>
                  </a:moveTo>
                  <a:lnTo>
                    <a:pt x="11617091" y="712488"/>
                  </a:lnTo>
                  <a:cubicBezTo>
                    <a:pt x="11617091" y="712488"/>
                    <a:pt x="11617091" y="712488"/>
                    <a:pt x="11609861" y="719759"/>
                  </a:cubicBezTo>
                  <a:cubicBezTo>
                    <a:pt x="11609861" y="719759"/>
                    <a:pt x="11609861" y="719759"/>
                    <a:pt x="11609861" y="727029"/>
                  </a:cubicBezTo>
                  <a:cubicBezTo>
                    <a:pt x="11609861" y="727029"/>
                    <a:pt x="11609861" y="727029"/>
                    <a:pt x="11631552" y="727029"/>
                  </a:cubicBezTo>
                  <a:cubicBezTo>
                    <a:pt x="11631552" y="727029"/>
                    <a:pt x="11631552" y="727029"/>
                    <a:pt x="11624321" y="719759"/>
                  </a:cubicBezTo>
                  <a:cubicBezTo>
                    <a:pt x="11624321" y="719759"/>
                    <a:pt x="11624321" y="719759"/>
                    <a:pt x="11617091" y="705218"/>
                  </a:cubicBezTo>
                  <a:close/>
                  <a:moveTo>
                    <a:pt x="1719009" y="700841"/>
                  </a:moveTo>
                  <a:cubicBezTo>
                    <a:pt x="1712684" y="702659"/>
                    <a:pt x="1703649" y="711750"/>
                    <a:pt x="1700034" y="726296"/>
                  </a:cubicBezTo>
                  <a:cubicBezTo>
                    <a:pt x="1700034" y="726296"/>
                    <a:pt x="1700034" y="726296"/>
                    <a:pt x="1700034" y="733569"/>
                  </a:cubicBezTo>
                  <a:cubicBezTo>
                    <a:pt x="1692805" y="762661"/>
                    <a:pt x="1685577" y="791752"/>
                    <a:pt x="1678347" y="813571"/>
                  </a:cubicBezTo>
                  <a:cubicBezTo>
                    <a:pt x="1678347" y="813571"/>
                    <a:pt x="1678347" y="813571"/>
                    <a:pt x="1663889" y="849936"/>
                  </a:cubicBezTo>
                  <a:cubicBezTo>
                    <a:pt x="1663889" y="864482"/>
                    <a:pt x="1656660" y="886300"/>
                    <a:pt x="1649432" y="900846"/>
                  </a:cubicBezTo>
                  <a:cubicBezTo>
                    <a:pt x="1656660" y="900846"/>
                    <a:pt x="1663889" y="893573"/>
                    <a:pt x="1671118" y="893573"/>
                  </a:cubicBezTo>
                  <a:cubicBezTo>
                    <a:pt x="1671118" y="893573"/>
                    <a:pt x="1671118" y="893573"/>
                    <a:pt x="1692805" y="828117"/>
                  </a:cubicBezTo>
                  <a:cubicBezTo>
                    <a:pt x="1692805" y="828117"/>
                    <a:pt x="1692805" y="828117"/>
                    <a:pt x="1700034" y="806298"/>
                  </a:cubicBezTo>
                  <a:cubicBezTo>
                    <a:pt x="1707262" y="777207"/>
                    <a:pt x="1714491" y="748115"/>
                    <a:pt x="1721721" y="719023"/>
                  </a:cubicBezTo>
                  <a:cubicBezTo>
                    <a:pt x="1728949" y="704477"/>
                    <a:pt x="1725335" y="699023"/>
                    <a:pt x="1719009" y="700841"/>
                  </a:cubicBezTo>
                  <a:close/>
                  <a:moveTo>
                    <a:pt x="2109369" y="694477"/>
                  </a:moveTo>
                  <a:cubicBezTo>
                    <a:pt x="2101235" y="697204"/>
                    <a:pt x="2094007" y="704477"/>
                    <a:pt x="2090392" y="719023"/>
                  </a:cubicBezTo>
                  <a:cubicBezTo>
                    <a:pt x="2090392" y="719023"/>
                    <a:pt x="2090392" y="719023"/>
                    <a:pt x="2083163" y="726296"/>
                  </a:cubicBezTo>
                  <a:cubicBezTo>
                    <a:pt x="2083163" y="726296"/>
                    <a:pt x="2083163" y="726296"/>
                    <a:pt x="2075934" y="762661"/>
                  </a:cubicBezTo>
                  <a:cubicBezTo>
                    <a:pt x="2075934" y="762661"/>
                    <a:pt x="2075934" y="762661"/>
                    <a:pt x="2068706" y="799025"/>
                  </a:cubicBezTo>
                  <a:cubicBezTo>
                    <a:pt x="2068706" y="799025"/>
                    <a:pt x="2068706" y="799025"/>
                    <a:pt x="2061477" y="828117"/>
                  </a:cubicBezTo>
                  <a:lnTo>
                    <a:pt x="2061477" y="842663"/>
                  </a:lnTo>
                  <a:cubicBezTo>
                    <a:pt x="2061477" y="842663"/>
                    <a:pt x="2061477" y="842663"/>
                    <a:pt x="2054248" y="886300"/>
                  </a:cubicBezTo>
                  <a:cubicBezTo>
                    <a:pt x="2054248" y="886300"/>
                    <a:pt x="2054248" y="886300"/>
                    <a:pt x="2061477" y="886300"/>
                  </a:cubicBezTo>
                  <a:cubicBezTo>
                    <a:pt x="2075934" y="893573"/>
                    <a:pt x="2090392" y="893573"/>
                    <a:pt x="2104850" y="900846"/>
                  </a:cubicBezTo>
                  <a:cubicBezTo>
                    <a:pt x="2112079" y="886300"/>
                    <a:pt x="2112079" y="871755"/>
                    <a:pt x="2119309" y="849936"/>
                  </a:cubicBezTo>
                  <a:cubicBezTo>
                    <a:pt x="2119309" y="849936"/>
                    <a:pt x="2119309" y="849936"/>
                    <a:pt x="2119309" y="820844"/>
                  </a:cubicBezTo>
                  <a:cubicBezTo>
                    <a:pt x="2119309" y="820844"/>
                    <a:pt x="2119309" y="820844"/>
                    <a:pt x="2126537" y="806298"/>
                  </a:cubicBezTo>
                  <a:cubicBezTo>
                    <a:pt x="2126537" y="806298"/>
                    <a:pt x="2126537" y="806298"/>
                    <a:pt x="2126537" y="791752"/>
                  </a:cubicBezTo>
                  <a:cubicBezTo>
                    <a:pt x="2126537" y="791752"/>
                    <a:pt x="2126537" y="791752"/>
                    <a:pt x="2140994" y="733569"/>
                  </a:cubicBezTo>
                  <a:cubicBezTo>
                    <a:pt x="2140994" y="726296"/>
                    <a:pt x="2140994" y="726296"/>
                    <a:pt x="2140994" y="719023"/>
                  </a:cubicBezTo>
                  <a:cubicBezTo>
                    <a:pt x="2140994" y="711750"/>
                    <a:pt x="2133765" y="704477"/>
                    <a:pt x="2133765" y="697204"/>
                  </a:cubicBezTo>
                  <a:cubicBezTo>
                    <a:pt x="2126537" y="693568"/>
                    <a:pt x="2117501" y="691750"/>
                    <a:pt x="2109369" y="694477"/>
                  </a:cubicBezTo>
                  <a:close/>
                  <a:moveTo>
                    <a:pt x="2238584" y="690840"/>
                  </a:moveTo>
                  <a:cubicBezTo>
                    <a:pt x="2231356" y="689931"/>
                    <a:pt x="2224126" y="693568"/>
                    <a:pt x="2220512" y="704477"/>
                  </a:cubicBezTo>
                  <a:cubicBezTo>
                    <a:pt x="2227741" y="711750"/>
                    <a:pt x="2234970" y="711750"/>
                    <a:pt x="2234970" y="719023"/>
                  </a:cubicBezTo>
                  <a:cubicBezTo>
                    <a:pt x="2242198" y="719023"/>
                    <a:pt x="2242198" y="726296"/>
                    <a:pt x="2249428" y="726296"/>
                  </a:cubicBezTo>
                  <a:cubicBezTo>
                    <a:pt x="2249428" y="726296"/>
                    <a:pt x="2256656" y="733569"/>
                    <a:pt x="2256656" y="733569"/>
                  </a:cubicBezTo>
                  <a:cubicBezTo>
                    <a:pt x="2263885" y="726296"/>
                    <a:pt x="2263885" y="726296"/>
                    <a:pt x="2263885" y="719023"/>
                  </a:cubicBezTo>
                  <a:cubicBezTo>
                    <a:pt x="2256656" y="711750"/>
                    <a:pt x="2256656" y="711750"/>
                    <a:pt x="2256656" y="704477"/>
                  </a:cubicBezTo>
                  <a:cubicBezTo>
                    <a:pt x="2253042" y="697204"/>
                    <a:pt x="2245813" y="691750"/>
                    <a:pt x="2238584" y="690840"/>
                  </a:cubicBezTo>
                  <a:close/>
                  <a:moveTo>
                    <a:pt x="1772322" y="689931"/>
                  </a:moveTo>
                  <a:cubicBezTo>
                    <a:pt x="1765093" y="689931"/>
                    <a:pt x="1757864" y="689931"/>
                    <a:pt x="1750636" y="704477"/>
                  </a:cubicBezTo>
                  <a:cubicBezTo>
                    <a:pt x="1750636" y="704477"/>
                    <a:pt x="1743407" y="711750"/>
                    <a:pt x="1743407" y="719023"/>
                  </a:cubicBezTo>
                  <a:cubicBezTo>
                    <a:pt x="1736178" y="748115"/>
                    <a:pt x="1728949" y="769934"/>
                    <a:pt x="1721721" y="799025"/>
                  </a:cubicBezTo>
                  <a:cubicBezTo>
                    <a:pt x="1721721" y="799025"/>
                    <a:pt x="1721721" y="799025"/>
                    <a:pt x="1714491" y="813571"/>
                  </a:cubicBezTo>
                  <a:cubicBezTo>
                    <a:pt x="1707262" y="842663"/>
                    <a:pt x="1700034" y="864482"/>
                    <a:pt x="1692805" y="886300"/>
                  </a:cubicBezTo>
                  <a:cubicBezTo>
                    <a:pt x="1700034" y="886300"/>
                    <a:pt x="1707262" y="886300"/>
                    <a:pt x="1714491" y="879028"/>
                  </a:cubicBezTo>
                  <a:cubicBezTo>
                    <a:pt x="1714491" y="879028"/>
                    <a:pt x="1714491" y="879028"/>
                    <a:pt x="1728949" y="879028"/>
                  </a:cubicBezTo>
                  <a:cubicBezTo>
                    <a:pt x="1728949" y="879028"/>
                    <a:pt x="1728949" y="879028"/>
                    <a:pt x="1728949" y="871755"/>
                  </a:cubicBezTo>
                  <a:cubicBezTo>
                    <a:pt x="1736178" y="849936"/>
                    <a:pt x="1743407" y="820844"/>
                    <a:pt x="1750636" y="791752"/>
                  </a:cubicBezTo>
                  <a:cubicBezTo>
                    <a:pt x="1757864" y="762661"/>
                    <a:pt x="1765093" y="740842"/>
                    <a:pt x="1772322" y="711750"/>
                  </a:cubicBezTo>
                  <a:cubicBezTo>
                    <a:pt x="1779551" y="697204"/>
                    <a:pt x="1779551" y="689931"/>
                    <a:pt x="1772322" y="689931"/>
                  </a:cubicBezTo>
                  <a:close/>
                  <a:moveTo>
                    <a:pt x="11718316" y="683407"/>
                  </a:moveTo>
                  <a:lnTo>
                    <a:pt x="11711086" y="690677"/>
                  </a:lnTo>
                  <a:cubicBezTo>
                    <a:pt x="11711086" y="690677"/>
                    <a:pt x="11711086" y="690677"/>
                    <a:pt x="11718316" y="705218"/>
                  </a:cubicBezTo>
                  <a:cubicBezTo>
                    <a:pt x="11718316" y="705218"/>
                    <a:pt x="11718316" y="705218"/>
                    <a:pt x="11718316" y="690677"/>
                  </a:cubicBezTo>
                  <a:cubicBezTo>
                    <a:pt x="11718316" y="690677"/>
                    <a:pt x="11718316" y="690677"/>
                    <a:pt x="11718316" y="683407"/>
                  </a:cubicBezTo>
                  <a:close/>
                  <a:moveTo>
                    <a:pt x="11682164" y="683407"/>
                  </a:moveTo>
                  <a:cubicBezTo>
                    <a:pt x="11682164" y="683407"/>
                    <a:pt x="11682164" y="683407"/>
                    <a:pt x="11682164" y="697948"/>
                  </a:cubicBezTo>
                  <a:cubicBezTo>
                    <a:pt x="11682164" y="697948"/>
                    <a:pt x="11682164" y="697948"/>
                    <a:pt x="11682164" y="705218"/>
                  </a:cubicBezTo>
                  <a:cubicBezTo>
                    <a:pt x="11682164" y="705218"/>
                    <a:pt x="11682164" y="705218"/>
                    <a:pt x="11689395" y="705218"/>
                  </a:cubicBezTo>
                  <a:lnTo>
                    <a:pt x="11696625" y="697948"/>
                  </a:lnTo>
                  <a:cubicBezTo>
                    <a:pt x="11696625" y="697948"/>
                    <a:pt x="11696625" y="697948"/>
                    <a:pt x="11682164" y="683407"/>
                  </a:cubicBezTo>
                  <a:close/>
                  <a:moveTo>
                    <a:pt x="11602630" y="683407"/>
                  </a:moveTo>
                  <a:cubicBezTo>
                    <a:pt x="11602630" y="683407"/>
                    <a:pt x="11602630" y="683407"/>
                    <a:pt x="11602630" y="697948"/>
                  </a:cubicBezTo>
                  <a:cubicBezTo>
                    <a:pt x="11602630" y="697948"/>
                    <a:pt x="11602630" y="697948"/>
                    <a:pt x="11602630" y="705218"/>
                  </a:cubicBezTo>
                  <a:cubicBezTo>
                    <a:pt x="11602630" y="705218"/>
                    <a:pt x="11602630" y="705218"/>
                    <a:pt x="11609861" y="697948"/>
                  </a:cubicBezTo>
                  <a:close/>
                  <a:moveTo>
                    <a:pt x="2015393" y="675386"/>
                  </a:moveTo>
                  <a:cubicBezTo>
                    <a:pt x="2007260" y="679022"/>
                    <a:pt x="2000031" y="686295"/>
                    <a:pt x="1996418" y="697204"/>
                  </a:cubicBezTo>
                  <a:cubicBezTo>
                    <a:pt x="1989188" y="726296"/>
                    <a:pt x="1989188" y="755388"/>
                    <a:pt x="1981959" y="777207"/>
                  </a:cubicBezTo>
                  <a:lnTo>
                    <a:pt x="1974730" y="799025"/>
                  </a:lnTo>
                  <a:cubicBezTo>
                    <a:pt x="1974730" y="799025"/>
                    <a:pt x="1974730" y="799025"/>
                    <a:pt x="1967501" y="835390"/>
                  </a:cubicBezTo>
                  <a:cubicBezTo>
                    <a:pt x="1967501" y="835390"/>
                    <a:pt x="1967501" y="835390"/>
                    <a:pt x="1960273" y="864482"/>
                  </a:cubicBezTo>
                  <a:cubicBezTo>
                    <a:pt x="1974730" y="864482"/>
                    <a:pt x="1989188" y="864482"/>
                    <a:pt x="2003646" y="871755"/>
                  </a:cubicBezTo>
                  <a:cubicBezTo>
                    <a:pt x="2010875" y="871755"/>
                    <a:pt x="2010875" y="871755"/>
                    <a:pt x="2018103" y="871755"/>
                  </a:cubicBezTo>
                  <a:cubicBezTo>
                    <a:pt x="2018103" y="871755"/>
                    <a:pt x="2018103" y="871755"/>
                    <a:pt x="2025332" y="871755"/>
                  </a:cubicBezTo>
                  <a:cubicBezTo>
                    <a:pt x="2025332" y="871755"/>
                    <a:pt x="2025332" y="871755"/>
                    <a:pt x="2025332" y="857209"/>
                  </a:cubicBezTo>
                  <a:cubicBezTo>
                    <a:pt x="2032562" y="835390"/>
                    <a:pt x="2039790" y="813571"/>
                    <a:pt x="2039790" y="791752"/>
                  </a:cubicBezTo>
                  <a:cubicBezTo>
                    <a:pt x="2039790" y="791752"/>
                    <a:pt x="2039790" y="791752"/>
                    <a:pt x="2039790" y="784479"/>
                  </a:cubicBezTo>
                  <a:cubicBezTo>
                    <a:pt x="2039790" y="784479"/>
                    <a:pt x="2039790" y="784479"/>
                    <a:pt x="2047019" y="755388"/>
                  </a:cubicBezTo>
                  <a:cubicBezTo>
                    <a:pt x="2047019" y="755388"/>
                    <a:pt x="2047019" y="755388"/>
                    <a:pt x="2061477" y="711750"/>
                  </a:cubicBezTo>
                  <a:cubicBezTo>
                    <a:pt x="2061477" y="689931"/>
                    <a:pt x="2054248" y="675386"/>
                    <a:pt x="2039790" y="675386"/>
                  </a:cubicBezTo>
                  <a:cubicBezTo>
                    <a:pt x="2032562" y="671749"/>
                    <a:pt x="2023525" y="671749"/>
                    <a:pt x="2015393" y="675386"/>
                  </a:cubicBezTo>
                  <a:close/>
                  <a:moveTo>
                    <a:pt x="1817503" y="673567"/>
                  </a:moveTo>
                  <a:cubicBezTo>
                    <a:pt x="1808468" y="675386"/>
                    <a:pt x="1797623" y="686295"/>
                    <a:pt x="1794009" y="704477"/>
                  </a:cubicBezTo>
                  <a:cubicBezTo>
                    <a:pt x="1786780" y="726296"/>
                    <a:pt x="1779551" y="755388"/>
                    <a:pt x="1772322" y="784479"/>
                  </a:cubicBezTo>
                  <a:cubicBezTo>
                    <a:pt x="1772322" y="784479"/>
                    <a:pt x="1772322" y="784479"/>
                    <a:pt x="1772322" y="791752"/>
                  </a:cubicBezTo>
                  <a:cubicBezTo>
                    <a:pt x="1765093" y="813571"/>
                    <a:pt x="1757864" y="835390"/>
                    <a:pt x="1750636" y="857209"/>
                  </a:cubicBezTo>
                  <a:cubicBezTo>
                    <a:pt x="1750636" y="857209"/>
                    <a:pt x="1750636" y="857209"/>
                    <a:pt x="1743407" y="871755"/>
                  </a:cubicBezTo>
                  <a:cubicBezTo>
                    <a:pt x="1757864" y="871755"/>
                    <a:pt x="1772322" y="871755"/>
                    <a:pt x="1786780" y="864482"/>
                  </a:cubicBezTo>
                  <a:cubicBezTo>
                    <a:pt x="1786780" y="864482"/>
                    <a:pt x="1786780" y="864482"/>
                    <a:pt x="1794009" y="828117"/>
                  </a:cubicBezTo>
                  <a:cubicBezTo>
                    <a:pt x="1794009" y="828117"/>
                    <a:pt x="1794009" y="828117"/>
                    <a:pt x="1808468" y="784479"/>
                  </a:cubicBezTo>
                  <a:cubicBezTo>
                    <a:pt x="1808468" y="784479"/>
                    <a:pt x="1808468" y="784479"/>
                    <a:pt x="1815695" y="748115"/>
                  </a:cubicBezTo>
                  <a:cubicBezTo>
                    <a:pt x="1815695" y="748115"/>
                    <a:pt x="1815695" y="748115"/>
                    <a:pt x="1830153" y="697204"/>
                  </a:cubicBezTo>
                  <a:cubicBezTo>
                    <a:pt x="1833768" y="679022"/>
                    <a:pt x="1826539" y="671749"/>
                    <a:pt x="1817503" y="673567"/>
                  </a:cubicBezTo>
                  <a:close/>
                  <a:moveTo>
                    <a:pt x="11653243" y="668867"/>
                  </a:moveTo>
                  <a:lnTo>
                    <a:pt x="11660473" y="676137"/>
                  </a:lnTo>
                  <a:cubicBezTo>
                    <a:pt x="11660473" y="676137"/>
                    <a:pt x="11660473" y="676137"/>
                    <a:pt x="11667704" y="668867"/>
                  </a:cubicBezTo>
                  <a:cubicBezTo>
                    <a:pt x="11667704" y="668867"/>
                    <a:pt x="11667704" y="668867"/>
                    <a:pt x="11653243" y="668867"/>
                  </a:cubicBezTo>
                  <a:close/>
                  <a:moveTo>
                    <a:pt x="1878044" y="663567"/>
                  </a:moveTo>
                  <a:cubicBezTo>
                    <a:pt x="1866297" y="664476"/>
                    <a:pt x="1851840" y="675386"/>
                    <a:pt x="1844611" y="697204"/>
                  </a:cubicBezTo>
                  <a:cubicBezTo>
                    <a:pt x="1844611" y="697204"/>
                    <a:pt x="1844611" y="697204"/>
                    <a:pt x="1837382" y="740842"/>
                  </a:cubicBezTo>
                  <a:lnTo>
                    <a:pt x="1822924" y="777207"/>
                  </a:lnTo>
                  <a:cubicBezTo>
                    <a:pt x="1822924" y="777207"/>
                    <a:pt x="1822924" y="777207"/>
                    <a:pt x="1815695" y="820844"/>
                  </a:cubicBezTo>
                  <a:cubicBezTo>
                    <a:pt x="1815695" y="820844"/>
                    <a:pt x="1815695" y="820844"/>
                    <a:pt x="1801238" y="864482"/>
                  </a:cubicBezTo>
                  <a:cubicBezTo>
                    <a:pt x="1822924" y="864482"/>
                    <a:pt x="1837382" y="857209"/>
                    <a:pt x="1851840" y="857209"/>
                  </a:cubicBezTo>
                  <a:cubicBezTo>
                    <a:pt x="1851840" y="857209"/>
                    <a:pt x="1851840" y="857209"/>
                    <a:pt x="1873526" y="777207"/>
                  </a:cubicBezTo>
                  <a:cubicBezTo>
                    <a:pt x="1873526" y="777207"/>
                    <a:pt x="1873526" y="777207"/>
                    <a:pt x="1895213" y="704477"/>
                  </a:cubicBezTo>
                  <a:cubicBezTo>
                    <a:pt x="1895213" y="704477"/>
                    <a:pt x="1895213" y="704477"/>
                    <a:pt x="1895213" y="689931"/>
                  </a:cubicBezTo>
                  <a:cubicBezTo>
                    <a:pt x="1898827" y="671749"/>
                    <a:pt x="1889791" y="662658"/>
                    <a:pt x="1878044" y="663567"/>
                  </a:cubicBezTo>
                  <a:close/>
                  <a:moveTo>
                    <a:pt x="1960273" y="660840"/>
                  </a:moveTo>
                  <a:cubicBezTo>
                    <a:pt x="1945815" y="653567"/>
                    <a:pt x="1924128" y="660840"/>
                    <a:pt x="1916899" y="689931"/>
                  </a:cubicBezTo>
                  <a:cubicBezTo>
                    <a:pt x="1909671" y="711750"/>
                    <a:pt x="1902442" y="740842"/>
                    <a:pt x="1895213" y="762661"/>
                  </a:cubicBezTo>
                  <a:cubicBezTo>
                    <a:pt x="1895213" y="762661"/>
                    <a:pt x="1895213" y="762661"/>
                    <a:pt x="1895213" y="769934"/>
                  </a:cubicBezTo>
                  <a:cubicBezTo>
                    <a:pt x="1887984" y="799025"/>
                    <a:pt x="1880755" y="828117"/>
                    <a:pt x="1873526" y="857209"/>
                  </a:cubicBezTo>
                  <a:cubicBezTo>
                    <a:pt x="1873526" y="857209"/>
                    <a:pt x="1873526" y="857209"/>
                    <a:pt x="1887984" y="857209"/>
                  </a:cubicBezTo>
                  <a:cubicBezTo>
                    <a:pt x="1902442" y="857209"/>
                    <a:pt x="1916899" y="857209"/>
                    <a:pt x="1931357" y="857209"/>
                  </a:cubicBezTo>
                  <a:cubicBezTo>
                    <a:pt x="1931357" y="857209"/>
                    <a:pt x="1931357" y="857209"/>
                    <a:pt x="1938586" y="828117"/>
                  </a:cubicBezTo>
                  <a:cubicBezTo>
                    <a:pt x="1938586" y="806298"/>
                    <a:pt x="1945815" y="791752"/>
                    <a:pt x="1945815" y="777207"/>
                  </a:cubicBezTo>
                  <a:cubicBezTo>
                    <a:pt x="1953044" y="755388"/>
                    <a:pt x="1960273" y="740842"/>
                    <a:pt x="1960273" y="726296"/>
                  </a:cubicBezTo>
                  <a:cubicBezTo>
                    <a:pt x="1960273" y="726296"/>
                    <a:pt x="1960273" y="726296"/>
                    <a:pt x="1967501" y="689931"/>
                  </a:cubicBezTo>
                  <a:cubicBezTo>
                    <a:pt x="1974730" y="675386"/>
                    <a:pt x="1967501" y="668113"/>
                    <a:pt x="1960273" y="660840"/>
                  </a:cubicBezTo>
                  <a:close/>
                  <a:moveTo>
                    <a:pt x="11660473" y="639785"/>
                  </a:moveTo>
                  <a:cubicBezTo>
                    <a:pt x="11660473" y="639785"/>
                    <a:pt x="11660473" y="639785"/>
                    <a:pt x="11653243" y="647056"/>
                  </a:cubicBezTo>
                  <a:cubicBezTo>
                    <a:pt x="11653243" y="647056"/>
                    <a:pt x="11653243" y="647056"/>
                    <a:pt x="11653243" y="654326"/>
                  </a:cubicBezTo>
                  <a:cubicBezTo>
                    <a:pt x="11653243" y="654326"/>
                    <a:pt x="11653243" y="654326"/>
                    <a:pt x="11660473" y="654326"/>
                  </a:cubicBezTo>
                  <a:lnTo>
                    <a:pt x="11667704" y="654326"/>
                  </a:lnTo>
                  <a:cubicBezTo>
                    <a:pt x="11667704" y="654326"/>
                    <a:pt x="11667704" y="654326"/>
                    <a:pt x="11660473" y="639785"/>
                  </a:cubicBezTo>
                  <a:close/>
                  <a:moveTo>
                    <a:pt x="11711086" y="617975"/>
                  </a:moveTo>
                  <a:cubicBezTo>
                    <a:pt x="11711086" y="617975"/>
                    <a:pt x="11711086" y="617975"/>
                    <a:pt x="11703856" y="625245"/>
                  </a:cubicBezTo>
                  <a:cubicBezTo>
                    <a:pt x="11703856" y="625245"/>
                    <a:pt x="11703856" y="625245"/>
                    <a:pt x="11718316" y="632515"/>
                  </a:cubicBezTo>
                  <a:cubicBezTo>
                    <a:pt x="11718316" y="632515"/>
                    <a:pt x="11718316" y="632515"/>
                    <a:pt x="11711086" y="625245"/>
                  </a:cubicBezTo>
                  <a:cubicBezTo>
                    <a:pt x="11711086" y="625245"/>
                    <a:pt x="11711086" y="625245"/>
                    <a:pt x="11711086" y="617975"/>
                  </a:cubicBezTo>
                  <a:close/>
                  <a:moveTo>
                    <a:pt x="11682164" y="610704"/>
                  </a:moveTo>
                  <a:cubicBezTo>
                    <a:pt x="11682164" y="610704"/>
                    <a:pt x="11682164" y="610704"/>
                    <a:pt x="11682164" y="625245"/>
                  </a:cubicBezTo>
                  <a:cubicBezTo>
                    <a:pt x="11682164" y="625245"/>
                    <a:pt x="11682164" y="625245"/>
                    <a:pt x="11682164" y="632515"/>
                  </a:cubicBezTo>
                  <a:cubicBezTo>
                    <a:pt x="11682164" y="632515"/>
                    <a:pt x="11682164" y="632515"/>
                    <a:pt x="11689395" y="625245"/>
                  </a:cubicBezTo>
                  <a:cubicBezTo>
                    <a:pt x="11689395" y="625245"/>
                    <a:pt x="11689395" y="625245"/>
                    <a:pt x="11682164" y="610704"/>
                  </a:cubicBezTo>
                  <a:close/>
                  <a:moveTo>
                    <a:pt x="11631552" y="610704"/>
                  </a:moveTo>
                  <a:cubicBezTo>
                    <a:pt x="11631552" y="610704"/>
                    <a:pt x="11631552" y="610704"/>
                    <a:pt x="11631552" y="617975"/>
                  </a:cubicBezTo>
                  <a:cubicBezTo>
                    <a:pt x="11631552" y="617975"/>
                    <a:pt x="11631552" y="617975"/>
                    <a:pt x="11624321" y="625245"/>
                  </a:cubicBezTo>
                  <a:cubicBezTo>
                    <a:pt x="11624321" y="625245"/>
                    <a:pt x="11624321" y="625245"/>
                    <a:pt x="11638782" y="639785"/>
                  </a:cubicBezTo>
                  <a:cubicBezTo>
                    <a:pt x="11638782" y="639785"/>
                    <a:pt x="11638782" y="639785"/>
                    <a:pt x="11638782" y="625245"/>
                  </a:cubicBezTo>
                  <a:lnTo>
                    <a:pt x="11638782" y="617975"/>
                  </a:lnTo>
                  <a:cubicBezTo>
                    <a:pt x="11638782" y="617975"/>
                    <a:pt x="11638782" y="617975"/>
                    <a:pt x="11638782" y="610704"/>
                  </a:cubicBezTo>
                  <a:cubicBezTo>
                    <a:pt x="11638782" y="610704"/>
                    <a:pt x="11638782" y="610704"/>
                    <a:pt x="11631552" y="610704"/>
                  </a:cubicBezTo>
                  <a:close/>
                  <a:moveTo>
                    <a:pt x="11602630" y="610704"/>
                  </a:moveTo>
                  <a:cubicBezTo>
                    <a:pt x="11602630" y="610704"/>
                    <a:pt x="11602630" y="610704"/>
                    <a:pt x="11602630" y="625245"/>
                  </a:cubicBezTo>
                  <a:cubicBezTo>
                    <a:pt x="11602630" y="625245"/>
                    <a:pt x="11602630" y="625245"/>
                    <a:pt x="11602630" y="632515"/>
                  </a:cubicBezTo>
                  <a:cubicBezTo>
                    <a:pt x="11602630" y="632515"/>
                    <a:pt x="11602630" y="632515"/>
                    <a:pt x="11609861" y="625245"/>
                  </a:cubicBezTo>
                  <a:close/>
                  <a:moveTo>
                    <a:pt x="11653243" y="596164"/>
                  </a:moveTo>
                  <a:cubicBezTo>
                    <a:pt x="11653243" y="596164"/>
                    <a:pt x="11653243" y="596164"/>
                    <a:pt x="11660473" y="610704"/>
                  </a:cubicBezTo>
                  <a:cubicBezTo>
                    <a:pt x="11660473" y="610704"/>
                    <a:pt x="11660473" y="610704"/>
                    <a:pt x="11660473" y="603434"/>
                  </a:cubicBezTo>
                  <a:lnTo>
                    <a:pt x="11667704" y="596164"/>
                  </a:lnTo>
                  <a:cubicBezTo>
                    <a:pt x="11667704" y="596164"/>
                    <a:pt x="11667704" y="596164"/>
                    <a:pt x="11653243" y="596164"/>
                  </a:cubicBezTo>
                  <a:close/>
                  <a:moveTo>
                    <a:pt x="11609861" y="596164"/>
                  </a:moveTo>
                  <a:lnTo>
                    <a:pt x="11617091" y="610704"/>
                  </a:lnTo>
                  <a:cubicBezTo>
                    <a:pt x="11617091" y="610704"/>
                    <a:pt x="11617091" y="610704"/>
                    <a:pt x="11624321" y="603434"/>
                  </a:cubicBezTo>
                  <a:cubicBezTo>
                    <a:pt x="11624321" y="603434"/>
                    <a:pt x="11624321" y="603434"/>
                    <a:pt x="11631552" y="596164"/>
                  </a:cubicBezTo>
                  <a:cubicBezTo>
                    <a:pt x="11631552" y="596164"/>
                    <a:pt x="11631552" y="596164"/>
                    <a:pt x="11624321" y="596164"/>
                  </a:cubicBezTo>
                  <a:cubicBezTo>
                    <a:pt x="11624321" y="596164"/>
                    <a:pt x="11624321" y="596164"/>
                    <a:pt x="11617091" y="596164"/>
                  </a:cubicBezTo>
                  <a:cubicBezTo>
                    <a:pt x="11617091" y="596164"/>
                    <a:pt x="11617091" y="596164"/>
                    <a:pt x="11609861" y="596164"/>
                  </a:cubicBezTo>
                  <a:close/>
                  <a:moveTo>
                    <a:pt x="2220738" y="595724"/>
                  </a:moveTo>
                  <a:cubicBezTo>
                    <a:pt x="2217801" y="596747"/>
                    <a:pt x="2215090" y="599020"/>
                    <a:pt x="2213284" y="602656"/>
                  </a:cubicBezTo>
                  <a:cubicBezTo>
                    <a:pt x="2213284" y="617202"/>
                    <a:pt x="2213284" y="631748"/>
                    <a:pt x="2206055" y="639021"/>
                  </a:cubicBezTo>
                  <a:cubicBezTo>
                    <a:pt x="2206055" y="639021"/>
                    <a:pt x="2206055" y="639021"/>
                    <a:pt x="2206055" y="653567"/>
                  </a:cubicBezTo>
                  <a:cubicBezTo>
                    <a:pt x="2206055" y="660840"/>
                    <a:pt x="2198825" y="668113"/>
                    <a:pt x="2198825" y="682658"/>
                  </a:cubicBezTo>
                  <a:cubicBezTo>
                    <a:pt x="2198825" y="682658"/>
                    <a:pt x="2198825" y="682658"/>
                    <a:pt x="2206055" y="682658"/>
                  </a:cubicBezTo>
                  <a:cubicBezTo>
                    <a:pt x="2206055" y="682658"/>
                    <a:pt x="2213284" y="689931"/>
                    <a:pt x="2220512" y="689931"/>
                  </a:cubicBezTo>
                  <a:cubicBezTo>
                    <a:pt x="2220512" y="689931"/>
                    <a:pt x="2220512" y="689931"/>
                    <a:pt x="2220512" y="668113"/>
                  </a:cubicBezTo>
                  <a:cubicBezTo>
                    <a:pt x="2220512" y="668113"/>
                    <a:pt x="2220512" y="668113"/>
                    <a:pt x="2227741" y="653567"/>
                  </a:cubicBezTo>
                  <a:cubicBezTo>
                    <a:pt x="2227741" y="653567"/>
                    <a:pt x="2227741" y="653567"/>
                    <a:pt x="2227741" y="639021"/>
                  </a:cubicBezTo>
                  <a:cubicBezTo>
                    <a:pt x="2227741" y="639021"/>
                    <a:pt x="2227741" y="639021"/>
                    <a:pt x="2234970" y="617202"/>
                  </a:cubicBezTo>
                  <a:cubicBezTo>
                    <a:pt x="2240392" y="600838"/>
                    <a:pt x="2229549" y="592656"/>
                    <a:pt x="2220738" y="595724"/>
                  </a:cubicBezTo>
                  <a:close/>
                  <a:moveTo>
                    <a:pt x="2104850" y="594474"/>
                  </a:moveTo>
                  <a:cubicBezTo>
                    <a:pt x="2092199" y="595383"/>
                    <a:pt x="2079549" y="602656"/>
                    <a:pt x="2075934" y="617202"/>
                  </a:cubicBezTo>
                  <a:lnTo>
                    <a:pt x="2068706" y="639021"/>
                  </a:lnTo>
                  <a:cubicBezTo>
                    <a:pt x="2075934" y="639021"/>
                    <a:pt x="2075934" y="646294"/>
                    <a:pt x="2083163" y="646294"/>
                  </a:cubicBezTo>
                  <a:cubicBezTo>
                    <a:pt x="2097621" y="646294"/>
                    <a:pt x="2112079" y="653567"/>
                    <a:pt x="2126537" y="660840"/>
                  </a:cubicBezTo>
                  <a:cubicBezTo>
                    <a:pt x="2126537" y="660840"/>
                    <a:pt x="2126537" y="660840"/>
                    <a:pt x="2133765" y="631748"/>
                  </a:cubicBezTo>
                  <a:cubicBezTo>
                    <a:pt x="2133765" y="624475"/>
                    <a:pt x="2133765" y="617202"/>
                    <a:pt x="2133765" y="609929"/>
                  </a:cubicBezTo>
                  <a:cubicBezTo>
                    <a:pt x="2130151" y="599020"/>
                    <a:pt x="2117501" y="593565"/>
                    <a:pt x="2104850" y="594474"/>
                  </a:cubicBezTo>
                  <a:close/>
                  <a:moveTo>
                    <a:pt x="1901651" y="588565"/>
                  </a:moveTo>
                  <a:cubicBezTo>
                    <a:pt x="1883014" y="585838"/>
                    <a:pt x="1857261" y="595383"/>
                    <a:pt x="1851840" y="617202"/>
                  </a:cubicBezTo>
                  <a:lnTo>
                    <a:pt x="1851840" y="631748"/>
                  </a:lnTo>
                  <a:cubicBezTo>
                    <a:pt x="1851840" y="631748"/>
                    <a:pt x="1859069" y="631748"/>
                    <a:pt x="1859069" y="631748"/>
                  </a:cubicBezTo>
                  <a:cubicBezTo>
                    <a:pt x="1880755" y="631748"/>
                    <a:pt x="1895213" y="624475"/>
                    <a:pt x="1916899" y="624475"/>
                  </a:cubicBezTo>
                  <a:cubicBezTo>
                    <a:pt x="1916899" y="624475"/>
                    <a:pt x="1916899" y="624475"/>
                    <a:pt x="1916899" y="617202"/>
                  </a:cubicBezTo>
                  <a:cubicBezTo>
                    <a:pt x="1916899" y="609929"/>
                    <a:pt x="1916899" y="602656"/>
                    <a:pt x="1916899" y="595383"/>
                  </a:cubicBezTo>
                  <a:cubicBezTo>
                    <a:pt x="1913285" y="591747"/>
                    <a:pt x="1907863" y="589474"/>
                    <a:pt x="1901651" y="588565"/>
                  </a:cubicBezTo>
                  <a:close/>
                  <a:moveTo>
                    <a:pt x="3622911" y="580837"/>
                  </a:moveTo>
                  <a:cubicBezTo>
                    <a:pt x="3622911" y="588110"/>
                    <a:pt x="3622911" y="588110"/>
                    <a:pt x="3622911" y="588110"/>
                  </a:cubicBezTo>
                  <a:cubicBezTo>
                    <a:pt x="3622911" y="595383"/>
                    <a:pt x="3615682" y="602656"/>
                    <a:pt x="3608454" y="602656"/>
                  </a:cubicBezTo>
                  <a:cubicBezTo>
                    <a:pt x="3615682" y="595383"/>
                    <a:pt x="3622911" y="595383"/>
                    <a:pt x="3622911" y="580837"/>
                  </a:cubicBezTo>
                  <a:close/>
                  <a:moveTo>
                    <a:pt x="3586766" y="580837"/>
                  </a:moveTo>
                  <a:cubicBezTo>
                    <a:pt x="3586766" y="595383"/>
                    <a:pt x="3593996" y="595383"/>
                    <a:pt x="3601225" y="602656"/>
                  </a:cubicBezTo>
                  <a:cubicBezTo>
                    <a:pt x="3593996" y="602656"/>
                    <a:pt x="3586766" y="595383"/>
                    <a:pt x="3586766" y="588110"/>
                  </a:cubicBezTo>
                  <a:cubicBezTo>
                    <a:pt x="3586766" y="588110"/>
                    <a:pt x="3586766" y="580837"/>
                    <a:pt x="3586766" y="580837"/>
                  </a:cubicBezTo>
                  <a:close/>
                  <a:moveTo>
                    <a:pt x="11696625" y="567083"/>
                  </a:moveTo>
                  <a:cubicBezTo>
                    <a:pt x="11696625" y="567083"/>
                    <a:pt x="11696625" y="567083"/>
                    <a:pt x="11689395" y="574353"/>
                  </a:cubicBezTo>
                  <a:cubicBezTo>
                    <a:pt x="11689395" y="574353"/>
                    <a:pt x="11689395" y="574353"/>
                    <a:pt x="11689395" y="581623"/>
                  </a:cubicBezTo>
                  <a:cubicBezTo>
                    <a:pt x="11689395" y="581623"/>
                    <a:pt x="11689395" y="581623"/>
                    <a:pt x="11696625" y="581623"/>
                  </a:cubicBezTo>
                  <a:cubicBezTo>
                    <a:pt x="11696625" y="581623"/>
                    <a:pt x="11696625" y="581623"/>
                    <a:pt x="11703856" y="581623"/>
                  </a:cubicBezTo>
                  <a:close/>
                  <a:moveTo>
                    <a:pt x="11660473" y="567083"/>
                  </a:moveTo>
                  <a:cubicBezTo>
                    <a:pt x="11660473" y="567083"/>
                    <a:pt x="11660473" y="567083"/>
                    <a:pt x="11653243" y="581623"/>
                  </a:cubicBezTo>
                  <a:lnTo>
                    <a:pt x="11667704" y="581623"/>
                  </a:lnTo>
                  <a:cubicBezTo>
                    <a:pt x="11667704" y="581623"/>
                    <a:pt x="11667704" y="581623"/>
                    <a:pt x="11660473" y="574353"/>
                  </a:cubicBezTo>
                  <a:cubicBezTo>
                    <a:pt x="11660473" y="574353"/>
                    <a:pt x="11660473" y="574353"/>
                    <a:pt x="11660473" y="567083"/>
                  </a:cubicBezTo>
                  <a:close/>
                  <a:moveTo>
                    <a:pt x="11631552" y="545272"/>
                  </a:moveTo>
                  <a:cubicBezTo>
                    <a:pt x="11631552" y="545272"/>
                    <a:pt x="11631552" y="545272"/>
                    <a:pt x="11631552" y="552542"/>
                  </a:cubicBezTo>
                  <a:cubicBezTo>
                    <a:pt x="11631552" y="552542"/>
                    <a:pt x="11631552" y="552542"/>
                    <a:pt x="11638782" y="567083"/>
                  </a:cubicBezTo>
                  <a:lnTo>
                    <a:pt x="11638782" y="545272"/>
                  </a:lnTo>
                  <a:cubicBezTo>
                    <a:pt x="11638782" y="545272"/>
                    <a:pt x="11638782" y="545272"/>
                    <a:pt x="11631552" y="545272"/>
                  </a:cubicBezTo>
                  <a:close/>
                  <a:moveTo>
                    <a:pt x="11711086" y="538001"/>
                  </a:moveTo>
                  <a:cubicBezTo>
                    <a:pt x="11711086" y="538001"/>
                    <a:pt x="11711086" y="538001"/>
                    <a:pt x="11703856" y="545272"/>
                  </a:cubicBezTo>
                  <a:cubicBezTo>
                    <a:pt x="11703856" y="545272"/>
                    <a:pt x="11703856" y="545272"/>
                    <a:pt x="11703856" y="552542"/>
                  </a:cubicBezTo>
                  <a:lnTo>
                    <a:pt x="11711086" y="559812"/>
                  </a:lnTo>
                  <a:cubicBezTo>
                    <a:pt x="11711086" y="559812"/>
                    <a:pt x="11711086" y="559812"/>
                    <a:pt x="11711086" y="552542"/>
                  </a:cubicBezTo>
                  <a:cubicBezTo>
                    <a:pt x="11711086" y="552542"/>
                    <a:pt x="11711086" y="552542"/>
                    <a:pt x="11711086" y="538001"/>
                  </a:cubicBezTo>
                  <a:close/>
                  <a:moveTo>
                    <a:pt x="11682164" y="523461"/>
                  </a:moveTo>
                  <a:cubicBezTo>
                    <a:pt x="11682164" y="523461"/>
                    <a:pt x="11682164" y="523461"/>
                    <a:pt x="11689395" y="530731"/>
                  </a:cubicBezTo>
                  <a:cubicBezTo>
                    <a:pt x="11689395" y="530731"/>
                    <a:pt x="11689395" y="530731"/>
                    <a:pt x="11696625" y="538001"/>
                  </a:cubicBezTo>
                  <a:cubicBezTo>
                    <a:pt x="11696625" y="538001"/>
                    <a:pt x="11696625" y="538001"/>
                    <a:pt x="11703856" y="523461"/>
                  </a:cubicBezTo>
                  <a:cubicBezTo>
                    <a:pt x="11703856" y="523461"/>
                    <a:pt x="11703856" y="523461"/>
                    <a:pt x="11696625" y="523461"/>
                  </a:cubicBezTo>
                  <a:cubicBezTo>
                    <a:pt x="11696625" y="523461"/>
                    <a:pt x="11696625" y="523461"/>
                    <a:pt x="11682164" y="523461"/>
                  </a:cubicBezTo>
                  <a:close/>
                  <a:moveTo>
                    <a:pt x="2006358" y="519018"/>
                  </a:moveTo>
                  <a:cubicBezTo>
                    <a:pt x="2000031" y="519018"/>
                    <a:pt x="1992802" y="522654"/>
                    <a:pt x="1989188" y="529927"/>
                  </a:cubicBezTo>
                  <a:cubicBezTo>
                    <a:pt x="1989188" y="529927"/>
                    <a:pt x="1989188" y="529927"/>
                    <a:pt x="1989188" y="551746"/>
                  </a:cubicBezTo>
                  <a:cubicBezTo>
                    <a:pt x="1989188" y="551746"/>
                    <a:pt x="1989188" y="551746"/>
                    <a:pt x="1981959" y="559019"/>
                  </a:cubicBezTo>
                  <a:cubicBezTo>
                    <a:pt x="1981959" y="573565"/>
                    <a:pt x="1981959" y="580837"/>
                    <a:pt x="1974730" y="595383"/>
                  </a:cubicBezTo>
                  <a:cubicBezTo>
                    <a:pt x="1989188" y="595383"/>
                    <a:pt x="1996418" y="595383"/>
                    <a:pt x="2003646" y="595383"/>
                  </a:cubicBezTo>
                  <a:cubicBezTo>
                    <a:pt x="2010875" y="588110"/>
                    <a:pt x="2010875" y="573565"/>
                    <a:pt x="2010875" y="566292"/>
                  </a:cubicBezTo>
                  <a:cubicBezTo>
                    <a:pt x="2018103" y="551746"/>
                    <a:pt x="2018103" y="544473"/>
                    <a:pt x="2018103" y="529927"/>
                  </a:cubicBezTo>
                  <a:cubicBezTo>
                    <a:pt x="2018103" y="522654"/>
                    <a:pt x="2012682" y="519018"/>
                    <a:pt x="2006358" y="519018"/>
                  </a:cubicBezTo>
                  <a:close/>
                  <a:moveTo>
                    <a:pt x="11689395" y="443488"/>
                  </a:moveTo>
                  <a:cubicBezTo>
                    <a:pt x="11689395" y="443488"/>
                    <a:pt x="11689395" y="443488"/>
                    <a:pt x="11689395" y="450758"/>
                  </a:cubicBezTo>
                  <a:cubicBezTo>
                    <a:pt x="11689395" y="450758"/>
                    <a:pt x="11689395" y="450758"/>
                    <a:pt x="11682164" y="458028"/>
                  </a:cubicBezTo>
                  <a:cubicBezTo>
                    <a:pt x="11682164" y="458028"/>
                    <a:pt x="11682164" y="458028"/>
                    <a:pt x="11696625" y="458028"/>
                  </a:cubicBezTo>
                  <a:cubicBezTo>
                    <a:pt x="11696625" y="458028"/>
                    <a:pt x="11696625" y="458028"/>
                    <a:pt x="11689395" y="443488"/>
                  </a:cubicBezTo>
                  <a:close/>
                  <a:moveTo>
                    <a:pt x="2034580" y="435734"/>
                  </a:moveTo>
                  <a:cubicBezTo>
                    <a:pt x="2050634" y="436743"/>
                    <a:pt x="2066898" y="439015"/>
                    <a:pt x="2083163" y="442652"/>
                  </a:cubicBezTo>
                  <a:cubicBezTo>
                    <a:pt x="2104850" y="449925"/>
                    <a:pt x="2119309" y="449925"/>
                    <a:pt x="2133765" y="457198"/>
                  </a:cubicBezTo>
                  <a:cubicBezTo>
                    <a:pt x="2162682" y="471744"/>
                    <a:pt x="2184368" y="479016"/>
                    <a:pt x="2206055" y="500835"/>
                  </a:cubicBezTo>
                  <a:cubicBezTo>
                    <a:pt x="2220512" y="508108"/>
                    <a:pt x="2234970" y="522654"/>
                    <a:pt x="2249428" y="537200"/>
                  </a:cubicBezTo>
                  <a:cubicBezTo>
                    <a:pt x="2263885" y="559019"/>
                    <a:pt x="2278344" y="580837"/>
                    <a:pt x="2285571" y="602656"/>
                  </a:cubicBezTo>
                  <a:cubicBezTo>
                    <a:pt x="2285571" y="609929"/>
                    <a:pt x="2292800" y="617202"/>
                    <a:pt x="2292800" y="624475"/>
                  </a:cubicBezTo>
                  <a:cubicBezTo>
                    <a:pt x="2292800" y="646294"/>
                    <a:pt x="2292800" y="660840"/>
                    <a:pt x="2292800" y="682658"/>
                  </a:cubicBezTo>
                  <a:cubicBezTo>
                    <a:pt x="2292800" y="682658"/>
                    <a:pt x="2292800" y="682658"/>
                    <a:pt x="2285571" y="697204"/>
                  </a:cubicBezTo>
                  <a:cubicBezTo>
                    <a:pt x="2285571" y="697204"/>
                    <a:pt x="2285571" y="697204"/>
                    <a:pt x="2278344" y="726296"/>
                  </a:cubicBezTo>
                  <a:cubicBezTo>
                    <a:pt x="2278344" y="733569"/>
                    <a:pt x="2278344" y="740842"/>
                    <a:pt x="2271115" y="748115"/>
                  </a:cubicBezTo>
                  <a:cubicBezTo>
                    <a:pt x="2271115" y="748115"/>
                    <a:pt x="2271115" y="748115"/>
                    <a:pt x="2278344" y="748115"/>
                  </a:cubicBezTo>
                  <a:cubicBezTo>
                    <a:pt x="2285571" y="755388"/>
                    <a:pt x="2292800" y="762661"/>
                    <a:pt x="2300029" y="777207"/>
                  </a:cubicBezTo>
                  <a:cubicBezTo>
                    <a:pt x="2314488" y="784479"/>
                    <a:pt x="2321717" y="799025"/>
                    <a:pt x="2336173" y="806298"/>
                  </a:cubicBezTo>
                  <a:cubicBezTo>
                    <a:pt x="2336173" y="806298"/>
                    <a:pt x="2336173" y="806298"/>
                    <a:pt x="2343403" y="813571"/>
                  </a:cubicBezTo>
                  <a:cubicBezTo>
                    <a:pt x="2343403" y="820844"/>
                    <a:pt x="2350632" y="820844"/>
                    <a:pt x="2350632" y="828117"/>
                  </a:cubicBezTo>
                  <a:cubicBezTo>
                    <a:pt x="2357861" y="835390"/>
                    <a:pt x="2357861" y="849936"/>
                    <a:pt x="2350632" y="857209"/>
                  </a:cubicBezTo>
                  <a:cubicBezTo>
                    <a:pt x="2343403" y="857209"/>
                    <a:pt x="2336173" y="857209"/>
                    <a:pt x="2336173" y="857209"/>
                  </a:cubicBezTo>
                  <a:cubicBezTo>
                    <a:pt x="2336173" y="857209"/>
                    <a:pt x="2336173" y="857209"/>
                    <a:pt x="2328944" y="871755"/>
                  </a:cubicBezTo>
                  <a:cubicBezTo>
                    <a:pt x="2328944" y="871755"/>
                    <a:pt x="2328944" y="871755"/>
                    <a:pt x="2328944" y="886300"/>
                  </a:cubicBezTo>
                  <a:cubicBezTo>
                    <a:pt x="2328944" y="886300"/>
                    <a:pt x="2328944" y="886300"/>
                    <a:pt x="2328944" y="900846"/>
                  </a:cubicBezTo>
                  <a:cubicBezTo>
                    <a:pt x="2328944" y="900846"/>
                    <a:pt x="2328944" y="900846"/>
                    <a:pt x="2321717" y="937211"/>
                  </a:cubicBezTo>
                  <a:cubicBezTo>
                    <a:pt x="2321717" y="937211"/>
                    <a:pt x="2321717" y="937211"/>
                    <a:pt x="2314488" y="988121"/>
                  </a:cubicBezTo>
                  <a:cubicBezTo>
                    <a:pt x="2314488" y="988121"/>
                    <a:pt x="2314488" y="988121"/>
                    <a:pt x="2307259" y="1017213"/>
                  </a:cubicBezTo>
                  <a:cubicBezTo>
                    <a:pt x="2307259" y="1017213"/>
                    <a:pt x="2307259" y="1017213"/>
                    <a:pt x="2300029" y="1053578"/>
                  </a:cubicBezTo>
                  <a:cubicBezTo>
                    <a:pt x="2307259" y="1060851"/>
                    <a:pt x="2307259" y="1060851"/>
                    <a:pt x="2314488" y="1068124"/>
                  </a:cubicBezTo>
                  <a:cubicBezTo>
                    <a:pt x="2321717" y="1075397"/>
                    <a:pt x="2321717" y="1089942"/>
                    <a:pt x="2307259" y="1097215"/>
                  </a:cubicBezTo>
                  <a:cubicBezTo>
                    <a:pt x="2307259" y="1104488"/>
                    <a:pt x="2300029" y="1104488"/>
                    <a:pt x="2292800" y="1104488"/>
                  </a:cubicBezTo>
                  <a:cubicBezTo>
                    <a:pt x="2292800" y="1104488"/>
                    <a:pt x="2292800" y="1104488"/>
                    <a:pt x="2292800" y="1126307"/>
                  </a:cubicBezTo>
                  <a:cubicBezTo>
                    <a:pt x="2292800" y="1126307"/>
                    <a:pt x="2292800" y="1126307"/>
                    <a:pt x="2285571" y="1148126"/>
                  </a:cubicBezTo>
                  <a:cubicBezTo>
                    <a:pt x="2285571" y="1148126"/>
                    <a:pt x="2285571" y="1148126"/>
                    <a:pt x="2278344" y="1199036"/>
                  </a:cubicBezTo>
                  <a:cubicBezTo>
                    <a:pt x="2278344" y="1199036"/>
                    <a:pt x="2278344" y="1199036"/>
                    <a:pt x="2271115" y="1249947"/>
                  </a:cubicBezTo>
                  <a:cubicBezTo>
                    <a:pt x="2271115" y="1249947"/>
                    <a:pt x="2271115" y="1249947"/>
                    <a:pt x="2271115" y="1286312"/>
                  </a:cubicBezTo>
                  <a:cubicBezTo>
                    <a:pt x="2271115" y="1286312"/>
                    <a:pt x="2271115" y="1286312"/>
                    <a:pt x="2263885" y="1308130"/>
                  </a:cubicBezTo>
                  <a:cubicBezTo>
                    <a:pt x="2263885" y="1308130"/>
                    <a:pt x="2263885" y="1308130"/>
                    <a:pt x="2271115" y="1315403"/>
                  </a:cubicBezTo>
                  <a:cubicBezTo>
                    <a:pt x="2278344" y="1322676"/>
                    <a:pt x="2278344" y="1337222"/>
                    <a:pt x="2271115" y="1344495"/>
                  </a:cubicBezTo>
                  <a:cubicBezTo>
                    <a:pt x="2263885" y="1351768"/>
                    <a:pt x="2263885" y="1351768"/>
                    <a:pt x="2256656" y="1351768"/>
                  </a:cubicBezTo>
                  <a:cubicBezTo>
                    <a:pt x="2256656" y="1351768"/>
                    <a:pt x="2256656" y="1351768"/>
                    <a:pt x="2249428" y="1409951"/>
                  </a:cubicBezTo>
                  <a:cubicBezTo>
                    <a:pt x="2249428" y="1409951"/>
                    <a:pt x="2249428" y="1409951"/>
                    <a:pt x="2249428" y="1417224"/>
                  </a:cubicBezTo>
                  <a:cubicBezTo>
                    <a:pt x="2263885" y="1417224"/>
                    <a:pt x="2271115" y="1424497"/>
                    <a:pt x="2271115" y="1431770"/>
                  </a:cubicBezTo>
                  <a:cubicBezTo>
                    <a:pt x="2271115" y="1431770"/>
                    <a:pt x="2271115" y="1439043"/>
                    <a:pt x="2271115" y="1439043"/>
                  </a:cubicBezTo>
                  <a:cubicBezTo>
                    <a:pt x="2271115" y="1439043"/>
                    <a:pt x="2271115" y="1439043"/>
                    <a:pt x="2271115" y="1453589"/>
                  </a:cubicBezTo>
                  <a:cubicBezTo>
                    <a:pt x="2271115" y="1453589"/>
                    <a:pt x="2271115" y="1453589"/>
                    <a:pt x="2242198" y="1475408"/>
                  </a:cubicBezTo>
                  <a:cubicBezTo>
                    <a:pt x="2242198" y="1475408"/>
                    <a:pt x="2242198" y="1475408"/>
                    <a:pt x="2249428" y="1737233"/>
                  </a:cubicBezTo>
                  <a:cubicBezTo>
                    <a:pt x="2271115" y="1744506"/>
                    <a:pt x="2278344" y="1751779"/>
                    <a:pt x="2285571" y="1759052"/>
                  </a:cubicBezTo>
                  <a:cubicBezTo>
                    <a:pt x="2285571" y="1759052"/>
                    <a:pt x="2285571" y="1759052"/>
                    <a:pt x="2285571" y="1780871"/>
                  </a:cubicBezTo>
                  <a:cubicBezTo>
                    <a:pt x="2285571" y="1780871"/>
                    <a:pt x="2285571" y="1780871"/>
                    <a:pt x="2249428" y="1802690"/>
                  </a:cubicBezTo>
                  <a:cubicBezTo>
                    <a:pt x="2249428" y="1802690"/>
                    <a:pt x="2249428" y="1802690"/>
                    <a:pt x="2256656" y="2079061"/>
                  </a:cubicBezTo>
                  <a:cubicBezTo>
                    <a:pt x="2256656" y="2079061"/>
                    <a:pt x="2256656" y="2079061"/>
                    <a:pt x="2618100" y="2079061"/>
                  </a:cubicBezTo>
                  <a:cubicBezTo>
                    <a:pt x="2618100" y="2079061"/>
                    <a:pt x="2618100" y="2079061"/>
                    <a:pt x="2632557" y="2079061"/>
                  </a:cubicBezTo>
                  <a:cubicBezTo>
                    <a:pt x="2632557" y="2079061"/>
                    <a:pt x="2632557" y="2079061"/>
                    <a:pt x="2654244" y="2079061"/>
                  </a:cubicBezTo>
                  <a:cubicBezTo>
                    <a:pt x="2654244" y="2079061"/>
                    <a:pt x="2654244" y="2079061"/>
                    <a:pt x="2668702" y="2079061"/>
                  </a:cubicBezTo>
                  <a:cubicBezTo>
                    <a:pt x="2668702" y="2079061"/>
                    <a:pt x="2668702" y="2079061"/>
                    <a:pt x="2668702" y="1977240"/>
                  </a:cubicBezTo>
                  <a:cubicBezTo>
                    <a:pt x="2668702" y="1977240"/>
                    <a:pt x="2668702" y="1977240"/>
                    <a:pt x="2654244" y="1962694"/>
                  </a:cubicBezTo>
                  <a:cubicBezTo>
                    <a:pt x="2654244" y="1962694"/>
                    <a:pt x="2654244" y="1962694"/>
                    <a:pt x="2654244" y="1948148"/>
                  </a:cubicBezTo>
                  <a:cubicBezTo>
                    <a:pt x="2654244" y="1948148"/>
                    <a:pt x="2661473" y="1940875"/>
                    <a:pt x="2675931" y="1933602"/>
                  </a:cubicBezTo>
                  <a:cubicBezTo>
                    <a:pt x="2675931" y="1933602"/>
                    <a:pt x="2675931" y="1933602"/>
                    <a:pt x="2675931" y="1773598"/>
                  </a:cubicBezTo>
                  <a:cubicBezTo>
                    <a:pt x="2675931" y="1773598"/>
                    <a:pt x="2675931" y="1773598"/>
                    <a:pt x="2661473" y="1766325"/>
                  </a:cubicBezTo>
                  <a:cubicBezTo>
                    <a:pt x="2661473" y="1766325"/>
                    <a:pt x="2661473" y="1766325"/>
                    <a:pt x="2661473" y="1751779"/>
                  </a:cubicBezTo>
                  <a:cubicBezTo>
                    <a:pt x="2661473" y="1751779"/>
                    <a:pt x="2661473" y="1744506"/>
                    <a:pt x="2661473" y="1744506"/>
                  </a:cubicBezTo>
                  <a:cubicBezTo>
                    <a:pt x="2668702" y="1744506"/>
                    <a:pt x="2668702" y="1737233"/>
                    <a:pt x="2675931" y="1737233"/>
                  </a:cubicBezTo>
                  <a:cubicBezTo>
                    <a:pt x="2675931" y="1737233"/>
                    <a:pt x="2675931" y="1737233"/>
                    <a:pt x="2675931" y="1722687"/>
                  </a:cubicBezTo>
                  <a:cubicBezTo>
                    <a:pt x="2675931" y="1722687"/>
                    <a:pt x="2675931" y="1722687"/>
                    <a:pt x="2683159" y="1606320"/>
                  </a:cubicBezTo>
                  <a:cubicBezTo>
                    <a:pt x="2683159" y="1606320"/>
                    <a:pt x="2683159" y="1606320"/>
                    <a:pt x="2683159" y="1562683"/>
                  </a:cubicBezTo>
                  <a:cubicBezTo>
                    <a:pt x="2683159" y="1562683"/>
                    <a:pt x="2683159" y="1562683"/>
                    <a:pt x="2683159" y="1555410"/>
                  </a:cubicBezTo>
                  <a:cubicBezTo>
                    <a:pt x="2683159" y="1555410"/>
                    <a:pt x="2683159" y="1555410"/>
                    <a:pt x="2668702" y="1540864"/>
                  </a:cubicBezTo>
                  <a:cubicBezTo>
                    <a:pt x="2668702" y="1540864"/>
                    <a:pt x="2668702" y="1540864"/>
                    <a:pt x="2668702" y="1526318"/>
                  </a:cubicBezTo>
                  <a:cubicBezTo>
                    <a:pt x="2668702" y="1526318"/>
                    <a:pt x="2675931" y="1519045"/>
                    <a:pt x="2683159" y="1511772"/>
                  </a:cubicBezTo>
                  <a:cubicBezTo>
                    <a:pt x="2683159" y="1511772"/>
                    <a:pt x="2683159" y="1511772"/>
                    <a:pt x="2690388" y="1468135"/>
                  </a:cubicBezTo>
                  <a:cubicBezTo>
                    <a:pt x="2690388" y="1468135"/>
                    <a:pt x="2690388" y="1475408"/>
                    <a:pt x="2690388" y="1475408"/>
                  </a:cubicBezTo>
                  <a:lnTo>
                    <a:pt x="2690388" y="1511772"/>
                  </a:lnTo>
                  <a:cubicBezTo>
                    <a:pt x="2690388" y="1511772"/>
                    <a:pt x="2690388" y="1511772"/>
                    <a:pt x="2697617" y="1511772"/>
                  </a:cubicBezTo>
                  <a:cubicBezTo>
                    <a:pt x="2704846" y="1511772"/>
                    <a:pt x="2704846" y="1511772"/>
                    <a:pt x="2704846" y="1511772"/>
                  </a:cubicBezTo>
                  <a:cubicBezTo>
                    <a:pt x="2712075" y="1511772"/>
                    <a:pt x="2719304" y="1511772"/>
                    <a:pt x="2719304" y="1511772"/>
                  </a:cubicBezTo>
                  <a:cubicBezTo>
                    <a:pt x="2719304" y="1511772"/>
                    <a:pt x="2719304" y="1511772"/>
                    <a:pt x="2719304" y="1475408"/>
                  </a:cubicBezTo>
                  <a:cubicBezTo>
                    <a:pt x="2719304" y="1468135"/>
                    <a:pt x="2719304" y="1468135"/>
                    <a:pt x="2712075" y="1468135"/>
                  </a:cubicBezTo>
                  <a:cubicBezTo>
                    <a:pt x="2704846" y="1468135"/>
                    <a:pt x="2704846" y="1468135"/>
                    <a:pt x="2697617" y="1468135"/>
                  </a:cubicBezTo>
                  <a:cubicBezTo>
                    <a:pt x="2697617" y="1475408"/>
                    <a:pt x="2697617" y="1475408"/>
                    <a:pt x="2697617" y="1475408"/>
                  </a:cubicBezTo>
                  <a:cubicBezTo>
                    <a:pt x="2697617" y="1468135"/>
                    <a:pt x="2697617" y="1468135"/>
                    <a:pt x="2690388" y="1468135"/>
                  </a:cubicBezTo>
                  <a:cubicBezTo>
                    <a:pt x="2690388" y="1468135"/>
                    <a:pt x="2690388" y="1468135"/>
                    <a:pt x="2675931" y="1468135"/>
                  </a:cubicBezTo>
                  <a:cubicBezTo>
                    <a:pt x="2675931" y="1468135"/>
                    <a:pt x="2675931" y="1468135"/>
                    <a:pt x="2661473" y="1453589"/>
                  </a:cubicBezTo>
                  <a:cubicBezTo>
                    <a:pt x="2661473" y="1453589"/>
                    <a:pt x="2661473" y="1453589"/>
                    <a:pt x="2683159" y="1446316"/>
                  </a:cubicBezTo>
                  <a:cubicBezTo>
                    <a:pt x="2683159" y="1446316"/>
                    <a:pt x="2683159" y="1446316"/>
                    <a:pt x="2683159" y="1439043"/>
                  </a:cubicBezTo>
                  <a:cubicBezTo>
                    <a:pt x="2683159" y="1439043"/>
                    <a:pt x="2683159" y="1439043"/>
                    <a:pt x="2690388" y="1439043"/>
                  </a:cubicBezTo>
                  <a:cubicBezTo>
                    <a:pt x="2690388" y="1424497"/>
                    <a:pt x="2697617" y="1417224"/>
                    <a:pt x="2704846" y="1409951"/>
                  </a:cubicBezTo>
                  <a:cubicBezTo>
                    <a:pt x="2704846" y="1409951"/>
                    <a:pt x="2704846" y="1409951"/>
                    <a:pt x="2712075" y="1402678"/>
                  </a:cubicBezTo>
                  <a:cubicBezTo>
                    <a:pt x="2712075" y="1402678"/>
                    <a:pt x="2712075" y="1402678"/>
                    <a:pt x="2719304" y="1402678"/>
                  </a:cubicBezTo>
                  <a:cubicBezTo>
                    <a:pt x="2719304" y="1395405"/>
                    <a:pt x="2719304" y="1395405"/>
                    <a:pt x="2719304" y="1395405"/>
                  </a:cubicBezTo>
                  <a:lnTo>
                    <a:pt x="2719529" y="1395405"/>
                  </a:lnTo>
                  <a:lnTo>
                    <a:pt x="2718141" y="1395207"/>
                  </a:lnTo>
                  <a:lnTo>
                    <a:pt x="2717029" y="1387426"/>
                  </a:lnTo>
                  <a:lnTo>
                    <a:pt x="2717029" y="1387425"/>
                  </a:lnTo>
                  <a:lnTo>
                    <a:pt x="2718141" y="1379644"/>
                  </a:lnTo>
                  <a:cubicBezTo>
                    <a:pt x="2719253" y="1378532"/>
                    <a:pt x="2721476" y="1378532"/>
                    <a:pt x="2725923" y="1378532"/>
                  </a:cubicBezTo>
                  <a:cubicBezTo>
                    <a:pt x="2725923" y="1382979"/>
                    <a:pt x="2725923" y="1385202"/>
                    <a:pt x="2725923" y="1386314"/>
                  </a:cubicBezTo>
                  <a:lnTo>
                    <a:pt x="2725923" y="1387425"/>
                  </a:lnTo>
                  <a:lnTo>
                    <a:pt x="2725923" y="1387426"/>
                  </a:lnTo>
                  <a:lnTo>
                    <a:pt x="2725923" y="1395207"/>
                  </a:lnTo>
                  <a:lnTo>
                    <a:pt x="2725923" y="1395405"/>
                  </a:lnTo>
                  <a:lnTo>
                    <a:pt x="2726532" y="1395405"/>
                  </a:lnTo>
                  <a:cubicBezTo>
                    <a:pt x="2726532" y="1395405"/>
                    <a:pt x="2726532" y="1395405"/>
                    <a:pt x="2726532" y="1402678"/>
                  </a:cubicBezTo>
                  <a:cubicBezTo>
                    <a:pt x="2733761" y="1402678"/>
                    <a:pt x="2733761" y="1402678"/>
                    <a:pt x="2733761" y="1402678"/>
                  </a:cubicBezTo>
                  <a:cubicBezTo>
                    <a:pt x="2740990" y="1409951"/>
                    <a:pt x="2740990" y="1409951"/>
                    <a:pt x="2748219" y="1409951"/>
                  </a:cubicBezTo>
                  <a:cubicBezTo>
                    <a:pt x="2748219" y="1417224"/>
                    <a:pt x="2755447" y="1424497"/>
                    <a:pt x="2755447" y="1424497"/>
                  </a:cubicBezTo>
                  <a:cubicBezTo>
                    <a:pt x="2755447" y="1431770"/>
                    <a:pt x="2755447" y="1431770"/>
                    <a:pt x="2755447" y="1439043"/>
                  </a:cubicBezTo>
                  <a:cubicBezTo>
                    <a:pt x="2755447" y="1439043"/>
                    <a:pt x="2755447" y="1439043"/>
                    <a:pt x="2762676" y="1439043"/>
                  </a:cubicBezTo>
                  <a:cubicBezTo>
                    <a:pt x="2762676" y="1439043"/>
                    <a:pt x="2762676" y="1439043"/>
                    <a:pt x="2762676" y="1446316"/>
                  </a:cubicBezTo>
                  <a:cubicBezTo>
                    <a:pt x="2762676" y="1446316"/>
                    <a:pt x="2762676" y="1446316"/>
                    <a:pt x="2784364" y="1453589"/>
                  </a:cubicBezTo>
                  <a:cubicBezTo>
                    <a:pt x="2784364" y="1453589"/>
                    <a:pt x="2784364" y="1453589"/>
                    <a:pt x="2769905" y="1468135"/>
                  </a:cubicBezTo>
                  <a:cubicBezTo>
                    <a:pt x="2769905" y="1468135"/>
                    <a:pt x="2769905" y="1468135"/>
                    <a:pt x="2755447" y="1468135"/>
                  </a:cubicBezTo>
                  <a:cubicBezTo>
                    <a:pt x="2755447" y="1468135"/>
                    <a:pt x="2755447" y="1468135"/>
                    <a:pt x="2762676" y="1511772"/>
                  </a:cubicBezTo>
                  <a:cubicBezTo>
                    <a:pt x="2769905" y="1519045"/>
                    <a:pt x="2777134" y="1519045"/>
                    <a:pt x="2777134" y="1526318"/>
                  </a:cubicBezTo>
                  <a:cubicBezTo>
                    <a:pt x="2777134" y="1526318"/>
                    <a:pt x="2777134" y="1526318"/>
                    <a:pt x="2777134" y="1540864"/>
                  </a:cubicBezTo>
                  <a:cubicBezTo>
                    <a:pt x="2777134" y="1540864"/>
                    <a:pt x="2777134" y="1540864"/>
                    <a:pt x="2762676" y="1555410"/>
                  </a:cubicBezTo>
                  <a:cubicBezTo>
                    <a:pt x="2762676" y="1555410"/>
                    <a:pt x="2762676" y="1555410"/>
                    <a:pt x="2762676" y="1737233"/>
                  </a:cubicBezTo>
                  <a:cubicBezTo>
                    <a:pt x="2777134" y="1737233"/>
                    <a:pt x="2777134" y="1744506"/>
                    <a:pt x="2784364" y="1751779"/>
                  </a:cubicBezTo>
                  <a:cubicBezTo>
                    <a:pt x="2784364" y="1751779"/>
                    <a:pt x="2784364" y="1751779"/>
                    <a:pt x="2784364" y="1766325"/>
                  </a:cubicBezTo>
                  <a:cubicBezTo>
                    <a:pt x="2784364" y="1766325"/>
                    <a:pt x="2784364" y="1766325"/>
                    <a:pt x="2762676" y="1773598"/>
                  </a:cubicBezTo>
                  <a:cubicBezTo>
                    <a:pt x="2762676" y="1773598"/>
                    <a:pt x="2762676" y="1773598"/>
                    <a:pt x="2769905" y="1933602"/>
                  </a:cubicBezTo>
                  <a:cubicBezTo>
                    <a:pt x="2777134" y="1940875"/>
                    <a:pt x="2784364" y="1940875"/>
                    <a:pt x="2791593" y="1948148"/>
                  </a:cubicBezTo>
                  <a:cubicBezTo>
                    <a:pt x="2791593" y="1948148"/>
                    <a:pt x="2791593" y="1948148"/>
                    <a:pt x="2791593" y="1962694"/>
                  </a:cubicBezTo>
                  <a:cubicBezTo>
                    <a:pt x="2791593" y="1962694"/>
                    <a:pt x="2791593" y="1962694"/>
                    <a:pt x="2769905" y="1977240"/>
                  </a:cubicBezTo>
                  <a:cubicBezTo>
                    <a:pt x="2769905" y="1977240"/>
                    <a:pt x="2769905" y="1977240"/>
                    <a:pt x="2769905" y="2086334"/>
                  </a:cubicBezTo>
                  <a:cubicBezTo>
                    <a:pt x="2769905" y="2086334"/>
                    <a:pt x="2769905" y="2086334"/>
                    <a:pt x="2842194" y="2086334"/>
                  </a:cubicBezTo>
                  <a:cubicBezTo>
                    <a:pt x="2842194" y="2086334"/>
                    <a:pt x="2842194" y="2086334"/>
                    <a:pt x="2849423" y="1526318"/>
                  </a:cubicBezTo>
                  <a:cubicBezTo>
                    <a:pt x="2849423" y="1526318"/>
                    <a:pt x="2849423" y="1526318"/>
                    <a:pt x="2849423" y="1446316"/>
                  </a:cubicBezTo>
                  <a:cubicBezTo>
                    <a:pt x="2849423" y="1439043"/>
                    <a:pt x="2842194" y="1439043"/>
                    <a:pt x="2842194" y="1439043"/>
                  </a:cubicBezTo>
                  <a:cubicBezTo>
                    <a:pt x="2842194" y="1439043"/>
                    <a:pt x="2849423" y="1439043"/>
                    <a:pt x="2849423" y="1439043"/>
                  </a:cubicBezTo>
                  <a:cubicBezTo>
                    <a:pt x="2849423" y="1439043"/>
                    <a:pt x="2849423" y="1431770"/>
                    <a:pt x="2849423" y="1431770"/>
                  </a:cubicBezTo>
                  <a:cubicBezTo>
                    <a:pt x="2842194" y="1417224"/>
                    <a:pt x="2834966" y="1424497"/>
                    <a:pt x="2834966" y="1424497"/>
                  </a:cubicBezTo>
                  <a:cubicBezTo>
                    <a:pt x="2834966" y="1417224"/>
                    <a:pt x="2842194" y="1417224"/>
                    <a:pt x="2842194" y="1417224"/>
                  </a:cubicBezTo>
                  <a:cubicBezTo>
                    <a:pt x="2842194" y="1409951"/>
                    <a:pt x="2849423" y="1409951"/>
                    <a:pt x="2856652" y="1409951"/>
                  </a:cubicBezTo>
                  <a:cubicBezTo>
                    <a:pt x="2863880" y="1409951"/>
                    <a:pt x="2863880" y="1409951"/>
                    <a:pt x="2863880" y="1417224"/>
                  </a:cubicBezTo>
                  <a:cubicBezTo>
                    <a:pt x="2871110" y="1417224"/>
                    <a:pt x="2871110" y="1417224"/>
                    <a:pt x="2871110" y="1424497"/>
                  </a:cubicBezTo>
                  <a:cubicBezTo>
                    <a:pt x="2871110" y="1424497"/>
                    <a:pt x="2863880" y="1417224"/>
                    <a:pt x="2863880" y="1431770"/>
                  </a:cubicBezTo>
                  <a:cubicBezTo>
                    <a:pt x="2863880" y="1431770"/>
                    <a:pt x="2863880" y="1439043"/>
                    <a:pt x="2863880" y="1439043"/>
                  </a:cubicBezTo>
                  <a:cubicBezTo>
                    <a:pt x="2863880" y="1439043"/>
                    <a:pt x="2863880" y="1439043"/>
                    <a:pt x="2863880" y="1446316"/>
                  </a:cubicBezTo>
                  <a:cubicBezTo>
                    <a:pt x="2863880" y="1446316"/>
                    <a:pt x="2863880" y="1446316"/>
                    <a:pt x="2863880" y="1526318"/>
                  </a:cubicBezTo>
                  <a:cubicBezTo>
                    <a:pt x="2863880" y="1526318"/>
                    <a:pt x="2863880" y="1526318"/>
                    <a:pt x="2885567" y="1519045"/>
                  </a:cubicBezTo>
                  <a:cubicBezTo>
                    <a:pt x="2885567" y="1519045"/>
                    <a:pt x="2885567" y="1519045"/>
                    <a:pt x="2885567" y="1366314"/>
                  </a:cubicBezTo>
                  <a:cubicBezTo>
                    <a:pt x="2885567" y="1359041"/>
                    <a:pt x="2885567" y="1359041"/>
                    <a:pt x="2892796" y="1359041"/>
                  </a:cubicBezTo>
                  <a:cubicBezTo>
                    <a:pt x="2885567" y="1359041"/>
                    <a:pt x="2885567" y="1359041"/>
                    <a:pt x="2885567" y="1351768"/>
                  </a:cubicBezTo>
                  <a:cubicBezTo>
                    <a:pt x="2885567" y="1344495"/>
                    <a:pt x="2878338" y="1351768"/>
                    <a:pt x="2878338" y="1344495"/>
                  </a:cubicBezTo>
                  <a:cubicBezTo>
                    <a:pt x="2878338" y="1344495"/>
                    <a:pt x="2878338" y="1344495"/>
                    <a:pt x="2885567" y="1344495"/>
                  </a:cubicBezTo>
                  <a:cubicBezTo>
                    <a:pt x="2885567" y="1344495"/>
                    <a:pt x="2885567" y="1337222"/>
                    <a:pt x="2885567" y="1337222"/>
                  </a:cubicBezTo>
                  <a:cubicBezTo>
                    <a:pt x="2885567" y="1337222"/>
                    <a:pt x="2892796" y="1329949"/>
                    <a:pt x="2892796" y="1329949"/>
                  </a:cubicBezTo>
                  <a:cubicBezTo>
                    <a:pt x="2892796" y="1322676"/>
                    <a:pt x="2892796" y="1322676"/>
                    <a:pt x="2892796" y="1322676"/>
                  </a:cubicBezTo>
                  <a:cubicBezTo>
                    <a:pt x="2892796" y="1315403"/>
                    <a:pt x="2892796" y="1315403"/>
                    <a:pt x="2892796" y="1315403"/>
                  </a:cubicBezTo>
                  <a:cubicBezTo>
                    <a:pt x="2892796" y="1315403"/>
                    <a:pt x="2892796" y="1315403"/>
                    <a:pt x="2892796" y="1308130"/>
                  </a:cubicBezTo>
                  <a:cubicBezTo>
                    <a:pt x="2892796" y="1308130"/>
                    <a:pt x="2892796" y="1300857"/>
                    <a:pt x="2900025" y="1300857"/>
                  </a:cubicBezTo>
                  <a:cubicBezTo>
                    <a:pt x="2900025" y="1300857"/>
                    <a:pt x="2900025" y="1308130"/>
                    <a:pt x="2900025" y="1308130"/>
                  </a:cubicBezTo>
                  <a:cubicBezTo>
                    <a:pt x="2900025" y="1315403"/>
                    <a:pt x="2900025" y="1315403"/>
                    <a:pt x="2900025" y="1315403"/>
                  </a:cubicBezTo>
                  <a:cubicBezTo>
                    <a:pt x="2900025" y="1315403"/>
                    <a:pt x="2900025" y="1315403"/>
                    <a:pt x="2900025" y="1322676"/>
                  </a:cubicBezTo>
                  <a:cubicBezTo>
                    <a:pt x="2900025" y="1322676"/>
                    <a:pt x="2900025" y="1322676"/>
                    <a:pt x="2900025" y="1329949"/>
                  </a:cubicBezTo>
                  <a:cubicBezTo>
                    <a:pt x="2900025" y="1329949"/>
                    <a:pt x="2907253" y="1337222"/>
                    <a:pt x="2907253" y="1337222"/>
                  </a:cubicBezTo>
                  <a:cubicBezTo>
                    <a:pt x="2907253" y="1337222"/>
                    <a:pt x="2907253" y="1344495"/>
                    <a:pt x="2907253" y="1344495"/>
                  </a:cubicBezTo>
                  <a:cubicBezTo>
                    <a:pt x="2914482" y="1344495"/>
                    <a:pt x="2914482" y="1344495"/>
                    <a:pt x="2914482" y="1344495"/>
                  </a:cubicBezTo>
                  <a:cubicBezTo>
                    <a:pt x="2914482" y="1351768"/>
                    <a:pt x="2907253" y="1344495"/>
                    <a:pt x="2907253" y="1351768"/>
                  </a:cubicBezTo>
                  <a:cubicBezTo>
                    <a:pt x="2907253" y="1359041"/>
                    <a:pt x="2907253" y="1359041"/>
                    <a:pt x="2900025" y="1359041"/>
                  </a:cubicBezTo>
                  <a:cubicBezTo>
                    <a:pt x="2907253" y="1359041"/>
                    <a:pt x="2907253" y="1366314"/>
                    <a:pt x="2907253" y="1366314"/>
                  </a:cubicBezTo>
                  <a:cubicBezTo>
                    <a:pt x="2907253" y="1366314"/>
                    <a:pt x="2907253" y="1366314"/>
                    <a:pt x="2907253" y="1439043"/>
                  </a:cubicBezTo>
                  <a:cubicBezTo>
                    <a:pt x="2907253" y="1439043"/>
                    <a:pt x="2907253" y="1439043"/>
                    <a:pt x="2936170" y="1439043"/>
                  </a:cubicBezTo>
                  <a:cubicBezTo>
                    <a:pt x="2936170" y="1439043"/>
                    <a:pt x="2936170" y="1439043"/>
                    <a:pt x="2950626" y="1453589"/>
                  </a:cubicBezTo>
                  <a:cubicBezTo>
                    <a:pt x="2950626" y="1453589"/>
                    <a:pt x="2950626" y="1453589"/>
                    <a:pt x="2965085" y="1475408"/>
                  </a:cubicBezTo>
                  <a:cubicBezTo>
                    <a:pt x="2965085" y="1475408"/>
                    <a:pt x="2965085" y="1475408"/>
                    <a:pt x="2965085" y="1460862"/>
                  </a:cubicBezTo>
                  <a:cubicBezTo>
                    <a:pt x="2965085" y="1453589"/>
                    <a:pt x="2965085" y="1453589"/>
                    <a:pt x="2965085" y="1453589"/>
                  </a:cubicBezTo>
                  <a:cubicBezTo>
                    <a:pt x="2965085" y="1439043"/>
                    <a:pt x="2957855" y="1446316"/>
                    <a:pt x="2957855" y="1446316"/>
                  </a:cubicBezTo>
                  <a:cubicBezTo>
                    <a:pt x="2957855" y="1439043"/>
                    <a:pt x="2957855" y="1439043"/>
                    <a:pt x="2965085" y="1439043"/>
                  </a:cubicBezTo>
                  <a:cubicBezTo>
                    <a:pt x="2965085" y="1439043"/>
                    <a:pt x="2965085" y="1431770"/>
                    <a:pt x="2972314" y="1431770"/>
                  </a:cubicBezTo>
                  <a:cubicBezTo>
                    <a:pt x="2979543" y="1431770"/>
                    <a:pt x="2979543" y="1439043"/>
                    <a:pt x="2979543" y="1439043"/>
                  </a:cubicBezTo>
                  <a:cubicBezTo>
                    <a:pt x="2979543" y="1439043"/>
                    <a:pt x="2986772" y="1439043"/>
                    <a:pt x="2986772" y="1446316"/>
                  </a:cubicBezTo>
                  <a:cubicBezTo>
                    <a:pt x="2986772" y="1446316"/>
                    <a:pt x="2979543" y="1439043"/>
                    <a:pt x="2979543" y="1453589"/>
                  </a:cubicBezTo>
                  <a:cubicBezTo>
                    <a:pt x="2979543" y="1453589"/>
                    <a:pt x="2979543" y="1453589"/>
                    <a:pt x="2979543" y="1460862"/>
                  </a:cubicBezTo>
                  <a:cubicBezTo>
                    <a:pt x="2979543" y="1460862"/>
                    <a:pt x="2979543" y="1460862"/>
                    <a:pt x="2979543" y="1489954"/>
                  </a:cubicBezTo>
                  <a:cubicBezTo>
                    <a:pt x="2979543" y="1489954"/>
                    <a:pt x="2979543" y="1489954"/>
                    <a:pt x="2986772" y="1497227"/>
                  </a:cubicBezTo>
                  <a:cubicBezTo>
                    <a:pt x="2986772" y="1497227"/>
                    <a:pt x="2986772" y="1497227"/>
                    <a:pt x="3008458" y="1497227"/>
                  </a:cubicBezTo>
                  <a:cubicBezTo>
                    <a:pt x="3008458" y="1497227"/>
                    <a:pt x="3008458" y="1497227"/>
                    <a:pt x="3008458" y="1409951"/>
                  </a:cubicBezTo>
                  <a:cubicBezTo>
                    <a:pt x="3008458" y="1409951"/>
                    <a:pt x="3008458" y="1402678"/>
                    <a:pt x="3008458" y="1402678"/>
                  </a:cubicBezTo>
                  <a:cubicBezTo>
                    <a:pt x="3008458" y="1402678"/>
                    <a:pt x="3008458" y="1402678"/>
                    <a:pt x="3008458" y="1395405"/>
                  </a:cubicBezTo>
                  <a:cubicBezTo>
                    <a:pt x="3008458" y="1388133"/>
                    <a:pt x="3001229" y="1395405"/>
                    <a:pt x="3001229" y="1388133"/>
                  </a:cubicBezTo>
                  <a:cubicBezTo>
                    <a:pt x="3001229" y="1388133"/>
                    <a:pt x="3001229" y="1388133"/>
                    <a:pt x="3008458" y="1388133"/>
                  </a:cubicBezTo>
                  <a:cubicBezTo>
                    <a:pt x="3008458" y="1388133"/>
                    <a:pt x="3008458" y="1388133"/>
                    <a:pt x="3008458" y="1380860"/>
                  </a:cubicBezTo>
                  <a:cubicBezTo>
                    <a:pt x="3008458" y="1380860"/>
                    <a:pt x="3008458" y="1373587"/>
                    <a:pt x="3015687" y="1373587"/>
                  </a:cubicBezTo>
                  <a:cubicBezTo>
                    <a:pt x="3022916" y="1373587"/>
                    <a:pt x="3022916" y="1380860"/>
                    <a:pt x="3022916" y="1380860"/>
                  </a:cubicBezTo>
                  <a:cubicBezTo>
                    <a:pt x="3022916" y="1388133"/>
                    <a:pt x="3022916" y="1388133"/>
                    <a:pt x="3022916" y="1388133"/>
                  </a:cubicBezTo>
                  <a:cubicBezTo>
                    <a:pt x="3030145" y="1388133"/>
                    <a:pt x="3030145" y="1388133"/>
                    <a:pt x="3030145" y="1388133"/>
                  </a:cubicBezTo>
                  <a:cubicBezTo>
                    <a:pt x="3030145" y="1388133"/>
                    <a:pt x="3022916" y="1388133"/>
                    <a:pt x="3022916" y="1402678"/>
                  </a:cubicBezTo>
                  <a:cubicBezTo>
                    <a:pt x="3022916" y="1402678"/>
                    <a:pt x="3022916" y="1409951"/>
                    <a:pt x="3022916" y="1409951"/>
                  </a:cubicBezTo>
                  <a:cubicBezTo>
                    <a:pt x="3022916" y="1409951"/>
                    <a:pt x="3022916" y="1409951"/>
                    <a:pt x="3022916" y="1489954"/>
                  </a:cubicBezTo>
                  <a:cubicBezTo>
                    <a:pt x="3022916" y="1489954"/>
                    <a:pt x="3022916" y="1489954"/>
                    <a:pt x="3044602" y="1489954"/>
                  </a:cubicBezTo>
                  <a:cubicBezTo>
                    <a:pt x="3044602" y="1489954"/>
                    <a:pt x="3044602" y="1489954"/>
                    <a:pt x="3073517" y="1489954"/>
                  </a:cubicBezTo>
                  <a:cubicBezTo>
                    <a:pt x="3073517" y="1489954"/>
                    <a:pt x="3073517" y="1489954"/>
                    <a:pt x="3080746" y="1424497"/>
                  </a:cubicBezTo>
                  <a:cubicBezTo>
                    <a:pt x="3080746" y="1424497"/>
                    <a:pt x="3080746" y="1424497"/>
                    <a:pt x="3051831" y="1417224"/>
                  </a:cubicBezTo>
                  <a:cubicBezTo>
                    <a:pt x="3051831" y="1417224"/>
                    <a:pt x="3051831" y="1417224"/>
                    <a:pt x="3030145" y="1388133"/>
                  </a:cubicBezTo>
                  <a:cubicBezTo>
                    <a:pt x="3030145" y="1388133"/>
                    <a:pt x="3030145" y="1388133"/>
                    <a:pt x="3059060" y="1366314"/>
                  </a:cubicBezTo>
                  <a:cubicBezTo>
                    <a:pt x="3059060" y="1366314"/>
                    <a:pt x="3059060" y="1366314"/>
                    <a:pt x="3066289" y="1366314"/>
                  </a:cubicBezTo>
                  <a:cubicBezTo>
                    <a:pt x="3066289" y="1366314"/>
                    <a:pt x="3066289" y="1366314"/>
                    <a:pt x="3066289" y="1337222"/>
                  </a:cubicBezTo>
                  <a:cubicBezTo>
                    <a:pt x="3066289" y="1337222"/>
                    <a:pt x="3066289" y="1337222"/>
                    <a:pt x="3080746" y="1337222"/>
                  </a:cubicBezTo>
                  <a:cubicBezTo>
                    <a:pt x="3080746" y="1308130"/>
                    <a:pt x="3102432" y="1279039"/>
                    <a:pt x="3124119" y="1264493"/>
                  </a:cubicBezTo>
                  <a:cubicBezTo>
                    <a:pt x="3131348" y="1264493"/>
                    <a:pt x="3138578" y="1257220"/>
                    <a:pt x="3145805" y="1257220"/>
                  </a:cubicBezTo>
                  <a:cubicBezTo>
                    <a:pt x="3145805" y="1249947"/>
                    <a:pt x="3160264" y="1242674"/>
                    <a:pt x="3174721" y="1242674"/>
                  </a:cubicBezTo>
                  <a:cubicBezTo>
                    <a:pt x="3174721" y="1235401"/>
                    <a:pt x="3174721" y="1235401"/>
                    <a:pt x="3174721" y="1235401"/>
                  </a:cubicBezTo>
                  <a:cubicBezTo>
                    <a:pt x="3174721" y="1228128"/>
                    <a:pt x="3181951" y="1228128"/>
                    <a:pt x="3181951" y="1228128"/>
                  </a:cubicBezTo>
                  <a:cubicBezTo>
                    <a:pt x="3189179" y="1228128"/>
                    <a:pt x="3189179" y="1235401"/>
                    <a:pt x="3189179" y="1242674"/>
                  </a:cubicBezTo>
                  <a:cubicBezTo>
                    <a:pt x="3203637" y="1242674"/>
                    <a:pt x="3218094" y="1249947"/>
                    <a:pt x="3218094" y="1257220"/>
                  </a:cubicBezTo>
                  <a:cubicBezTo>
                    <a:pt x="3232552" y="1257220"/>
                    <a:pt x="3239781" y="1264493"/>
                    <a:pt x="3247010" y="1271766"/>
                  </a:cubicBezTo>
                  <a:cubicBezTo>
                    <a:pt x="3261467" y="1279039"/>
                    <a:pt x="3275926" y="1300857"/>
                    <a:pt x="3283155" y="1315403"/>
                  </a:cubicBezTo>
                  <a:cubicBezTo>
                    <a:pt x="3283155" y="1315403"/>
                    <a:pt x="3283155" y="1315403"/>
                    <a:pt x="3283155" y="1235401"/>
                  </a:cubicBezTo>
                  <a:cubicBezTo>
                    <a:pt x="3275926" y="1213582"/>
                    <a:pt x="3275926" y="1199036"/>
                    <a:pt x="3275926" y="1177218"/>
                  </a:cubicBezTo>
                  <a:cubicBezTo>
                    <a:pt x="3275926" y="1104488"/>
                    <a:pt x="3297613" y="1046305"/>
                    <a:pt x="3333757" y="995394"/>
                  </a:cubicBezTo>
                  <a:cubicBezTo>
                    <a:pt x="3362672" y="944484"/>
                    <a:pt x="3413274" y="900846"/>
                    <a:pt x="3463875" y="879028"/>
                  </a:cubicBezTo>
                  <a:cubicBezTo>
                    <a:pt x="3463875" y="871755"/>
                    <a:pt x="3463875" y="871755"/>
                    <a:pt x="3463875" y="871755"/>
                  </a:cubicBezTo>
                  <a:cubicBezTo>
                    <a:pt x="3463875" y="871755"/>
                    <a:pt x="3463875" y="871755"/>
                    <a:pt x="3471105" y="871755"/>
                  </a:cubicBezTo>
                  <a:cubicBezTo>
                    <a:pt x="3463875" y="871755"/>
                    <a:pt x="3463875" y="864482"/>
                    <a:pt x="3463875" y="857209"/>
                  </a:cubicBezTo>
                  <a:cubicBezTo>
                    <a:pt x="3463875" y="864482"/>
                    <a:pt x="3471105" y="864482"/>
                    <a:pt x="3471105" y="857209"/>
                  </a:cubicBezTo>
                  <a:cubicBezTo>
                    <a:pt x="3471105" y="857209"/>
                    <a:pt x="3471105" y="857209"/>
                    <a:pt x="3471105" y="849936"/>
                  </a:cubicBezTo>
                  <a:cubicBezTo>
                    <a:pt x="3471105" y="849936"/>
                    <a:pt x="3478333" y="849936"/>
                    <a:pt x="3485562" y="849936"/>
                  </a:cubicBezTo>
                  <a:cubicBezTo>
                    <a:pt x="3485562" y="849936"/>
                    <a:pt x="3478333" y="842663"/>
                    <a:pt x="3485562" y="842663"/>
                  </a:cubicBezTo>
                  <a:cubicBezTo>
                    <a:pt x="3485562" y="842663"/>
                    <a:pt x="3492792" y="842663"/>
                    <a:pt x="3500021" y="842663"/>
                  </a:cubicBezTo>
                  <a:cubicBezTo>
                    <a:pt x="3500021" y="842663"/>
                    <a:pt x="3500021" y="835390"/>
                    <a:pt x="3507249" y="835390"/>
                  </a:cubicBezTo>
                  <a:cubicBezTo>
                    <a:pt x="3521706" y="835390"/>
                    <a:pt x="3536164" y="820844"/>
                    <a:pt x="3543393" y="813571"/>
                  </a:cubicBezTo>
                  <a:cubicBezTo>
                    <a:pt x="3550622" y="806298"/>
                    <a:pt x="3565079" y="791752"/>
                    <a:pt x="3572308" y="784479"/>
                  </a:cubicBezTo>
                  <a:cubicBezTo>
                    <a:pt x="3572308" y="777207"/>
                    <a:pt x="3572308" y="777207"/>
                    <a:pt x="3579537" y="777207"/>
                  </a:cubicBezTo>
                  <a:cubicBezTo>
                    <a:pt x="3579537" y="769934"/>
                    <a:pt x="3586766" y="762661"/>
                    <a:pt x="3586766" y="762661"/>
                  </a:cubicBezTo>
                  <a:cubicBezTo>
                    <a:pt x="3586766" y="755388"/>
                    <a:pt x="3593996" y="748115"/>
                    <a:pt x="3601225" y="748115"/>
                  </a:cubicBezTo>
                  <a:cubicBezTo>
                    <a:pt x="3593996" y="748115"/>
                    <a:pt x="3586766" y="740842"/>
                    <a:pt x="3586766" y="733569"/>
                  </a:cubicBezTo>
                  <a:cubicBezTo>
                    <a:pt x="3586766" y="726296"/>
                    <a:pt x="3593996" y="719023"/>
                    <a:pt x="3601225" y="719023"/>
                  </a:cubicBezTo>
                  <a:cubicBezTo>
                    <a:pt x="3601225" y="711750"/>
                    <a:pt x="3601225" y="711750"/>
                    <a:pt x="3601225" y="711750"/>
                  </a:cubicBezTo>
                  <a:cubicBezTo>
                    <a:pt x="3593996" y="711750"/>
                    <a:pt x="3586766" y="704477"/>
                    <a:pt x="3586766" y="697204"/>
                  </a:cubicBezTo>
                  <a:cubicBezTo>
                    <a:pt x="3586766" y="682658"/>
                    <a:pt x="3601225" y="675386"/>
                    <a:pt x="3601225" y="668113"/>
                  </a:cubicBezTo>
                  <a:cubicBezTo>
                    <a:pt x="3601225" y="668113"/>
                    <a:pt x="3601225" y="668113"/>
                    <a:pt x="3601225" y="660840"/>
                  </a:cubicBezTo>
                  <a:cubicBezTo>
                    <a:pt x="3601225" y="660840"/>
                    <a:pt x="3601225" y="660840"/>
                    <a:pt x="3593996" y="653567"/>
                  </a:cubicBezTo>
                  <a:cubicBezTo>
                    <a:pt x="3593996" y="653567"/>
                    <a:pt x="3593996" y="653567"/>
                    <a:pt x="3601225" y="653567"/>
                  </a:cubicBezTo>
                  <a:cubicBezTo>
                    <a:pt x="3601225" y="653567"/>
                    <a:pt x="3601225" y="653567"/>
                    <a:pt x="3601225" y="646294"/>
                  </a:cubicBezTo>
                  <a:cubicBezTo>
                    <a:pt x="3593996" y="646294"/>
                    <a:pt x="3593996" y="639021"/>
                    <a:pt x="3593996" y="639021"/>
                  </a:cubicBezTo>
                  <a:cubicBezTo>
                    <a:pt x="3593996" y="631748"/>
                    <a:pt x="3593996" y="624475"/>
                    <a:pt x="3601225" y="624475"/>
                  </a:cubicBezTo>
                  <a:cubicBezTo>
                    <a:pt x="3601225" y="624475"/>
                    <a:pt x="3601225" y="617202"/>
                    <a:pt x="3601225" y="617202"/>
                  </a:cubicBezTo>
                  <a:cubicBezTo>
                    <a:pt x="3601225" y="617202"/>
                    <a:pt x="3601225" y="617202"/>
                    <a:pt x="3601225" y="609929"/>
                  </a:cubicBezTo>
                  <a:cubicBezTo>
                    <a:pt x="3601225" y="609929"/>
                    <a:pt x="3601225" y="602656"/>
                    <a:pt x="3601225" y="602656"/>
                  </a:cubicBezTo>
                  <a:cubicBezTo>
                    <a:pt x="3601225" y="602656"/>
                    <a:pt x="3601225" y="602656"/>
                    <a:pt x="3601225" y="595383"/>
                  </a:cubicBezTo>
                  <a:cubicBezTo>
                    <a:pt x="3601225" y="595383"/>
                    <a:pt x="3601225" y="588110"/>
                    <a:pt x="3601225" y="588110"/>
                  </a:cubicBezTo>
                  <a:cubicBezTo>
                    <a:pt x="3601225" y="580837"/>
                    <a:pt x="3601225" y="580837"/>
                    <a:pt x="3601225" y="580837"/>
                  </a:cubicBezTo>
                  <a:cubicBezTo>
                    <a:pt x="3601225" y="580837"/>
                    <a:pt x="3601225" y="579019"/>
                    <a:pt x="3601225" y="577201"/>
                  </a:cubicBezTo>
                  <a:lnTo>
                    <a:pt x="3601225" y="574474"/>
                  </a:lnTo>
                  <a:cubicBezTo>
                    <a:pt x="3601225" y="573565"/>
                    <a:pt x="3601225" y="573565"/>
                    <a:pt x="3601225" y="573565"/>
                  </a:cubicBezTo>
                  <a:cubicBezTo>
                    <a:pt x="3601225" y="573565"/>
                    <a:pt x="3608454" y="566292"/>
                    <a:pt x="3608454" y="566292"/>
                  </a:cubicBezTo>
                  <a:cubicBezTo>
                    <a:pt x="3608454" y="566292"/>
                    <a:pt x="3608454" y="573565"/>
                    <a:pt x="3608454" y="573565"/>
                  </a:cubicBezTo>
                  <a:cubicBezTo>
                    <a:pt x="3608454" y="573565"/>
                    <a:pt x="3608454" y="573565"/>
                    <a:pt x="3608454" y="574474"/>
                  </a:cubicBezTo>
                  <a:lnTo>
                    <a:pt x="3608454" y="577201"/>
                  </a:lnTo>
                  <a:cubicBezTo>
                    <a:pt x="3608454" y="579019"/>
                    <a:pt x="3608454" y="580837"/>
                    <a:pt x="3608454" y="580837"/>
                  </a:cubicBezTo>
                  <a:cubicBezTo>
                    <a:pt x="3608454" y="580837"/>
                    <a:pt x="3608454" y="588110"/>
                    <a:pt x="3608454" y="588110"/>
                  </a:cubicBezTo>
                  <a:cubicBezTo>
                    <a:pt x="3608454" y="588110"/>
                    <a:pt x="3608454" y="595383"/>
                    <a:pt x="3608454" y="595383"/>
                  </a:cubicBezTo>
                  <a:cubicBezTo>
                    <a:pt x="3608454" y="602656"/>
                    <a:pt x="3608454" y="602656"/>
                    <a:pt x="3608454" y="602656"/>
                  </a:cubicBezTo>
                  <a:cubicBezTo>
                    <a:pt x="3608454" y="602656"/>
                    <a:pt x="3608454" y="609929"/>
                    <a:pt x="3608454" y="609929"/>
                  </a:cubicBezTo>
                  <a:cubicBezTo>
                    <a:pt x="3608454" y="617202"/>
                    <a:pt x="3608454" y="617202"/>
                    <a:pt x="3608454" y="617202"/>
                  </a:cubicBezTo>
                  <a:cubicBezTo>
                    <a:pt x="3608454" y="617202"/>
                    <a:pt x="3608454" y="624475"/>
                    <a:pt x="3608454" y="624475"/>
                  </a:cubicBezTo>
                  <a:cubicBezTo>
                    <a:pt x="3615682" y="624475"/>
                    <a:pt x="3615682" y="631748"/>
                    <a:pt x="3615682" y="639021"/>
                  </a:cubicBezTo>
                  <a:cubicBezTo>
                    <a:pt x="3615682" y="639021"/>
                    <a:pt x="3615682" y="646294"/>
                    <a:pt x="3608454" y="646294"/>
                  </a:cubicBezTo>
                  <a:cubicBezTo>
                    <a:pt x="3608454" y="653567"/>
                    <a:pt x="3608454" y="653567"/>
                    <a:pt x="3608454" y="653567"/>
                  </a:cubicBezTo>
                  <a:cubicBezTo>
                    <a:pt x="3608454" y="660840"/>
                    <a:pt x="3608454" y="660840"/>
                    <a:pt x="3608454" y="660840"/>
                  </a:cubicBezTo>
                  <a:cubicBezTo>
                    <a:pt x="3608454" y="668113"/>
                    <a:pt x="3608454" y="668113"/>
                    <a:pt x="3608454" y="668113"/>
                  </a:cubicBezTo>
                  <a:cubicBezTo>
                    <a:pt x="3608454" y="675386"/>
                    <a:pt x="3622911" y="682658"/>
                    <a:pt x="3622911" y="697204"/>
                  </a:cubicBezTo>
                  <a:cubicBezTo>
                    <a:pt x="3622911" y="704477"/>
                    <a:pt x="3615682" y="711750"/>
                    <a:pt x="3608454" y="711750"/>
                  </a:cubicBezTo>
                  <a:cubicBezTo>
                    <a:pt x="3608454" y="711750"/>
                    <a:pt x="3608454" y="719023"/>
                    <a:pt x="3608454" y="719023"/>
                  </a:cubicBezTo>
                  <a:cubicBezTo>
                    <a:pt x="3615682" y="719023"/>
                    <a:pt x="3622911" y="726296"/>
                    <a:pt x="3622911" y="733569"/>
                  </a:cubicBezTo>
                  <a:cubicBezTo>
                    <a:pt x="3622911" y="740842"/>
                    <a:pt x="3615682" y="748115"/>
                    <a:pt x="3608454" y="748115"/>
                  </a:cubicBezTo>
                  <a:cubicBezTo>
                    <a:pt x="3615682" y="748115"/>
                    <a:pt x="3622911" y="755388"/>
                    <a:pt x="3622911" y="762661"/>
                  </a:cubicBezTo>
                  <a:cubicBezTo>
                    <a:pt x="3622911" y="762661"/>
                    <a:pt x="3630140" y="769934"/>
                    <a:pt x="3630140" y="777207"/>
                  </a:cubicBezTo>
                  <a:cubicBezTo>
                    <a:pt x="3630140" y="777207"/>
                    <a:pt x="3637369" y="777207"/>
                    <a:pt x="3637369" y="784479"/>
                  </a:cubicBezTo>
                  <a:cubicBezTo>
                    <a:pt x="3644598" y="784479"/>
                    <a:pt x="3666284" y="806298"/>
                    <a:pt x="3673513" y="813571"/>
                  </a:cubicBezTo>
                  <a:cubicBezTo>
                    <a:pt x="3680742" y="820844"/>
                    <a:pt x="3687971" y="842663"/>
                    <a:pt x="3709657" y="835390"/>
                  </a:cubicBezTo>
                  <a:cubicBezTo>
                    <a:pt x="3709657" y="835390"/>
                    <a:pt x="3716886" y="842663"/>
                    <a:pt x="3709657" y="842663"/>
                  </a:cubicBezTo>
                  <a:cubicBezTo>
                    <a:pt x="3716886" y="842663"/>
                    <a:pt x="3724115" y="842663"/>
                    <a:pt x="3731343" y="842663"/>
                  </a:cubicBezTo>
                  <a:cubicBezTo>
                    <a:pt x="3731343" y="842663"/>
                    <a:pt x="3731343" y="849936"/>
                    <a:pt x="3731343" y="849936"/>
                  </a:cubicBezTo>
                  <a:cubicBezTo>
                    <a:pt x="3731343" y="857209"/>
                    <a:pt x="3738572" y="857209"/>
                    <a:pt x="3745801" y="849936"/>
                  </a:cubicBezTo>
                  <a:cubicBezTo>
                    <a:pt x="3745801" y="857209"/>
                    <a:pt x="3738572" y="857209"/>
                    <a:pt x="3738572" y="864482"/>
                  </a:cubicBezTo>
                  <a:cubicBezTo>
                    <a:pt x="3745801" y="864482"/>
                    <a:pt x="3745801" y="864482"/>
                    <a:pt x="3753030" y="864482"/>
                  </a:cubicBezTo>
                  <a:cubicBezTo>
                    <a:pt x="3753030" y="864482"/>
                    <a:pt x="3745801" y="871755"/>
                    <a:pt x="3745801" y="871755"/>
                  </a:cubicBezTo>
                  <a:cubicBezTo>
                    <a:pt x="3745801" y="871755"/>
                    <a:pt x="3745801" y="871755"/>
                    <a:pt x="3753030" y="871755"/>
                  </a:cubicBezTo>
                  <a:cubicBezTo>
                    <a:pt x="3753030" y="871755"/>
                    <a:pt x="3745801" y="879028"/>
                    <a:pt x="3745801" y="879028"/>
                  </a:cubicBezTo>
                  <a:cubicBezTo>
                    <a:pt x="3861463" y="929938"/>
                    <a:pt x="3933751" y="1046305"/>
                    <a:pt x="3933751" y="1177218"/>
                  </a:cubicBezTo>
                  <a:cubicBezTo>
                    <a:pt x="3933751" y="1220855"/>
                    <a:pt x="3926522" y="1257220"/>
                    <a:pt x="3912066" y="1293584"/>
                  </a:cubicBezTo>
                  <a:cubicBezTo>
                    <a:pt x="3912066" y="1293584"/>
                    <a:pt x="3912066" y="1293584"/>
                    <a:pt x="3912066" y="1322676"/>
                  </a:cubicBezTo>
                  <a:cubicBezTo>
                    <a:pt x="3919293" y="1300857"/>
                    <a:pt x="3933751" y="1279039"/>
                    <a:pt x="3948210" y="1271766"/>
                  </a:cubicBezTo>
                  <a:cubicBezTo>
                    <a:pt x="3955439" y="1264493"/>
                    <a:pt x="3962668" y="1264493"/>
                    <a:pt x="3969895" y="1257220"/>
                  </a:cubicBezTo>
                  <a:cubicBezTo>
                    <a:pt x="3977125" y="1249947"/>
                    <a:pt x="3984354" y="1242674"/>
                    <a:pt x="3998812" y="1242674"/>
                  </a:cubicBezTo>
                  <a:cubicBezTo>
                    <a:pt x="3998812" y="1242674"/>
                    <a:pt x="3998812" y="1235401"/>
                    <a:pt x="4006040" y="1235401"/>
                  </a:cubicBezTo>
                  <a:lnTo>
                    <a:pt x="4008427" y="1235401"/>
                  </a:lnTo>
                  <a:lnTo>
                    <a:pt x="4006618" y="1231785"/>
                  </a:lnTo>
                  <a:cubicBezTo>
                    <a:pt x="4006618" y="1229329"/>
                    <a:pt x="4007614" y="1227338"/>
                    <a:pt x="4008843" y="1227338"/>
                  </a:cubicBezTo>
                  <a:cubicBezTo>
                    <a:pt x="4010071" y="1227338"/>
                    <a:pt x="4011066" y="1229329"/>
                    <a:pt x="4011066" y="1231785"/>
                  </a:cubicBezTo>
                  <a:lnTo>
                    <a:pt x="4009259" y="1235401"/>
                  </a:lnTo>
                  <a:lnTo>
                    <a:pt x="4013269" y="1235401"/>
                  </a:lnTo>
                  <a:cubicBezTo>
                    <a:pt x="4013269" y="1235401"/>
                    <a:pt x="4020498" y="1235401"/>
                    <a:pt x="4020498" y="1242674"/>
                  </a:cubicBezTo>
                  <a:cubicBezTo>
                    <a:pt x="4034956" y="1242674"/>
                    <a:pt x="4049413" y="1249947"/>
                    <a:pt x="4049413" y="1257220"/>
                  </a:cubicBezTo>
                  <a:cubicBezTo>
                    <a:pt x="4056642" y="1264493"/>
                    <a:pt x="4063871" y="1264493"/>
                    <a:pt x="4071100" y="1271766"/>
                  </a:cubicBezTo>
                  <a:cubicBezTo>
                    <a:pt x="4092787" y="1286312"/>
                    <a:pt x="4107244" y="1308130"/>
                    <a:pt x="4114474" y="1337222"/>
                  </a:cubicBezTo>
                  <a:cubicBezTo>
                    <a:pt x="4114474" y="1337222"/>
                    <a:pt x="4114474" y="1337222"/>
                    <a:pt x="4121703" y="1344495"/>
                  </a:cubicBezTo>
                  <a:cubicBezTo>
                    <a:pt x="4121703" y="1344495"/>
                    <a:pt x="4121703" y="1344495"/>
                    <a:pt x="4121703" y="1366314"/>
                  </a:cubicBezTo>
                  <a:cubicBezTo>
                    <a:pt x="4121703" y="1366314"/>
                    <a:pt x="4121703" y="1366314"/>
                    <a:pt x="4150617" y="1380860"/>
                  </a:cubicBezTo>
                  <a:cubicBezTo>
                    <a:pt x="4150617" y="1380860"/>
                    <a:pt x="4150617" y="1380860"/>
                    <a:pt x="4165075" y="1388133"/>
                  </a:cubicBezTo>
                  <a:cubicBezTo>
                    <a:pt x="4165075" y="1380860"/>
                    <a:pt x="4172304" y="1380860"/>
                    <a:pt x="4172304" y="1380860"/>
                  </a:cubicBezTo>
                  <a:cubicBezTo>
                    <a:pt x="4172304" y="1380860"/>
                    <a:pt x="4172304" y="1373587"/>
                    <a:pt x="4172304" y="1373587"/>
                  </a:cubicBezTo>
                  <a:cubicBezTo>
                    <a:pt x="4172304" y="1373587"/>
                    <a:pt x="4172304" y="1366314"/>
                    <a:pt x="4172304" y="1366314"/>
                  </a:cubicBezTo>
                  <a:cubicBezTo>
                    <a:pt x="4172304" y="1366314"/>
                    <a:pt x="4172304" y="1366314"/>
                    <a:pt x="4172304" y="1359041"/>
                  </a:cubicBezTo>
                  <a:cubicBezTo>
                    <a:pt x="4172304" y="1359041"/>
                    <a:pt x="4172304" y="1351768"/>
                    <a:pt x="4179534" y="1351768"/>
                  </a:cubicBezTo>
                  <a:cubicBezTo>
                    <a:pt x="4179534" y="1351768"/>
                    <a:pt x="4179534" y="1359041"/>
                    <a:pt x="4179534" y="1359041"/>
                  </a:cubicBezTo>
                  <a:cubicBezTo>
                    <a:pt x="4179534" y="1366314"/>
                    <a:pt x="4179534" y="1366314"/>
                    <a:pt x="4179534" y="1366314"/>
                  </a:cubicBezTo>
                  <a:cubicBezTo>
                    <a:pt x="4179534" y="1366314"/>
                    <a:pt x="4179534" y="1373587"/>
                    <a:pt x="4179534" y="1373587"/>
                  </a:cubicBezTo>
                  <a:cubicBezTo>
                    <a:pt x="4179534" y="1373587"/>
                    <a:pt x="4179534" y="1380860"/>
                    <a:pt x="4179534" y="1380860"/>
                  </a:cubicBezTo>
                  <a:cubicBezTo>
                    <a:pt x="4179534" y="1380860"/>
                    <a:pt x="4186761" y="1380860"/>
                    <a:pt x="4186761" y="1388133"/>
                  </a:cubicBezTo>
                  <a:cubicBezTo>
                    <a:pt x="4193990" y="1388133"/>
                    <a:pt x="4193990" y="1388133"/>
                    <a:pt x="4193990" y="1395405"/>
                  </a:cubicBezTo>
                  <a:cubicBezTo>
                    <a:pt x="4193990" y="1395405"/>
                    <a:pt x="4186761" y="1388133"/>
                    <a:pt x="4186761" y="1402678"/>
                  </a:cubicBezTo>
                  <a:cubicBezTo>
                    <a:pt x="4186761" y="1402678"/>
                    <a:pt x="4186761" y="1409951"/>
                    <a:pt x="4179534" y="1409951"/>
                  </a:cubicBezTo>
                  <a:cubicBezTo>
                    <a:pt x="4186761" y="1409951"/>
                    <a:pt x="4186761" y="1409951"/>
                    <a:pt x="4186761" y="1409951"/>
                  </a:cubicBezTo>
                  <a:cubicBezTo>
                    <a:pt x="4186761" y="1409951"/>
                    <a:pt x="4186761" y="1417224"/>
                    <a:pt x="4186761" y="1417224"/>
                  </a:cubicBezTo>
                  <a:cubicBezTo>
                    <a:pt x="4186761" y="1417224"/>
                    <a:pt x="4186761" y="1417224"/>
                    <a:pt x="4186761" y="1497227"/>
                  </a:cubicBezTo>
                  <a:cubicBezTo>
                    <a:pt x="4186761" y="1497227"/>
                    <a:pt x="4186761" y="1497227"/>
                    <a:pt x="4208448" y="1504499"/>
                  </a:cubicBezTo>
                  <a:cubicBezTo>
                    <a:pt x="4208448" y="1504499"/>
                    <a:pt x="4208448" y="1504499"/>
                    <a:pt x="4215677" y="1489954"/>
                  </a:cubicBezTo>
                  <a:cubicBezTo>
                    <a:pt x="4215677" y="1489954"/>
                    <a:pt x="4215677" y="1489954"/>
                    <a:pt x="4215677" y="1460862"/>
                  </a:cubicBezTo>
                  <a:cubicBezTo>
                    <a:pt x="4215677" y="1460862"/>
                    <a:pt x="4215677" y="1460862"/>
                    <a:pt x="4215677" y="1453589"/>
                  </a:cubicBezTo>
                  <a:cubicBezTo>
                    <a:pt x="4215677" y="1446316"/>
                    <a:pt x="4208448" y="1453589"/>
                    <a:pt x="4208448" y="1446316"/>
                  </a:cubicBezTo>
                  <a:cubicBezTo>
                    <a:pt x="4208448" y="1446316"/>
                    <a:pt x="4208448" y="1446316"/>
                    <a:pt x="4215677" y="1446316"/>
                  </a:cubicBezTo>
                  <a:cubicBezTo>
                    <a:pt x="4215677" y="1439043"/>
                    <a:pt x="4215677" y="1439043"/>
                    <a:pt x="4222905" y="1439043"/>
                  </a:cubicBezTo>
                  <a:cubicBezTo>
                    <a:pt x="4222905" y="1439043"/>
                    <a:pt x="4230134" y="1439043"/>
                    <a:pt x="4230134" y="1446316"/>
                  </a:cubicBezTo>
                  <a:cubicBezTo>
                    <a:pt x="4230134" y="1446316"/>
                    <a:pt x="4237363" y="1446316"/>
                    <a:pt x="4237363" y="1446316"/>
                  </a:cubicBezTo>
                  <a:cubicBezTo>
                    <a:pt x="4237363" y="1453589"/>
                    <a:pt x="4230134" y="1446316"/>
                    <a:pt x="4230134" y="1453589"/>
                  </a:cubicBezTo>
                  <a:cubicBezTo>
                    <a:pt x="4230134" y="1460862"/>
                    <a:pt x="4230134" y="1460862"/>
                    <a:pt x="4222905" y="1460862"/>
                  </a:cubicBezTo>
                  <a:cubicBezTo>
                    <a:pt x="4230134" y="1460862"/>
                    <a:pt x="4230134" y="1460862"/>
                    <a:pt x="4230134" y="1460862"/>
                  </a:cubicBezTo>
                  <a:cubicBezTo>
                    <a:pt x="4230134" y="1460862"/>
                    <a:pt x="4230134" y="1460862"/>
                    <a:pt x="4230134" y="1475408"/>
                  </a:cubicBezTo>
                  <a:cubicBezTo>
                    <a:pt x="4230134" y="1475408"/>
                    <a:pt x="4230134" y="1475408"/>
                    <a:pt x="4251821" y="1446316"/>
                  </a:cubicBezTo>
                  <a:cubicBezTo>
                    <a:pt x="4251821" y="1446316"/>
                    <a:pt x="4251821" y="1446316"/>
                    <a:pt x="4259050" y="1446316"/>
                  </a:cubicBezTo>
                  <a:cubicBezTo>
                    <a:pt x="4259050" y="1446316"/>
                    <a:pt x="4259050" y="1446316"/>
                    <a:pt x="4287965" y="1446316"/>
                  </a:cubicBezTo>
                  <a:cubicBezTo>
                    <a:pt x="4287965" y="1446316"/>
                    <a:pt x="4287965" y="1446316"/>
                    <a:pt x="4287965" y="1373587"/>
                  </a:cubicBezTo>
                  <a:cubicBezTo>
                    <a:pt x="4287965" y="1373587"/>
                    <a:pt x="4287965" y="1373587"/>
                    <a:pt x="4287965" y="1366314"/>
                  </a:cubicBezTo>
                  <a:cubicBezTo>
                    <a:pt x="4287965" y="1366314"/>
                    <a:pt x="4287965" y="1366314"/>
                    <a:pt x="4287965" y="1359041"/>
                  </a:cubicBezTo>
                  <a:cubicBezTo>
                    <a:pt x="4287965" y="1344495"/>
                    <a:pt x="4280736" y="1351768"/>
                    <a:pt x="4280736" y="1351768"/>
                  </a:cubicBezTo>
                  <a:cubicBezTo>
                    <a:pt x="4280736" y="1351768"/>
                    <a:pt x="4280736" y="1344495"/>
                    <a:pt x="4287965" y="1344495"/>
                  </a:cubicBezTo>
                  <a:cubicBezTo>
                    <a:pt x="4287965" y="1337222"/>
                    <a:pt x="4287965" y="1337222"/>
                    <a:pt x="4295194" y="1337222"/>
                  </a:cubicBezTo>
                  <a:cubicBezTo>
                    <a:pt x="4302423" y="1337222"/>
                    <a:pt x="4309652" y="1337222"/>
                    <a:pt x="4309652" y="1344495"/>
                  </a:cubicBezTo>
                  <a:cubicBezTo>
                    <a:pt x="4309652" y="1344495"/>
                    <a:pt x="4316881" y="1351768"/>
                    <a:pt x="4316881" y="1351768"/>
                  </a:cubicBezTo>
                  <a:cubicBezTo>
                    <a:pt x="4316881" y="1351768"/>
                    <a:pt x="4309652" y="1344495"/>
                    <a:pt x="4302423" y="1359041"/>
                  </a:cubicBezTo>
                  <a:cubicBezTo>
                    <a:pt x="4302423" y="1359041"/>
                    <a:pt x="4302423" y="1366314"/>
                    <a:pt x="4302423" y="1366314"/>
                  </a:cubicBezTo>
                  <a:cubicBezTo>
                    <a:pt x="4302423" y="1373587"/>
                    <a:pt x="4302423" y="1373587"/>
                    <a:pt x="4302423" y="1373587"/>
                  </a:cubicBezTo>
                  <a:cubicBezTo>
                    <a:pt x="4302423" y="1373587"/>
                    <a:pt x="4302423" y="1373587"/>
                    <a:pt x="4302423" y="1526318"/>
                  </a:cubicBezTo>
                  <a:cubicBezTo>
                    <a:pt x="4302423" y="1526318"/>
                    <a:pt x="4302423" y="1526318"/>
                    <a:pt x="4331338" y="1526318"/>
                  </a:cubicBezTo>
                  <a:cubicBezTo>
                    <a:pt x="4331338" y="1526318"/>
                    <a:pt x="4331338" y="1526318"/>
                    <a:pt x="4331338" y="1446316"/>
                  </a:cubicBezTo>
                  <a:cubicBezTo>
                    <a:pt x="4324109" y="1439043"/>
                    <a:pt x="4324109" y="1439043"/>
                    <a:pt x="4324109" y="1439043"/>
                  </a:cubicBezTo>
                  <a:cubicBezTo>
                    <a:pt x="4324109" y="1424497"/>
                    <a:pt x="4316881" y="1431770"/>
                    <a:pt x="4316881" y="1424497"/>
                  </a:cubicBezTo>
                  <a:cubicBezTo>
                    <a:pt x="4316881" y="1424497"/>
                    <a:pt x="4324109" y="1424497"/>
                    <a:pt x="4324109" y="1424497"/>
                  </a:cubicBezTo>
                  <a:cubicBezTo>
                    <a:pt x="4324109" y="1417224"/>
                    <a:pt x="4331338" y="1409951"/>
                    <a:pt x="4331338" y="1409951"/>
                  </a:cubicBezTo>
                  <a:cubicBezTo>
                    <a:pt x="4331338" y="1409951"/>
                    <a:pt x="4331338" y="1409951"/>
                    <a:pt x="4338567" y="1409951"/>
                  </a:cubicBezTo>
                  <a:cubicBezTo>
                    <a:pt x="4345796" y="1409951"/>
                    <a:pt x="4345796" y="1417224"/>
                    <a:pt x="4345796" y="1424497"/>
                  </a:cubicBezTo>
                  <a:cubicBezTo>
                    <a:pt x="4353025" y="1424497"/>
                    <a:pt x="4353025" y="1424497"/>
                    <a:pt x="4353025" y="1424497"/>
                  </a:cubicBezTo>
                  <a:cubicBezTo>
                    <a:pt x="4353025" y="1431770"/>
                    <a:pt x="4345796" y="1424497"/>
                    <a:pt x="4345796" y="1439043"/>
                  </a:cubicBezTo>
                  <a:cubicBezTo>
                    <a:pt x="4345796" y="1439043"/>
                    <a:pt x="4345796" y="1439043"/>
                    <a:pt x="4345796" y="1446316"/>
                  </a:cubicBezTo>
                  <a:cubicBezTo>
                    <a:pt x="4345796" y="1446316"/>
                    <a:pt x="4345796" y="1446316"/>
                    <a:pt x="4345796" y="1533591"/>
                  </a:cubicBezTo>
                  <a:cubicBezTo>
                    <a:pt x="4345796" y="1533591"/>
                    <a:pt x="4345796" y="1533591"/>
                    <a:pt x="4338567" y="2086334"/>
                  </a:cubicBezTo>
                  <a:cubicBezTo>
                    <a:pt x="4338567" y="2086334"/>
                    <a:pt x="4338567" y="2086334"/>
                    <a:pt x="4367483" y="2086334"/>
                  </a:cubicBezTo>
                  <a:cubicBezTo>
                    <a:pt x="4367483" y="2086334"/>
                    <a:pt x="4367483" y="2086334"/>
                    <a:pt x="4374712" y="2086334"/>
                  </a:cubicBezTo>
                  <a:cubicBezTo>
                    <a:pt x="4374712" y="2086334"/>
                    <a:pt x="4374712" y="2086334"/>
                    <a:pt x="4403627" y="2086334"/>
                  </a:cubicBezTo>
                  <a:cubicBezTo>
                    <a:pt x="4403627" y="2086334"/>
                    <a:pt x="4403627" y="2086334"/>
                    <a:pt x="4418085" y="2086334"/>
                  </a:cubicBezTo>
                  <a:cubicBezTo>
                    <a:pt x="4418085" y="2086334"/>
                    <a:pt x="4418085" y="2086334"/>
                    <a:pt x="4418085" y="1984513"/>
                  </a:cubicBezTo>
                  <a:cubicBezTo>
                    <a:pt x="4418085" y="1984513"/>
                    <a:pt x="4418085" y="1984513"/>
                    <a:pt x="4396398" y="1969967"/>
                  </a:cubicBezTo>
                  <a:cubicBezTo>
                    <a:pt x="4396398" y="1969967"/>
                    <a:pt x="4396398" y="1969967"/>
                    <a:pt x="4396398" y="1955421"/>
                  </a:cubicBezTo>
                  <a:cubicBezTo>
                    <a:pt x="4403627" y="1948148"/>
                    <a:pt x="4410856" y="1948148"/>
                    <a:pt x="4418085" y="1940875"/>
                  </a:cubicBezTo>
                  <a:cubicBezTo>
                    <a:pt x="4418085" y="1940875"/>
                    <a:pt x="4418085" y="1940875"/>
                    <a:pt x="4425314" y="1780871"/>
                  </a:cubicBezTo>
                  <a:cubicBezTo>
                    <a:pt x="4425314" y="1780871"/>
                    <a:pt x="4425314" y="1780871"/>
                    <a:pt x="4418085" y="1780871"/>
                  </a:cubicBezTo>
                  <a:cubicBezTo>
                    <a:pt x="4418085" y="1780871"/>
                    <a:pt x="4418085" y="1780871"/>
                    <a:pt x="4410856" y="1766325"/>
                  </a:cubicBezTo>
                  <a:cubicBezTo>
                    <a:pt x="4410856" y="1766325"/>
                    <a:pt x="4410856" y="1766325"/>
                    <a:pt x="4410856" y="1759052"/>
                  </a:cubicBezTo>
                  <a:cubicBezTo>
                    <a:pt x="4410856" y="1751779"/>
                    <a:pt x="4410856" y="1751779"/>
                    <a:pt x="4410856" y="1751779"/>
                  </a:cubicBezTo>
                  <a:cubicBezTo>
                    <a:pt x="4410856" y="1751779"/>
                    <a:pt x="4418085" y="1744506"/>
                    <a:pt x="4425314" y="1744506"/>
                  </a:cubicBezTo>
                  <a:cubicBezTo>
                    <a:pt x="4425314" y="1744506"/>
                    <a:pt x="4425314" y="1744506"/>
                    <a:pt x="4425314" y="1729960"/>
                  </a:cubicBezTo>
                  <a:cubicBezTo>
                    <a:pt x="4425314" y="1729960"/>
                    <a:pt x="4425314" y="1729960"/>
                    <a:pt x="4425314" y="1613593"/>
                  </a:cubicBezTo>
                  <a:cubicBezTo>
                    <a:pt x="4425314" y="1613593"/>
                    <a:pt x="4425314" y="1613593"/>
                    <a:pt x="4432542" y="1562683"/>
                  </a:cubicBezTo>
                  <a:cubicBezTo>
                    <a:pt x="4432542" y="1562683"/>
                    <a:pt x="4432542" y="1562683"/>
                    <a:pt x="4410856" y="1548137"/>
                  </a:cubicBezTo>
                  <a:cubicBezTo>
                    <a:pt x="4410856" y="1548137"/>
                    <a:pt x="4410856" y="1548137"/>
                    <a:pt x="4410856" y="1533591"/>
                  </a:cubicBezTo>
                  <a:cubicBezTo>
                    <a:pt x="4410856" y="1526318"/>
                    <a:pt x="4418085" y="1526318"/>
                    <a:pt x="4432542" y="1519045"/>
                  </a:cubicBezTo>
                  <a:cubicBezTo>
                    <a:pt x="4432542" y="1519045"/>
                    <a:pt x="4432542" y="1519045"/>
                    <a:pt x="4432542" y="1475408"/>
                  </a:cubicBezTo>
                  <a:cubicBezTo>
                    <a:pt x="4432542" y="1475408"/>
                    <a:pt x="4432542" y="1475408"/>
                    <a:pt x="4425314" y="1475408"/>
                  </a:cubicBezTo>
                  <a:cubicBezTo>
                    <a:pt x="4425314" y="1475408"/>
                    <a:pt x="4425314" y="1475408"/>
                    <a:pt x="4410856" y="1460862"/>
                  </a:cubicBezTo>
                  <a:cubicBezTo>
                    <a:pt x="4410856" y="1460862"/>
                    <a:pt x="4410856" y="1460862"/>
                    <a:pt x="4432542" y="1453589"/>
                  </a:cubicBezTo>
                  <a:cubicBezTo>
                    <a:pt x="4432542" y="1453589"/>
                    <a:pt x="4432542" y="1453589"/>
                    <a:pt x="4432542" y="1446316"/>
                  </a:cubicBezTo>
                  <a:cubicBezTo>
                    <a:pt x="4432542" y="1446316"/>
                    <a:pt x="4432542" y="1446316"/>
                    <a:pt x="4432542" y="1439043"/>
                  </a:cubicBezTo>
                  <a:cubicBezTo>
                    <a:pt x="4432542" y="1431770"/>
                    <a:pt x="4447000" y="1417224"/>
                    <a:pt x="4454229" y="1409951"/>
                  </a:cubicBezTo>
                  <a:cubicBezTo>
                    <a:pt x="4454229" y="1409951"/>
                    <a:pt x="4461458" y="1409951"/>
                    <a:pt x="4468687" y="1402678"/>
                  </a:cubicBezTo>
                  <a:cubicBezTo>
                    <a:pt x="4468687" y="1402678"/>
                    <a:pt x="4475916" y="1402678"/>
                    <a:pt x="4475916" y="1402678"/>
                  </a:cubicBezTo>
                  <a:cubicBezTo>
                    <a:pt x="4475916" y="1409951"/>
                    <a:pt x="4483144" y="1409951"/>
                    <a:pt x="4483144" y="1409951"/>
                  </a:cubicBezTo>
                  <a:cubicBezTo>
                    <a:pt x="4483144" y="1417224"/>
                    <a:pt x="4490373" y="1417224"/>
                    <a:pt x="4490373" y="1417224"/>
                  </a:cubicBezTo>
                  <a:cubicBezTo>
                    <a:pt x="4497602" y="1424497"/>
                    <a:pt x="4497602" y="1424497"/>
                    <a:pt x="4504831" y="1431770"/>
                  </a:cubicBezTo>
                  <a:cubicBezTo>
                    <a:pt x="4504831" y="1439043"/>
                    <a:pt x="4504831" y="1439043"/>
                    <a:pt x="4504831" y="1439043"/>
                  </a:cubicBezTo>
                  <a:cubicBezTo>
                    <a:pt x="4504831" y="1439043"/>
                    <a:pt x="4504831" y="1439043"/>
                    <a:pt x="4504831" y="1446316"/>
                  </a:cubicBezTo>
                  <a:cubicBezTo>
                    <a:pt x="4504831" y="1446316"/>
                    <a:pt x="4504831" y="1446316"/>
                    <a:pt x="4504831" y="1453589"/>
                  </a:cubicBezTo>
                  <a:cubicBezTo>
                    <a:pt x="4504831" y="1453589"/>
                    <a:pt x="4504831" y="1453589"/>
                    <a:pt x="4526518" y="1460862"/>
                  </a:cubicBezTo>
                  <a:cubicBezTo>
                    <a:pt x="4526518" y="1460862"/>
                    <a:pt x="4526518" y="1460862"/>
                    <a:pt x="4512060" y="1475408"/>
                  </a:cubicBezTo>
                  <a:cubicBezTo>
                    <a:pt x="4512060" y="1475408"/>
                    <a:pt x="4512060" y="1475408"/>
                    <a:pt x="4504831" y="1475408"/>
                  </a:cubicBezTo>
                  <a:cubicBezTo>
                    <a:pt x="4504831" y="1475408"/>
                    <a:pt x="4504831" y="1475408"/>
                    <a:pt x="4504831" y="1519045"/>
                  </a:cubicBezTo>
                  <a:cubicBezTo>
                    <a:pt x="4519289" y="1526318"/>
                    <a:pt x="4526518" y="1526318"/>
                    <a:pt x="4526518" y="1533591"/>
                  </a:cubicBezTo>
                  <a:cubicBezTo>
                    <a:pt x="4526518" y="1533591"/>
                    <a:pt x="4526518" y="1533591"/>
                    <a:pt x="4526518" y="1548137"/>
                  </a:cubicBezTo>
                  <a:cubicBezTo>
                    <a:pt x="4526518" y="1548137"/>
                    <a:pt x="4526518" y="1548137"/>
                    <a:pt x="4504831" y="1562683"/>
                  </a:cubicBezTo>
                  <a:cubicBezTo>
                    <a:pt x="4504831" y="1562683"/>
                    <a:pt x="4504831" y="1562683"/>
                    <a:pt x="4512060" y="1744506"/>
                  </a:cubicBezTo>
                  <a:cubicBezTo>
                    <a:pt x="4519289" y="1744506"/>
                    <a:pt x="4526518" y="1751779"/>
                    <a:pt x="4526518" y="1759052"/>
                  </a:cubicBezTo>
                  <a:cubicBezTo>
                    <a:pt x="4526518" y="1759052"/>
                    <a:pt x="4526518" y="1759052"/>
                    <a:pt x="4526518" y="1773598"/>
                  </a:cubicBezTo>
                  <a:cubicBezTo>
                    <a:pt x="4526518" y="1773598"/>
                    <a:pt x="4526518" y="1773598"/>
                    <a:pt x="4512060" y="1780871"/>
                  </a:cubicBezTo>
                  <a:cubicBezTo>
                    <a:pt x="4512060" y="1780871"/>
                    <a:pt x="4512060" y="1780871"/>
                    <a:pt x="4512060" y="1940875"/>
                  </a:cubicBezTo>
                  <a:cubicBezTo>
                    <a:pt x="4526518" y="1948148"/>
                    <a:pt x="4533746" y="1948148"/>
                    <a:pt x="4533746" y="1955421"/>
                  </a:cubicBezTo>
                  <a:cubicBezTo>
                    <a:pt x="4533746" y="1955421"/>
                    <a:pt x="4533746" y="1955421"/>
                    <a:pt x="4533746" y="1969967"/>
                  </a:cubicBezTo>
                  <a:cubicBezTo>
                    <a:pt x="4533746" y="1969967"/>
                    <a:pt x="4533746" y="1969967"/>
                    <a:pt x="4519289" y="1984513"/>
                  </a:cubicBezTo>
                  <a:cubicBezTo>
                    <a:pt x="4519289" y="1984513"/>
                    <a:pt x="4519289" y="1984513"/>
                    <a:pt x="4519289" y="2086334"/>
                  </a:cubicBezTo>
                  <a:cubicBezTo>
                    <a:pt x="4519289" y="2086334"/>
                    <a:pt x="4519289" y="2086334"/>
                    <a:pt x="4830130" y="2093607"/>
                  </a:cubicBezTo>
                  <a:cubicBezTo>
                    <a:pt x="4830130" y="2093607"/>
                    <a:pt x="4830130" y="2093607"/>
                    <a:pt x="4837358" y="2093607"/>
                  </a:cubicBezTo>
                  <a:cubicBezTo>
                    <a:pt x="4837358" y="2093607"/>
                    <a:pt x="4837358" y="2093607"/>
                    <a:pt x="4859045" y="2093607"/>
                  </a:cubicBezTo>
                  <a:cubicBezTo>
                    <a:pt x="4859045" y="2093607"/>
                    <a:pt x="4859045" y="2093607"/>
                    <a:pt x="4895189" y="2093607"/>
                  </a:cubicBezTo>
                  <a:cubicBezTo>
                    <a:pt x="4895189" y="2093607"/>
                    <a:pt x="4895189" y="2093607"/>
                    <a:pt x="4916876" y="2093607"/>
                  </a:cubicBezTo>
                  <a:cubicBezTo>
                    <a:pt x="4916876" y="2093607"/>
                    <a:pt x="4916876" y="2093607"/>
                    <a:pt x="4924105" y="2093607"/>
                  </a:cubicBezTo>
                  <a:cubicBezTo>
                    <a:pt x="4924105" y="2093607"/>
                    <a:pt x="4924105" y="2093607"/>
                    <a:pt x="4931334" y="2093607"/>
                  </a:cubicBezTo>
                  <a:cubicBezTo>
                    <a:pt x="4931334" y="2093607"/>
                    <a:pt x="4931334" y="2093607"/>
                    <a:pt x="4931334" y="2064515"/>
                  </a:cubicBezTo>
                  <a:cubicBezTo>
                    <a:pt x="4931334" y="2064515"/>
                    <a:pt x="4931334" y="2064515"/>
                    <a:pt x="4931334" y="1984513"/>
                  </a:cubicBezTo>
                  <a:cubicBezTo>
                    <a:pt x="4931334" y="1984513"/>
                    <a:pt x="4931334" y="1984513"/>
                    <a:pt x="4938563" y="1809962"/>
                  </a:cubicBezTo>
                  <a:cubicBezTo>
                    <a:pt x="4938563" y="1809962"/>
                    <a:pt x="4938563" y="1809962"/>
                    <a:pt x="4909647" y="1788144"/>
                  </a:cubicBezTo>
                  <a:cubicBezTo>
                    <a:pt x="4909647" y="1788144"/>
                    <a:pt x="4909647" y="1788144"/>
                    <a:pt x="4909647" y="1766325"/>
                  </a:cubicBezTo>
                  <a:cubicBezTo>
                    <a:pt x="4909647" y="1759052"/>
                    <a:pt x="4924105" y="1751779"/>
                    <a:pt x="4938563" y="1744506"/>
                  </a:cubicBezTo>
                  <a:cubicBezTo>
                    <a:pt x="4938563" y="1744506"/>
                    <a:pt x="4938563" y="1744506"/>
                    <a:pt x="4945791" y="1489954"/>
                  </a:cubicBezTo>
                  <a:cubicBezTo>
                    <a:pt x="4945791" y="1489954"/>
                    <a:pt x="4945791" y="1489954"/>
                    <a:pt x="4938563" y="1482681"/>
                  </a:cubicBezTo>
                  <a:cubicBezTo>
                    <a:pt x="4938563" y="1482681"/>
                    <a:pt x="4938563" y="1482681"/>
                    <a:pt x="4916876" y="1468135"/>
                  </a:cubicBezTo>
                  <a:cubicBezTo>
                    <a:pt x="4916876" y="1468135"/>
                    <a:pt x="4916876" y="1468135"/>
                    <a:pt x="4916876" y="1446316"/>
                  </a:cubicBezTo>
                  <a:cubicBezTo>
                    <a:pt x="4916876" y="1446316"/>
                    <a:pt x="4916876" y="1446316"/>
                    <a:pt x="4924105" y="1446316"/>
                  </a:cubicBezTo>
                  <a:cubicBezTo>
                    <a:pt x="4924105" y="1439043"/>
                    <a:pt x="4924105" y="1439043"/>
                    <a:pt x="4924105" y="1439043"/>
                  </a:cubicBezTo>
                  <a:cubicBezTo>
                    <a:pt x="4924105" y="1431770"/>
                    <a:pt x="4938563" y="1424497"/>
                    <a:pt x="4945791" y="1424497"/>
                  </a:cubicBezTo>
                  <a:cubicBezTo>
                    <a:pt x="4945791" y="1424497"/>
                    <a:pt x="4945791" y="1424497"/>
                    <a:pt x="4945791" y="1395405"/>
                  </a:cubicBezTo>
                  <a:cubicBezTo>
                    <a:pt x="4945791" y="1395405"/>
                    <a:pt x="4945791" y="1395405"/>
                    <a:pt x="4953020" y="1213582"/>
                  </a:cubicBezTo>
                  <a:cubicBezTo>
                    <a:pt x="4953020" y="1213582"/>
                    <a:pt x="4953020" y="1213582"/>
                    <a:pt x="4953020" y="1140853"/>
                  </a:cubicBezTo>
                  <a:cubicBezTo>
                    <a:pt x="4953020" y="1140853"/>
                    <a:pt x="4953020" y="1140853"/>
                    <a:pt x="4953020" y="1126307"/>
                  </a:cubicBezTo>
                  <a:cubicBezTo>
                    <a:pt x="4953020" y="1126307"/>
                    <a:pt x="4953020" y="1126307"/>
                    <a:pt x="4924105" y="1104488"/>
                  </a:cubicBezTo>
                  <a:cubicBezTo>
                    <a:pt x="4924105" y="1104488"/>
                    <a:pt x="4924105" y="1104488"/>
                    <a:pt x="4924105" y="1082670"/>
                  </a:cubicBezTo>
                  <a:cubicBezTo>
                    <a:pt x="4931334" y="1075397"/>
                    <a:pt x="4938563" y="1068124"/>
                    <a:pt x="4960249" y="1060851"/>
                  </a:cubicBezTo>
                  <a:cubicBezTo>
                    <a:pt x="4960249" y="1060851"/>
                    <a:pt x="4960249" y="1060851"/>
                    <a:pt x="4960249" y="988121"/>
                  </a:cubicBezTo>
                  <a:cubicBezTo>
                    <a:pt x="4960249" y="988121"/>
                    <a:pt x="4960249" y="988121"/>
                    <a:pt x="4945791" y="988121"/>
                  </a:cubicBezTo>
                  <a:cubicBezTo>
                    <a:pt x="4945791" y="988121"/>
                    <a:pt x="4945791" y="988121"/>
                    <a:pt x="4924105" y="966303"/>
                  </a:cubicBezTo>
                  <a:cubicBezTo>
                    <a:pt x="4924105" y="966303"/>
                    <a:pt x="4924105" y="966303"/>
                    <a:pt x="4953020" y="951757"/>
                  </a:cubicBezTo>
                  <a:cubicBezTo>
                    <a:pt x="4953020" y="951757"/>
                    <a:pt x="4953020" y="951757"/>
                    <a:pt x="4953020" y="937211"/>
                  </a:cubicBezTo>
                  <a:cubicBezTo>
                    <a:pt x="4953020" y="937211"/>
                    <a:pt x="4953020" y="937211"/>
                    <a:pt x="4960249" y="929938"/>
                  </a:cubicBezTo>
                  <a:cubicBezTo>
                    <a:pt x="4960249" y="915392"/>
                    <a:pt x="4974707" y="900846"/>
                    <a:pt x="4989165" y="886300"/>
                  </a:cubicBezTo>
                  <a:cubicBezTo>
                    <a:pt x="4989165" y="886300"/>
                    <a:pt x="4996393" y="886300"/>
                    <a:pt x="4996393" y="886300"/>
                  </a:cubicBezTo>
                  <a:cubicBezTo>
                    <a:pt x="4996393" y="879028"/>
                    <a:pt x="5003622" y="879028"/>
                    <a:pt x="5010851" y="871755"/>
                  </a:cubicBezTo>
                  <a:cubicBezTo>
                    <a:pt x="5010851" y="871755"/>
                    <a:pt x="5018080" y="871755"/>
                    <a:pt x="5018080" y="871755"/>
                  </a:cubicBezTo>
                  <a:cubicBezTo>
                    <a:pt x="5025309" y="871755"/>
                    <a:pt x="5025309" y="871755"/>
                    <a:pt x="5025309" y="871755"/>
                  </a:cubicBezTo>
                  <a:cubicBezTo>
                    <a:pt x="5032538" y="879028"/>
                    <a:pt x="5039767" y="879028"/>
                    <a:pt x="5039767" y="886300"/>
                  </a:cubicBezTo>
                  <a:cubicBezTo>
                    <a:pt x="5046995" y="886300"/>
                    <a:pt x="5054224" y="893573"/>
                    <a:pt x="5054224" y="893573"/>
                  </a:cubicBezTo>
                  <a:cubicBezTo>
                    <a:pt x="5061453" y="900846"/>
                    <a:pt x="5068682" y="908119"/>
                    <a:pt x="5075911" y="922665"/>
                  </a:cubicBezTo>
                  <a:cubicBezTo>
                    <a:pt x="5075911" y="922665"/>
                    <a:pt x="5075911" y="929938"/>
                    <a:pt x="5075911" y="937211"/>
                  </a:cubicBezTo>
                  <a:cubicBezTo>
                    <a:pt x="5075911" y="937211"/>
                    <a:pt x="5075911" y="937211"/>
                    <a:pt x="5083140" y="937211"/>
                  </a:cubicBezTo>
                  <a:cubicBezTo>
                    <a:pt x="5083140" y="937211"/>
                    <a:pt x="5083140" y="937211"/>
                    <a:pt x="5083140" y="951757"/>
                  </a:cubicBezTo>
                  <a:cubicBezTo>
                    <a:pt x="5083140" y="951757"/>
                    <a:pt x="5083140" y="951757"/>
                    <a:pt x="5112055" y="966303"/>
                  </a:cubicBezTo>
                  <a:cubicBezTo>
                    <a:pt x="5112055" y="966303"/>
                    <a:pt x="5112055" y="966303"/>
                    <a:pt x="5090369" y="988121"/>
                  </a:cubicBezTo>
                  <a:cubicBezTo>
                    <a:pt x="5090369" y="988121"/>
                    <a:pt x="5090369" y="988121"/>
                    <a:pt x="5075911" y="988121"/>
                  </a:cubicBezTo>
                  <a:cubicBezTo>
                    <a:pt x="5075911" y="988121"/>
                    <a:pt x="5075911" y="988121"/>
                    <a:pt x="5075911" y="1060851"/>
                  </a:cubicBezTo>
                  <a:cubicBezTo>
                    <a:pt x="5097597" y="1068124"/>
                    <a:pt x="5112055" y="1075397"/>
                    <a:pt x="5112055" y="1082670"/>
                  </a:cubicBezTo>
                  <a:cubicBezTo>
                    <a:pt x="5112055" y="1082670"/>
                    <a:pt x="5112055" y="1082670"/>
                    <a:pt x="5112055" y="1104488"/>
                  </a:cubicBezTo>
                  <a:cubicBezTo>
                    <a:pt x="5112055" y="1104488"/>
                    <a:pt x="5112055" y="1104488"/>
                    <a:pt x="5083140" y="1126307"/>
                  </a:cubicBezTo>
                  <a:cubicBezTo>
                    <a:pt x="5083140" y="1126307"/>
                    <a:pt x="5083140" y="1126307"/>
                    <a:pt x="5090369" y="1424497"/>
                  </a:cubicBezTo>
                  <a:cubicBezTo>
                    <a:pt x="5104826" y="1431770"/>
                    <a:pt x="5112055" y="1439043"/>
                    <a:pt x="5112055" y="1446316"/>
                  </a:cubicBezTo>
                  <a:cubicBezTo>
                    <a:pt x="5112055" y="1446316"/>
                    <a:pt x="5112055" y="1446316"/>
                    <a:pt x="5112055" y="1468135"/>
                  </a:cubicBezTo>
                  <a:cubicBezTo>
                    <a:pt x="5112055" y="1468135"/>
                    <a:pt x="5112055" y="1468135"/>
                    <a:pt x="5090369" y="1489954"/>
                  </a:cubicBezTo>
                  <a:cubicBezTo>
                    <a:pt x="5090369" y="1489954"/>
                    <a:pt x="5090369" y="1489954"/>
                    <a:pt x="5097597" y="1729960"/>
                  </a:cubicBezTo>
                  <a:cubicBezTo>
                    <a:pt x="5119284" y="1708141"/>
                    <a:pt x="5148199" y="1686323"/>
                    <a:pt x="5184344" y="1679050"/>
                  </a:cubicBezTo>
                  <a:cubicBezTo>
                    <a:pt x="5206030" y="1671777"/>
                    <a:pt x="5234946" y="1664504"/>
                    <a:pt x="5256632" y="1664504"/>
                  </a:cubicBezTo>
                  <a:cubicBezTo>
                    <a:pt x="5256632" y="1664504"/>
                    <a:pt x="5256632" y="1664504"/>
                    <a:pt x="5451812" y="1664504"/>
                  </a:cubicBezTo>
                  <a:cubicBezTo>
                    <a:pt x="5451812" y="1664504"/>
                    <a:pt x="5451812" y="1664504"/>
                    <a:pt x="5704822" y="1657231"/>
                  </a:cubicBezTo>
                  <a:cubicBezTo>
                    <a:pt x="5704822" y="1657231"/>
                    <a:pt x="5704822" y="1657231"/>
                    <a:pt x="5950603" y="1657231"/>
                  </a:cubicBezTo>
                  <a:cubicBezTo>
                    <a:pt x="5950603" y="1657231"/>
                    <a:pt x="5950603" y="1657231"/>
                    <a:pt x="6203613" y="1649958"/>
                  </a:cubicBezTo>
                  <a:cubicBezTo>
                    <a:pt x="6203613" y="1649958"/>
                    <a:pt x="6203613" y="1649958"/>
                    <a:pt x="6659031" y="1642685"/>
                  </a:cubicBezTo>
                  <a:cubicBezTo>
                    <a:pt x="6659031" y="1642685"/>
                    <a:pt x="6659031" y="1642685"/>
                    <a:pt x="6948186" y="1642685"/>
                  </a:cubicBezTo>
                  <a:cubicBezTo>
                    <a:pt x="6948186" y="1642685"/>
                    <a:pt x="6948186" y="1642685"/>
                    <a:pt x="7208424" y="1635412"/>
                  </a:cubicBezTo>
                  <a:cubicBezTo>
                    <a:pt x="7208424" y="1635412"/>
                    <a:pt x="7208424" y="1635412"/>
                    <a:pt x="7461435" y="1635412"/>
                  </a:cubicBezTo>
                  <a:cubicBezTo>
                    <a:pt x="7591554" y="1628139"/>
                    <a:pt x="7692758" y="1722687"/>
                    <a:pt x="7699987" y="1839054"/>
                  </a:cubicBezTo>
                  <a:cubicBezTo>
                    <a:pt x="7699987" y="1839054"/>
                    <a:pt x="7699987" y="1839054"/>
                    <a:pt x="7699987" y="1875419"/>
                  </a:cubicBezTo>
                  <a:cubicBezTo>
                    <a:pt x="7909624" y="1999059"/>
                    <a:pt x="8184320" y="2151790"/>
                    <a:pt x="8502390" y="2275430"/>
                  </a:cubicBezTo>
                  <a:cubicBezTo>
                    <a:pt x="8480703" y="2420888"/>
                    <a:pt x="8466245" y="2573620"/>
                    <a:pt x="8451788" y="2733624"/>
                  </a:cubicBezTo>
                  <a:cubicBezTo>
                    <a:pt x="8343355" y="2733624"/>
                    <a:pt x="8234922" y="2733624"/>
                    <a:pt x="8119261" y="2733624"/>
                  </a:cubicBezTo>
                  <a:cubicBezTo>
                    <a:pt x="8054201" y="2639076"/>
                    <a:pt x="7989141" y="2551801"/>
                    <a:pt x="7924082" y="2457253"/>
                  </a:cubicBezTo>
                  <a:cubicBezTo>
                    <a:pt x="7924082" y="2457253"/>
                    <a:pt x="7924082" y="2457253"/>
                    <a:pt x="7924082" y="2740897"/>
                  </a:cubicBezTo>
                  <a:cubicBezTo>
                    <a:pt x="7128907" y="2740897"/>
                    <a:pt x="6340961" y="2740897"/>
                    <a:pt x="5545787" y="2748170"/>
                  </a:cubicBezTo>
                  <a:cubicBezTo>
                    <a:pt x="5545787" y="2748170"/>
                    <a:pt x="5545787" y="2748170"/>
                    <a:pt x="5545787" y="2471799"/>
                  </a:cubicBezTo>
                  <a:cubicBezTo>
                    <a:pt x="5545787" y="2413615"/>
                    <a:pt x="5495185" y="2369978"/>
                    <a:pt x="5430125" y="2369978"/>
                  </a:cubicBezTo>
                  <a:cubicBezTo>
                    <a:pt x="5430125" y="2369978"/>
                    <a:pt x="5430125" y="2369978"/>
                    <a:pt x="5278319" y="2377251"/>
                  </a:cubicBezTo>
                  <a:cubicBezTo>
                    <a:pt x="5220488" y="2377251"/>
                    <a:pt x="5169886" y="2420888"/>
                    <a:pt x="5169886" y="2479072"/>
                  </a:cubicBezTo>
                  <a:cubicBezTo>
                    <a:pt x="5169886" y="2479072"/>
                    <a:pt x="5169886" y="2479072"/>
                    <a:pt x="5177115" y="2748170"/>
                  </a:cubicBezTo>
                  <a:cubicBezTo>
                    <a:pt x="5075911" y="2748170"/>
                    <a:pt x="4981936" y="2748170"/>
                    <a:pt x="4887961" y="2748170"/>
                  </a:cubicBezTo>
                  <a:cubicBezTo>
                    <a:pt x="3940981" y="2748170"/>
                    <a:pt x="3001229" y="2697260"/>
                    <a:pt x="2054248" y="2704533"/>
                  </a:cubicBezTo>
                  <a:cubicBezTo>
                    <a:pt x="2054248" y="2704533"/>
                    <a:pt x="2054248" y="2704533"/>
                    <a:pt x="2054248" y="2683055"/>
                  </a:cubicBezTo>
                  <a:lnTo>
                    <a:pt x="2054248" y="2682714"/>
                  </a:lnTo>
                  <a:cubicBezTo>
                    <a:pt x="2054248" y="2682714"/>
                    <a:pt x="2054248" y="2682714"/>
                    <a:pt x="2047019" y="2704533"/>
                  </a:cubicBezTo>
                  <a:cubicBezTo>
                    <a:pt x="2032562" y="2704533"/>
                    <a:pt x="2018103" y="2704533"/>
                    <a:pt x="2010875" y="2704533"/>
                  </a:cubicBezTo>
                  <a:cubicBezTo>
                    <a:pt x="2010875" y="2704533"/>
                    <a:pt x="2010875" y="2704533"/>
                    <a:pt x="2018103" y="2668168"/>
                  </a:cubicBezTo>
                  <a:cubicBezTo>
                    <a:pt x="2018103" y="2646349"/>
                    <a:pt x="2018103" y="2631803"/>
                    <a:pt x="2018103" y="2617257"/>
                  </a:cubicBezTo>
                  <a:cubicBezTo>
                    <a:pt x="2010875" y="2544528"/>
                    <a:pt x="1931357" y="2544528"/>
                    <a:pt x="1909671" y="2646349"/>
                  </a:cubicBezTo>
                  <a:cubicBezTo>
                    <a:pt x="1909671" y="2646349"/>
                    <a:pt x="1909671" y="2646349"/>
                    <a:pt x="1902442" y="2689987"/>
                  </a:cubicBezTo>
                  <a:cubicBezTo>
                    <a:pt x="1902442" y="2689987"/>
                    <a:pt x="1902442" y="2689987"/>
                    <a:pt x="1895213" y="2704533"/>
                  </a:cubicBezTo>
                  <a:cubicBezTo>
                    <a:pt x="1880755" y="2704533"/>
                    <a:pt x="1873526" y="2704533"/>
                    <a:pt x="1859069" y="2704533"/>
                  </a:cubicBezTo>
                  <a:cubicBezTo>
                    <a:pt x="1859069" y="2704533"/>
                    <a:pt x="1859069" y="2704533"/>
                    <a:pt x="1873526" y="2639076"/>
                  </a:cubicBezTo>
                  <a:cubicBezTo>
                    <a:pt x="1880755" y="2595439"/>
                    <a:pt x="1873526" y="2566347"/>
                    <a:pt x="1859069" y="2544528"/>
                  </a:cubicBezTo>
                  <a:cubicBezTo>
                    <a:pt x="1822924" y="2508163"/>
                    <a:pt x="1750636" y="2522709"/>
                    <a:pt x="1728949" y="2602712"/>
                  </a:cubicBezTo>
                  <a:cubicBezTo>
                    <a:pt x="1728949" y="2602712"/>
                    <a:pt x="1728949" y="2602712"/>
                    <a:pt x="1721721" y="2631803"/>
                  </a:cubicBezTo>
                  <a:cubicBezTo>
                    <a:pt x="1721721" y="2631803"/>
                    <a:pt x="1721721" y="2631803"/>
                    <a:pt x="1707262" y="2704533"/>
                  </a:cubicBezTo>
                  <a:cubicBezTo>
                    <a:pt x="1692805" y="2704533"/>
                    <a:pt x="1685577" y="2711805"/>
                    <a:pt x="1671118" y="2711805"/>
                  </a:cubicBezTo>
                  <a:cubicBezTo>
                    <a:pt x="1671118" y="2711805"/>
                    <a:pt x="1671118" y="2711805"/>
                    <a:pt x="1678347" y="2660895"/>
                  </a:cubicBezTo>
                  <a:cubicBezTo>
                    <a:pt x="1678347" y="2660895"/>
                    <a:pt x="1678347" y="2660895"/>
                    <a:pt x="1700034" y="2580893"/>
                  </a:cubicBezTo>
                  <a:cubicBezTo>
                    <a:pt x="1707262" y="2551801"/>
                    <a:pt x="1700034" y="2522709"/>
                    <a:pt x="1685577" y="2508163"/>
                  </a:cubicBezTo>
                  <a:cubicBezTo>
                    <a:pt x="1685577" y="2500890"/>
                    <a:pt x="1678347" y="2493618"/>
                    <a:pt x="1671118" y="2486345"/>
                  </a:cubicBezTo>
                  <a:cubicBezTo>
                    <a:pt x="1663889" y="2479072"/>
                    <a:pt x="1656660" y="2479072"/>
                    <a:pt x="1649432" y="2471799"/>
                  </a:cubicBezTo>
                  <a:cubicBezTo>
                    <a:pt x="1606058" y="2449980"/>
                    <a:pt x="1540999" y="2471799"/>
                    <a:pt x="1526541" y="2544528"/>
                  </a:cubicBezTo>
                  <a:cubicBezTo>
                    <a:pt x="1526541" y="2544528"/>
                    <a:pt x="1526541" y="2544528"/>
                    <a:pt x="1526541" y="2551801"/>
                  </a:cubicBezTo>
                  <a:cubicBezTo>
                    <a:pt x="1526541" y="2551801"/>
                    <a:pt x="1526541" y="2551801"/>
                    <a:pt x="1519312" y="2588166"/>
                  </a:cubicBezTo>
                  <a:cubicBezTo>
                    <a:pt x="1519312" y="2588166"/>
                    <a:pt x="1519312" y="2588166"/>
                    <a:pt x="1512083" y="2617257"/>
                  </a:cubicBezTo>
                  <a:cubicBezTo>
                    <a:pt x="1512083" y="2617257"/>
                    <a:pt x="1512083" y="2617257"/>
                    <a:pt x="1490397" y="2711805"/>
                  </a:cubicBezTo>
                  <a:cubicBezTo>
                    <a:pt x="1475939" y="2719078"/>
                    <a:pt x="1461481" y="2719078"/>
                    <a:pt x="1454252" y="2719078"/>
                  </a:cubicBezTo>
                  <a:cubicBezTo>
                    <a:pt x="1454252" y="2719078"/>
                    <a:pt x="1454252" y="2719078"/>
                    <a:pt x="1468710" y="2646349"/>
                  </a:cubicBezTo>
                  <a:cubicBezTo>
                    <a:pt x="1468710" y="2646349"/>
                    <a:pt x="1468710" y="2646349"/>
                    <a:pt x="1475939" y="2609984"/>
                  </a:cubicBezTo>
                  <a:cubicBezTo>
                    <a:pt x="1475939" y="2609984"/>
                    <a:pt x="1475939" y="2609984"/>
                    <a:pt x="1483168" y="2580893"/>
                  </a:cubicBezTo>
                  <a:cubicBezTo>
                    <a:pt x="1483168" y="2580893"/>
                    <a:pt x="1483168" y="2580893"/>
                    <a:pt x="1490397" y="2551801"/>
                  </a:cubicBezTo>
                  <a:cubicBezTo>
                    <a:pt x="1490397" y="2529982"/>
                    <a:pt x="1490397" y="2508163"/>
                    <a:pt x="1490397" y="2493618"/>
                  </a:cubicBezTo>
                  <a:cubicBezTo>
                    <a:pt x="1483168" y="2464526"/>
                    <a:pt x="1454252" y="2442707"/>
                    <a:pt x="1425337" y="2442707"/>
                  </a:cubicBezTo>
                  <a:cubicBezTo>
                    <a:pt x="1403650" y="2435434"/>
                    <a:pt x="1374736" y="2449980"/>
                    <a:pt x="1360277" y="2479072"/>
                  </a:cubicBezTo>
                  <a:cubicBezTo>
                    <a:pt x="1353048" y="2493618"/>
                    <a:pt x="1345820" y="2500890"/>
                    <a:pt x="1345820" y="2515436"/>
                  </a:cubicBezTo>
                  <a:cubicBezTo>
                    <a:pt x="1345820" y="2515436"/>
                    <a:pt x="1345820" y="2515436"/>
                    <a:pt x="1324133" y="2602712"/>
                  </a:cubicBezTo>
                  <a:cubicBezTo>
                    <a:pt x="1324133" y="2602712"/>
                    <a:pt x="1324133" y="2602712"/>
                    <a:pt x="1309675" y="2689987"/>
                  </a:cubicBezTo>
                  <a:cubicBezTo>
                    <a:pt x="1309675" y="2689987"/>
                    <a:pt x="1309675" y="2689987"/>
                    <a:pt x="1302446" y="2726351"/>
                  </a:cubicBezTo>
                  <a:cubicBezTo>
                    <a:pt x="1287989" y="2726351"/>
                    <a:pt x="1273531" y="2726351"/>
                    <a:pt x="1259073" y="2726351"/>
                  </a:cubicBezTo>
                  <a:cubicBezTo>
                    <a:pt x="1259073" y="2726351"/>
                    <a:pt x="1259073" y="2726351"/>
                    <a:pt x="1259073" y="2719078"/>
                  </a:cubicBezTo>
                  <a:cubicBezTo>
                    <a:pt x="1259073" y="2719078"/>
                    <a:pt x="1259073" y="2719078"/>
                    <a:pt x="1280760" y="2631803"/>
                  </a:cubicBezTo>
                  <a:cubicBezTo>
                    <a:pt x="1280760" y="2631803"/>
                    <a:pt x="1280760" y="2631803"/>
                    <a:pt x="1309675" y="2515436"/>
                  </a:cubicBezTo>
                  <a:cubicBezTo>
                    <a:pt x="1309675" y="2515436"/>
                    <a:pt x="1309675" y="2515436"/>
                    <a:pt x="1309675" y="2508163"/>
                  </a:cubicBezTo>
                  <a:cubicBezTo>
                    <a:pt x="1316904" y="2493618"/>
                    <a:pt x="1316904" y="2479072"/>
                    <a:pt x="1316904" y="2464526"/>
                  </a:cubicBezTo>
                  <a:cubicBezTo>
                    <a:pt x="1316904" y="2449980"/>
                    <a:pt x="1309675" y="2442707"/>
                    <a:pt x="1309675" y="2428161"/>
                  </a:cubicBezTo>
                  <a:cubicBezTo>
                    <a:pt x="1295218" y="2413615"/>
                    <a:pt x="1280760" y="2399070"/>
                    <a:pt x="1266302" y="2406342"/>
                  </a:cubicBezTo>
                  <a:cubicBezTo>
                    <a:pt x="1251844" y="2406342"/>
                    <a:pt x="1237387" y="2413615"/>
                    <a:pt x="1230158" y="2428161"/>
                  </a:cubicBezTo>
                  <a:cubicBezTo>
                    <a:pt x="1222929" y="2442707"/>
                    <a:pt x="1208471" y="2457253"/>
                    <a:pt x="1208471" y="2486345"/>
                  </a:cubicBezTo>
                  <a:cubicBezTo>
                    <a:pt x="1208471" y="2486345"/>
                    <a:pt x="1208471" y="2486345"/>
                    <a:pt x="1201242" y="2500890"/>
                  </a:cubicBezTo>
                  <a:cubicBezTo>
                    <a:pt x="1201242" y="2500890"/>
                    <a:pt x="1201242" y="2500890"/>
                    <a:pt x="1194013" y="2544528"/>
                  </a:cubicBezTo>
                  <a:cubicBezTo>
                    <a:pt x="1194013" y="2544528"/>
                    <a:pt x="1194013" y="2544528"/>
                    <a:pt x="1179556" y="2595439"/>
                  </a:cubicBezTo>
                  <a:cubicBezTo>
                    <a:pt x="1179556" y="2595439"/>
                    <a:pt x="1179556" y="2595439"/>
                    <a:pt x="1150640" y="2711805"/>
                  </a:cubicBezTo>
                  <a:cubicBezTo>
                    <a:pt x="1150640" y="2711805"/>
                    <a:pt x="1150640" y="2711805"/>
                    <a:pt x="1150640" y="2733624"/>
                  </a:cubicBezTo>
                  <a:cubicBezTo>
                    <a:pt x="1136183" y="2733624"/>
                    <a:pt x="1121725" y="2733624"/>
                    <a:pt x="1107267" y="2733624"/>
                  </a:cubicBezTo>
                  <a:cubicBezTo>
                    <a:pt x="1107267" y="2733624"/>
                    <a:pt x="1107267" y="2733624"/>
                    <a:pt x="1136183" y="2624530"/>
                  </a:cubicBezTo>
                  <a:cubicBezTo>
                    <a:pt x="1136183" y="2624530"/>
                    <a:pt x="1136183" y="2624530"/>
                    <a:pt x="1143411" y="2573620"/>
                  </a:cubicBezTo>
                  <a:cubicBezTo>
                    <a:pt x="1143411" y="2573620"/>
                    <a:pt x="1143411" y="2573620"/>
                    <a:pt x="1157869" y="2529982"/>
                  </a:cubicBezTo>
                  <a:cubicBezTo>
                    <a:pt x="1157869" y="2529982"/>
                    <a:pt x="1157869" y="2529982"/>
                    <a:pt x="1165098" y="2479072"/>
                  </a:cubicBezTo>
                  <a:cubicBezTo>
                    <a:pt x="1172327" y="2471799"/>
                    <a:pt x="1172327" y="2471799"/>
                    <a:pt x="1172327" y="2464526"/>
                  </a:cubicBezTo>
                  <a:cubicBezTo>
                    <a:pt x="1172327" y="2464526"/>
                    <a:pt x="1172327" y="2464526"/>
                    <a:pt x="1201242" y="2369978"/>
                  </a:cubicBezTo>
                  <a:cubicBezTo>
                    <a:pt x="1201242" y="2369978"/>
                    <a:pt x="1201242" y="2369978"/>
                    <a:pt x="1208471" y="2333613"/>
                  </a:cubicBezTo>
                  <a:cubicBezTo>
                    <a:pt x="1201242" y="2333613"/>
                    <a:pt x="1194013" y="2326340"/>
                    <a:pt x="1201242" y="2319067"/>
                  </a:cubicBezTo>
                  <a:cubicBezTo>
                    <a:pt x="1201242" y="2304522"/>
                    <a:pt x="1208471" y="2304522"/>
                    <a:pt x="1215700" y="2304522"/>
                  </a:cubicBezTo>
                  <a:cubicBezTo>
                    <a:pt x="1215700" y="2304522"/>
                    <a:pt x="1215700" y="2304522"/>
                    <a:pt x="1230158" y="2253611"/>
                  </a:cubicBezTo>
                  <a:cubicBezTo>
                    <a:pt x="1230158" y="2253611"/>
                    <a:pt x="1230158" y="2253611"/>
                    <a:pt x="1259073" y="2144517"/>
                  </a:cubicBezTo>
                  <a:cubicBezTo>
                    <a:pt x="1259073" y="2144517"/>
                    <a:pt x="1259073" y="2144517"/>
                    <a:pt x="1273531" y="2115425"/>
                  </a:cubicBezTo>
                  <a:cubicBezTo>
                    <a:pt x="1273531" y="2115425"/>
                    <a:pt x="1273531" y="2115425"/>
                    <a:pt x="1280760" y="2079061"/>
                  </a:cubicBezTo>
                  <a:cubicBezTo>
                    <a:pt x="1280760" y="2079061"/>
                    <a:pt x="1280760" y="2079061"/>
                    <a:pt x="1295218" y="2042696"/>
                  </a:cubicBezTo>
                  <a:cubicBezTo>
                    <a:pt x="1295218" y="2042696"/>
                    <a:pt x="1295218" y="2042696"/>
                    <a:pt x="1295218" y="2028150"/>
                  </a:cubicBezTo>
                  <a:cubicBezTo>
                    <a:pt x="1287989" y="2020877"/>
                    <a:pt x="1287989" y="2013604"/>
                    <a:pt x="1287989" y="2006331"/>
                  </a:cubicBezTo>
                  <a:cubicBezTo>
                    <a:pt x="1287989" y="1999059"/>
                    <a:pt x="1295218" y="1984513"/>
                    <a:pt x="1309675" y="1984513"/>
                  </a:cubicBezTo>
                  <a:cubicBezTo>
                    <a:pt x="1309675" y="1984513"/>
                    <a:pt x="1309675" y="1984513"/>
                    <a:pt x="1331362" y="1919056"/>
                  </a:cubicBezTo>
                  <a:cubicBezTo>
                    <a:pt x="1331362" y="1919056"/>
                    <a:pt x="1331362" y="1919056"/>
                    <a:pt x="1338591" y="1882692"/>
                  </a:cubicBezTo>
                  <a:cubicBezTo>
                    <a:pt x="1338591" y="1882692"/>
                    <a:pt x="1338591" y="1882692"/>
                    <a:pt x="1353048" y="1846327"/>
                  </a:cubicBezTo>
                  <a:cubicBezTo>
                    <a:pt x="1353048" y="1846327"/>
                    <a:pt x="1353048" y="1846327"/>
                    <a:pt x="1367507" y="1788144"/>
                  </a:cubicBezTo>
                  <a:cubicBezTo>
                    <a:pt x="1367507" y="1788144"/>
                    <a:pt x="1367507" y="1788144"/>
                    <a:pt x="1381964" y="1737233"/>
                  </a:cubicBezTo>
                  <a:cubicBezTo>
                    <a:pt x="1381964" y="1737233"/>
                    <a:pt x="1381964" y="1737233"/>
                    <a:pt x="1381964" y="1729960"/>
                  </a:cubicBezTo>
                  <a:cubicBezTo>
                    <a:pt x="1381964" y="1729960"/>
                    <a:pt x="1374736" y="1722687"/>
                    <a:pt x="1374736" y="1722687"/>
                  </a:cubicBezTo>
                  <a:cubicBezTo>
                    <a:pt x="1367507" y="1715414"/>
                    <a:pt x="1367507" y="1715414"/>
                    <a:pt x="1367507" y="1708141"/>
                  </a:cubicBezTo>
                  <a:cubicBezTo>
                    <a:pt x="1367507" y="1700869"/>
                    <a:pt x="1374736" y="1686323"/>
                    <a:pt x="1389193" y="1686323"/>
                  </a:cubicBezTo>
                  <a:cubicBezTo>
                    <a:pt x="1389193" y="1686323"/>
                    <a:pt x="1396422" y="1686323"/>
                    <a:pt x="1396422" y="1686323"/>
                  </a:cubicBezTo>
                  <a:cubicBezTo>
                    <a:pt x="1396422" y="1686323"/>
                    <a:pt x="1396422" y="1686323"/>
                    <a:pt x="1418108" y="1628139"/>
                  </a:cubicBezTo>
                  <a:cubicBezTo>
                    <a:pt x="1418108" y="1628139"/>
                    <a:pt x="1418108" y="1628139"/>
                    <a:pt x="1432566" y="1584502"/>
                  </a:cubicBezTo>
                  <a:cubicBezTo>
                    <a:pt x="1432566" y="1584502"/>
                    <a:pt x="1432566" y="1584502"/>
                    <a:pt x="1439795" y="1548137"/>
                  </a:cubicBezTo>
                  <a:cubicBezTo>
                    <a:pt x="1439795" y="1548137"/>
                    <a:pt x="1439795" y="1548137"/>
                    <a:pt x="1454252" y="1497227"/>
                  </a:cubicBezTo>
                  <a:cubicBezTo>
                    <a:pt x="1454252" y="1497227"/>
                    <a:pt x="1454252" y="1497227"/>
                    <a:pt x="1468710" y="1453589"/>
                  </a:cubicBezTo>
                  <a:cubicBezTo>
                    <a:pt x="1468710" y="1453589"/>
                    <a:pt x="1468710" y="1453589"/>
                    <a:pt x="1468710" y="1446316"/>
                  </a:cubicBezTo>
                  <a:cubicBezTo>
                    <a:pt x="1468710" y="1446316"/>
                    <a:pt x="1461481" y="1439043"/>
                    <a:pt x="1461481" y="1439043"/>
                  </a:cubicBezTo>
                  <a:cubicBezTo>
                    <a:pt x="1454252" y="1431770"/>
                    <a:pt x="1454252" y="1431770"/>
                    <a:pt x="1454252" y="1424497"/>
                  </a:cubicBezTo>
                  <a:cubicBezTo>
                    <a:pt x="1454252" y="1417224"/>
                    <a:pt x="1461481" y="1402678"/>
                    <a:pt x="1468710" y="1402678"/>
                  </a:cubicBezTo>
                  <a:cubicBezTo>
                    <a:pt x="1475939" y="1402678"/>
                    <a:pt x="1475939" y="1402678"/>
                    <a:pt x="1483168" y="1402678"/>
                  </a:cubicBezTo>
                  <a:cubicBezTo>
                    <a:pt x="1483168" y="1402678"/>
                    <a:pt x="1483168" y="1402678"/>
                    <a:pt x="1497627" y="1359041"/>
                  </a:cubicBezTo>
                  <a:cubicBezTo>
                    <a:pt x="1497627" y="1359041"/>
                    <a:pt x="1497627" y="1359041"/>
                    <a:pt x="1497627" y="1351768"/>
                  </a:cubicBezTo>
                  <a:cubicBezTo>
                    <a:pt x="1497627" y="1351768"/>
                    <a:pt x="1497627" y="1351768"/>
                    <a:pt x="1519312" y="1279039"/>
                  </a:cubicBezTo>
                  <a:cubicBezTo>
                    <a:pt x="1519312" y="1279039"/>
                    <a:pt x="1519312" y="1279039"/>
                    <a:pt x="1533770" y="1228128"/>
                  </a:cubicBezTo>
                  <a:cubicBezTo>
                    <a:pt x="1533770" y="1228128"/>
                    <a:pt x="1533770" y="1228128"/>
                    <a:pt x="1548228" y="1191763"/>
                  </a:cubicBezTo>
                  <a:cubicBezTo>
                    <a:pt x="1540999" y="1184491"/>
                    <a:pt x="1540999" y="1184491"/>
                    <a:pt x="1540999" y="1184491"/>
                  </a:cubicBezTo>
                  <a:cubicBezTo>
                    <a:pt x="1533770" y="1184491"/>
                    <a:pt x="1533770" y="1177218"/>
                    <a:pt x="1533770" y="1177218"/>
                  </a:cubicBezTo>
                  <a:cubicBezTo>
                    <a:pt x="1526541" y="1162672"/>
                    <a:pt x="1533770" y="1148126"/>
                    <a:pt x="1548228" y="1148126"/>
                  </a:cubicBezTo>
                  <a:cubicBezTo>
                    <a:pt x="1548228" y="1148126"/>
                    <a:pt x="1555456" y="1148126"/>
                    <a:pt x="1555456" y="1148126"/>
                  </a:cubicBezTo>
                  <a:cubicBezTo>
                    <a:pt x="1555456" y="1148126"/>
                    <a:pt x="1555456" y="1148126"/>
                    <a:pt x="1577143" y="1089942"/>
                  </a:cubicBezTo>
                  <a:cubicBezTo>
                    <a:pt x="1577143" y="1089942"/>
                    <a:pt x="1577143" y="1089942"/>
                    <a:pt x="1584372" y="1053578"/>
                  </a:cubicBezTo>
                  <a:cubicBezTo>
                    <a:pt x="1584372" y="1053578"/>
                    <a:pt x="1584372" y="1053578"/>
                    <a:pt x="1620516" y="944484"/>
                  </a:cubicBezTo>
                  <a:cubicBezTo>
                    <a:pt x="1620516" y="944484"/>
                    <a:pt x="1620516" y="944484"/>
                    <a:pt x="1613287" y="944484"/>
                  </a:cubicBezTo>
                  <a:cubicBezTo>
                    <a:pt x="1613287" y="944484"/>
                    <a:pt x="1606058" y="937211"/>
                    <a:pt x="1606058" y="929938"/>
                  </a:cubicBezTo>
                  <a:cubicBezTo>
                    <a:pt x="1598830" y="922665"/>
                    <a:pt x="1606058" y="908119"/>
                    <a:pt x="1620516" y="908119"/>
                  </a:cubicBezTo>
                  <a:cubicBezTo>
                    <a:pt x="1620516" y="908119"/>
                    <a:pt x="1627745" y="900846"/>
                    <a:pt x="1627745" y="900846"/>
                  </a:cubicBezTo>
                  <a:cubicBezTo>
                    <a:pt x="1627745" y="900846"/>
                    <a:pt x="1627745" y="900846"/>
                    <a:pt x="1642203" y="864482"/>
                  </a:cubicBezTo>
                  <a:cubicBezTo>
                    <a:pt x="1642203" y="864482"/>
                    <a:pt x="1642203" y="864482"/>
                    <a:pt x="1678347" y="748115"/>
                  </a:cubicBezTo>
                  <a:cubicBezTo>
                    <a:pt x="1678347" y="748115"/>
                    <a:pt x="1678347" y="748115"/>
                    <a:pt x="1685577" y="711750"/>
                  </a:cubicBezTo>
                  <a:cubicBezTo>
                    <a:pt x="1678347" y="711750"/>
                    <a:pt x="1678347" y="704477"/>
                    <a:pt x="1671118" y="697204"/>
                  </a:cubicBezTo>
                  <a:cubicBezTo>
                    <a:pt x="1671118" y="682658"/>
                    <a:pt x="1678347" y="675386"/>
                    <a:pt x="1685577" y="668113"/>
                  </a:cubicBezTo>
                  <a:cubicBezTo>
                    <a:pt x="1700034" y="668113"/>
                    <a:pt x="1707262" y="668113"/>
                    <a:pt x="1714491" y="668113"/>
                  </a:cubicBezTo>
                  <a:cubicBezTo>
                    <a:pt x="1736178" y="660840"/>
                    <a:pt x="1757864" y="653567"/>
                    <a:pt x="1794009" y="646294"/>
                  </a:cubicBezTo>
                  <a:cubicBezTo>
                    <a:pt x="1786780" y="631748"/>
                    <a:pt x="1786780" y="624475"/>
                    <a:pt x="1786780" y="609929"/>
                  </a:cubicBezTo>
                  <a:cubicBezTo>
                    <a:pt x="1786780" y="609929"/>
                    <a:pt x="1786780" y="609929"/>
                    <a:pt x="1801238" y="566292"/>
                  </a:cubicBezTo>
                  <a:cubicBezTo>
                    <a:pt x="1820213" y="483562"/>
                    <a:pt x="1922208" y="428674"/>
                    <a:pt x="2034580" y="435734"/>
                  </a:cubicBezTo>
                  <a:close/>
                  <a:moveTo>
                    <a:pt x="11682164" y="399866"/>
                  </a:moveTo>
                  <a:lnTo>
                    <a:pt x="11689395" y="414406"/>
                  </a:lnTo>
                  <a:cubicBezTo>
                    <a:pt x="11689395" y="414406"/>
                    <a:pt x="11689395" y="414406"/>
                    <a:pt x="11689395" y="407136"/>
                  </a:cubicBezTo>
                  <a:cubicBezTo>
                    <a:pt x="11689395" y="407136"/>
                    <a:pt x="11689395" y="407136"/>
                    <a:pt x="11696625" y="399866"/>
                  </a:cubicBezTo>
                  <a:cubicBezTo>
                    <a:pt x="11696625" y="399866"/>
                    <a:pt x="11696625" y="399866"/>
                    <a:pt x="11682164" y="399866"/>
                  </a:cubicBezTo>
                  <a:close/>
                  <a:moveTo>
                    <a:pt x="11674934" y="327163"/>
                  </a:moveTo>
                  <a:cubicBezTo>
                    <a:pt x="11674934" y="327163"/>
                    <a:pt x="11674934" y="327163"/>
                    <a:pt x="11674934" y="341704"/>
                  </a:cubicBezTo>
                  <a:cubicBezTo>
                    <a:pt x="11674934" y="341704"/>
                    <a:pt x="11674934" y="341704"/>
                    <a:pt x="11674934" y="363514"/>
                  </a:cubicBezTo>
                  <a:cubicBezTo>
                    <a:pt x="11674934" y="363514"/>
                    <a:pt x="11674934" y="363514"/>
                    <a:pt x="11674934" y="378055"/>
                  </a:cubicBezTo>
                  <a:cubicBezTo>
                    <a:pt x="11674934" y="378055"/>
                    <a:pt x="11674934" y="378055"/>
                    <a:pt x="11674934" y="385325"/>
                  </a:cubicBezTo>
                  <a:cubicBezTo>
                    <a:pt x="11682164" y="385325"/>
                    <a:pt x="11682164" y="385325"/>
                    <a:pt x="11682164" y="385325"/>
                  </a:cubicBezTo>
                  <a:cubicBezTo>
                    <a:pt x="11682164" y="385325"/>
                    <a:pt x="11689395" y="385325"/>
                    <a:pt x="11689395" y="385325"/>
                  </a:cubicBezTo>
                  <a:cubicBezTo>
                    <a:pt x="11689395" y="385325"/>
                    <a:pt x="11689395" y="385325"/>
                    <a:pt x="11689395" y="378055"/>
                  </a:cubicBezTo>
                  <a:cubicBezTo>
                    <a:pt x="11696625" y="378055"/>
                    <a:pt x="11696625" y="378055"/>
                    <a:pt x="11696625" y="378055"/>
                  </a:cubicBezTo>
                  <a:cubicBezTo>
                    <a:pt x="11696625" y="378055"/>
                    <a:pt x="11696625" y="378055"/>
                    <a:pt x="11696625" y="363514"/>
                  </a:cubicBezTo>
                  <a:cubicBezTo>
                    <a:pt x="11696625" y="363514"/>
                    <a:pt x="11696625" y="363514"/>
                    <a:pt x="11696625" y="348974"/>
                  </a:cubicBezTo>
                  <a:cubicBezTo>
                    <a:pt x="11696625" y="348974"/>
                    <a:pt x="11696625" y="348974"/>
                    <a:pt x="11696625" y="334433"/>
                  </a:cubicBezTo>
                  <a:cubicBezTo>
                    <a:pt x="11696625" y="334433"/>
                    <a:pt x="11696625" y="334433"/>
                    <a:pt x="11696625" y="327163"/>
                  </a:cubicBezTo>
                  <a:cubicBezTo>
                    <a:pt x="11696625" y="327163"/>
                    <a:pt x="11696625" y="327163"/>
                    <a:pt x="11689395" y="327163"/>
                  </a:cubicBezTo>
                  <a:cubicBezTo>
                    <a:pt x="11689395" y="327163"/>
                    <a:pt x="11689395" y="327163"/>
                    <a:pt x="11674934" y="327163"/>
                  </a:cubicBezTo>
                  <a:close/>
                  <a:moveTo>
                    <a:pt x="11646013" y="327163"/>
                  </a:moveTo>
                  <a:cubicBezTo>
                    <a:pt x="11646013" y="327163"/>
                    <a:pt x="11646013" y="327163"/>
                    <a:pt x="11646013" y="341704"/>
                  </a:cubicBezTo>
                  <a:cubicBezTo>
                    <a:pt x="11646013" y="341704"/>
                    <a:pt x="11646013" y="341704"/>
                    <a:pt x="11646013" y="348974"/>
                  </a:cubicBezTo>
                  <a:cubicBezTo>
                    <a:pt x="11646013" y="348974"/>
                    <a:pt x="11646013" y="348974"/>
                    <a:pt x="11646013" y="370785"/>
                  </a:cubicBezTo>
                  <a:cubicBezTo>
                    <a:pt x="11646013" y="370785"/>
                    <a:pt x="11646013" y="370785"/>
                    <a:pt x="11646013" y="378055"/>
                  </a:cubicBezTo>
                  <a:cubicBezTo>
                    <a:pt x="11646013" y="378055"/>
                    <a:pt x="11646013" y="378055"/>
                    <a:pt x="11646013" y="385325"/>
                  </a:cubicBezTo>
                  <a:cubicBezTo>
                    <a:pt x="11646013" y="385325"/>
                    <a:pt x="11646013" y="385325"/>
                    <a:pt x="11660473" y="385325"/>
                  </a:cubicBezTo>
                  <a:cubicBezTo>
                    <a:pt x="11660473" y="385325"/>
                    <a:pt x="11660473" y="385325"/>
                    <a:pt x="11660473" y="378055"/>
                  </a:cubicBezTo>
                  <a:cubicBezTo>
                    <a:pt x="11660473" y="378055"/>
                    <a:pt x="11660473" y="378055"/>
                    <a:pt x="11660473" y="363514"/>
                  </a:cubicBezTo>
                  <a:cubicBezTo>
                    <a:pt x="11660473" y="363514"/>
                    <a:pt x="11660473" y="363514"/>
                    <a:pt x="11660473" y="356244"/>
                  </a:cubicBezTo>
                  <a:cubicBezTo>
                    <a:pt x="11660473" y="356244"/>
                    <a:pt x="11660473" y="356244"/>
                    <a:pt x="11660473" y="327163"/>
                  </a:cubicBezTo>
                  <a:cubicBezTo>
                    <a:pt x="11660473" y="327163"/>
                    <a:pt x="11660473" y="327163"/>
                    <a:pt x="11646013" y="327163"/>
                  </a:cubicBezTo>
                  <a:close/>
                  <a:moveTo>
                    <a:pt x="11617091" y="327163"/>
                  </a:moveTo>
                  <a:cubicBezTo>
                    <a:pt x="11617091" y="327163"/>
                    <a:pt x="11617091" y="327163"/>
                    <a:pt x="11617091" y="334433"/>
                  </a:cubicBezTo>
                  <a:cubicBezTo>
                    <a:pt x="11617091" y="334433"/>
                    <a:pt x="11617091" y="334433"/>
                    <a:pt x="11617091" y="341704"/>
                  </a:cubicBezTo>
                  <a:cubicBezTo>
                    <a:pt x="11617091" y="341704"/>
                    <a:pt x="11617091" y="341704"/>
                    <a:pt x="11609861" y="370785"/>
                  </a:cubicBezTo>
                  <a:cubicBezTo>
                    <a:pt x="11609861" y="370785"/>
                    <a:pt x="11609861" y="370785"/>
                    <a:pt x="11609861" y="378055"/>
                  </a:cubicBezTo>
                  <a:cubicBezTo>
                    <a:pt x="11617091" y="378055"/>
                    <a:pt x="11617091" y="385325"/>
                    <a:pt x="11624321" y="385325"/>
                  </a:cubicBezTo>
                  <a:cubicBezTo>
                    <a:pt x="11624321" y="385325"/>
                    <a:pt x="11624321" y="385325"/>
                    <a:pt x="11631552" y="385325"/>
                  </a:cubicBezTo>
                  <a:cubicBezTo>
                    <a:pt x="11631552" y="385325"/>
                    <a:pt x="11631552" y="385325"/>
                    <a:pt x="11638782" y="385325"/>
                  </a:cubicBezTo>
                  <a:cubicBezTo>
                    <a:pt x="11638782" y="385325"/>
                    <a:pt x="11638782" y="385325"/>
                    <a:pt x="11631552" y="363514"/>
                  </a:cubicBezTo>
                  <a:cubicBezTo>
                    <a:pt x="11631552" y="363514"/>
                    <a:pt x="11631552" y="363514"/>
                    <a:pt x="11631552" y="356244"/>
                  </a:cubicBezTo>
                  <a:cubicBezTo>
                    <a:pt x="11631552" y="356244"/>
                    <a:pt x="11631552" y="356244"/>
                    <a:pt x="11631552" y="341704"/>
                  </a:cubicBezTo>
                  <a:lnTo>
                    <a:pt x="11631552" y="327163"/>
                  </a:lnTo>
                  <a:cubicBezTo>
                    <a:pt x="11631552" y="327163"/>
                    <a:pt x="11631552" y="327163"/>
                    <a:pt x="11624321" y="327163"/>
                  </a:cubicBezTo>
                  <a:cubicBezTo>
                    <a:pt x="11624321" y="327163"/>
                    <a:pt x="11624321" y="327163"/>
                    <a:pt x="11617091" y="327163"/>
                  </a:cubicBezTo>
                  <a:close/>
                  <a:moveTo>
                    <a:pt x="11725547" y="305352"/>
                  </a:moveTo>
                  <a:cubicBezTo>
                    <a:pt x="11725547" y="305352"/>
                    <a:pt x="11725547" y="305352"/>
                    <a:pt x="11725547" y="319893"/>
                  </a:cubicBezTo>
                  <a:lnTo>
                    <a:pt x="11725547" y="341704"/>
                  </a:lnTo>
                  <a:cubicBezTo>
                    <a:pt x="11725547" y="341704"/>
                    <a:pt x="11725547" y="341704"/>
                    <a:pt x="11718316" y="356244"/>
                  </a:cubicBezTo>
                  <a:cubicBezTo>
                    <a:pt x="11718316" y="356244"/>
                    <a:pt x="11718316" y="356244"/>
                    <a:pt x="11718316" y="363514"/>
                  </a:cubicBezTo>
                  <a:cubicBezTo>
                    <a:pt x="11718316" y="363514"/>
                    <a:pt x="11718316" y="363514"/>
                    <a:pt x="11725547" y="363514"/>
                  </a:cubicBezTo>
                  <a:cubicBezTo>
                    <a:pt x="11725547" y="356244"/>
                    <a:pt x="11725547" y="356244"/>
                    <a:pt x="11732777" y="348974"/>
                  </a:cubicBezTo>
                  <a:cubicBezTo>
                    <a:pt x="11732777" y="341704"/>
                    <a:pt x="11732777" y="327163"/>
                    <a:pt x="11732777" y="319893"/>
                  </a:cubicBezTo>
                  <a:cubicBezTo>
                    <a:pt x="11732777" y="319893"/>
                    <a:pt x="11732777" y="319893"/>
                    <a:pt x="11732777" y="305352"/>
                  </a:cubicBezTo>
                  <a:cubicBezTo>
                    <a:pt x="11732777" y="305352"/>
                    <a:pt x="11732777" y="305352"/>
                    <a:pt x="11725547" y="305352"/>
                  </a:cubicBezTo>
                  <a:close/>
                  <a:moveTo>
                    <a:pt x="11595400" y="305352"/>
                  </a:moveTo>
                  <a:cubicBezTo>
                    <a:pt x="11595400" y="305352"/>
                    <a:pt x="11595400" y="305352"/>
                    <a:pt x="11595400" y="312622"/>
                  </a:cubicBezTo>
                  <a:lnTo>
                    <a:pt x="11609861" y="312622"/>
                  </a:lnTo>
                  <a:cubicBezTo>
                    <a:pt x="11609861" y="312622"/>
                    <a:pt x="11609861" y="312622"/>
                    <a:pt x="11617091" y="312622"/>
                  </a:cubicBezTo>
                  <a:cubicBezTo>
                    <a:pt x="11617091" y="312622"/>
                    <a:pt x="11617091" y="312622"/>
                    <a:pt x="11638782" y="312622"/>
                  </a:cubicBezTo>
                  <a:cubicBezTo>
                    <a:pt x="11638782" y="312622"/>
                    <a:pt x="11638782" y="312622"/>
                    <a:pt x="11646013" y="312622"/>
                  </a:cubicBezTo>
                  <a:cubicBezTo>
                    <a:pt x="11646013" y="312622"/>
                    <a:pt x="11646013" y="312622"/>
                    <a:pt x="11660473" y="312622"/>
                  </a:cubicBezTo>
                  <a:cubicBezTo>
                    <a:pt x="11660473" y="312622"/>
                    <a:pt x="11660473" y="312622"/>
                    <a:pt x="11667704" y="312622"/>
                  </a:cubicBezTo>
                  <a:cubicBezTo>
                    <a:pt x="11667704" y="312622"/>
                    <a:pt x="11667704" y="312622"/>
                    <a:pt x="11674934" y="312622"/>
                  </a:cubicBezTo>
                  <a:cubicBezTo>
                    <a:pt x="11674934" y="312622"/>
                    <a:pt x="11674934" y="312622"/>
                    <a:pt x="11689395" y="312622"/>
                  </a:cubicBezTo>
                  <a:cubicBezTo>
                    <a:pt x="11689395" y="312622"/>
                    <a:pt x="11689395" y="312622"/>
                    <a:pt x="11703856" y="312622"/>
                  </a:cubicBezTo>
                  <a:cubicBezTo>
                    <a:pt x="11703856" y="312622"/>
                    <a:pt x="11703856" y="312622"/>
                    <a:pt x="11711086" y="312622"/>
                  </a:cubicBezTo>
                  <a:cubicBezTo>
                    <a:pt x="11711086" y="312622"/>
                    <a:pt x="11711086" y="312622"/>
                    <a:pt x="11711086" y="305352"/>
                  </a:cubicBezTo>
                  <a:cubicBezTo>
                    <a:pt x="11711086" y="305352"/>
                    <a:pt x="11711086" y="305352"/>
                    <a:pt x="11682164" y="305352"/>
                  </a:cubicBezTo>
                  <a:cubicBezTo>
                    <a:pt x="11682164" y="305352"/>
                    <a:pt x="11682164" y="305352"/>
                    <a:pt x="11660473" y="305352"/>
                  </a:cubicBezTo>
                  <a:cubicBezTo>
                    <a:pt x="11660473" y="305352"/>
                    <a:pt x="11660473" y="305352"/>
                    <a:pt x="11653243" y="305352"/>
                  </a:cubicBezTo>
                  <a:cubicBezTo>
                    <a:pt x="11653243" y="305352"/>
                    <a:pt x="11653243" y="305352"/>
                    <a:pt x="11638782" y="305352"/>
                  </a:cubicBezTo>
                  <a:cubicBezTo>
                    <a:pt x="11638782" y="305352"/>
                    <a:pt x="11638782" y="305352"/>
                    <a:pt x="11609861" y="305352"/>
                  </a:cubicBezTo>
                  <a:cubicBezTo>
                    <a:pt x="11609861" y="305352"/>
                    <a:pt x="11609861" y="305352"/>
                    <a:pt x="11602630" y="305352"/>
                  </a:cubicBezTo>
                  <a:cubicBezTo>
                    <a:pt x="11602630" y="305352"/>
                    <a:pt x="11602630" y="305352"/>
                    <a:pt x="11595400" y="305352"/>
                  </a:cubicBezTo>
                  <a:close/>
                  <a:moveTo>
                    <a:pt x="11617091" y="276271"/>
                  </a:moveTo>
                  <a:cubicBezTo>
                    <a:pt x="11617091" y="283541"/>
                    <a:pt x="11609861" y="283541"/>
                    <a:pt x="11609861" y="283541"/>
                  </a:cubicBezTo>
                  <a:cubicBezTo>
                    <a:pt x="11602630" y="283541"/>
                    <a:pt x="11602630" y="283541"/>
                    <a:pt x="11595400" y="283541"/>
                  </a:cubicBezTo>
                  <a:lnTo>
                    <a:pt x="11595400" y="290811"/>
                  </a:lnTo>
                  <a:cubicBezTo>
                    <a:pt x="11595400" y="290811"/>
                    <a:pt x="11595400" y="290811"/>
                    <a:pt x="11624321" y="290811"/>
                  </a:cubicBezTo>
                  <a:cubicBezTo>
                    <a:pt x="11624321" y="290811"/>
                    <a:pt x="11624321" y="290811"/>
                    <a:pt x="11638782" y="290811"/>
                  </a:cubicBezTo>
                  <a:cubicBezTo>
                    <a:pt x="11638782" y="290811"/>
                    <a:pt x="11638782" y="290811"/>
                    <a:pt x="11646013" y="290811"/>
                  </a:cubicBezTo>
                  <a:cubicBezTo>
                    <a:pt x="11646013" y="290811"/>
                    <a:pt x="11646013" y="290811"/>
                    <a:pt x="11667704" y="290811"/>
                  </a:cubicBezTo>
                  <a:cubicBezTo>
                    <a:pt x="11667704" y="290811"/>
                    <a:pt x="11667704" y="290811"/>
                    <a:pt x="11711086" y="290811"/>
                  </a:cubicBezTo>
                  <a:cubicBezTo>
                    <a:pt x="11711086" y="290811"/>
                    <a:pt x="11711086" y="290811"/>
                    <a:pt x="11711086" y="283541"/>
                  </a:cubicBezTo>
                  <a:cubicBezTo>
                    <a:pt x="11711086" y="283541"/>
                    <a:pt x="11711086" y="283541"/>
                    <a:pt x="11703856" y="283541"/>
                  </a:cubicBezTo>
                  <a:cubicBezTo>
                    <a:pt x="11703856" y="276271"/>
                    <a:pt x="11696625" y="276271"/>
                    <a:pt x="11689395" y="276271"/>
                  </a:cubicBezTo>
                  <a:cubicBezTo>
                    <a:pt x="11674934" y="276271"/>
                    <a:pt x="11667704" y="276271"/>
                    <a:pt x="11653243" y="276271"/>
                  </a:cubicBezTo>
                  <a:cubicBezTo>
                    <a:pt x="11646013" y="276271"/>
                    <a:pt x="11638782" y="276271"/>
                    <a:pt x="11631552" y="276271"/>
                  </a:cubicBezTo>
                  <a:cubicBezTo>
                    <a:pt x="11631552" y="276271"/>
                    <a:pt x="11624321" y="276271"/>
                    <a:pt x="11624321" y="276271"/>
                  </a:cubicBezTo>
                  <a:cubicBezTo>
                    <a:pt x="11624321" y="276271"/>
                    <a:pt x="11624321" y="276271"/>
                    <a:pt x="11617091" y="276271"/>
                  </a:cubicBezTo>
                  <a:close/>
                  <a:moveTo>
                    <a:pt x="11653243" y="225379"/>
                  </a:moveTo>
                  <a:cubicBezTo>
                    <a:pt x="11653243" y="225379"/>
                    <a:pt x="11653243" y="225379"/>
                    <a:pt x="11602630" y="232649"/>
                  </a:cubicBezTo>
                  <a:cubicBezTo>
                    <a:pt x="11602630" y="232649"/>
                    <a:pt x="11602630" y="232649"/>
                    <a:pt x="11595400" y="232649"/>
                  </a:cubicBezTo>
                  <a:cubicBezTo>
                    <a:pt x="11595400" y="232649"/>
                    <a:pt x="11595400" y="232649"/>
                    <a:pt x="11595400" y="239919"/>
                  </a:cubicBezTo>
                  <a:cubicBezTo>
                    <a:pt x="11595400" y="239919"/>
                    <a:pt x="11595400" y="239919"/>
                    <a:pt x="11595400" y="254460"/>
                  </a:cubicBezTo>
                  <a:cubicBezTo>
                    <a:pt x="11595400" y="254460"/>
                    <a:pt x="11595400" y="254460"/>
                    <a:pt x="11595400" y="269001"/>
                  </a:cubicBezTo>
                  <a:cubicBezTo>
                    <a:pt x="11602630" y="269001"/>
                    <a:pt x="11602630" y="269001"/>
                    <a:pt x="11609861" y="269001"/>
                  </a:cubicBezTo>
                  <a:cubicBezTo>
                    <a:pt x="11609861" y="269001"/>
                    <a:pt x="11617091" y="269001"/>
                    <a:pt x="11617091" y="269001"/>
                  </a:cubicBezTo>
                  <a:cubicBezTo>
                    <a:pt x="11617091" y="269001"/>
                    <a:pt x="11617091" y="269001"/>
                    <a:pt x="11624321" y="269001"/>
                  </a:cubicBezTo>
                  <a:cubicBezTo>
                    <a:pt x="11624321" y="261730"/>
                    <a:pt x="11631552" y="261730"/>
                    <a:pt x="11638782" y="261730"/>
                  </a:cubicBezTo>
                  <a:cubicBezTo>
                    <a:pt x="11646013" y="261730"/>
                    <a:pt x="11646013" y="261730"/>
                    <a:pt x="11653243" y="261730"/>
                  </a:cubicBezTo>
                  <a:cubicBezTo>
                    <a:pt x="11667704" y="261730"/>
                    <a:pt x="11674934" y="261730"/>
                    <a:pt x="11689395" y="261730"/>
                  </a:cubicBezTo>
                  <a:cubicBezTo>
                    <a:pt x="11696625" y="269001"/>
                    <a:pt x="11703856" y="269001"/>
                    <a:pt x="11703856" y="269001"/>
                  </a:cubicBezTo>
                  <a:cubicBezTo>
                    <a:pt x="11711086" y="269001"/>
                    <a:pt x="11711086" y="269001"/>
                    <a:pt x="11711086" y="269001"/>
                  </a:cubicBezTo>
                  <a:cubicBezTo>
                    <a:pt x="11711086" y="269001"/>
                    <a:pt x="11711086" y="269001"/>
                    <a:pt x="11711086" y="225379"/>
                  </a:cubicBezTo>
                  <a:cubicBezTo>
                    <a:pt x="11711086" y="225379"/>
                    <a:pt x="11711086" y="225379"/>
                    <a:pt x="11667704" y="225379"/>
                  </a:cubicBezTo>
                  <a:cubicBezTo>
                    <a:pt x="11667704" y="225379"/>
                    <a:pt x="11667704" y="225379"/>
                    <a:pt x="11653243" y="225379"/>
                  </a:cubicBezTo>
                  <a:close/>
                  <a:moveTo>
                    <a:pt x="11566478" y="196298"/>
                  </a:moveTo>
                  <a:cubicBezTo>
                    <a:pt x="11566478" y="196298"/>
                    <a:pt x="11566478" y="196298"/>
                    <a:pt x="11566478" y="218109"/>
                  </a:cubicBezTo>
                  <a:cubicBezTo>
                    <a:pt x="11566478" y="218109"/>
                    <a:pt x="11566478" y="218109"/>
                    <a:pt x="11588169" y="218109"/>
                  </a:cubicBezTo>
                  <a:cubicBezTo>
                    <a:pt x="11588169" y="218109"/>
                    <a:pt x="11588169" y="218109"/>
                    <a:pt x="11638782" y="218109"/>
                  </a:cubicBezTo>
                  <a:cubicBezTo>
                    <a:pt x="11638782" y="218109"/>
                    <a:pt x="11638782" y="218109"/>
                    <a:pt x="11653243" y="218109"/>
                  </a:cubicBezTo>
                  <a:cubicBezTo>
                    <a:pt x="11653243" y="218109"/>
                    <a:pt x="11653243" y="218109"/>
                    <a:pt x="11718316" y="210838"/>
                  </a:cubicBezTo>
                  <a:cubicBezTo>
                    <a:pt x="11718316" y="210838"/>
                    <a:pt x="11718316" y="210838"/>
                    <a:pt x="11740007" y="210838"/>
                  </a:cubicBezTo>
                  <a:cubicBezTo>
                    <a:pt x="11740007" y="210838"/>
                    <a:pt x="11740007" y="210838"/>
                    <a:pt x="11740007" y="196298"/>
                  </a:cubicBezTo>
                  <a:cubicBezTo>
                    <a:pt x="11740007" y="196298"/>
                    <a:pt x="11740007" y="196298"/>
                    <a:pt x="11631552" y="196298"/>
                  </a:cubicBezTo>
                  <a:cubicBezTo>
                    <a:pt x="11631552" y="196298"/>
                    <a:pt x="11631552" y="196298"/>
                    <a:pt x="11617091" y="196298"/>
                  </a:cubicBezTo>
                  <a:cubicBezTo>
                    <a:pt x="11617091" y="196298"/>
                    <a:pt x="11617091" y="196298"/>
                    <a:pt x="11566478" y="196298"/>
                  </a:cubicBezTo>
                  <a:close/>
                  <a:moveTo>
                    <a:pt x="133821" y="90064"/>
                  </a:moveTo>
                  <a:cubicBezTo>
                    <a:pt x="137438" y="89495"/>
                    <a:pt x="141055" y="89950"/>
                    <a:pt x="144671" y="91770"/>
                  </a:cubicBezTo>
                  <a:cubicBezTo>
                    <a:pt x="159139" y="99049"/>
                    <a:pt x="144671" y="135443"/>
                    <a:pt x="159139" y="128164"/>
                  </a:cubicBezTo>
                  <a:cubicBezTo>
                    <a:pt x="166372" y="120885"/>
                    <a:pt x="173606" y="128164"/>
                    <a:pt x="188073" y="120885"/>
                  </a:cubicBezTo>
                  <a:cubicBezTo>
                    <a:pt x="202540" y="113606"/>
                    <a:pt x="217007" y="91770"/>
                    <a:pt x="217007" y="99049"/>
                  </a:cubicBezTo>
                  <a:cubicBezTo>
                    <a:pt x="224241" y="99049"/>
                    <a:pt x="217007" y="113606"/>
                    <a:pt x="217007" y="128164"/>
                  </a:cubicBezTo>
                  <a:cubicBezTo>
                    <a:pt x="217007" y="142722"/>
                    <a:pt x="180839" y="171838"/>
                    <a:pt x="173606" y="186395"/>
                  </a:cubicBezTo>
                  <a:cubicBezTo>
                    <a:pt x="166372" y="200953"/>
                    <a:pt x="159139" y="208232"/>
                    <a:pt x="151905" y="215511"/>
                  </a:cubicBezTo>
                  <a:cubicBezTo>
                    <a:pt x="151905" y="215511"/>
                    <a:pt x="151905" y="222790"/>
                    <a:pt x="151905" y="230069"/>
                  </a:cubicBezTo>
                  <a:cubicBezTo>
                    <a:pt x="151905" y="230069"/>
                    <a:pt x="159139" y="237348"/>
                    <a:pt x="159139" y="244627"/>
                  </a:cubicBezTo>
                  <a:cubicBezTo>
                    <a:pt x="159139" y="244627"/>
                    <a:pt x="159139" y="244627"/>
                    <a:pt x="188073" y="237348"/>
                  </a:cubicBezTo>
                  <a:cubicBezTo>
                    <a:pt x="188073" y="237348"/>
                    <a:pt x="188073" y="237348"/>
                    <a:pt x="195306" y="251905"/>
                  </a:cubicBezTo>
                  <a:cubicBezTo>
                    <a:pt x="195306" y="251905"/>
                    <a:pt x="195306" y="251905"/>
                    <a:pt x="217007" y="244627"/>
                  </a:cubicBezTo>
                  <a:cubicBezTo>
                    <a:pt x="217007" y="244627"/>
                    <a:pt x="217007" y="244627"/>
                    <a:pt x="209773" y="259184"/>
                  </a:cubicBezTo>
                  <a:cubicBezTo>
                    <a:pt x="209773" y="259184"/>
                    <a:pt x="209773" y="259184"/>
                    <a:pt x="224241" y="259184"/>
                  </a:cubicBezTo>
                  <a:cubicBezTo>
                    <a:pt x="224241" y="259184"/>
                    <a:pt x="217007" y="273742"/>
                    <a:pt x="209773" y="281021"/>
                  </a:cubicBezTo>
                  <a:cubicBezTo>
                    <a:pt x="202540" y="295579"/>
                    <a:pt x="217007" y="302858"/>
                    <a:pt x="224241" y="317416"/>
                  </a:cubicBezTo>
                  <a:cubicBezTo>
                    <a:pt x="231474" y="331973"/>
                    <a:pt x="209773" y="331973"/>
                    <a:pt x="209773" y="346531"/>
                  </a:cubicBezTo>
                  <a:cubicBezTo>
                    <a:pt x="209773" y="353810"/>
                    <a:pt x="159139" y="361089"/>
                    <a:pt x="159139" y="361089"/>
                  </a:cubicBezTo>
                  <a:cubicBezTo>
                    <a:pt x="159139" y="361089"/>
                    <a:pt x="166372" y="368368"/>
                    <a:pt x="166372" y="375647"/>
                  </a:cubicBezTo>
                  <a:cubicBezTo>
                    <a:pt x="166372" y="382926"/>
                    <a:pt x="151905" y="390205"/>
                    <a:pt x="151905" y="390205"/>
                  </a:cubicBezTo>
                  <a:cubicBezTo>
                    <a:pt x="151905" y="390205"/>
                    <a:pt x="151905" y="390205"/>
                    <a:pt x="151905" y="426599"/>
                  </a:cubicBezTo>
                  <a:cubicBezTo>
                    <a:pt x="151905" y="426599"/>
                    <a:pt x="151905" y="426599"/>
                    <a:pt x="166372" y="441157"/>
                  </a:cubicBezTo>
                  <a:cubicBezTo>
                    <a:pt x="180839" y="462994"/>
                    <a:pt x="195306" y="484830"/>
                    <a:pt x="202540" y="513946"/>
                  </a:cubicBezTo>
                  <a:cubicBezTo>
                    <a:pt x="209773" y="550340"/>
                    <a:pt x="209773" y="557619"/>
                    <a:pt x="224241" y="608571"/>
                  </a:cubicBezTo>
                  <a:cubicBezTo>
                    <a:pt x="238708" y="659524"/>
                    <a:pt x="231474" y="644966"/>
                    <a:pt x="260408" y="710476"/>
                  </a:cubicBezTo>
                  <a:cubicBezTo>
                    <a:pt x="289343" y="775986"/>
                    <a:pt x="311043" y="863333"/>
                    <a:pt x="318277" y="892448"/>
                  </a:cubicBezTo>
                  <a:cubicBezTo>
                    <a:pt x="318277" y="892448"/>
                    <a:pt x="318277" y="892448"/>
                    <a:pt x="405079" y="885170"/>
                  </a:cubicBezTo>
                  <a:cubicBezTo>
                    <a:pt x="405079" y="885170"/>
                    <a:pt x="405079" y="885170"/>
                    <a:pt x="434014" y="877891"/>
                  </a:cubicBezTo>
                  <a:cubicBezTo>
                    <a:pt x="434014" y="870612"/>
                    <a:pt x="441247" y="856054"/>
                    <a:pt x="448481" y="848775"/>
                  </a:cubicBezTo>
                  <a:cubicBezTo>
                    <a:pt x="448481" y="848775"/>
                    <a:pt x="448481" y="848775"/>
                    <a:pt x="434014" y="841496"/>
                  </a:cubicBezTo>
                  <a:cubicBezTo>
                    <a:pt x="434014" y="841496"/>
                    <a:pt x="434014" y="841496"/>
                    <a:pt x="311043" y="746870"/>
                  </a:cubicBezTo>
                  <a:cubicBezTo>
                    <a:pt x="311043" y="746870"/>
                    <a:pt x="311043" y="746870"/>
                    <a:pt x="448481" y="819659"/>
                  </a:cubicBezTo>
                  <a:cubicBezTo>
                    <a:pt x="448481" y="819659"/>
                    <a:pt x="448481" y="819659"/>
                    <a:pt x="462948" y="826938"/>
                  </a:cubicBezTo>
                  <a:cubicBezTo>
                    <a:pt x="470181" y="812381"/>
                    <a:pt x="484649" y="812381"/>
                    <a:pt x="499116" y="805102"/>
                  </a:cubicBezTo>
                  <a:cubicBezTo>
                    <a:pt x="499116" y="805102"/>
                    <a:pt x="499116" y="805102"/>
                    <a:pt x="484649" y="768707"/>
                  </a:cubicBezTo>
                  <a:cubicBezTo>
                    <a:pt x="484649" y="768707"/>
                    <a:pt x="484649" y="768707"/>
                    <a:pt x="441247" y="659524"/>
                  </a:cubicBezTo>
                  <a:cubicBezTo>
                    <a:pt x="441247" y="659524"/>
                    <a:pt x="441247" y="659524"/>
                    <a:pt x="499116" y="746870"/>
                  </a:cubicBezTo>
                  <a:cubicBezTo>
                    <a:pt x="499116" y="746870"/>
                    <a:pt x="499116" y="746870"/>
                    <a:pt x="520816" y="783265"/>
                  </a:cubicBezTo>
                  <a:cubicBezTo>
                    <a:pt x="520816" y="783265"/>
                    <a:pt x="520816" y="783265"/>
                    <a:pt x="535283" y="805102"/>
                  </a:cubicBezTo>
                  <a:cubicBezTo>
                    <a:pt x="542517" y="805102"/>
                    <a:pt x="556984" y="805102"/>
                    <a:pt x="564218" y="805102"/>
                  </a:cubicBezTo>
                  <a:cubicBezTo>
                    <a:pt x="571451" y="805102"/>
                    <a:pt x="571451" y="805102"/>
                    <a:pt x="571451" y="805102"/>
                  </a:cubicBezTo>
                  <a:cubicBezTo>
                    <a:pt x="571451" y="805102"/>
                    <a:pt x="571451" y="805102"/>
                    <a:pt x="593152" y="775986"/>
                  </a:cubicBezTo>
                  <a:cubicBezTo>
                    <a:pt x="593152" y="775986"/>
                    <a:pt x="593152" y="775986"/>
                    <a:pt x="629320" y="695918"/>
                  </a:cubicBezTo>
                  <a:cubicBezTo>
                    <a:pt x="629320" y="695918"/>
                    <a:pt x="629320" y="695918"/>
                    <a:pt x="622086" y="725034"/>
                  </a:cubicBezTo>
                  <a:cubicBezTo>
                    <a:pt x="622086" y="725034"/>
                    <a:pt x="622086" y="725034"/>
                    <a:pt x="607619" y="819659"/>
                  </a:cubicBezTo>
                  <a:cubicBezTo>
                    <a:pt x="614853" y="819659"/>
                    <a:pt x="622086" y="826938"/>
                    <a:pt x="629320" y="834217"/>
                  </a:cubicBezTo>
                  <a:cubicBezTo>
                    <a:pt x="636553" y="834217"/>
                    <a:pt x="636553" y="834217"/>
                    <a:pt x="643787" y="841496"/>
                  </a:cubicBezTo>
                  <a:cubicBezTo>
                    <a:pt x="643787" y="841496"/>
                    <a:pt x="643787" y="841496"/>
                    <a:pt x="773991" y="783265"/>
                  </a:cubicBezTo>
                  <a:cubicBezTo>
                    <a:pt x="773991" y="783265"/>
                    <a:pt x="773991" y="783265"/>
                    <a:pt x="665487" y="863333"/>
                  </a:cubicBezTo>
                  <a:cubicBezTo>
                    <a:pt x="672721" y="870612"/>
                    <a:pt x="679954" y="877891"/>
                    <a:pt x="687188" y="892448"/>
                  </a:cubicBezTo>
                  <a:cubicBezTo>
                    <a:pt x="687188" y="892448"/>
                    <a:pt x="687188" y="892448"/>
                    <a:pt x="846326" y="885170"/>
                  </a:cubicBezTo>
                  <a:cubicBezTo>
                    <a:pt x="846326" y="885170"/>
                    <a:pt x="846326" y="885170"/>
                    <a:pt x="701655" y="921564"/>
                  </a:cubicBezTo>
                  <a:cubicBezTo>
                    <a:pt x="708889" y="928843"/>
                    <a:pt x="708889" y="936122"/>
                    <a:pt x="708889" y="943401"/>
                  </a:cubicBezTo>
                  <a:cubicBezTo>
                    <a:pt x="716122" y="965237"/>
                    <a:pt x="716122" y="972516"/>
                    <a:pt x="708889" y="987074"/>
                  </a:cubicBezTo>
                  <a:cubicBezTo>
                    <a:pt x="701655" y="1001632"/>
                    <a:pt x="701655" y="987074"/>
                    <a:pt x="701655" y="987074"/>
                  </a:cubicBezTo>
                  <a:cubicBezTo>
                    <a:pt x="701655" y="987074"/>
                    <a:pt x="701655" y="987074"/>
                    <a:pt x="701655" y="1016190"/>
                  </a:cubicBezTo>
                  <a:cubicBezTo>
                    <a:pt x="701655" y="1016190"/>
                    <a:pt x="716122" y="1023469"/>
                    <a:pt x="723356" y="1038026"/>
                  </a:cubicBezTo>
                  <a:cubicBezTo>
                    <a:pt x="723356" y="1059863"/>
                    <a:pt x="716122" y="1088979"/>
                    <a:pt x="716122" y="1088979"/>
                  </a:cubicBezTo>
                  <a:cubicBezTo>
                    <a:pt x="716122" y="1088979"/>
                    <a:pt x="730589" y="1118094"/>
                    <a:pt x="730589" y="1125373"/>
                  </a:cubicBezTo>
                  <a:cubicBezTo>
                    <a:pt x="723356" y="1139931"/>
                    <a:pt x="708889" y="1139931"/>
                    <a:pt x="708889" y="1139931"/>
                  </a:cubicBezTo>
                  <a:cubicBezTo>
                    <a:pt x="708889" y="1139931"/>
                    <a:pt x="716122" y="1139931"/>
                    <a:pt x="716122" y="1154489"/>
                  </a:cubicBezTo>
                  <a:cubicBezTo>
                    <a:pt x="723356" y="1176325"/>
                    <a:pt x="752290" y="1198162"/>
                    <a:pt x="773991" y="1205441"/>
                  </a:cubicBezTo>
                  <a:cubicBezTo>
                    <a:pt x="802925" y="1219999"/>
                    <a:pt x="781224" y="1227278"/>
                    <a:pt x="795691" y="1234557"/>
                  </a:cubicBezTo>
                  <a:cubicBezTo>
                    <a:pt x="810158" y="1241835"/>
                    <a:pt x="817392" y="1241835"/>
                    <a:pt x="831859" y="1263672"/>
                  </a:cubicBezTo>
                  <a:cubicBezTo>
                    <a:pt x="846326" y="1278230"/>
                    <a:pt x="860793" y="1300067"/>
                    <a:pt x="875260" y="1329182"/>
                  </a:cubicBezTo>
                  <a:cubicBezTo>
                    <a:pt x="889727" y="1358298"/>
                    <a:pt x="933129" y="1438366"/>
                    <a:pt x="940362" y="1445645"/>
                  </a:cubicBezTo>
                  <a:cubicBezTo>
                    <a:pt x="947596" y="1452923"/>
                    <a:pt x="962063" y="1460202"/>
                    <a:pt x="962063" y="1460202"/>
                  </a:cubicBezTo>
                  <a:cubicBezTo>
                    <a:pt x="962063" y="1460202"/>
                    <a:pt x="962063" y="1460202"/>
                    <a:pt x="998231" y="1387413"/>
                  </a:cubicBezTo>
                  <a:cubicBezTo>
                    <a:pt x="998231" y="1387413"/>
                    <a:pt x="998231" y="1387413"/>
                    <a:pt x="1034398" y="1394692"/>
                  </a:cubicBezTo>
                  <a:cubicBezTo>
                    <a:pt x="1034398" y="1394692"/>
                    <a:pt x="1034398" y="1394692"/>
                    <a:pt x="1070566" y="1460202"/>
                  </a:cubicBezTo>
                  <a:cubicBezTo>
                    <a:pt x="1070566" y="1460202"/>
                    <a:pt x="1070566" y="1460202"/>
                    <a:pt x="1034398" y="1554828"/>
                  </a:cubicBezTo>
                  <a:cubicBezTo>
                    <a:pt x="1034398" y="1554828"/>
                    <a:pt x="1041632" y="1569386"/>
                    <a:pt x="1048866" y="1576665"/>
                  </a:cubicBezTo>
                  <a:cubicBezTo>
                    <a:pt x="1056099" y="1583944"/>
                    <a:pt x="1048866" y="1591223"/>
                    <a:pt x="1056099" y="1605781"/>
                  </a:cubicBezTo>
                  <a:cubicBezTo>
                    <a:pt x="1063334" y="1620338"/>
                    <a:pt x="1056099" y="1649454"/>
                    <a:pt x="1070566" y="1664012"/>
                  </a:cubicBezTo>
                  <a:cubicBezTo>
                    <a:pt x="1085034" y="1678570"/>
                    <a:pt x="1077800" y="1729522"/>
                    <a:pt x="1085034" y="1751359"/>
                  </a:cubicBezTo>
                  <a:cubicBezTo>
                    <a:pt x="1085034" y="1780474"/>
                    <a:pt x="1063334" y="1816869"/>
                    <a:pt x="1063334" y="1838705"/>
                  </a:cubicBezTo>
                  <a:cubicBezTo>
                    <a:pt x="1056099" y="1860542"/>
                    <a:pt x="1048866" y="1896937"/>
                    <a:pt x="1019932" y="1947889"/>
                  </a:cubicBezTo>
                  <a:cubicBezTo>
                    <a:pt x="998231" y="1991562"/>
                    <a:pt x="947596" y="1991562"/>
                    <a:pt x="933129" y="1984283"/>
                  </a:cubicBezTo>
                  <a:cubicBezTo>
                    <a:pt x="918662" y="1969726"/>
                    <a:pt x="896961" y="1969726"/>
                    <a:pt x="896961" y="1969726"/>
                  </a:cubicBezTo>
                  <a:cubicBezTo>
                    <a:pt x="896961" y="1969726"/>
                    <a:pt x="925895" y="2399180"/>
                    <a:pt x="933129" y="2435575"/>
                  </a:cubicBezTo>
                  <a:cubicBezTo>
                    <a:pt x="933129" y="2479248"/>
                    <a:pt x="925895" y="2471969"/>
                    <a:pt x="925895" y="2471969"/>
                  </a:cubicBezTo>
                  <a:cubicBezTo>
                    <a:pt x="925895" y="2471969"/>
                    <a:pt x="925895" y="2544758"/>
                    <a:pt x="933129" y="2573874"/>
                  </a:cubicBezTo>
                  <a:cubicBezTo>
                    <a:pt x="940362" y="2602989"/>
                    <a:pt x="918662" y="2617547"/>
                    <a:pt x="918662" y="2617547"/>
                  </a:cubicBezTo>
                  <a:cubicBezTo>
                    <a:pt x="918662" y="2617547"/>
                    <a:pt x="911428" y="2653942"/>
                    <a:pt x="911428" y="2690336"/>
                  </a:cubicBezTo>
                  <a:cubicBezTo>
                    <a:pt x="911428" y="2704894"/>
                    <a:pt x="918662" y="2726731"/>
                    <a:pt x="918662" y="2748567"/>
                  </a:cubicBezTo>
                  <a:cubicBezTo>
                    <a:pt x="875260" y="2748567"/>
                    <a:pt x="831859" y="2755846"/>
                    <a:pt x="788458" y="2755846"/>
                  </a:cubicBezTo>
                  <a:cubicBezTo>
                    <a:pt x="708889" y="2755846"/>
                    <a:pt x="622086" y="2763125"/>
                    <a:pt x="535283" y="2763125"/>
                  </a:cubicBezTo>
                  <a:cubicBezTo>
                    <a:pt x="477415" y="2763125"/>
                    <a:pt x="419547" y="2763125"/>
                    <a:pt x="354445" y="2770404"/>
                  </a:cubicBezTo>
                  <a:cubicBezTo>
                    <a:pt x="361678" y="2734010"/>
                    <a:pt x="361678" y="2704894"/>
                    <a:pt x="361678" y="2683057"/>
                  </a:cubicBezTo>
                  <a:cubicBezTo>
                    <a:pt x="368912" y="2632105"/>
                    <a:pt x="361678" y="2610268"/>
                    <a:pt x="361678" y="2610268"/>
                  </a:cubicBezTo>
                  <a:cubicBezTo>
                    <a:pt x="361678" y="2610268"/>
                    <a:pt x="347211" y="2566595"/>
                    <a:pt x="339977" y="2530201"/>
                  </a:cubicBezTo>
                  <a:cubicBezTo>
                    <a:pt x="325510" y="2493806"/>
                    <a:pt x="318277" y="2457412"/>
                    <a:pt x="311043" y="2428296"/>
                  </a:cubicBezTo>
                  <a:cubicBezTo>
                    <a:pt x="303810" y="2399180"/>
                    <a:pt x="303810" y="2384623"/>
                    <a:pt x="296576" y="2340949"/>
                  </a:cubicBezTo>
                  <a:cubicBezTo>
                    <a:pt x="289343" y="2297276"/>
                    <a:pt x="289343" y="2180814"/>
                    <a:pt x="289343" y="2180814"/>
                  </a:cubicBezTo>
                  <a:cubicBezTo>
                    <a:pt x="289343" y="2180814"/>
                    <a:pt x="289343" y="2158977"/>
                    <a:pt x="282109" y="2137140"/>
                  </a:cubicBezTo>
                  <a:cubicBezTo>
                    <a:pt x="274875" y="2122582"/>
                    <a:pt x="274875" y="2100746"/>
                    <a:pt x="274875" y="2100746"/>
                  </a:cubicBezTo>
                  <a:cubicBezTo>
                    <a:pt x="274875" y="2100746"/>
                    <a:pt x="267642" y="2078909"/>
                    <a:pt x="260408" y="2057072"/>
                  </a:cubicBezTo>
                  <a:cubicBezTo>
                    <a:pt x="253175" y="2027957"/>
                    <a:pt x="253175" y="1991562"/>
                    <a:pt x="253175" y="1940610"/>
                  </a:cubicBezTo>
                  <a:cubicBezTo>
                    <a:pt x="245941" y="1882379"/>
                    <a:pt x="260408" y="1816869"/>
                    <a:pt x="260408" y="1816869"/>
                  </a:cubicBezTo>
                  <a:cubicBezTo>
                    <a:pt x="260408" y="1816869"/>
                    <a:pt x="253175" y="1802311"/>
                    <a:pt x="245941" y="1780474"/>
                  </a:cubicBezTo>
                  <a:cubicBezTo>
                    <a:pt x="231474" y="1765916"/>
                    <a:pt x="231474" y="1693127"/>
                    <a:pt x="245941" y="1620338"/>
                  </a:cubicBezTo>
                  <a:cubicBezTo>
                    <a:pt x="267642" y="1540271"/>
                    <a:pt x="311043" y="1482039"/>
                    <a:pt x="311043" y="1482039"/>
                  </a:cubicBezTo>
                  <a:cubicBezTo>
                    <a:pt x="311043" y="1482039"/>
                    <a:pt x="311043" y="1474760"/>
                    <a:pt x="296576" y="1438366"/>
                  </a:cubicBezTo>
                  <a:cubicBezTo>
                    <a:pt x="282109" y="1401971"/>
                    <a:pt x="282109" y="1401971"/>
                    <a:pt x="274875" y="1351019"/>
                  </a:cubicBezTo>
                  <a:cubicBezTo>
                    <a:pt x="267642" y="1307346"/>
                    <a:pt x="267642" y="1314624"/>
                    <a:pt x="253175" y="1300067"/>
                  </a:cubicBezTo>
                  <a:cubicBezTo>
                    <a:pt x="238708" y="1285509"/>
                    <a:pt x="238708" y="1270951"/>
                    <a:pt x="238708" y="1263672"/>
                  </a:cubicBezTo>
                  <a:cubicBezTo>
                    <a:pt x="238708" y="1256393"/>
                    <a:pt x="238708" y="1256393"/>
                    <a:pt x="238708" y="1256393"/>
                  </a:cubicBezTo>
                  <a:cubicBezTo>
                    <a:pt x="231474" y="1256393"/>
                    <a:pt x="231474" y="1249114"/>
                    <a:pt x="202540" y="1249114"/>
                  </a:cubicBezTo>
                  <a:cubicBezTo>
                    <a:pt x="195306" y="1249114"/>
                    <a:pt x="195306" y="1249114"/>
                    <a:pt x="188073" y="1241835"/>
                  </a:cubicBezTo>
                  <a:cubicBezTo>
                    <a:pt x="188073" y="1227278"/>
                    <a:pt x="188073" y="1205441"/>
                    <a:pt x="188073" y="1176325"/>
                  </a:cubicBezTo>
                  <a:cubicBezTo>
                    <a:pt x="195306" y="1132652"/>
                    <a:pt x="217007" y="1074421"/>
                    <a:pt x="224241" y="1059863"/>
                  </a:cubicBezTo>
                  <a:cubicBezTo>
                    <a:pt x="231474" y="1045305"/>
                    <a:pt x="224241" y="1023469"/>
                    <a:pt x="217007" y="994353"/>
                  </a:cubicBezTo>
                  <a:cubicBezTo>
                    <a:pt x="209773" y="972516"/>
                    <a:pt x="202540" y="943401"/>
                    <a:pt x="180839" y="892448"/>
                  </a:cubicBezTo>
                  <a:cubicBezTo>
                    <a:pt x="159139" y="841496"/>
                    <a:pt x="144671" y="746870"/>
                    <a:pt x="144671" y="717755"/>
                  </a:cubicBezTo>
                  <a:cubicBezTo>
                    <a:pt x="137438" y="688639"/>
                    <a:pt x="130204" y="644966"/>
                    <a:pt x="130204" y="652245"/>
                  </a:cubicBezTo>
                  <a:cubicBezTo>
                    <a:pt x="130204" y="659524"/>
                    <a:pt x="122971" y="674082"/>
                    <a:pt x="115737" y="674082"/>
                  </a:cubicBezTo>
                  <a:cubicBezTo>
                    <a:pt x="101270" y="674082"/>
                    <a:pt x="94037" y="644966"/>
                    <a:pt x="94037" y="644966"/>
                  </a:cubicBezTo>
                  <a:cubicBezTo>
                    <a:pt x="94037" y="644966"/>
                    <a:pt x="86803" y="644966"/>
                    <a:pt x="86803" y="623129"/>
                  </a:cubicBezTo>
                  <a:cubicBezTo>
                    <a:pt x="86803" y="608571"/>
                    <a:pt x="79570" y="608571"/>
                    <a:pt x="72336" y="594014"/>
                  </a:cubicBezTo>
                  <a:cubicBezTo>
                    <a:pt x="72336" y="586735"/>
                    <a:pt x="79570" y="579456"/>
                    <a:pt x="79570" y="579456"/>
                  </a:cubicBezTo>
                  <a:cubicBezTo>
                    <a:pt x="79570" y="579456"/>
                    <a:pt x="79570" y="572177"/>
                    <a:pt x="86803" y="557619"/>
                  </a:cubicBezTo>
                  <a:cubicBezTo>
                    <a:pt x="86803" y="550340"/>
                    <a:pt x="79570" y="513946"/>
                    <a:pt x="79570" y="513946"/>
                  </a:cubicBezTo>
                  <a:cubicBezTo>
                    <a:pt x="79570" y="513946"/>
                    <a:pt x="72336" y="513946"/>
                    <a:pt x="65102" y="499388"/>
                  </a:cubicBezTo>
                  <a:cubicBezTo>
                    <a:pt x="57869" y="484830"/>
                    <a:pt x="72336" y="477551"/>
                    <a:pt x="72336" y="477551"/>
                  </a:cubicBezTo>
                  <a:cubicBezTo>
                    <a:pt x="72336" y="477551"/>
                    <a:pt x="57869" y="470272"/>
                    <a:pt x="57869" y="455715"/>
                  </a:cubicBezTo>
                  <a:cubicBezTo>
                    <a:pt x="57869" y="441157"/>
                    <a:pt x="65102" y="441157"/>
                    <a:pt x="65102" y="441157"/>
                  </a:cubicBezTo>
                  <a:cubicBezTo>
                    <a:pt x="65102" y="441157"/>
                    <a:pt x="57869" y="433878"/>
                    <a:pt x="57869" y="419320"/>
                  </a:cubicBezTo>
                  <a:cubicBezTo>
                    <a:pt x="57869" y="412041"/>
                    <a:pt x="72336" y="412041"/>
                    <a:pt x="72336" y="412041"/>
                  </a:cubicBezTo>
                  <a:cubicBezTo>
                    <a:pt x="72336" y="412041"/>
                    <a:pt x="72336" y="412041"/>
                    <a:pt x="72336" y="397483"/>
                  </a:cubicBezTo>
                  <a:cubicBezTo>
                    <a:pt x="72336" y="397483"/>
                    <a:pt x="65102" y="390205"/>
                    <a:pt x="65102" y="382926"/>
                  </a:cubicBezTo>
                  <a:cubicBezTo>
                    <a:pt x="50635" y="375647"/>
                    <a:pt x="43402" y="361089"/>
                    <a:pt x="50635" y="353810"/>
                  </a:cubicBezTo>
                  <a:cubicBezTo>
                    <a:pt x="43402" y="353810"/>
                    <a:pt x="36168" y="353810"/>
                    <a:pt x="36168" y="353810"/>
                  </a:cubicBezTo>
                  <a:cubicBezTo>
                    <a:pt x="21701" y="346531"/>
                    <a:pt x="14468" y="339252"/>
                    <a:pt x="7234" y="331973"/>
                  </a:cubicBezTo>
                  <a:cubicBezTo>
                    <a:pt x="0" y="324694"/>
                    <a:pt x="0" y="317416"/>
                    <a:pt x="7234" y="317416"/>
                  </a:cubicBezTo>
                  <a:cubicBezTo>
                    <a:pt x="14468" y="310137"/>
                    <a:pt x="14468" y="288300"/>
                    <a:pt x="14468" y="288300"/>
                  </a:cubicBezTo>
                  <a:cubicBezTo>
                    <a:pt x="14468" y="273742"/>
                    <a:pt x="0" y="259184"/>
                    <a:pt x="0" y="259184"/>
                  </a:cubicBezTo>
                  <a:cubicBezTo>
                    <a:pt x="0" y="259184"/>
                    <a:pt x="0" y="259184"/>
                    <a:pt x="14468" y="266463"/>
                  </a:cubicBezTo>
                  <a:cubicBezTo>
                    <a:pt x="14468" y="266463"/>
                    <a:pt x="14468" y="266463"/>
                    <a:pt x="7234" y="251905"/>
                  </a:cubicBezTo>
                  <a:cubicBezTo>
                    <a:pt x="7234" y="251905"/>
                    <a:pt x="7234" y="251905"/>
                    <a:pt x="28935" y="251905"/>
                  </a:cubicBezTo>
                  <a:cubicBezTo>
                    <a:pt x="28935" y="251905"/>
                    <a:pt x="28935" y="251905"/>
                    <a:pt x="28935" y="237348"/>
                  </a:cubicBezTo>
                  <a:cubicBezTo>
                    <a:pt x="28935" y="237348"/>
                    <a:pt x="28935" y="237348"/>
                    <a:pt x="57869" y="244627"/>
                  </a:cubicBezTo>
                  <a:cubicBezTo>
                    <a:pt x="57869" y="244627"/>
                    <a:pt x="57869" y="244627"/>
                    <a:pt x="65102" y="230069"/>
                  </a:cubicBezTo>
                  <a:cubicBezTo>
                    <a:pt x="65102" y="230069"/>
                    <a:pt x="65102" y="230069"/>
                    <a:pt x="86803" y="237348"/>
                  </a:cubicBezTo>
                  <a:cubicBezTo>
                    <a:pt x="79570" y="230069"/>
                    <a:pt x="79570" y="222790"/>
                    <a:pt x="72336" y="215511"/>
                  </a:cubicBezTo>
                  <a:cubicBezTo>
                    <a:pt x="65102" y="193674"/>
                    <a:pt x="50635" y="164559"/>
                    <a:pt x="65102" y="142722"/>
                  </a:cubicBezTo>
                  <a:cubicBezTo>
                    <a:pt x="79570" y="120885"/>
                    <a:pt x="86803" y="128164"/>
                    <a:pt x="101270" y="113606"/>
                  </a:cubicBezTo>
                  <a:cubicBezTo>
                    <a:pt x="112120" y="102688"/>
                    <a:pt x="122971" y="91770"/>
                    <a:pt x="133821" y="90064"/>
                  </a:cubicBezTo>
                  <a:close/>
                  <a:moveTo>
                    <a:pt x="11653243" y="14540"/>
                  </a:moveTo>
                  <a:cubicBezTo>
                    <a:pt x="11653243" y="14540"/>
                    <a:pt x="11646013" y="21811"/>
                    <a:pt x="11646013" y="21811"/>
                  </a:cubicBezTo>
                  <a:cubicBezTo>
                    <a:pt x="11646013" y="21811"/>
                    <a:pt x="11646013" y="29081"/>
                    <a:pt x="11646013" y="36351"/>
                  </a:cubicBezTo>
                  <a:cubicBezTo>
                    <a:pt x="11646013" y="87243"/>
                    <a:pt x="11638782" y="123595"/>
                    <a:pt x="11624321" y="152676"/>
                  </a:cubicBezTo>
                  <a:cubicBezTo>
                    <a:pt x="11617091" y="159946"/>
                    <a:pt x="11617091" y="167216"/>
                    <a:pt x="11609861" y="174487"/>
                  </a:cubicBezTo>
                  <a:cubicBezTo>
                    <a:pt x="11602630" y="174487"/>
                    <a:pt x="11602630" y="181757"/>
                    <a:pt x="11602630" y="181757"/>
                  </a:cubicBezTo>
                  <a:cubicBezTo>
                    <a:pt x="11602630" y="181757"/>
                    <a:pt x="11602630" y="181757"/>
                    <a:pt x="11617091" y="181757"/>
                  </a:cubicBezTo>
                  <a:cubicBezTo>
                    <a:pt x="11617091" y="181757"/>
                    <a:pt x="11617091" y="181757"/>
                    <a:pt x="11703856" y="181757"/>
                  </a:cubicBezTo>
                  <a:cubicBezTo>
                    <a:pt x="11696625" y="174487"/>
                    <a:pt x="11689395" y="167216"/>
                    <a:pt x="11682164" y="152676"/>
                  </a:cubicBezTo>
                  <a:cubicBezTo>
                    <a:pt x="11667704" y="123595"/>
                    <a:pt x="11653243" y="87243"/>
                    <a:pt x="11653243" y="36351"/>
                  </a:cubicBezTo>
                  <a:cubicBezTo>
                    <a:pt x="11653243" y="29081"/>
                    <a:pt x="11653243" y="21811"/>
                    <a:pt x="11653243" y="21811"/>
                  </a:cubicBezTo>
                  <a:cubicBezTo>
                    <a:pt x="11653243" y="21811"/>
                    <a:pt x="11653243" y="14540"/>
                    <a:pt x="11653243" y="14540"/>
                  </a:cubicBezTo>
                  <a:close/>
                  <a:moveTo>
                    <a:pt x="11653243" y="0"/>
                  </a:moveTo>
                  <a:cubicBezTo>
                    <a:pt x="11653243" y="0"/>
                    <a:pt x="11660473" y="7270"/>
                    <a:pt x="11667704" y="14540"/>
                  </a:cubicBezTo>
                  <a:cubicBezTo>
                    <a:pt x="11667704" y="21811"/>
                    <a:pt x="11667704" y="29081"/>
                    <a:pt x="11667704" y="36351"/>
                  </a:cubicBezTo>
                  <a:cubicBezTo>
                    <a:pt x="11667704" y="87243"/>
                    <a:pt x="11674934" y="123595"/>
                    <a:pt x="11689395" y="145406"/>
                  </a:cubicBezTo>
                  <a:cubicBezTo>
                    <a:pt x="11703856" y="174487"/>
                    <a:pt x="11725547" y="181757"/>
                    <a:pt x="11747238" y="181757"/>
                  </a:cubicBezTo>
                  <a:cubicBezTo>
                    <a:pt x="11747238" y="181757"/>
                    <a:pt x="11754468" y="181757"/>
                    <a:pt x="11754468" y="189027"/>
                  </a:cubicBezTo>
                  <a:cubicBezTo>
                    <a:pt x="11754468" y="189027"/>
                    <a:pt x="11754468" y="189027"/>
                    <a:pt x="11754468" y="218109"/>
                  </a:cubicBezTo>
                  <a:cubicBezTo>
                    <a:pt x="11754468" y="225379"/>
                    <a:pt x="11747238" y="225379"/>
                    <a:pt x="11747238" y="225379"/>
                  </a:cubicBezTo>
                  <a:cubicBezTo>
                    <a:pt x="11747238" y="225379"/>
                    <a:pt x="11747238" y="225379"/>
                    <a:pt x="11725547" y="225379"/>
                  </a:cubicBezTo>
                  <a:cubicBezTo>
                    <a:pt x="11725547" y="225379"/>
                    <a:pt x="11725547" y="225379"/>
                    <a:pt x="11725547" y="269001"/>
                  </a:cubicBezTo>
                  <a:cubicBezTo>
                    <a:pt x="11740007" y="276271"/>
                    <a:pt x="11747238" y="283541"/>
                    <a:pt x="11747238" y="290811"/>
                  </a:cubicBezTo>
                  <a:cubicBezTo>
                    <a:pt x="11747238" y="290811"/>
                    <a:pt x="11747238" y="290811"/>
                    <a:pt x="11747238" y="298082"/>
                  </a:cubicBezTo>
                  <a:cubicBezTo>
                    <a:pt x="11747238" y="298082"/>
                    <a:pt x="11747238" y="298082"/>
                    <a:pt x="11747238" y="305352"/>
                  </a:cubicBezTo>
                  <a:cubicBezTo>
                    <a:pt x="11747238" y="305352"/>
                    <a:pt x="11747238" y="305352"/>
                    <a:pt x="11747238" y="319893"/>
                  </a:cubicBezTo>
                  <a:cubicBezTo>
                    <a:pt x="11747238" y="334433"/>
                    <a:pt x="11747238" y="348974"/>
                    <a:pt x="11740007" y="356244"/>
                  </a:cubicBezTo>
                  <a:cubicBezTo>
                    <a:pt x="11740007" y="363514"/>
                    <a:pt x="11732777" y="363514"/>
                    <a:pt x="11732777" y="370785"/>
                  </a:cubicBezTo>
                  <a:cubicBezTo>
                    <a:pt x="11732777" y="370785"/>
                    <a:pt x="11725547" y="370785"/>
                    <a:pt x="11725547" y="378055"/>
                  </a:cubicBezTo>
                  <a:cubicBezTo>
                    <a:pt x="11725547" y="378055"/>
                    <a:pt x="11718316" y="378055"/>
                    <a:pt x="11718316" y="385325"/>
                  </a:cubicBezTo>
                  <a:cubicBezTo>
                    <a:pt x="11718316" y="385325"/>
                    <a:pt x="11718316" y="385325"/>
                    <a:pt x="11711086" y="392596"/>
                  </a:cubicBezTo>
                  <a:cubicBezTo>
                    <a:pt x="11711086" y="392596"/>
                    <a:pt x="11711086" y="392596"/>
                    <a:pt x="11711086" y="399866"/>
                  </a:cubicBezTo>
                  <a:cubicBezTo>
                    <a:pt x="11711086" y="399866"/>
                    <a:pt x="11711086" y="399866"/>
                    <a:pt x="11711086" y="414406"/>
                  </a:cubicBezTo>
                  <a:cubicBezTo>
                    <a:pt x="11711086" y="414406"/>
                    <a:pt x="11711086" y="414406"/>
                    <a:pt x="11718316" y="428947"/>
                  </a:cubicBezTo>
                  <a:cubicBezTo>
                    <a:pt x="11718316" y="428947"/>
                    <a:pt x="11718316" y="428947"/>
                    <a:pt x="11718316" y="443488"/>
                  </a:cubicBezTo>
                  <a:cubicBezTo>
                    <a:pt x="11718316" y="443488"/>
                    <a:pt x="11718316" y="443488"/>
                    <a:pt x="11718316" y="465298"/>
                  </a:cubicBezTo>
                  <a:cubicBezTo>
                    <a:pt x="11718316" y="465298"/>
                    <a:pt x="11718316" y="465298"/>
                    <a:pt x="11718316" y="479839"/>
                  </a:cubicBezTo>
                  <a:cubicBezTo>
                    <a:pt x="11718316" y="479839"/>
                    <a:pt x="11718316" y="479839"/>
                    <a:pt x="11718316" y="494380"/>
                  </a:cubicBezTo>
                  <a:cubicBezTo>
                    <a:pt x="11718316" y="494380"/>
                    <a:pt x="11718316" y="494380"/>
                    <a:pt x="11718316" y="501650"/>
                  </a:cubicBezTo>
                  <a:cubicBezTo>
                    <a:pt x="11718316" y="501650"/>
                    <a:pt x="11718316" y="501650"/>
                    <a:pt x="11718316" y="516191"/>
                  </a:cubicBezTo>
                  <a:cubicBezTo>
                    <a:pt x="11718316" y="516191"/>
                    <a:pt x="11718316" y="516191"/>
                    <a:pt x="11725547" y="538001"/>
                  </a:cubicBezTo>
                  <a:cubicBezTo>
                    <a:pt x="11725547" y="538001"/>
                    <a:pt x="11725547" y="538001"/>
                    <a:pt x="11725547" y="545272"/>
                  </a:cubicBezTo>
                  <a:cubicBezTo>
                    <a:pt x="11725547" y="545272"/>
                    <a:pt x="11725547" y="545272"/>
                    <a:pt x="11725547" y="559812"/>
                  </a:cubicBezTo>
                  <a:cubicBezTo>
                    <a:pt x="11725547" y="559812"/>
                    <a:pt x="11725547" y="559812"/>
                    <a:pt x="11725547" y="567083"/>
                  </a:cubicBezTo>
                  <a:cubicBezTo>
                    <a:pt x="11725547" y="567083"/>
                    <a:pt x="11725547" y="567083"/>
                    <a:pt x="11725547" y="574353"/>
                  </a:cubicBezTo>
                  <a:cubicBezTo>
                    <a:pt x="11725547" y="574353"/>
                    <a:pt x="11725547" y="574353"/>
                    <a:pt x="11725547" y="588893"/>
                  </a:cubicBezTo>
                  <a:cubicBezTo>
                    <a:pt x="11725547" y="588893"/>
                    <a:pt x="11725547" y="588893"/>
                    <a:pt x="11725547" y="603434"/>
                  </a:cubicBezTo>
                  <a:cubicBezTo>
                    <a:pt x="11725547" y="603434"/>
                    <a:pt x="11725547" y="603434"/>
                    <a:pt x="11725547" y="610704"/>
                  </a:cubicBezTo>
                  <a:cubicBezTo>
                    <a:pt x="11725547" y="610704"/>
                    <a:pt x="11725547" y="610704"/>
                    <a:pt x="11725547" y="617975"/>
                  </a:cubicBezTo>
                  <a:cubicBezTo>
                    <a:pt x="11725547" y="617975"/>
                    <a:pt x="11725547" y="617975"/>
                    <a:pt x="11725547" y="625245"/>
                  </a:cubicBezTo>
                  <a:cubicBezTo>
                    <a:pt x="11725547" y="625245"/>
                    <a:pt x="11725547" y="625245"/>
                    <a:pt x="11725547" y="632515"/>
                  </a:cubicBezTo>
                  <a:cubicBezTo>
                    <a:pt x="11725547" y="632515"/>
                    <a:pt x="11725547" y="632515"/>
                    <a:pt x="11725547" y="639785"/>
                  </a:cubicBezTo>
                  <a:cubicBezTo>
                    <a:pt x="11725547" y="639785"/>
                    <a:pt x="11725547" y="639785"/>
                    <a:pt x="11732777" y="661596"/>
                  </a:cubicBezTo>
                  <a:cubicBezTo>
                    <a:pt x="11732777" y="661596"/>
                    <a:pt x="11732777" y="661596"/>
                    <a:pt x="11732777" y="668867"/>
                  </a:cubicBezTo>
                  <a:cubicBezTo>
                    <a:pt x="11732777" y="668867"/>
                    <a:pt x="11732777" y="668867"/>
                    <a:pt x="11732777" y="676137"/>
                  </a:cubicBezTo>
                  <a:cubicBezTo>
                    <a:pt x="11732777" y="676137"/>
                    <a:pt x="11732777" y="676137"/>
                    <a:pt x="11732777" y="683407"/>
                  </a:cubicBezTo>
                  <a:cubicBezTo>
                    <a:pt x="11732777" y="683407"/>
                    <a:pt x="11732777" y="683407"/>
                    <a:pt x="11732777" y="690677"/>
                  </a:cubicBezTo>
                  <a:cubicBezTo>
                    <a:pt x="11732777" y="690677"/>
                    <a:pt x="11732777" y="690677"/>
                    <a:pt x="11732777" y="705218"/>
                  </a:cubicBezTo>
                  <a:cubicBezTo>
                    <a:pt x="11732777" y="705218"/>
                    <a:pt x="11732777" y="705218"/>
                    <a:pt x="11732777" y="719759"/>
                  </a:cubicBezTo>
                  <a:cubicBezTo>
                    <a:pt x="11732777" y="719759"/>
                    <a:pt x="11732777" y="719759"/>
                    <a:pt x="11732777" y="727029"/>
                  </a:cubicBezTo>
                  <a:cubicBezTo>
                    <a:pt x="11732777" y="727029"/>
                    <a:pt x="11732777" y="727029"/>
                    <a:pt x="11740007" y="748840"/>
                  </a:cubicBezTo>
                  <a:cubicBezTo>
                    <a:pt x="11740007" y="748840"/>
                    <a:pt x="11740007" y="748840"/>
                    <a:pt x="11740007" y="756110"/>
                  </a:cubicBezTo>
                  <a:cubicBezTo>
                    <a:pt x="11740007" y="756110"/>
                    <a:pt x="11740007" y="756110"/>
                    <a:pt x="11740007" y="763380"/>
                  </a:cubicBezTo>
                  <a:cubicBezTo>
                    <a:pt x="11740007" y="763380"/>
                    <a:pt x="11740007" y="763380"/>
                    <a:pt x="11740007" y="770651"/>
                  </a:cubicBezTo>
                  <a:cubicBezTo>
                    <a:pt x="11740007" y="770651"/>
                    <a:pt x="11740007" y="770651"/>
                    <a:pt x="11740007" y="777921"/>
                  </a:cubicBezTo>
                  <a:cubicBezTo>
                    <a:pt x="11740007" y="777921"/>
                    <a:pt x="11740007" y="777921"/>
                    <a:pt x="11740007" y="785191"/>
                  </a:cubicBezTo>
                  <a:cubicBezTo>
                    <a:pt x="11740007" y="785191"/>
                    <a:pt x="11740007" y="785191"/>
                    <a:pt x="11740007" y="792462"/>
                  </a:cubicBezTo>
                  <a:cubicBezTo>
                    <a:pt x="11740007" y="792462"/>
                    <a:pt x="11740007" y="792462"/>
                    <a:pt x="11740007" y="799732"/>
                  </a:cubicBezTo>
                  <a:cubicBezTo>
                    <a:pt x="11740007" y="799732"/>
                    <a:pt x="11740007" y="799732"/>
                    <a:pt x="11740007" y="807002"/>
                  </a:cubicBezTo>
                  <a:cubicBezTo>
                    <a:pt x="11740007" y="807002"/>
                    <a:pt x="11740007" y="807002"/>
                    <a:pt x="11740007" y="814272"/>
                  </a:cubicBezTo>
                  <a:cubicBezTo>
                    <a:pt x="11740007" y="814272"/>
                    <a:pt x="11740007" y="814272"/>
                    <a:pt x="11740007" y="828813"/>
                  </a:cubicBezTo>
                  <a:cubicBezTo>
                    <a:pt x="11740007" y="828813"/>
                    <a:pt x="11740007" y="828813"/>
                    <a:pt x="11747238" y="850624"/>
                  </a:cubicBezTo>
                  <a:cubicBezTo>
                    <a:pt x="11747238" y="850624"/>
                    <a:pt x="11747238" y="850624"/>
                    <a:pt x="11747238" y="857894"/>
                  </a:cubicBezTo>
                  <a:cubicBezTo>
                    <a:pt x="11747238" y="857894"/>
                    <a:pt x="11747238" y="857894"/>
                    <a:pt x="11747238" y="865164"/>
                  </a:cubicBezTo>
                  <a:cubicBezTo>
                    <a:pt x="11747238" y="865164"/>
                    <a:pt x="11747238" y="865164"/>
                    <a:pt x="11747238" y="872435"/>
                  </a:cubicBezTo>
                  <a:cubicBezTo>
                    <a:pt x="11747238" y="879705"/>
                    <a:pt x="11747238" y="879705"/>
                    <a:pt x="11747238" y="879705"/>
                  </a:cubicBezTo>
                  <a:cubicBezTo>
                    <a:pt x="11747238" y="879705"/>
                    <a:pt x="11747238" y="879705"/>
                    <a:pt x="11747238" y="894246"/>
                  </a:cubicBezTo>
                  <a:cubicBezTo>
                    <a:pt x="11747238" y="894246"/>
                    <a:pt x="11747238" y="894246"/>
                    <a:pt x="11747238" y="908786"/>
                  </a:cubicBezTo>
                  <a:cubicBezTo>
                    <a:pt x="11747238" y="908786"/>
                    <a:pt x="11747238" y="908786"/>
                    <a:pt x="11747238" y="930597"/>
                  </a:cubicBezTo>
                  <a:cubicBezTo>
                    <a:pt x="11747238" y="930597"/>
                    <a:pt x="11747238" y="930597"/>
                    <a:pt x="11747238" y="937867"/>
                  </a:cubicBezTo>
                  <a:cubicBezTo>
                    <a:pt x="11747238" y="937867"/>
                    <a:pt x="11747238" y="937867"/>
                    <a:pt x="11754468" y="945138"/>
                  </a:cubicBezTo>
                  <a:cubicBezTo>
                    <a:pt x="11754468" y="945138"/>
                    <a:pt x="11754468" y="945138"/>
                    <a:pt x="11754468" y="952408"/>
                  </a:cubicBezTo>
                  <a:cubicBezTo>
                    <a:pt x="11754468" y="952408"/>
                    <a:pt x="11754468" y="959678"/>
                    <a:pt x="11754468" y="959678"/>
                  </a:cubicBezTo>
                  <a:cubicBezTo>
                    <a:pt x="11754468" y="959678"/>
                    <a:pt x="11754468" y="959678"/>
                    <a:pt x="11754468" y="974219"/>
                  </a:cubicBezTo>
                  <a:cubicBezTo>
                    <a:pt x="11754468" y="974219"/>
                    <a:pt x="11754468" y="974219"/>
                    <a:pt x="11754468" y="988759"/>
                  </a:cubicBezTo>
                  <a:cubicBezTo>
                    <a:pt x="11754468" y="988759"/>
                    <a:pt x="11754468" y="988759"/>
                    <a:pt x="11754468" y="1017841"/>
                  </a:cubicBezTo>
                  <a:cubicBezTo>
                    <a:pt x="11754468" y="1017841"/>
                    <a:pt x="11754468" y="1017841"/>
                    <a:pt x="11761699" y="1032381"/>
                  </a:cubicBezTo>
                  <a:cubicBezTo>
                    <a:pt x="11761699" y="1032381"/>
                    <a:pt x="11761699" y="1032381"/>
                    <a:pt x="11761699" y="1046922"/>
                  </a:cubicBezTo>
                  <a:cubicBezTo>
                    <a:pt x="11761699" y="1046922"/>
                    <a:pt x="11761699" y="1046922"/>
                    <a:pt x="11761699" y="1061462"/>
                  </a:cubicBezTo>
                  <a:cubicBezTo>
                    <a:pt x="11761699" y="1061462"/>
                    <a:pt x="11761699" y="1061462"/>
                    <a:pt x="11761699" y="1076003"/>
                  </a:cubicBezTo>
                  <a:cubicBezTo>
                    <a:pt x="11761699" y="1076003"/>
                    <a:pt x="11761699" y="1076003"/>
                    <a:pt x="11761699" y="1083273"/>
                  </a:cubicBezTo>
                  <a:cubicBezTo>
                    <a:pt x="11761699" y="1083273"/>
                    <a:pt x="11761699" y="1083273"/>
                    <a:pt x="11761699" y="1097814"/>
                  </a:cubicBezTo>
                  <a:cubicBezTo>
                    <a:pt x="11761699" y="1097814"/>
                    <a:pt x="11761699" y="1097814"/>
                    <a:pt x="11761699" y="1112354"/>
                  </a:cubicBezTo>
                  <a:cubicBezTo>
                    <a:pt x="11761699" y="1112354"/>
                    <a:pt x="11761699" y="1112354"/>
                    <a:pt x="11768929" y="1126895"/>
                  </a:cubicBezTo>
                  <a:cubicBezTo>
                    <a:pt x="11768929" y="1126895"/>
                    <a:pt x="11768929" y="1126895"/>
                    <a:pt x="11768929" y="1141436"/>
                  </a:cubicBezTo>
                  <a:cubicBezTo>
                    <a:pt x="11768929" y="1141436"/>
                    <a:pt x="11768929" y="1141436"/>
                    <a:pt x="11768929" y="1155976"/>
                  </a:cubicBezTo>
                  <a:cubicBezTo>
                    <a:pt x="11768929" y="1155976"/>
                    <a:pt x="11768929" y="1155976"/>
                    <a:pt x="11768929" y="1170517"/>
                  </a:cubicBezTo>
                  <a:cubicBezTo>
                    <a:pt x="11768929" y="1170517"/>
                    <a:pt x="11768929" y="1170517"/>
                    <a:pt x="11768929" y="1177787"/>
                  </a:cubicBezTo>
                  <a:cubicBezTo>
                    <a:pt x="11768929" y="1177787"/>
                    <a:pt x="11768929" y="1177787"/>
                    <a:pt x="11768929" y="1185057"/>
                  </a:cubicBezTo>
                  <a:cubicBezTo>
                    <a:pt x="11768929" y="1185057"/>
                    <a:pt x="11768929" y="1185057"/>
                    <a:pt x="11768929" y="1199598"/>
                  </a:cubicBezTo>
                  <a:cubicBezTo>
                    <a:pt x="11768929" y="1199598"/>
                    <a:pt x="11768929" y="1199598"/>
                    <a:pt x="11776159" y="1228679"/>
                  </a:cubicBezTo>
                  <a:cubicBezTo>
                    <a:pt x="11776159" y="1228679"/>
                    <a:pt x="11776159" y="1228679"/>
                    <a:pt x="11776159" y="1243220"/>
                  </a:cubicBezTo>
                  <a:cubicBezTo>
                    <a:pt x="11776159" y="1243220"/>
                    <a:pt x="11776159" y="1243220"/>
                    <a:pt x="11776159" y="1272301"/>
                  </a:cubicBezTo>
                  <a:cubicBezTo>
                    <a:pt x="11776159" y="1272301"/>
                    <a:pt x="11776159" y="1272301"/>
                    <a:pt x="11783390" y="1301382"/>
                  </a:cubicBezTo>
                  <a:cubicBezTo>
                    <a:pt x="11783390" y="1301382"/>
                    <a:pt x="11783390" y="1301382"/>
                    <a:pt x="11783390" y="1308652"/>
                  </a:cubicBezTo>
                  <a:cubicBezTo>
                    <a:pt x="11783390" y="1308652"/>
                    <a:pt x="11783390" y="1308652"/>
                    <a:pt x="11783390" y="1315922"/>
                  </a:cubicBezTo>
                  <a:cubicBezTo>
                    <a:pt x="11783390" y="1315922"/>
                    <a:pt x="11783390" y="1315922"/>
                    <a:pt x="11783390" y="1323193"/>
                  </a:cubicBezTo>
                  <a:cubicBezTo>
                    <a:pt x="11783390" y="1323193"/>
                    <a:pt x="11783390" y="1323193"/>
                    <a:pt x="11783390" y="1337733"/>
                  </a:cubicBezTo>
                  <a:cubicBezTo>
                    <a:pt x="11783390" y="1337733"/>
                    <a:pt x="11783390" y="1337733"/>
                    <a:pt x="11790620" y="1359544"/>
                  </a:cubicBezTo>
                  <a:cubicBezTo>
                    <a:pt x="11790620" y="1359544"/>
                    <a:pt x="11790620" y="1359544"/>
                    <a:pt x="11790620" y="1381355"/>
                  </a:cubicBezTo>
                  <a:cubicBezTo>
                    <a:pt x="11790620" y="1381355"/>
                    <a:pt x="11790620" y="1388625"/>
                    <a:pt x="11790620" y="1388625"/>
                  </a:cubicBezTo>
                  <a:cubicBezTo>
                    <a:pt x="11790620" y="1388625"/>
                    <a:pt x="11790620" y="1388625"/>
                    <a:pt x="11790620" y="1395896"/>
                  </a:cubicBezTo>
                  <a:cubicBezTo>
                    <a:pt x="11790620" y="1395896"/>
                    <a:pt x="11790620" y="1395896"/>
                    <a:pt x="11790620" y="1410436"/>
                  </a:cubicBezTo>
                  <a:cubicBezTo>
                    <a:pt x="11790620" y="1410436"/>
                    <a:pt x="11790620" y="1410436"/>
                    <a:pt x="11797851" y="1432247"/>
                  </a:cubicBezTo>
                  <a:cubicBezTo>
                    <a:pt x="11797851" y="1432247"/>
                    <a:pt x="11797851" y="1432247"/>
                    <a:pt x="11797851" y="1446788"/>
                  </a:cubicBezTo>
                  <a:cubicBezTo>
                    <a:pt x="11797851" y="1446788"/>
                    <a:pt x="11797851" y="1446788"/>
                    <a:pt x="11797851" y="1468599"/>
                  </a:cubicBezTo>
                  <a:cubicBezTo>
                    <a:pt x="11797851" y="1468599"/>
                    <a:pt x="11797851" y="1468599"/>
                    <a:pt x="11797851" y="1483139"/>
                  </a:cubicBezTo>
                  <a:cubicBezTo>
                    <a:pt x="11797851" y="1483139"/>
                    <a:pt x="11797851" y="1483139"/>
                    <a:pt x="11805081" y="1504950"/>
                  </a:cubicBezTo>
                  <a:cubicBezTo>
                    <a:pt x="11805081" y="1512220"/>
                    <a:pt x="11805081" y="1526761"/>
                    <a:pt x="11805081" y="1534031"/>
                  </a:cubicBezTo>
                  <a:cubicBezTo>
                    <a:pt x="11805081" y="1548572"/>
                    <a:pt x="11812311" y="1563112"/>
                    <a:pt x="11812311" y="1570383"/>
                  </a:cubicBezTo>
                  <a:cubicBezTo>
                    <a:pt x="11812311" y="1570383"/>
                    <a:pt x="11812311" y="1570383"/>
                    <a:pt x="11812311" y="1584923"/>
                  </a:cubicBezTo>
                  <a:cubicBezTo>
                    <a:pt x="11812311" y="1592194"/>
                    <a:pt x="11812311" y="1599464"/>
                    <a:pt x="11812311" y="1606734"/>
                  </a:cubicBezTo>
                  <a:cubicBezTo>
                    <a:pt x="11819542" y="1614004"/>
                    <a:pt x="11819542" y="1621275"/>
                    <a:pt x="11819542" y="1628545"/>
                  </a:cubicBezTo>
                  <a:cubicBezTo>
                    <a:pt x="11819542" y="1650356"/>
                    <a:pt x="11819542" y="1664896"/>
                    <a:pt x="11826772" y="1679437"/>
                  </a:cubicBezTo>
                  <a:cubicBezTo>
                    <a:pt x="11826772" y="1679437"/>
                    <a:pt x="11826772" y="1679437"/>
                    <a:pt x="11826772" y="1686707"/>
                  </a:cubicBezTo>
                  <a:cubicBezTo>
                    <a:pt x="11826772" y="1693978"/>
                    <a:pt x="11826772" y="1708518"/>
                    <a:pt x="11834002" y="1723059"/>
                  </a:cubicBezTo>
                  <a:cubicBezTo>
                    <a:pt x="11834002" y="1730329"/>
                    <a:pt x="11834002" y="1737599"/>
                    <a:pt x="11834002" y="1752140"/>
                  </a:cubicBezTo>
                  <a:cubicBezTo>
                    <a:pt x="11841233" y="1766681"/>
                    <a:pt x="11841233" y="1781221"/>
                    <a:pt x="11841233" y="1795762"/>
                  </a:cubicBezTo>
                  <a:cubicBezTo>
                    <a:pt x="11841233" y="1795762"/>
                    <a:pt x="11841233" y="1795762"/>
                    <a:pt x="11841233" y="1803032"/>
                  </a:cubicBezTo>
                  <a:cubicBezTo>
                    <a:pt x="11848463" y="1832113"/>
                    <a:pt x="11855694" y="1853924"/>
                    <a:pt x="11855694" y="1875735"/>
                  </a:cubicBezTo>
                  <a:cubicBezTo>
                    <a:pt x="11855694" y="1875735"/>
                    <a:pt x="11855694" y="1875735"/>
                    <a:pt x="11855694" y="1890275"/>
                  </a:cubicBezTo>
                  <a:cubicBezTo>
                    <a:pt x="11855694" y="1890275"/>
                    <a:pt x="11855694" y="1890275"/>
                    <a:pt x="11870154" y="1890275"/>
                  </a:cubicBezTo>
                  <a:cubicBezTo>
                    <a:pt x="11870154" y="1890275"/>
                    <a:pt x="11870154" y="1890275"/>
                    <a:pt x="11906306" y="1890275"/>
                  </a:cubicBezTo>
                  <a:cubicBezTo>
                    <a:pt x="11913537" y="1890275"/>
                    <a:pt x="11913537" y="1890275"/>
                    <a:pt x="11913537" y="1897546"/>
                  </a:cubicBezTo>
                  <a:cubicBezTo>
                    <a:pt x="11913537" y="1897546"/>
                    <a:pt x="11913537" y="1897546"/>
                    <a:pt x="11913537" y="1912086"/>
                  </a:cubicBezTo>
                  <a:cubicBezTo>
                    <a:pt x="11913537" y="1912086"/>
                    <a:pt x="11913537" y="1912086"/>
                    <a:pt x="11913537" y="1926627"/>
                  </a:cubicBezTo>
                  <a:cubicBezTo>
                    <a:pt x="11913537" y="1926627"/>
                    <a:pt x="11913537" y="1926627"/>
                    <a:pt x="11906306" y="1933897"/>
                  </a:cubicBezTo>
                  <a:cubicBezTo>
                    <a:pt x="11906306" y="1933897"/>
                    <a:pt x="11906306" y="1933897"/>
                    <a:pt x="11899076" y="1962978"/>
                  </a:cubicBezTo>
                  <a:cubicBezTo>
                    <a:pt x="11899076" y="1962978"/>
                    <a:pt x="11899076" y="1962978"/>
                    <a:pt x="11891845" y="1999330"/>
                  </a:cubicBezTo>
                  <a:cubicBezTo>
                    <a:pt x="11891845" y="1999330"/>
                    <a:pt x="11891845" y="1999330"/>
                    <a:pt x="11884615" y="2013870"/>
                  </a:cubicBezTo>
                  <a:cubicBezTo>
                    <a:pt x="11884615" y="2013870"/>
                    <a:pt x="11884615" y="2013870"/>
                    <a:pt x="11884615" y="2021141"/>
                  </a:cubicBezTo>
                  <a:cubicBezTo>
                    <a:pt x="11891845" y="2050222"/>
                    <a:pt x="11899076" y="2072033"/>
                    <a:pt x="11906306" y="2101114"/>
                  </a:cubicBezTo>
                  <a:cubicBezTo>
                    <a:pt x="11913537" y="2122925"/>
                    <a:pt x="11920767" y="2144736"/>
                    <a:pt x="11927997" y="2166547"/>
                  </a:cubicBezTo>
                  <a:cubicBezTo>
                    <a:pt x="11927997" y="2188357"/>
                    <a:pt x="11935228" y="2202898"/>
                    <a:pt x="11942458" y="2224709"/>
                  </a:cubicBezTo>
                  <a:cubicBezTo>
                    <a:pt x="11949689" y="2231979"/>
                    <a:pt x="11949689" y="2239250"/>
                    <a:pt x="11949689" y="2246520"/>
                  </a:cubicBezTo>
                  <a:cubicBezTo>
                    <a:pt x="11949689" y="2246520"/>
                    <a:pt x="11956919" y="2253790"/>
                    <a:pt x="11956919" y="2253790"/>
                  </a:cubicBezTo>
                  <a:cubicBezTo>
                    <a:pt x="11956919" y="2253790"/>
                    <a:pt x="11956919" y="2253790"/>
                    <a:pt x="11956919" y="2261060"/>
                  </a:cubicBezTo>
                  <a:cubicBezTo>
                    <a:pt x="11956919" y="2268331"/>
                    <a:pt x="11964149" y="2275601"/>
                    <a:pt x="11964149" y="2282871"/>
                  </a:cubicBezTo>
                  <a:cubicBezTo>
                    <a:pt x="11971380" y="2290142"/>
                    <a:pt x="11971380" y="2297412"/>
                    <a:pt x="11978610" y="2311952"/>
                  </a:cubicBezTo>
                  <a:cubicBezTo>
                    <a:pt x="11978610" y="2319223"/>
                    <a:pt x="11985840" y="2333763"/>
                    <a:pt x="11993071" y="2341034"/>
                  </a:cubicBezTo>
                  <a:cubicBezTo>
                    <a:pt x="11993071" y="2348304"/>
                    <a:pt x="12000301" y="2362844"/>
                    <a:pt x="12000301" y="2370115"/>
                  </a:cubicBezTo>
                  <a:cubicBezTo>
                    <a:pt x="12007532" y="2377385"/>
                    <a:pt x="12007532" y="2384655"/>
                    <a:pt x="12014762" y="2391926"/>
                  </a:cubicBezTo>
                  <a:cubicBezTo>
                    <a:pt x="12021992" y="2399196"/>
                    <a:pt x="12021992" y="2413736"/>
                    <a:pt x="12029223" y="2421007"/>
                  </a:cubicBezTo>
                  <a:cubicBezTo>
                    <a:pt x="12029223" y="2421007"/>
                    <a:pt x="12029223" y="2428277"/>
                    <a:pt x="12036453" y="2435547"/>
                  </a:cubicBezTo>
                  <a:cubicBezTo>
                    <a:pt x="12043683" y="2450088"/>
                    <a:pt x="12050914" y="2464629"/>
                    <a:pt x="12058144" y="2479169"/>
                  </a:cubicBezTo>
                  <a:cubicBezTo>
                    <a:pt x="12058144" y="2479169"/>
                    <a:pt x="12058144" y="2479169"/>
                    <a:pt x="12079835" y="2479169"/>
                  </a:cubicBezTo>
                  <a:cubicBezTo>
                    <a:pt x="12079835" y="2479169"/>
                    <a:pt x="12079835" y="2479169"/>
                    <a:pt x="12087066" y="2479169"/>
                  </a:cubicBezTo>
                  <a:cubicBezTo>
                    <a:pt x="12087066" y="2479169"/>
                    <a:pt x="12087066" y="2479169"/>
                    <a:pt x="12094296" y="2479169"/>
                  </a:cubicBezTo>
                  <a:cubicBezTo>
                    <a:pt x="12094296" y="2479169"/>
                    <a:pt x="12101527" y="2479169"/>
                    <a:pt x="12101527" y="2486439"/>
                  </a:cubicBezTo>
                  <a:cubicBezTo>
                    <a:pt x="12101527" y="2486439"/>
                    <a:pt x="12101527" y="2486439"/>
                    <a:pt x="12101527" y="2493710"/>
                  </a:cubicBezTo>
                  <a:cubicBezTo>
                    <a:pt x="12101527" y="2493710"/>
                    <a:pt x="12101527" y="2493710"/>
                    <a:pt x="12101527" y="2522791"/>
                  </a:cubicBezTo>
                  <a:cubicBezTo>
                    <a:pt x="12101527" y="2522791"/>
                    <a:pt x="12101527" y="2522791"/>
                    <a:pt x="12101527" y="2537331"/>
                  </a:cubicBezTo>
                  <a:cubicBezTo>
                    <a:pt x="12101527" y="2537331"/>
                    <a:pt x="12101527" y="2537331"/>
                    <a:pt x="12101527" y="2559142"/>
                  </a:cubicBezTo>
                  <a:cubicBezTo>
                    <a:pt x="12101527" y="2559142"/>
                    <a:pt x="12101527" y="2559142"/>
                    <a:pt x="12101527" y="2566413"/>
                  </a:cubicBezTo>
                  <a:cubicBezTo>
                    <a:pt x="12101527" y="2566413"/>
                    <a:pt x="12101527" y="2566413"/>
                    <a:pt x="12101527" y="2573683"/>
                  </a:cubicBezTo>
                  <a:cubicBezTo>
                    <a:pt x="12101527" y="2573683"/>
                    <a:pt x="12101527" y="2573683"/>
                    <a:pt x="12101527" y="2580953"/>
                  </a:cubicBezTo>
                  <a:cubicBezTo>
                    <a:pt x="12101527" y="2580953"/>
                    <a:pt x="12101527" y="2580953"/>
                    <a:pt x="12101527" y="2595494"/>
                  </a:cubicBezTo>
                  <a:cubicBezTo>
                    <a:pt x="12101527" y="2595494"/>
                    <a:pt x="12101527" y="2595494"/>
                    <a:pt x="12101527" y="2610034"/>
                  </a:cubicBezTo>
                  <a:cubicBezTo>
                    <a:pt x="12101527" y="2610034"/>
                    <a:pt x="12101527" y="2610034"/>
                    <a:pt x="12101527" y="2624575"/>
                  </a:cubicBezTo>
                  <a:cubicBezTo>
                    <a:pt x="12101527" y="2624575"/>
                    <a:pt x="12101527" y="2624575"/>
                    <a:pt x="12101527" y="2631845"/>
                  </a:cubicBezTo>
                  <a:cubicBezTo>
                    <a:pt x="12101527" y="2631845"/>
                    <a:pt x="12101527" y="2631845"/>
                    <a:pt x="12101527" y="2639116"/>
                  </a:cubicBezTo>
                  <a:cubicBezTo>
                    <a:pt x="12101527" y="2639116"/>
                    <a:pt x="12101527" y="2639116"/>
                    <a:pt x="12115987" y="2660926"/>
                  </a:cubicBezTo>
                  <a:cubicBezTo>
                    <a:pt x="12115987" y="2660926"/>
                    <a:pt x="12115987" y="2660926"/>
                    <a:pt x="12137679" y="2697278"/>
                  </a:cubicBezTo>
                  <a:cubicBezTo>
                    <a:pt x="12137679" y="2697278"/>
                    <a:pt x="12137679" y="2697278"/>
                    <a:pt x="12152139" y="2711819"/>
                  </a:cubicBezTo>
                  <a:cubicBezTo>
                    <a:pt x="12152139" y="2711819"/>
                    <a:pt x="12152139" y="2711819"/>
                    <a:pt x="12159370" y="2733630"/>
                  </a:cubicBezTo>
                  <a:cubicBezTo>
                    <a:pt x="12159370" y="2733630"/>
                    <a:pt x="12159370" y="2733630"/>
                    <a:pt x="12166600" y="2740900"/>
                  </a:cubicBezTo>
                  <a:cubicBezTo>
                    <a:pt x="12166600" y="2740900"/>
                    <a:pt x="12166600" y="2748170"/>
                    <a:pt x="12166600" y="2748170"/>
                  </a:cubicBezTo>
                  <a:cubicBezTo>
                    <a:pt x="12166600" y="2748170"/>
                    <a:pt x="12166600" y="2748170"/>
                    <a:pt x="11978610" y="2748170"/>
                  </a:cubicBezTo>
                  <a:cubicBezTo>
                    <a:pt x="11978610" y="2748170"/>
                    <a:pt x="11978610" y="2748170"/>
                    <a:pt x="11971380" y="2733630"/>
                  </a:cubicBezTo>
                  <a:cubicBezTo>
                    <a:pt x="11971380" y="2733630"/>
                    <a:pt x="11971380" y="2733630"/>
                    <a:pt x="11964149" y="2740900"/>
                  </a:cubicBezTo>
                  <a:cubicBezTo>
                    <a:pt x="11964149" y="2740900"/>
                    <a:pt x="11964149" y="2740900"/>
                    <a:pt x="11964149" y="2748170"/>
                  </a:cubicBezTo>
                  <a:cubicBezTo>
                    <a:pt x="11964149" y="2748170"/>
                    <a:pt x="11964149" y="2748170"/>
                    <a:pt x="11949689" y="2748170"/>
                  </a:cubicBezTo>
                  <a:cubicBezTo>
                    <a:pt x="11949689" y="2748170"/>
                    <a:pt x="11949689" y="2748170"/>
                    <a:pt x="11949689" y="2740900"/>
                  </a:cubicBezTo>
                  <a:cubicBezTo>
                    <a:pt x="11949689" y="2740900"/>
                    <a:pt x="11949689" y="2740900"/>
                    <a:pt x="11956919" y="2733630"/>
                  </a:cubicBezTo>
                  <a:cubicBezTo>
                    <a:pt x="11956919" y="2733630"/>
                    <a:pt x="11956919" y="2733630"/>
                    <a:pt x="11964149" y="2726359"/>
                  </a:cubicBezTo>
                  <a:cubicBezTo>
                    <a:pt x="11964149" y="2726359"/>
                    <a:pt x="11964149" y="2726359"/>
                    <a:pt x="11949689" y="2726359"/>
                  </a:cubicBezTo>
                  <a:cubicBezTo>
                    <a:pt x="11949689" y="2726359"/>
                    <a:pt x="11949689" y="2726359"/>
                    <a:pt x="11942458" y="2726359"/>
                  </a:cubicBezTo>
                  <a:cubicBezTo>
                    <a:pt x="11942458" y="2726359"/>
                    <a:pt x="11942458" y="2726359"/>
                    <a:pt x="11935228" y="2726359"/>
                  </a:cubicBezTo>
                  <a:cubicBezTo>
                    <a:pt x="11935228" y="2726359"/>
                    <a:pt x="11935228" y="2726359"/>
                    <a:pt x="11927997" y="2726359"/>
                  </a:cubicBezTo>
                  <a:cubicBezTo>
                    <a:pt x="11927997" y="2726359"/>
                    <a:pt x="11927997" y="2726359"/>
                    <a:pt x="11920767" y="2726359"/>
                  </a:cubicBezTo>
                  <a:cubicBezTo>
                    <a:pt x="11920767" y="2726359"/>
                    <a:pt x="11920767" y="2726359"/>
                    <a:pt x="11913537" y="2733630"/>
                  </a:cubicBezTo>
                  <a:cubicBezTo>
                    <a:pt x="11913537" y="2733630"/>
                    <a:pt x="11913537" y="2733630"/>
                    <a:pt x="11913537" y="2740900"/>
                  </a:cubicBezTo>
                  <a:cubicBezTo>
                    <a:pt x="11913537" y="2740900"/>
                    <a:pt x="11913537" y="2740900"/>
                    <a:pt x="11906306" y="2748170"/>
                  </a:cubicBezTo>
                  <a:cubicBezTo>
                    <a:pt x="11906306" y="2748170"/>
                    <a:pt x="11906306" y="2748170"/>
                    <a:pt x="11891845" y="2748170"/>
                  </a:cubicBezTo>
                  <a:cubicBezTo>
                    <a:pt x="11891845" y="2748170"/>
                    <a:pt x="11891845" y="2748170"/>
                    <a:pt x="11891845" y="2740900"/>
                  </a:cubicBezTo>
                  <a:cubicBezTo>
                    <a:pt x="11891845" y="2740900"/>
                    <a:pt x="11891845" y="2740900"/>
                    <a:pt x="11899076" y="2733630"/>
                  </a:cubicBezTo>
                  <a:cubicBezTo>
                    <a:pt x="11899076" y="2733630"/>
                    <a:pt x="11899076" y="2733630"/>
                    <a:pt x="11899076" y="2726359"/>
                  </a:cubicBezTo>
                  <a:cubicBezTo>
                    <a:pt x="11899076" y="2726359"/>
                    <a:pt x="11899076" y="2726359"/>
                    <a:pt x="11884615" y="2726359"/>
                  </a:cubicBezTo>
                  <a:cubicBezTo>
                    <a:pt x="11884615" y="2726359"/>
                    <a:pt x="11884615" y="2726359"/>
                    <a:pt x="11877385" y="2726359"/>
                  </a:cubicBezTo>
                  <a:cubicBezTo>
                    <a:pt x="11877385" y="2726359"/>
                    <a:pt x="11877385" y="2726359"/>
                    <a:pt x="11855694" y="2726359"/>
                  </a:cubicBezTo>
                  <a:cubicBezTo>
                    <a:pt x="11855694" y="2726359"/>
                    <a:pt x="11855694" y="2726359"/>
                    <a:pt x="11855694" y="2733630"/>
                  </a:cubicBezTo>
                  <a:cubicBezTo>
                    <a:pt x="11855694" y="2733630"/>
                    <a:pt x="11855694" y="2733630"/>
                    <a:pt x="11848463" y="2740900"/>
                  </a:cubicBezTo>
                  <a:cubicBezTo>
                    <a:pt x="11848463" y="2740900"/>
                    <a:pt x="11848463" y="2740900"/>
                    <a:pt x="11855694" y="2740900"/>
                  </a:cubicBezTo>
                  <a:cubicBezTo>
                    <a:pt x="11862924" y="2740900"/>
                    <a:pt x="11862924" y="2740900"/>
                    <a:pt x="11870154" y="2748170"/>
                  </a:cubicBezTo>
                  <a:cubicBezTo>
                    <a:pt x="11870154" y="2748170"/>
                    <a:pt x="11870154" y="2748170"/>
                    <a:pt x="11826772" y="2748170"/>
                  </a:cubicBezTo>
                  <a:cubicBezTo>
                    <a:pt x="11826772" y="2748170"/>
                    <a:pt x="11819542" y="2748170"/>
                    <a:pt x="11819542" y="2748170"/>
                  </a:cubicBezTo>
                  <a:cubicBezTo>
                    <a:pt x="11819542" y="2740900"/>
                    <a:pt x="11812311" y="2740900"/>
                    <a:pt x="11812311" y="2740900"/>
                  </a:cubicBezTo>
                  <a:cubicBezTo>
                    <a:pt x="11805081" y="2740900"/>
                    <a:pt x="11805081" y="2740900"/>
                    <a:pt x="11805081" y="2740900"/>
                  </a:cubicBezTo>
                  <a:cubicBezTo>
                    <a:pt x="11797851" y="2740900"/>
                    <a:pt x="11790620" y="2740900"/>
                    <a:pt x="11790620" y="2740900"/>
                  </a:cubicBezTo>
                  <a:cubicBezTo>
                    <a:pt x="11790620" y="2740900"/>
                    <a:pt x="11790620" y="2740900"/>
                    <a:pt x="11790620" y="2748170"/>
                  </a:cubicBezTo>
                  <a:cubicBezTo>
                    <a:pt x="11790620" y="2748170"/>
                    <a:pt x="11790620" y="2748170"/>
                    <a:pt x="11776159" y="2748170"/>
                  </a:cubicBezTo>
                  <a:cubicBezTo>
                    <a:pt x="11776159" y="2748170"/>
                    <a:pt x="11776159" y="2748170"/>
                    <a:pt x="11776159" y="2733630"/>
                  </a:cubicBezTo>
                  <a:cubicBezTo>
                    <a:pt x="11768929" y="2733630"/>
                    <a:pt x="11761699" y="2733630"/>
                    <a:pt x="11761699" y="2733630"/>
                  </a:cubicBezTo>
                  <a:cubicBezTo>
                    <a:pt x="11754468" y="2733630"/>
                    <a:pt x="11747238" y="2733630"/>
                    <a:pt x="11740007" y="2733630"/>
                  </a:cubicBezTo>
                  <a:cubicBezTo>
                    <a:pt x="11732777" y="2733630"/>
                    <a:pt x="11732777" y="2733630"/>
                    <a:pt x="11732777" y="2733630"/>
                  </a:cubicBezTo>
                  <a:cubicBezTo>
                    <a:pt x="11732777" y="2733630"/>
                    <a:pt x="11732777" y="2733630"/>
                    <a:pt x="11725547" y="2740900"/>
                  </a:cubicBezTo>
                  <a:cubicBezTo>
                    <a:pt x="11725547" y="2740900"/>
                    <a:pt x="11725547" y="2740900"/>
                    <a:pt x="11725547" y="2748170"/>
                  </a:cubicBezTo>
                  <a:cubicBezTo>
                    <a:pt x="11725547" y="2748170"/>
                    <a:pt x="11725547" y="2748170"/>
                    <a:pt x="11595400" y="2748170"/>
                  </a:cubicBezTo>
                  <a:cubicBezTo>
                    <a:pt x="11595400" y="2748170"/>
                    <a:pt x="11595400" y="2748170"/>
                    <a:pt x="11595400" y="2740900"/>
                  </a:cubicBezTo>
                  <a:cubicBezTo>
                    <a:pt x="11588169" y="2740900"/>
                    <a:pt x="11588169" y="2740900"/>
                    <a:pt x="11588169" y="2740900"/>
                  </a:cubicBezTo>
                  <a:cubicBezTo>
                    <a:pt x="11580939" y="2740900"/>
                    <a:pt x="11580939" y="2740900"/>
                    <a:pt x="11573709" y="2748170"/>
                  </a:cubicBezTo>
                  <a:cubicBezTo>
                    <a:pt x="11573709" y="2748170"/>
                    <a:pt x="11573709" y="2748170"/>
                    <a:pt x="11523096" y="2748170"/>
                  </a:cubicBezTo>
                  <a:cubicBezTo>
                    <a:pt x="11523096" y="2748170"/>
                    <a:pt x="11530326" y="2740900"/>
                    <a:pt x="11530326" y="2740900"/>
                  </a:cubicBezTo>
                  <a:cubicBezTo>
                    <a:pt x="11530326" y="2740900"/>
                    <a:pt x="11530326" y="2740900"/>
                    <a:pt x="11530326" y="2733630"/>
                  </a:cubicBezTo>
                  <a:cubicBezTo>
                    <a:pt x="11530326" y="2733630"/>
                    <a:pt x="11530326" y="2733630"/>
                    <a:pt x="11523096" y="2733630"/>
                  </a:cubicBezTo>
                  <a:cubicBezTo>
                    <a:pt x="11523096" y="2733630"/>
                    <a:pt x="11523096" y="2733630"/>
                    <a:pt x="11508635" y="2733630"/>
                  </a:cubicBezTo>
                  <a:cubicBezTo>
                    <a:pt x="11508635" y="2733630"/>
                    <a:pt x="11508635" y="2733630"/>
                    <a:pt x="11501405" y="2733630"/>
                  </a:cubicBezTo>
                  <a:cubicBezTo>
                    <a:pt x="11501405" y="2733630"/>
                    <a:pt x="11501405" y="2733630"/>
                    <a:pt x="11479714" y="2733630"/>
                  </a:cubicBezTo>
                  <a:cubicBezTo>
                    <a:pt x="11479714" y="2733630"/>
                    <a:pt x="11479714" y="2733630"/>
                    <a:pt x="11486944" y="2748170"/>
                  </a:cubicBezTo>
                  <a:cubicBezTo>
                    <a:pt x="11486944" y="2748170"/>
                    <a:pt x="11486944" y="2748170"/>
                    <a:pt x="11472483" y="2748170"/>
                  </a:cubicBezTo>
                  <a:cubicBezTo>
                    <a:pt x="11472483" y="2748170"/>
                    <a:pt x="11472483" y="2748170"/>
                    <a:pt x="11465253" y="2733630"/>
                  </a:cubicBezTo>
                  <a:cubicBezTo>
                    <a:pt x="11465253" y="2733630"/>
                    <a:pt x="11465253" y="2733630"/>
                    <a:pt x="11450792" y="2733630"/>
                  </a:cubicBezTo>
                  <a:cubicBezTo>
                    <a:pt x="11450792" y="2733630"/>
                    <a:pt x="11450792" y="2733630"/>
                    <a:pt x="11429101" y="2733630"/>
                  </a:cubicBezTo>
                  <a:cubicBezTo>
                    <a:pt x="11429101" y="2733630"/>
                    <a:pt x="11429101" y="2733630"/>
                    <a:pt x="11421871" y="2733630"/>
                  </a:cubicBezTo>
                  <a:cubicBezTo>
                    <a:pt x="11421871" y="2733630"/>
                    <a:pt x="11421871" y="2733630"/>
                    <a:pt x="11421871" y="2740900"/>
                  </a:cubicBezTo>
                  <a:cubicBezTo>
                    <a:pt x="11421871" y="2740900"/>
                    <a:pt x="11421871" y="2740900"/>
                    <a:pt x="11429101" y="2748170"/>
                  </a:cubicBezTo>
                  <a:cubicBezTo>
                    <a:pt x="11421871" y="2748170"/>
                    <a:pt x="11421871" y="2748170"/>
                    <a:pt x="11414640" y="2748170"/>
                  </a:cubicBezTo>
                  <a:cubicBezTo>
                    <a:pt x="11414640" y="2748170"/>
                    <a:pt x="11414640" y="2748170"/>
                    <a:pt x="11407410" y="2740900"/>
                  </a:cubicBezTo>
                  <a:cubicBezTo>
                    <a:pt x="11407410" y="2740900"/>
                    <a:pt x="11407410" y="2740900"/>
                    <a:pt x="11407410" y="2748170"/>
                  </a:cubicBezTo>
                  <a:cubicBezTo>
                    <a:pt x="11392949" y="2748170"/>
                    <a:pt x="11385719" y="2748170"/>
                    <a:pt x="11378488" y="2748170"/>
                  </a:cubicBezTo>
                  <a:cubicBezTo>
                    <a:pt x="11320645" y="2748170"/>
                    <a:pt x="11270033" y="2748170"/>
                    <a:pt x="11219420" y="2748170"/>
                  </a:cubicBezTo>
                  <a:cubicBezTo>
                    <a:pt x="11219420" y="2748170"/>
                    <a:pt x="11219420" y="2748170"/>
                    <a:pt x="11226650" y="2733630"/>
                  </a:cubicBezTo>
                  <a:cubicBezTo>
                    <a:pt x="11226650" y="2733630"/>
                    <a:pt x="11226650" y="2733630"/>
                    <a:pt x="11233881" y="2726359"/>
                  </a:cubicBezTo>
                  <a:cubicBezTo>
                    <a:pt x="11233881" y="2726359"/>
                    <a:pt x="11233881" y="2726359"/>
                    <a:pt x="11241111" y="2711819"/>
                  </a:cubicBezTo>
                  <a:cubicBezTo>
                    <a:pt x="11241111" y="2711819"/>
                    <a:pt x="11241111" y="2711819"/>
                    <a:pt x="11248342" y="2697278"/>
                  </a:cubicBezTo>
                  <a:cubicBezTo>
                    <a:pt x="11248342" y="2697278"/>
                    <a:pt x="11248342" y="2697278"/>
                    <a:pt x="11255572" y="2690008"/>
                  </a:cubicBezTo>
                  <a:cubicBezTo>
                    <a:pt x="11255572" y="2690008"/>
                    <a:pt x="11255572" y="2690008"/>
                    <a:pt x="11262802" y="2675467"/>
                  </a:cubicBezTo>
                  <a:cubicBezTo>
                    <a:pt x="11262802" y="2675467"/>
                    <a:pt x="11262802" y="2675467"/>
                    <a:pt x="11270033" y="2668197"/>
                  </a:cubicBezTo>
                  <a:cubicBezTo>
                    <a:pt x="11270033" y="2668197"/>
                    <a:pt x="11270033" y="2668197"/>
                    <a:pt x="11270033" y="2660926"/>
                  </a:cubicBezTo>
                  <a:cubicBezTo>
                    <a:pt x="11270033" y="2660926"/>
                    <a:pt x="11270033" y="2660926"/>
                    <a:pt x="11277263" y="2653656"/>
                  </a:cubicBezTo>
                  <a:cubicBezTo>
                    <a:pt x="11277263" y="2653656"/>
                    <a:pt x="11277263" y="2653656"/>
                    <a:pt x="11277263" y="2639116"/>
                  </a:cubicBezTo>
                  <a:cubicBezTo>
                    <a:pt x="11277263" y="2639116"/>
                    <a:pt x="11277263" y="2639116"/>
                    <a:pt x="11277263" y="2624575"/>
                  </a:cubicBezTo>
                  <a:cubicBezTo>
                    <a:pt x="11277263" y="2624575"/>
                    <a:pt x="11277263" y="2624575"/>
                    <a:pt x="11277263" y="2602764"/>
                  </a:cubicBezTo>
                  <a:cubicBezTo>
                    <a:pt x="11277263" y="2602764"/>
                    <a:pt x="11277263" y="2602764"/>
                    <a:pt x="11277263" y="2588223"/>
                  </a:cubicBezTo>
                  <a:cubicBezTo>
                    <a:pt x="11277263" y="2588223"/>
                    <a:pt x="11277263" y="2588223"/>
                    <a:pt x="11277263" y="2573683"/>
                  </a:cubicBezTo>
                  <a:cubicBezTo>
                    <a:pt x="11277263" y="2573683"/>
                    <a:pt x="11277263" y="2573683"/>
                    <a:pt x="11277263" y="2566413"/>
                  </a:cubicBezTo>
                  <a:cubicBezTo>
                    <a:pt x="11277263" y="2566413"/>
                    <a:pt x="11277263" y="2566413"/>
                    <a:pt x="11277263" y="2559142"/>
                  </a:cubicBezTo>
                  <a:cubicBezTo>
                    <a:pt x="11277263" y="2559142"/>
                    <a:pt x="11277263" y="2559142"/>
                    <a:pt x="11277263" y="2522791"/>
                  </a:cubicBezTo>
                  <a:cubicBezTo>
                    <a:pt x="11277263" y="2522791"/>
                    <a:pt x="11277263" y="2522791"/>
                    <a:pt x="11277263" y="2515521"/>
                  </a:cubicBezTo>
                  <a:cubicBezTo>
                    <a:pt x="11277263" y="2515521"/>
                    <a:pt x="11277263" y="2515521"/>
                    <a:pt x="11277263" y="2500980"/>
                  </a:cubicBezTo>
                  <a:cubicBezTo>
                    <a:pt x="11277263" y="2493710"/>
                    <a:pt x="11277263" y="2493710"/>
                    <a:pt x="11277263" y="2493710"/>
                  </a:cubicBezTo>
                  <a:cubicBezTo>
                    <a:pt x="11277263" y="2493710"/>
                    <a:pt x="11284493" y="2493710"/>
                    <a:pt x="11284493" y="2493710"/>
                  </a:cubicBezTo>
                  <a:cubicBezTo>
                    <a:pt x="11284493" y="2493710"/>
                    <a:pt x="11284493" y="2493710"/>
                    <a:pt x="11298954" y="2493710"/>
                  </a:cubicBezTo>
                  <a:cubicBezTo>
                    <a:pt x="11298954" y="2493710"/>
                    <a:pt x="11298954" y="2493710"/>
                    <a:pt x="11306185" y="2493710"/>
                  </a:cubicBezTo>
                  <a:cubicBezTo>
                    <a:pt x="11306185" y="2493710"/>
                    <a:pt x="11306185" y="2493710"/>
                    <a:pt x="11313415" y="2493710"/>
                  </a:cubicBezTo>
                  <a:cubicBezTo>
                    <a:pt x="11313415" y="2493710"/>
                    <a:pt x="11313415" y="2493710"/>
                    <a:pt x="11320645" y="2493710"/>
                  </a:cubicBezTo>
                  <a:cubicBezTo>
                    <a:pt x="11320645" y="2493710"/>
                    <a:pt x="11320645" y="2493710"/>
                    <a:pt x="11320645" y="2479169"/>
                  </a:cubicBezTo>
                  <a:cubicBezTo>
                    <a:pt x="11320645" y="2479169"/>
                    <a:pt x="11320645" y="2479169"/>
                    <a:pt x="11327876" y="2471899"/>
                  </a:cubicBezTo>
                  <a:cubicBezTo>
                    <a:pt x="11327876" y="2471899"/>
                    <a:pt x="11327876" y="2471899"/>
                    <a:pt x="11327876" y="2464629"/>
                  </a:cubicBezTo>
                  <a:cubicBezTo>
                    <a:pt x="11327876" y="2464629"/>
                    <a:pt x="11327876" y="2464629"/>
                    <a:pt x="11335106" y="2457358"/>
                  </a:cubicBezTo>
                  <a:cubicBezTo>
                    <a:pt x="11335106" y="2457358"/>
                    <a:pt x="11335106" y="2457358"/>
                    <a:pt x="11335106" y="2450088"/>
                  </a:cubicBezTo>
                  <a:cubicBezTo>
                    <a:pt x="11335106" y="2450088"/>
                    <a:pt x="11335106" y="2450088"/>
                    <a:pt x="11342336" y="2442818"/>
                  </a:cubicBezTo>
                  <a:cubicBezTo>
                    <a:pt x="11342336" y="2442818"/>
                    <a:pt x="11342336" y="2442818"/>
                    <a:pt x="11342336" y="2435547"/>
                  </a:cubicBezTo>
                  <a:cubicBezTo>
                    <a:pt x="11342336" y="2435547"/>
                    <a:pt x="11342336" y="2435547"/>
                    <a:pt x="11349567" y="2428277"/>
                  </a:cubicBezTo>
                  <a:cubicBezTo>
                    <a:pt x="11349567" y="2428277"/>
                    <a:pt x="11349567" y="2428277"/>
                    <a:pt x="11349567" y="2421007"/>
                  </a:cubicBezTo>
                  <a:cubicBezTo>
                    <a:pt x="11356797" y="2413736"/>
                    <a:pt x="11356797" y="2406466"/>
                    <a:pt x="11356797" y="2399196"/>
                  </a:cubicBezTo>
                  <a:cubicBezTo>
                    <a:pt x="11356797" y="2399196"/>
                    <a:pt x="11356797" y="2399196"/>
                    <a:pt x="11364028" y="2399196"/>
                  </a:cubicBezTo>
                  <a:cubicBezTo>
                    <a:pt x="11364028" y="2399196"/>
                    <a:pt x="11364028" y="2399196"/>
                    <a:pt x="11364028" y="2391926"/>
                  </a:cubicBezTo>
                  <a:cubicBezTo>
                    <a:pt x="11364028" y="2391926"/>
                    <a:pt x="11364028" y="2391926"/>
                    <a:pt x="11364028" y="2384655"/>
                  </a:cubicBezTo>
                  <a:cubicBezTo>
                    <a:pt x="11364028" y="2384655"/>
                    <a:pt x="11364028" y="2384655"/>
                    <a:pt x="11371258" y="2384655"/>
                  </a:cubicBezTo>
                  <a:cubicBezTo>
                    <a:pt x="11371258" y="2384655"/>
                    <a:pt x="11371258" y="2384655"/>
                    <a:pt x="11371258" y="2370115"/>
                  </a:cubicBezTo>
                  <a:cubicBezTo>
                    <a:pt x="11371258" y="2370115"/>
                    <a:pt x="11371258" y="2370115"/>
                    <a:pt x="11378488" y="2362844"/>
                  </a:cubicBezTo>
                  <a:cubicBezTo>
                    <a:pt x="11378488" y="2362844"/>
                    <a:pt x="11378488" y="2362844"/>
                    <a:pt x="11378488" y="2355574"/>
                  </a:cubicBezTo>
                  <a:cubicBezTo>
                    <a:pt x="11378488" y="2355574"/>
                    <a:pt x="11378488" y="2355574"/>
                    <a:pt x="11378488" y="2348304"/>
                  </a:cubicBezTo>
                  <a:cubicBezTo>
                    <a:pt x="11378488" y="2348304"/>
                    <a:pt x="11378488" y="2348304"/>
                    <a:pt x="11385719" y="2341034"/>
                  </a:cubicBezTo>
                  <a:cubicBezTo>
                    <a:pt x="11385719" y="2341034"/>
                    <a:pt x="11385719" y="2341034"/>
                    <a:pt x="11385719" y="2333763"/>
                  </a:cubicBezTo>
                  <a:cubicBezTo>
                    <a:pt x="11385719" y="2333763"/>
                    <a:pt x="11385719" y="2333763"/>
                    <a:pt x="11392949" y="2319223"/>
                  </a:cubicBezTo>
                  <a:cubicBezTo>
                    <a:pt x="11392949" y="2319223"/>
                    <a:pt x="11392949" y="2319223"/>
                    <a:pt x="11392949" y="2311952"/>
                  </a:cubicBezTo>
                  <a:cubicBezTo>
                    <a:pt x="11392949" y="2311952"/>
                    <a:pt x="11392949" y="2311952"/>
                    <a:pt x="11400180" y="2304682"/>
                  </a:cubicBezTo>
                  <a:cubicBezTo>
                    <a:pt x="11400180" y="2304682"/>
                    <a:pt x="11400180" y="2304682"/>
                    <a:pt x="11400180" y="2297412"/>
                  </a:cubicBezTo>
                  <a:cubicBezTo>
                    <a:pt x="11400180" y="2297412"/>
                    <a:pt x="11407410" y="2290142"/>
                    <a:pt x="11407410" y="2282871"/>
                  </a:cubicBezTo>
                  <a:cubicBezTo>
                    <a:pt x="11407410" y="2282871"/>
                    <a:pt x="11407410" y="2282871"/>
                    <a:pt x="11407410" y="2275601"/>
                  </a:cubicBezTo>
                  <a:cubicBezTo>
                    <a:pt x="11407410" y="2275601"/>
                    <a:pt x="11407410" y="2275601"/>
                    <a:pt x="11407410" y="2268331"/>
                  </a:cubicBezTo>
                  <a:cubicBezTo>
                    <a:pt x="11414640" y="2268331"/>
                    <a:pt x="11414640" y="2261060"/>
                    <a:pt x="11414640" y="2261060"/>
                  </a:cubicBezTo>
                  <a:cubicBezTo>
                    <a:pt x="11414640" y="2261060"/>
                    <a:pt x="11414640" y="2261060"/>
                    <a:pt x="11414640" y="2253790"/>
                  </a:cubicBezTo>
                  <a:cubicBezTo>
                    <a:pt x="11414640" y="2253790"/>
                    <a:pt x="11414640" y="2253790"/>
                    <a:pt x="11421871" y="2239250"/>
                  </a:cubicBezTo>
                  <a:cubicBezTo>
                    <a:pt x="11421871" y="2239250"/>
                    <a:pt x="11421871" y="2239250"/>
                    <a:pt x="11421871" y="2231979"/>
                  </a:cubicBezTo>
                  <a:cubicBezTo>
                    <a:pt x="11421871" y="2231979"/>
                    <a:pt x="11421871" y="2231979"/>
                    <a:pt x="11429101" y="2217439"/>
                  </a:cubicBezTo>
                  <a:cubicBezTo>
                    <a:pt x="11429101" y="2217439"/>
                    <a:pt x="11429101" y="2210168"/>
                    <a:pt x="11429101" y="2210168"/>
                  </a:cubicBezTo>
                  <a:cubicBezTo>
                    <a:pt x="11429101" y="2210168"/>
                    <a:pt x="11429101" y="2210168"/>
                    <a:pt x="11436331" y="2202898"/>
                  </a:cubicBezTo>
                  <a:cubicBezTo>
                    <a:pt x="11436331" y="2202898"/>
                    <a:pt x="11436331" y="2202898"/>
                    <a:pt x="11436331" y="2195628"/>
                  </a:cubicBezTo>
                  <a:cubicBezTo>
                    <a:pt x="11436331" y="2195628"/>
                    <a:pt x="11436331" y="2195628"/>
                    <a:pt x="11436331" y="2188357"/>
                  </a:cubicBezTo>
                  <a:cubicBezTo>
                    <a:pt x="11436331" y="2188357"/>
                    <a:pt x="11436331" y="2188357"/>
                    <a:pt x="11436331" y="2181087"/>
                  </a:cubicBezTo>
                  <a:cubicBezTo>
                    <a:pt x="11436331" y="2181087"/>
                    <a:pt x="11436331" y="2181087"/>
                    <a:pt x="11443562" y="2173817"/>
                  </a:cubicBezTo>
                  <a:cubicBezTo>
                    <a:pt x="11443562" y="2173817"/>
                    <a:pt x="11443562" y="2173817"/>
                    <a:pt x="11443562" y="2166547"/>
                  </a:cubicBezTo>
                  <a:cubicBezTo>
                    <a:pt x="11443562" y="2166547"/>
                    <a:pt x="11443562" y="2166547"/>
                    <a:pt x="11443562" y="2159276"/>
                  </a:cubicBezTo>
                  <a:cubicBezTo>
                    <a:pt x="11443562" y="2159276"/>
                    <a:pt x="11443562" y="2159276"/>
                    <a:pt x="11443562" y="2152006"/>
                  </a:cubicBezTo>
                  <a:cubicBezTo>
                    <a:pt x="11450792" y="2144736"/>
                    <a:pt x="11450792" y="2144736"/>
                    <a:pt x="11450792" y="2137465"/>
                  </a:cubicBezTo>
                  <a:cubicBezTo>
                    <a:pt x="11450792" y="2137465"/>
                    <a:pt x="11450792" y="2130195"/>
                    <a:pt x="11450792" y="2130195"/>
                  </a:cubicBezTo>
                  <a:cubicBezTo>
                    <a:pt x="11450792" y="2130195"/>
                    <a:pt x="11450792" y="2130195"/>
                    <a:pt x="11450792" y="2122925"/>
                  </a:cubicBezTo>
                  <a:cubicBezTo>
                    <a:pt x="11450792" y="2122925"/>
                    <a:pt x="11450792" y="2122925"/>
                    <a:pt x="11458023" y="2115655"/>
                  </a:cubicBezTo>
                  <a:cubicBezTo>
                    <a:pt x="11458023" y="2115655"/>
                    <a:pt x="11458023" y="2115655"/>
                    <a:pt x="11458023" y="2108384"/>
                  </a:cubicBezTo>
                  <a:cubicBezTo>
                    <a:pt x="11458023" y="2108384"/>
                    <a:pt x="11458023" y="2108384"/>
                    <a:pt x="11458023" y="2101114"/>
                  </a:cubicBezTo>
                  <a:cubicBezTo>
                    <a:pt x="11458023" y="2101114"/>
                    <a:pt x="11458023" y="2101114"/>
                    <a:pt x="11458023" y="2093844"/>
                  </a:cubicBezTo>
                  <a:cubicBezTo>
                    <a:pt x="11458023" y="2093844"/>
                    <a:pt x="11458023" y="2093844"/>
                    <a:pt x="11465253" y="2086573"/>
                  </a:cubicBezTo>
                  <a:cubicBezTo>
                    <a:pt x="11465253" y="2086573"/>
                    <a:pt x="11465253" y="2086573"/>
                    <a:pt x="11465253" y="2079303"/>
                  </a:cubicBezTo>
                  <a:cubicBezTo>
                    <a:pt x="11465253" y="2079303"/>
                    <a:pt x="11465253" y="2079303"/>
                    <a:pt x="11465253" y="2064762"/>
                  </a:cubicBezTo>
                  <a:cubicBezTo>
                    <a:pt x="11465253" y="2064762"/>
                    <a:pt x="11465253" y="2057492"/>
                    <a:pt x="11472483" y="2057492"/>
                  </a:cubicBezTo>
                  <a:cubicBezTo>
                    <a:pt x="11472483" y="2057492"/>
                    <a:pt x="11472483" y="2057492"/>
                    <a:pt x="11472483" y="2042952"/>
                  </a:cubicBezTo>
                  <a:cubicBezTo>
                    <a:pt x="11472483" y="2042952"/>
                    <a:pt x="11472483" y="2042952"/>
                    <a:pt x="11472483" y="2035681"/>
                  </a:cubicBezTo>
                  <a:cubicBezTo>
                    <a:pt x="11472483" y="2035681"/>
                    <a:pt x="11472483" y="2035681"/>
                    <a:pt x="11472483" y="2028411"/>
                  </a:cubicBezTo>
                  <a:cubicBezTo>
                    <a:pt x="11472483" y="2028411"/>
                    <a:pt x="11472483" y="2028411"/>
                    <a:pt x="11472483" y="2013870"/>
                  </a:cubicBezTo>
                  <a:cubicBezTo>
                    <a:pt x="11472483" y="2013870"/>
                    <a:pt x="11472483" y="2013870"/>
                    <a:pt x="11465253" y="2006600"/>
                  </a:cubicBezTo>
                  <a:cubicBezTo>
                    <a:pt x="11465253" y="2006600"/>
                    <a:pt x="11465253" y="2006600"/>
                    <a:pt x="11458023" y="1984789"/>
                  </a:cubicBezTo>
                  <a:cubicBezTo>
                    <a:pt x="11458023" y="1984789"/>
                    <a:pt x="11458023" y="1984789"/>
                    <a:pt x="11458023" y="1970249"/>
                  </a:cubicBezTo>
                  <a:cubicBezTo>
                    <a:pt x="11458023" y="1970249"/>
                    <a:pt x="11458023" y="1970249"/>
                    <a:pt x="11458023" y="1962978"/>
                  </a:cubicBezTo>
                  <a:cubicBezTo>
                    <a:pt x="11458023" y="1962978"/>
                    <a:pt x="11458023" y="1962978"/>
                    <a:pt x="11450792" y="1948438"/>
                  </a:cubicBezTo>
                  <a:cubicBezTo>
                    <a:pt x="11450792" y="1948438"/>
                    <a:pt x="11450792" y="1948438"/>
                    <a:pt x="11443562" y="1919357"/>
                  </a:cubicBezTo>
                  <a:cubicBezTo>
                    <a:pt x="11443562" y="1919357"/>
                    <a:pt x="11443562" y="1919357"/>
                    <a:pt x="11443562" y="1904816"/>
                  </a:cubicBezTo>
                  <a:cubicBezTo>
                    <a:pt x="11443562" y="1897546"/>
                    <a:pt x="11443562" y="1897546"/>
                    <a:pt x="11450792" y="1897546"/>
                  </a:cubicBezTo>
                  <a:cubicBezTo>
                    <a:pt x="11450792" y="1897546"/>
                    <a:pt x="11450792" y="1897546"/>
                    <a:pt x="11458023" y="1897546"/>
                  </a:cubicBezTo>
                  <a:cubicBezTo>
                    <a:pt x="11458023" y="1897546"/>
                    <a:pt x="11458023" y="1897546"/>
                    <a:pt x="11465253" y="1897546"/>
                  </a:cubicBezTo>
                  <a:cubicBezTo>
                    <a:pt x="11465253" y="1897546"/>
                    <a:pt x="11465253" y="1897546"/>
                    <a:pt x="11479714" y="1897546"/>
                  </a:cubicBezTo>
                  <a:cubicBezTo>
                    <a:pt x="11479714" y="1897546"/>
                    <a:pt x="11479714" y="1897546"/>
                    <a:pt x="11501405" y="1897546"/>
                  </a:cubicBezTo>
                  <a:cubicBezTo>
                    <a:pt x="11501405" y="1897546"/>
                    <a:pt x="11501405" y="1897546"/>
                    <a:pt x="11501405" y="1883005"/>
                  </a:cubicBezTo>
                  <a:cubicBezTo>
                    <a:pt x="11501405" y="1875735"/>
                    <a:pt x="11501405" y="1868465"/>
                    <a:pt x="11501405" y="1861194"/>
                  </a:cubicBezTo>
                  <a:cubicBezTo>
                    <a:pt x="11501405" y="1861194"/>
                    <a:pt x="11501405" y="1861194"/>
                    <a:pt x="11508635" y="1846654"/>
                  </a:cubicBezTo>
                  <a:cubicBezTo>
                    <a:pt x="11508635" y="1846654"/>
                    <a:pt x="11508635" y="1846654"/>
                    <a:pt x="11508635" y="1839383"/>
                  </a:cubicBezTo>
                  <a:cubicBezTo>
                    <a:pt x="11508635" y="1839383"/>
                    <a:pt x="11508635" y="1839383"/>
                    <a:pt x="11508635" y="1832113"/>
                  </a:cubicBezTo>
                  <a:cubicBezTo>
                    <a:pt x="11508635" y="1832113"/>
                    <a:pt x="11508635" y="1832113"/>
                    <a:pt x="11508635" y="1824843"/>
                  </a:cubicBezTo>
                  <a:cubicBezTo>
                    <a:pt x="11508635" y="1824843"/>
                    <a:pt x="11508635" y="1824843"/>
                    <a:pt x="11508635" y="1817573"/>
                  </a:cubicBezTo>
                  <a:cubicBezTo>
                    <a:pt x="11508635" y="1803032"/>
                    <a:pt x="11515866" y="1795762"/>
                    <a:pt x="11515866" y="1781221"/>
                  </a:cubicBezTo>
                  <a:cubicBezTo>
                    <a:pt x="11515866" y="1766681"/>
                    <a:pt x="11515866" y="1752140"/>
                    <a:pt x="11523096" y="1737599"/>
                  </a:cubicBezTo>
                  <a:cubicBezTo>
                    <a:pt x="11523096" y="1715788"/>
                    <a:pt x="11523096" y="1701248"/>
                    <a:pt x="11523096" y="1679437"/>
                  </a:cubicBezTo>
                  <a:cubicBezTo>
                    <a:pt x="11523096" y="1679437"/>
                    <a:pt x="11523096" y="1679437"/>
                    <a:pt x="11530326" y="1664896"/>
                  </a:cubicBezTo>
                  <a:cubicBezTo>
                    <a:pt x="11530326" y="1650356"/>
                    <a:pt x="11530326" y="1635815"/>
                    <a:pt x="11530326" y="1621275"/>
                  </a:cubicBezTo>
                  <a:cubicBezTo>
                    <a:pt x="11530326" y="1606734"/>
                    <a:pt x="11537557" y="1599464"/>
                    <a:pt x="11537557" y="1584923"/>
                  </a:cubicBezTo>
                  <a:cubicBezTo>
                    <a:pt x="11537557" y="1584923"/>
                    <a:pt x="11537557" y="1584923"/>
                    <a:pt x="11537557" y="1577653"/>
                  </a:cubicBezTo>
                  <a:cubicBezTo>
                    <a:pt x="11537557" y="1555842"/>
                    <a:pt x="11537557" y="1534031"/>
                    <a:pt x="11544787" y="1512220"/>
                  </a:cubicBezTo>
                  <a:cubicBezTo>
                    <a:pt x="11544787" y="1497680"/>
                    <a:pt x="11544787" y="1490409"/>
                    <a:pt x="11544787" y="1475869"/>
                  </a:cubicBezTo>
                  <a:cubicBezTo>
                    <a:pt x="11544787" y="1475869"/>
                    <a:pt x="11544787" y="1475869"/>
                    <a:pt x="11544787" y="1454058"/>
                  </a:cubicBezTo>
                  <a:cubicBezTo>
                    <a:pt x="11544787" y="1446788"/>
                    <a:pt x="11544787" y="1432247"/>
                    <a:pt x="11552018" y="1417707"/>
                  </a:cubicBezTo>
                  <a:cubicBezTo>
                    <a:pt x="11552018" y="1417707"/>
                    <a:pt x="11552018" y="1417707"/>
                    <a:pt x="11552018" y="1395896"/>
                  </a:cubicBezTo>
                  <a:cubicBezTo>
                    <a:pt x="11552018" y="1388625"/>
                    <a:pt x="11552018" y="1388625"/>
                    <a:pt x="11552018" y="1388625"/>
                  </a:cubicBezTo>
                  <a:cubicBezTo>
                    <a:pt x="11552018" y="1388625"/>
                    <a:pt x="11552018" y="1388625"/>
                    <a:pt x="11552018" y="1381355"/>
                  </a:cubicBezTo>
                  <a:cubicBezTo>
                    <a:pt x="11552018" y="1381355"/>
                    <a:pt x="11552018" y="1381355"/>
                    <a:pt x="11552018" y="1359544"/>
                  </a:cubicBezTo>
                  <a:cubicBezTo>
                    <a:pt x="11552018" y="1359544"/>
                    <a:pt x="11552018" y="1359544"/>
                    <a:pt x="11552018" y="1345004"/>
                  </a:cubicBezTo>
                  <a:cubicBezTo>
                    <a:pt x="11559248" y="1330463"/>
                    <a:pt x="11559248" y="1315922"/>
                    <a:pt x="11559248" y="1301382"/>
                  </a:cubicBezTo>
                  <a:cubicBezTo>
                    <a:pt x="11559248" y="1301382"/>
                    <a:pt x="11559248" y="1301382"/>
                    <a:pt x="11559248" y="1279571"/>
                  </a:cubicBezTo>
                  <a:cubicBezTo>
                    <a:pt x="11559248" y="1279571"/>
                    <a:pt x="11559248" y="1279571"/>
                    <a:pt x="11559248" y="1257760"/>
                  </a:cubicBezTo>
                  <a:cubicBezTo>
                    <a:pt x="11559248" y="1250490"/>
                    <a:pt x="11559248" y="1235949"/>
                    <a:pt x="11559248" y="1221409"/>
                  </a:cubicBezTo>
                  <a:cubicBezTo>
                    <a:pt x="11559248" y="1221409"/>
                    <a:pt x="11559248" y="1221409"/>
                    <a:pt x="11566478" y="1214138"/>
                  </a:cubicBezTo>
                  <a:cubicBezTo>
                    <a:pt x="11566478" y="1214138"/>
                    <a:pt x="11566478" y="1214138"/>
                    <a:pt x="11566478" y="1199598"/>
                  </a:cubicBezTo>
                  <a:cubicBezTo>
                    <a:pt x="11566478" y="1199598"/>
                    <a:pt x="11566478" y="1199598"/>
                    <a:pt x="11566478" y="1177787"/>
                  </a:cubicBezTo>
                  <a:cubicBezTo>
                    <a:pt x="11566478" y="1177787"/>
                    <a:pt x="11566478" y="1177787"/>
                    <a:pt x="11566478" y="1155976"/>
                  </a:cubicBezTo>
                  <a:cubicBezTo>
                    <a:pt x="11566478" y="1155976"/>
                    <a:pt x="11566478" y="1155976"/>
                    <a:pt x="11566478" y="1134165"/>
                  </a:cubicBezTo>
                  <a:cubicBezTo>
                    <a:pt x="11566478" y="1134165"/>
                    <a:pt x="11566478" y="1134165"/>
                    <a:pt x="11566478" y="1126895"/>
                  </a:cubicBezTo>
                  <a:cubicBezTo>
                    <a:pt x="11566478" y="1126895"/>
                    <a:pt x="11566478" y="1126895"/>
                    <a:pt x="11566478" y="1097814"/>
                  </a:cubicBezTo>
                  <a:cubicBezTo>
                    <a:pt x="11566478" y="1097814"/>
                    <a:pt x="11566478" y="1097814"/>
                    <a:pt x="11573709" y="1076003"/>
                  </a:cubicBezTo>
                  <a:cubicBezTo>
                    <a:pt x="11573709" y="1076003"/>
                    <a:pt x="11573709" y="1076003"/>
                    <a:pt x="11573709" y="1054192"/>
                  </a:cubicBezTo>
                  <a:cubicBezTo>
                    <a:pt x="11573709" y="1054192"/>
                    <a:pt x="11573709" y="1054192"/>
                    <a:pt x="11573709" y="1039651"/>
                  </a:cubicBezTo>
                  <a:cubicBezTo>
                    <a:pt x="11573709" y="1039651"/>
                    <a:pt x="11573709" y="1039651"/>
                    <a:pt x="11573709" y="1010570"/>
                  </a:cubicBezTo>
                  <a:cubicBezTo>
                    <a:pt x="11573709" y="1010570"/>
                    <a:pt x="11573709" y="1010570"/>
                    <a:pt x="11573709" y="1003300"/>
                  </a:cubicBezTo>
                  <a:cubicBezTo>
                    <a:pt x="11573709" y="1003300"/>
                    <a:pt x="11573709" y="1003300"/>
                    <a:pt x="11573709" y="996030"/>
                  </a:cubicBezTo>
                  <a:cubicBezTo>
                    <a:pt x="11573709" y="996030"/>
                    <a:pt x="11573709" y="996030"/>
                    <a:pt x="11573709" y="988759"/>
                  </a:cubicBezTo>
                  <a:cubicBezTo>
                    <a:pt x="11573709" y="988759"/>
                    <a:pt x="11573709" y="988759"/>
                    <a:pt x="11573709" y="974219"/>
                  </a:cubicBezTo>
                  <a:cubicBezTo>
                    <a:pt x="11573709" y="974219"/>
                    <a:pt x="11573709" y="974219"/>
                    <a:pt x="11573709" y="945138"/>
                  </a:cubicBezTo>
                  <a:cubicBezTo>
                    <a:pt x="11573709" y="945138"/>
                    <a:pt x="11573709" y="945138"/>
                    <a:pt x="11580939" y="937867"/>
                  </a:cubicBezTo>
                  <a:cubicBezTo>
                    <a:pt x="11580939" y="937867"/>
                    <a:pt x="11580939" y="937867"/>
                    <a:pt x="11580939" y="923327"/>
                  </a:cubicBezTo>
                  <a:cubicBezTo>
                    <a:pt x="11580939" y="923327"/>
                    <a:pt x="11580939" y="923327"/>
                    <a:pt x="11580939" y="908786"/>
                  </a:cubicBezTo>
                  <a:cubicBezTo>
                    <a:pt x="11580939" y="908786"/>
                    <a:pt x="11580939" y="908786"/>
                    <a:pt x="11580939" y="894246"/>
                  </a:cubicBezTo>
                  <a:cubicBezTo>
                    <a:pt x="11580939" y="894246"/>
                    <a:pt x="11580939" y="894246"/>
                    <a:pt x="11580939" y="879705"/>
                  </a:cubicBezTo>
                  <a:cubicBezTo>
                    <a:pt x="11580939" y="879705"/>
                    <a:pt x="11580939" y="879705"/>
                    <a:pt x="11580939" y="865164"/>
                  </a:cubicBezTo>
                  <a:cubicBezTo>
                    <a:pt x="11580939" y="865164"/>
                    <a:pt x="11580939" y="865164"/>
                    <a:pt x="11580939" y="850624"/>
                  </a:cubicBezTo>
                  <a:cubicBezTo>
                    <a:pt x="11580939" y="850624"/>
                    <a:pt x="11580939" y="850624"/>
                    <a:pt x="11580939" y="828813"/>
                  </a:cubicBezTo>
                  <a:cubicBezTo>
                    <a:pt x="11580939" y="828813"/>
                    <a:pt x="11580939" y="828813"/>
                    <a:pt x="11580939" y="814272"/>
                  </a:cubicBezTo>
                  <a:cubicBezTo>
                    <a:pt x="11580939" y="814272"/>
                    <a:pt x="11580939" y="814272"/>
                    <a:pt x="11580939" y="807002"/>
                  </a:cubicBezTo>
                  <a:cubicBezTo>
                    <a:pt x="11580939" y="807002"/>
                    <a:pt x="11580939" y="807002"/>
                    <a:pt x="11580939" y="792462"/>
                  </a:cubicBezTo>
                  <a:cubicBezTo>
                    <a:pt x="11580939" y="792462"/>
                    <a:pt x="11580939" y="792462"/>
                    <a:pt x="11580939" y="785191"/>
                  </a:cubicBezTo>
                  <a:cubicBezTo>
                    <a:pt x="11580939" y="785191"/>
                    <a:pt x="11580939" y="785191"/>
                    <a:pt x="11588169" y="777921"/>
                  </a:cubicBezTo>
                  <a:cubicBezTo>
                    <a:pt x="11588169" y="777921"/>
                    <a:pt x="11588169" y="777921"/>
                    <a:pt x="11588169" y="756110"/>
                  </a:cubicBezTo>
                  <a:cubicBezTo>
                    <a:pt x="11588169" y="756110"/>
                    <a:pt x="11588169" y="756110"/>
                    <a:pt x="11588169" y="741570"/>
                  </a:cubicBezTo>
                  <a:cubicBezTo>
                    <a:pt x="11588169" y="741570"/>
                    <a:pt x="11588169" y="741570"/>
                    <a:pt x="11588169" y="734299"/>
                  </a:cubicBezTo>
                  <a:cubicBezTo>
                    <a:pt x="11588169" y="734299"/>
                    <a:pt x="11588169" y="734299"/>
                    <a:pt x="11588169" y="727029"/>
                  </a:cubicBezTo>
                  <a:cubicBezTo>
                    <a:pt x="11588169" y="727029"/>
                    <a:pt x="11588169" y="727029"/>
                    <a:pt x="11588169" y="719759"/>
                  </a:cubicBezTo>
                  <a:cubicBezTo>
                    <a:pt x="11588169" y="719759"/>
                    <a:pt x="11588169" y="719759"/>
                    <a:pt x="11588169" y="712488"/>
                  </a:cubicBezTo>
                  <a:cubicBezTo>
                    <a:pt x="11588169" y="712488"/>
                    <a:pt x="11588169" y="712488"/>
                    <a:pt x="11588169" y="705218"/>
                  </a:cubicBezTo>
                  <a:cubicBezTo>
                    <a:pt x="11588169" y="705218"/>
                    <a:pt x="11588169" y="705218"/>
                    <a:pt x="11588169" y="683407"/>
                  </a:cubicBezTo>
                  <a:cubicBezTo>
                    <a:pt x="11588169" y="683407"/>
                    <a:pt x="11588169" y="683407"/>
                    <a:pt x="11588169" y="676137"/>
                  </a:cubicBezTo>
                  <a:cubicBezTo>
                    <a:pt x="11588169" y="676137"/>
                    <a:pt x="11588169" y="676137"/>
                    <a:pt x="11588169" y="661596"/>
                  </a:cubicBezTo>
                  <a:cubicBezTo>
                    <a:pt x="11588169" y="661596"/>
                    <a:pt x="11588169" y="661596"/>
                    <a:pt x="11588169" y="654326"/>
                  </a:cubicBezTo>
                  <a:cubicBezTo>
                    <a:pt x="11588169" y="654326"/>
                    <a:pt x="11588169" y="654326"/>
                    <a:pt x="11588169" y="639785"/>
                  </a:cubicBezTo>
                  <a:cubicBezTo>
                    <a:pt x="11588169" y="639785"/>
                    <a:pt x="11588169" y="639785"/>
                    <a:pt x="11588169" y="632515"/>
                  </a:cubicBezTo>
                  <a:cubicBezTo>
                    <a:pt x="11588169" y="632515"/>
                    <a:pt x="11588169" y="632515"/>
                    <a:pt x="11588169" y="625245"/>
                  </a:cubicBezTo>
                  <a:cubicBezTo>
                    <a:pt x="11588169" y="625245"/>
                    <a:pt x="11588169" y="625245"/>
                    <a:pt x="11588169" y="617975"/>
                  </a:cubicBezTo>
                  <a:cubicBezTo>
                    <a:pt x="11588169" y="617975"/>
                    <a:pt x="11588169" y="617975"/>
                    <a:pt x="11588169" y="610704"/>
                  </a:cubicBezTo>
                  <a:cubicBezTo>
                    <a:pt x="11588169" y="610704"/>
                    <a:pt x="11588169" y="610704"/>
                    <a:pt x="11595400" y="588893"/>
                  </a:cubicBezTo>
                  <a:cubicBezTo>
                    <a:pt x="11595400" y="588893"/>
                    <a:pt x="11595400" y="588893"/>
                    <a:pt x="11595400" y="574353"/>
                  </a:cubicBezTo>
                  <a:cubicBezTo>
                    <a:pt x="11595400" y="574353"/>
                    <a:pt x="11595400" y="574353"/>
                    <a:pt x="11595400" y="559812"/>
                  </a:cubicBezTo>
                  <a:cubicBezTo>
                    <a:pt x="11595400" y="559812"/>
                    <a:pt x="11595400" y="559812"/>
                    <a:pt x="11595400" y="552542"/>
                  </a:cubicBezTo>
                  <a:cubicBezTo>
                    <a:pt x="11595400" y="552542"/>
                    <a:pt x="11595400" y="552542"/>
                    <a:pt x="11595400" y="538001"/>
                  </a:cubicBezTo>
                  <a:cubicBezTo>
                    <a:pt x="11595400" y="538001"/>
                    <a:pt x="11595400" y="538001"/>
                    <a:pt x="11595400" y="523461"/>
                  </a:cubicBezTo>
                  <a:cubicBezTo>
                    <a:pt x="11595400" y="523461"/>
                    <a:pt x="11595400" y="523461"/>
                    <a:pt x="11595400" y="516191"/>
                  </a:cubicBezTo>
                  <a:cubicBezTo>
                    <a:pt x="11595400" y="516191"/>
                    <a:pt x="11595400" y="516191"/>
                    <a:pt x="11595400" y="508920"/>
                  </a:cubicBezTo>
                  <a:cubicBezTo>
                    <a:pt x="11595400" y="508920"/>
                    <a:pt x="11595400" y="508920"/>
                    <a:pt x="11595400" y="501650"/>
                  </a:cubicBezTo>
                  <a:cubicBezTo>
                    <a:pt x="11595400" y="501650"/>
                    <a:pt x="11595400" y="501650"/>
                    <a:pt x="11595400" y="494380"/>
                  </a:cubicBezTo>
                  <a:cubicBezTo>
                    <a:pt x="11595400" y="494380"/>
                    <a:pt x="11595400" y="494380"/>
                    <a:pt x="11595400" y="487109"/>
                  </a:cubicBezTo>
                  <a:cubicBezTo>
                    <a:pt x="11595400" y="487109"/>
                    <a:pt x="11595400" y="487109"/>
                    <a:pt x="11595400" y="479839"/>
                  </a:cubicBezTo>
                  <a:cubicBezTo>
                    <a:pt x="11595400" y="479839"/>
                    <a:pt x="11595400" y="479839"/>
                    <a:pt x="11595400" y="472569"/>
                  </a:cubicBezTo>
                  <a:cubicBezTo>
                    <a:pt x="11595400" y="472569"/>
                    <a:pt x="11595400" y="472569"/>
                    <a:pt x="11595400" y="458028"/>
                  </a:cubicBezTo>
                  <a:cubicBezTo>
                    <a:pt x="11595400" y="458028"/>
                    <a:pt x="11595400" y="458028"/>
                    <a:pt x="11595400" y="443488"/>
                  </a:cubicBezTo>
                  <a:cubicBezTo>
                    <a:pt x="11595400" y="443488"/>
                    <a:pt x="11595400" y="443488"/>
                    <a:pt x="11595400" y="428947"/>
                  </a:cubicBezTo>
                  <a:cubicBezTo>
                    <a:pt x="11595400" y="428947"/>
                    <a:pt x="11595400" y="428947"/>
                    <a:pt x="11595400" y="421677"/>
                  </a:cubicBezTo>
                  <a:cubicBezTo>
                    <a:pt x="11595400" y="421677"/>
                    <a:pt x="11595400" y="421677"/>
                    <a:pt x="11595400" y="399866"/>
                  </a:cubicBezTo>
                  <a:cubicBezTo>
                    <a:pt x="11595400" y="399866"/>
                    <a:pt x="11595400" y="399866"/>
                    <a:pt x="11595400" y="392596"/>
                  </a:cubicBezTo>
                  <a:cubicBezTo>
                    <a:pt x="11595400" y="392596"/>
                    <a:pt x="11595400" y="392596"/>
                    <a:pt x="11595400" y="385325"/>
                  </a:cubicBezTo>
                  <a:cubicBezTo>
                    <a:pt x="11580939" y="378055"/>
                    <a:pt x="11573709" y="370785"/>
                    <a:pt x="11566478" y="356244"/>
                  </a:cubicBezTo>
                  <a:cubicBezTo>
                    <a:pt x="11566478" y="348974"/>
                    <a:pt x="11566478" y="348974"/>
                    <a:pt x="11566478" y="348974"/>
                  </a:cubicBezTo>
                  <a:cubicBezTo>
                    <a:pt x="11566478" y="348974"/>
                    <a:pt x="11559248" y="341704"/>
                    <a:pt x="11559248" y="334433"/>
                  </a:cubicBezTo>
                  <a:cubicBezTo>
                    <a:pt x="11559248" y="327163"/>
                    <a:pt x="11559248" y="327163"/>
                    <a:pt x="11559248" y="319893"/>
                  </a:cubicBezTo>
                  <a:cubicBezTo>
                    <a:pt x="11559248" y="319893"/>
                    <a:pt x="11559248" y="319893"/>
                    <a:pt x="11559248" y="298082"/>
                  </a:cubicBezTo>
                  <a:cubicBezTo>
                    <a:pt x="11559248" y="298082"/>
                    <a:pt x="11559248" y="298082"/>
                    <a:pt x="11559248" y="290811"/>
                  </a:cubicBezTo>
                  <a:cubicBezTo>
                    <a:pt x="11559248" y="290811"/>
                    <a:pt x="11559248" y="290811"/>
                    <a:pt x="11559248" y="283541"/>
                  </a:cubicBezTo>
                  <a:cubicBezTo>
                    <a:pt x="11566478" y="283541"/>
                    <a:pt x="11566478" y="283541"/>
                    <a:pt x="11573709" y="276271"/>
                  </a:cubicBezTo>
                  <a:cubicBezTo>
                    <a:pt x="11573709" y="276271"/>
                    <a:pt x="11573709" y="276271"/>
                    <a:pt x="11580939" y="276271"/>
                  </a:cubicBezTo>
                  <a:cubicBezTo>
                    <a:pt x="11580939" y="276271"/>
                    <a:pt x="11580939" y="276271"/>
                    <a:pt x="11580939" y="254460"/>
                  </a:cubicBezTo>
                  <a:cubicBezTo>
                    <a:pt x="11580939" y="254460"/>
                    <a:pt x="11580939" y="254460"/>
                    <a:pt x="11580939" y="239919"/>
                  </a:cubicBezTo>
                  <a:cubicBezTo>
                    <a:pt x="11580939" y="239919"/>
                    <a:pt x="11580939" y="239919"/>
                    <a:pt x="11580939" y="232649"/>
                  </a:cubicBezTo>
                  <a:cubicBezTo>
                    <a:pt x="11580939" y="232649"/>
                    <a:pt x="11580939" y="232649"/>
                    <a:pt x="11566478" y="232649"/>
                  </a:cubicBezTo>
                  <a:cubicBezTo>
                    <a:pt x="11566478" y="232649"/>
                    <a:pt x="11566478" y="232649"/>
                    <a:pt x="11559248" y="232649"/>
                  </a:cubicBezTo>
                  <a:cubicBezTo>
                    <a:pt x="11559248" y="232649"/>
                    <a:pt x="11552018" y="225379"/>
                    <a:pt x="11552018" y="225379"/>
                  </a:cubicBezTo>
                  <a:cubicBezTo>
                    <a:pt x="11552018" y="225379"/>
                    <a:pt x="11552018" y="225379"/>
                    <a:pt x="11552018" y="218109"/>
                  </a:cubicBezTo>
                  <a:cubicBezTo>
                    <a:pt x="11552018" y="218109"/>
                    <a:pt x="11552018" y="218109"/>
                    <a:pt x="11552018" y="203568"/>
                  </a:cubicBezTo>
                  <a:cubicBezTo>
                    <a:pt x="11552018" y="203568"/>
                    <a:pt x="11552018" y="203568"/>
                    <a:pt x="11552018" y="189027"/>
                  </a:cubicBezTo>
                  <a:cubicBezTo>
                    <a:pt x="11559248" y="181757"/>
                    <a:pt x="11559248" y="181757"/>
                    <a:pt x="11559248" y="181757"/>
                  </a:cubicBezTo>
                  <a:cubicBezTo>
                    <a:pt x="11566478" y="181757"/>
                    <a:pt x="11580939" y="181757"/>
                    <a:pt x="11588169" y="174487"/>
                  </a:cubicBezTo>
                  <a:cubicBezTo>
                    <a:pt x="11595400" y="167216"/>
                    <a:pt x="11595400" y="167216"/>
                    <a:pt x="11595400" y="167216"/>
                  </a:cubicBezTo>
                  <a:cubicBezTo>
                    <a:pt x="11602630" y="159946"/>
                    <a:pt x="11609861" y="152676"/>
                    <a:pt x="11609861" y="145406"/>
                  </a:cubicBezTo>
                  <a:cubicBezTo>
                    <a:pt x="11624321" y="123595"/>
                    <a:pt x="11631552" y="87243"/>
                    <a:pt x="11631552" y="36351"/>
                  </a:cubicBezTo>
                  <a:cubicBezTo>
                    <a:pt x="11631552" y="29081"/>
                    <a:pt x="11631552" y="21811"/>
                    <a:pt x="11638782" y="14540"/>
                  </a:cubicBezTo>
                  <a:cubicBezTo>
                    <a:pt x="11638782" y="7270"/>
                    <a:pt x="11646013" y="0"/>
                    <a:pt x="11653243" y="0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>
                <a:latin typeface="+mj-lt"/>
              </a:endParaRPr>
            </a:p>
          </p:txBody>
        </p:sp>
        <p:sp>
          <p:nvSpPr>
            <p:cNvPr id="5" name="CustomText">
              <a:extLst>
                <a:ext uri="{FF2B5EF4-FFF2-40B4-BE49-F238E27FC236}">
                  <a16:creationId xmlns:a16="http://schemas.microsoft.com/office/drawing/2014/main" id="{6A07F522-D501-458C-9CA3-7ADEF49CF507}"/>
                </a:ext>
              </a:extLst>
            </p:cNvPr>
            <p:cNvSpPr/>
            <p:nvPr/>
          </p:nvSpPr>
          <p:spPr>
            <a:xfrm>
              <a:off x="2709333" y="5444545"/>
              <a:ext cx="1356934" cy="263752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47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6" name="RelativeShape1">
              <a:extLst>
                <a:ext uri="{FF2B5EF4-FFF2-40B4-BE49-F238E27FC236}">
                  <a16:creationId xmlns:a16="http://schemas.microsoft.com/office/drawing/2014/main" id="{E5A78B63-0443-4001-9D8C-D2913823AC22}"/>
                </a:ext>
              </a:extLst>
            </p:cNvPr>
            <p:cNvSpPr/>
            <p:nvPr/>
          </p:nvSpPr>
          <p:spPr>
            <a:xfrm>
              <a:off x="3045243" y="2056498"/>
              <a:ext cx="625401" cy="3282483"/>
            </a:xfrm>
            <a:prstGeom prst="roundRect">
              <a:avLst>
                <a:gd name="adj" fmla="val 4811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7" name="ValueShape1">
              <a:extLst>
                <a:ext uri="{FF2B5EF4-FFF2-40B4-BE49-F238E27FC236}">
                  <a16:creationId xmlns:a16="http://schemas.microsoft.com/office/drawing/2014/main" id="{42B7EE0F-ABBA-43F4-BB52-F1C994B985E0}"/>
                </a:ext>
              </a:extLst>
            </p:cNvPr>
            <p:cNvSpPr/>
            <p:nvPr/>
          </p:nvSpPr>
          <p:spPr>
            <a:xfrm>
              <a:off x="3045243" y="2712995"/>
              <a:ext cx="625401" cy="2625986"/>
            </a:xfrm>
            <a:prstGeom prst="roundRect">
              <a:avLst>
                <a:gd name="adj" fmla="val 48113"/>
              </a:avLst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8" name="RelativeShape2">
              <a:extLst>
                <a:ext uri="{FF2B5EF4-FFF2-40B4-BE49-F238E27FC236}">
                  <a16:creationId xmlns:a16="http://schemas.microsoft.com/office/drawing/2014/main" id="{27F6BAC2-968C-40E6-882B-62B8678E9332}"/>
                </a:ext>
              </a:extLst>
            </p:cNvPr>
            <p:cNvSpPr/>
            <p:nvPr/>
          </p:nvSpPr>
          <p:spPr>
            <a:xfrm>
              <a:off x="4414272" y="2056498"/>
              <a:ext cx="625401" cy="3282483"/>
            </a:xfrm>
            <a:prstGeom prst="roundRect">
              <a:avLst>
                <a:gd name="adj" fmla="val 4811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9" name="ValueShape2">
              <a:extLst>
                <a:ext uri="{FF2B5EF4-FFF2-40B4-BE49-F238E27FC236}">
                  <a16:creationId xmlns:a16="http://schemas.microsoft.com/office/drawing/2014/main" id="{823218BC-3D88-40E6-9008-6FF26D0DC642}"/>
                </a:ext>
              </a:extLst>
            </p:cNvPr>
            <p:cNvSpPr/>
            <p:nvPr/>
          </p:nvSpPr>
          <p:spPr>
            <a:xfrm>
              <a:off x="4414272" y="3500790"/>
              <a:ext cx="625401" cy="1838191"/>
            </a:xfrm>
            <a:prstGeom prst="roundRect">
              <a:avLst>
                <a:gd name="adj" fmla="val 48113"/>
              </a:avLst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10" name="RelativeShape3">
              <a:extLst>
                <a:ext uri="{FF2B5EF4-FFF2-40B4-BE49-F238E27FC236}">
                  <a16:creationId xmlns:a16="http://schemas.microsoft.com/office/drawing/2014/main" id="{77968785-FF5D-4642-8753-61E968F29879}"/>
                </a:ext>
              </a:extLst>
            </p:cNvPr>
            <p:cNvSpPr/>
            <p:nvPr/>
          </p:nvSpPr>
          <p:spPr>
            <a:xfrm>
              <a:off x="5783301" y="2034417"/>
              <a:ext cx="625401" cy="3282483"/>
            </a:xfrm>
            <a:prstGeom prst="roundRect">
              <a:avLst>
                <a:gd name="adj" fmla="val 4811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11" name="ValueShape3">
              <a:extLst>
                <a:ext uri="{FF2B5EF4-FFF2-40B4-BE49-F238E27FC236}">
                  <a16:creationId xmlns:a16="http://schemas.microsoft.com/office/drawing/2014/main" id="{E3A7998F-13B2-496A-A124-5CE9150BC664}"/>
                </a:ext>
              </a:extLst>
            </p:cNvPr>
            <p:cNvSpPr/>
            <p:nvPr/>
          </p:nvSpPr>
          <p:spPr>
            <a:xfrm>
              <a:off x="5783301" y="2855038"/>
              <a:ext cx="625401" cy="2461862"/>
            </a:xfrm>
            <a:prstGeom prst="roundRect">
              <a:avLst>
                <a:gd name="adj" fmla="val 48113"/>
              </a:avLst>
            </a:prstGeom>
            <a:solidFill>
              <a:schemeClr val="accent5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12" name="RelativeShape4">
              <a:extLst>
                <a:ext uri="{FF2B5EF4-FFF2-40B4-BE49-F238E27FC236}">
                  <a16:creationId xmlns:a16="http://schemas.microsoft.com/office/drawing/2014/main" id="{13271D7C-712C-4387-BB2D-84C6C258C3C4}"/>
                </a:ext>
              </a:extLst>
            </p:cNvPr>
            <p:cNvSpPr/>
            <p:nvPr/>
          </p:nvSpPr>
          <p:spPr>
            <a:xfrm>
              <a:off x="7152330" y="2034417"/>
              <a:ext cx="625401" cy="3282483"/>
            </a:xfrm>
            <a:prstGeom prst="roundRect">
              <a:avLst>
                <a:gd name="adj" fmla="val 4811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13" name="ValueShape4">
              <a:extLst>
                <a:ext uri="{FF2B5EF4-FFF2-40B4-BE49-F238E27FC236}">
                  <a16:creationId xmlns:a16="http://schemas.microsoft.com/office/drawing/2014/main" id="{9AE7FCC4-A226-45BE-9337-390AFF58A40B}"/>
                </a:ext>
              </a:extLst>
            </p:cNvPr>
            <p:cNvSpPr/>
            <p:nvPr/>
          </p:nvSpPr>
          <p:spPr>
            <a:xfrm>
              <a:off x="7152330" y="3054259"/>
              <a:ext cx="625401" cy="2262641"/>
            </a:xfrm>
            <a:prstGeom prst="roundRect">
              <a:avLst>
                <a:gd name="adj" fmla="val 48113"/>
              </a:avLst>
            </a:prstGeom>
            <a:solidFill>
              <a:schemeClr val="accent4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14" name="RelativeShape5">
              <a:extLst>
                <a:ext uri="{FF2B5EF4-FFF2-40B4-BE49-F238E27FC236}">
                  <a16:creationId xmlns:a16="http://schemas.microsoft.com/office/drawing/2014/main" id="{B4650FED-A27B-4BCE-BAEB-E37DB078A22B}"/>
                </a:ext>
              </a:extLst>
            </p:cNvPr>
            <p:cNvSpPr/>
            <p:nvPr/>
          </p:nvSpPr>
          <p:spPr>
            <a:xfrm>
              <a:off x="8521357" y="2034417"/>
              <a:ext cx="625401" cy="3282483"/>
            </a:xfrm>
            <a:prstGeom prst="roundRect">
              <a:avLst>
                <a:gd name="adj" fmla="val 4811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15" name="ValueShape5">
              <a:extLst>
                <a:ext uri="{FF2B5EF4-FFF2-40B4-BE49-F238E27FC236}">
                  <a16:creationId xmlns:a16="http://schemas.microsoft.com/office/drawing/2014/main" id="{E67717F9-E91A-441A-8893-7FF8EB7F2414}"/>
                </a:ext>
              </a:extLst>
            </p:cNvPr>
            <p:cNvSpPr/>
            <p:nvPr/>
          </p:nvSpPr>
          <p:spPr>
            <a:xfrm>
              <a:off x="8521357" y="2413165"/>
              <a:ext cx="625401" cy="2903735"/>
            </a:xfrm>
            <a:prstGeom prst="roundRect">
              <a:avLst>
                <a:gd name="adj" fmla="val 48113"/>
              </a:avLst>
            </a:prstGeom>
            <a:solidFill>
              <a:schemeClr val="accent6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16" name="ValueBack1">
              <a:extLst>
                <a:ext uri="{FF2B5EF4-FFF2-40B4-BE49-F238E27FC236}">
                  <a16:creationId xmlns:a16="http://schemas.microsoft.com/office/drawing/2014/main" id="{BDE88C2C-CD45-4933-81F1-ADAB7984B466}"/>
                </a:ext>
              </a:extLst>
            </p:cNvPr>
            <p:cNvSpPr/>
            <p:nvPr/>
          </p:nvSpPr>
          <p:spPr>
            <a:xfrm>
              <a:off x="3045243" y="1962514"/>
              <a:ext cx="625401" cy="625401"/>
            </a:xfrm>
            <a:prstGeom prst="ellipse">
              <a:avLst/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17" name="ValueBack2">
              <a:extLst>
                <a:ext uri="{FF2B5EF4-FFF2-40B4-BE49-F238E27FC236}">
                  <a16:creationId xmlns:a16="http://schemas.microsoft.com/office/drawing/2014/main" id="{F16492D4-1DD3-4E7F-93D2-323F7B3AEEB3}"/>
                </a:ext>
              </a:extLst>
            </p:cNvPr>
            <p:cNvSpPr/>
            <p:nvPr/>
          </p:nvSpPr>
          <p:spPr>
            <a:xfrm>
              <a:off x="4414272" y="2750308"/>
              <a:ext cx="625402" cy="625402"/>
            </a:xfrm>
            <a:prstGeom prst="ellipse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18" name="ValueBack3">
              <a:extLst>
                <a:ext uri="{FF2B5EF4-FFF2-40B4-BE49-F238E27FC236}">
                  <a16:creationId xmlns:a16="http://schemas.microsoft.com/office/drawing/2014/main" id="{FD7F1FF2-E0C9-4A9C-8E7F-9A47F23972C9}"/>
                </a:ext>
              </a:extLst>
            </p:cNvPr>
            <p:cNvSpPr/>
            <p:nvPr/>
          </p:nvSpPr>
          <p:spPr>
            <a:xfrm>
              <a:off x="5783301" y="2104557"/>
              <a:ext cx="625401" cy="625401"/>
            </a:xfrm>
            <a:prstGeom prst="ellipse">
              <a:avLst/>
            </a:prstGeom>
            <a:solidFill>
              <a:schemeClr val="accent5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19" name="ValueBack4">
              <a:extLst>
                <a:ext uri="{FF2B5EF4-FFF2-40B4-BE49-F238E27FC236}">
                  <a16:creationId xmlns:a16="http://schemas.microsoft.com/office/drawing/2014/main" id="{E58F4F51-ACBF-41C8-B72E-CD56DD4585D6}"/>
                </a:ext>
              </a:extLst>
            </p:cNvPr>
            <p:cNvSpPr/>
            <p:nvPr/>
          </p:nvSpPr>
          <p:spPr>
            <a:xfrm>
              <a:off x="7152330" y="2303778"/>
              <a:ext cx="625401" cy="625401"/>
            </a:xfrm>
            <a:prstGeom prst="ellipse">
              <a:avLst/>
            </a:prstGeom>
            <a:solidFill>
              <a:schemeClr val="accent4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20" name="ValueBack5">
              <a:extLst>
                <a:ext uri="{FF2B5EF4-FFF2-40B4-BE49-F238E27FC236}">
                  <a16:creationId xmlns:a16="http://schemas.microsoft.com/office/drawing/2014/main" id="{F6A9D66D-C3C1-424E-B24D-97AFC3C67BFC}"/>
                </a:ext>
              </a:extLst>
            </p:cNvPr>
            <p:cNvSpPr/>
            <p:nvPr/>
          </p:nvSpPr>
          <p:spPr>
            <a:xfrm>
              <a:off x="8521357" y="1662684"/>
              <a:ext cx="625401" cy="625401"/>
            </a:xfrm>
            <a:prstGeom prst="ellipse">
              <a:avLst/>
            </a:prstGeom>
            <a:solidFill>
              <a:schemeClr val="accent6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21" name="ValueText1">
              <a:extLst>
                <a:ext uri="{FF2B5EF4-FFF2-40B4-BE49-F238E27FC236}">
                  <a16:creationId xmlns:a16="http://schemas.microsoft.com/office/drawing/2014/main" id="{85A98945-AE81-499A-821B-8333222A456C}"/>
                </a:ext>
              </a:extLst>
            </p:cNvPr>
            <p:cNvSpPr txBox="1"/>
            <p:nvPr/>
          </p:nvSpPr>
          <p:spPr>
            <a:xfrm>
              <a:off x="3170184" y="2154360"/>
              <a:ext cx="375519" cy="241709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1200">
                  <a:solidFill>
                    <a:schemeClr val="bg1"/>
                  </a:solidFill>
                  <a:latin typeface="+mj-lt"/>
                </a:rPr>
                <a:t>80%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ValueText2">
              <a:extLst>
                <a:ext uri="{FF2B5EF4-FFF2-40B4-BE49-F238E27FC236}">
                  <a16:creationId xmlns:a16="http://schemas.microsoft.com/office/drawing/2014/main" id="{126A83AE-1A7B-4338-B07F-CC89D7F933E6}"/>
                </a:ext>
              </a:extLst>
            </p:cNvPr>
            <p:cNvSpPr txBox="1"/>
            <p:nvPr/>
          </p:nvSpPr>
          <p:spPr>
            <a:xfrm>
              <a:off x="4539214" y="2942154"/>
              <a:ext cx="375519" cy="241709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1200">
                  <a:solidFill>
                    <a:schemeClr val="bg1"/>
                  </a:solidFill>
                  <a:latin typeface="+mj-lt"/>
                </a:rPr>
                <a:t>56%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ValueText3">
              <a:extLst>
                <a:ext uri="{FF2B5EF4-FFF2-40B4-BE49-F238E27FC236}">
                  <a16:creationId xmlns:a16="http://schemas.microsoft.com/office/drawing/2014/main" id="{9C61E914-0190-44C1-AC77-C1CB1F5D5730}"/>
                </a:ext>
              </a:extLst>
            </p:cNvPr>
            <p:cNvSpPr txBox="1"/>
            <p:nvPr/>
          </p:nvSpPr>
          <p:spPr>
            <a:xfrm>
              <a:off x="5908242" y="2296403"/>
              <a:ext cx="375519" cy="241709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1200">
                  <a:solidFill>
                    <a:schemeClr val="bg1"/>
                  </a:solidFill>
                  <a:latin typeface="+mj-lt"/>
                </a:rPr>
                <a:t>75%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ValueText4">
              <a:extLst>
                <a:ext uri="{FF2B5EF4-FFF2-40B4-BE49-F238E27FC236}">
                  <a16:creationId xmlns:a16="http://schemas.microsoft.com/office/drawing/2014/main" id="{A59593BD-39E9-4F36-A708-22CACE4382B9}"/>
                </a:ext>
              </a:extLst>
            </p:cNvPr>
            <p:cNvSpPr txBox="1"/>
            <p:nvPr/>
          </p:nvSpPr>
          <p:spPr>
            <a:xfrm>
              <a:off x="7277271" y="2495624"/>
              <a:ext cx="375519" cy="241709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1200">
                  <a:solidFill>
                    <a:schemeClr val="bg1"/>
                  </a:solidFill>
                  <a:latin typeface="+mj-lt"/>
                </a:rPr>
                <a:t>69%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" name="ValueText5">
              <a:extLst>
                <a:ext uri="{FF2B5EF4-FFF2-40B4-BE49-F238E27FC236}">
                  <a16:creationId xmlns:a16="http://schemas.microsoft.com/office/drawing/2014/main" id="{C9A96C09-269D-40A5-AA42-72D5C6F1CA67}"/>
                </a:ext>
              </a:extLst>
            </p:cNvPr>
            <p:cNvSpPr txBox="1"/>
            <p:nvPr/>
          </p:nvSpPr>
          <p:spPr>
            <a:xfrm>
              <a:off x="8646299" y="1854530"/>
              <a:ext cx="375519" cy="241709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1200">
                  <a:solidFill>
                    <a:schemeClr val="bg1"/>
                  </a:solidFill>
                  <a:latin typeface="+mj-lt"/>
                </a:rPr>
                <a:t>88%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6" name="CustomText">
              <a:extLst>
                <a:ext uri="{FF2B5EF4-FFF2-40B4-BE49-F238E27FC236}">
                  <a16:creationId xmlns:a16="http://schemas.microsoft.com/office/drawing/2014/main" id="{3580F8C6-0177-4960-8ED4-1B39B28FE4B4}"/>
                </a:ext>
              </a:extLst>
            </p:cNvPr>
            <p:cNvSpPr/>
            <p:nvPr/>
          </p:nvSpPr>
          <p:spPr>
            <a:xfrm>
              <a:off x="4048503" y="5444545"/>
              <a:ext cx="1356934" cy="263752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47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27" name="CustomText">
              <a:extLst>
                <a:ext uri="{FF2B5EF4-FFF2-40B4-BE49-F238E27FC236}">
                  <a16:creationId xmlns:a16="http://schemas.microsoft.com/office/drawing/2014/main" id="{2B752BBE-084C-446C-8768-F277668519A3}"/>
                </a:ext>
              </a:extLst>
            </p:cNvPr>
            <p:cNvSpPr/>
            <p:nvPr/>
          </p:nvSpPr>
          <p:spPr>
            <a:xfrm>
              <a:off x="5417533" y="5444545"/>
              <a:ext cx="1356934" cy="263752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47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28" name="CustomText">
              <a:extLst>
                <a:ext uri="{FF2B5EF4-FFF2-40B4-BE49-F238E27FC236}">
                  <a16:creationId xmlns:a16="http://schemas.microsoft.com/office/drawing/2014/main" id="{327656DD-6059-4FAD-A4AB-A13CEAC0C6F6}"/>
                </a:ext>
              </a:extLst>
            </p:cNvPr>
            <p:cNvSpPr/>
            <p:nvPr/>
          </p:nvSpPr>
          <p:spPr>
            <a:xfrm>
              <a:off x="6786563" y="5444545"/>
              <a:ext cx="1356934" cy="263752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47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29" name="CustomText">
              <a:extLst>
                <a:ext uri="{FF2B5EF4-FFF2-40B4-BE49-F238E27FC236}">
                  <a16:creationId xmlns:a16="http://schemas.microsoft.com/office/drawing/2014/main" id="{134BA6F5-044C-4BAD-B78D-4898EB639148}"/>
                </a:ext>
              </a:extLst>
            </p:cNvPr>
            <p:cNvSpPr/>
            <p:nvPr/>
          </p:nvSpPr>
          <p:spPr>
            <a:xfrm>
              <a:off x="8155593" y="5444545"/>
              <a:ext cx="1356934" cy="263752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47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</p:grpSp>
      <p:sp>
        <p:nvSpPr>
          <p:cNvPr id="32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35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2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363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3b6bbf6a-4481-4a36-95c4-7a0b3f2dff98" descr="6AYAAB+LCAAAAAAABADtU8FugkAQ/ZdtezNmgSrKTUs1PViNml4aDyuMuA0sZlkSjfHfO6wQF7WNvTVNQ0LYN29m3wxv9uSeh8QjFmmQe7XbAH7PEiaVz1kkWTJKQ4gxNpHpBqTikBHvfV8m2UbSG4tzKFk7xEdc8CRPNEw82qQIsa0BWVSDPgQ8YbHPI66wNiIv2QRkAEKVRCVzaJDy0LKaXduhbrt803aDDGWab1ACJYdGJc0xpD2lcSoNaWWpivpoUMerFQ9gvoYEdBaG5lyonghnaxZWjfQlj9ZKQJaVwHj5AYEy0rwOJuqSmp5nayx+Nxg4zrPj+6jzqujW7aLbF6KnUMysUj2Nljjiltuljk0rLVZNy4AWz1daXNMQSnIRXYoh9IFcz+4Y2f00jYGJy/TjjzXSF6iPixDvMl3WNWoNJQs5tlnStDHRPnJXH1cxJgkr7QPsbwZBKsJvWK2CdQW3Nc5wD0CBzHTkTIkRrcZMBjwudqYnohiPtqs9ggbawCtyi96OI9AQWRwu1+t0fa2TmuB/2p+jLU4bZFHD9nPYGpY/W8eTXd2f21hbMKuZ+IpRi/tv9envOyzw+QQwc3mH6AYAAA==">
            <a:extLst>
              <a:ext uri="{FF2B5EF4-FFF2-40B4-BE49-F238E27FC236}">
                <a16:creationId xmlns:a16="http://schemas.microsoft.com/office/drawing/2014/main" id="{DD35C336-9213-4A7B-B84B-7DCA26C33D59}"/>
              </a:ext>
            </a:extLst>
          </p:cNvPr>
          <p:cNvGrpSpPr>
            <a:grpSpLocks noChangeAspect="1"/>
          </p:cNvGrpSpPr>
          <p:nvPr/>
        </p:nvGrpSpPr>
        <p:grpSpPr>
          <a:xfrm>
            <a:off x="2533270" y="1507829"/>
            <a:ext cx="7125460" cy="3842342"/>
            <a:chOff x="2533270" y="1507829"/>
            <a:chExt cx="7125460" cy="3842342"/>
          </a:xfrm>
        </p:grpSpPr>
        <p:sp>
          <p:nvSpPr>
            <p:cNvPr id="3" name="ExtraShape1">
              <a:extLst>
                <a:ext uri="{FF2B5EF4-FFF2-40B4-BE49-F238E27FC236}">
                  <a16:creationId xmlns:a16="http://schemas.microsoft.com/office/drawing/2014/main" id="{ED98ACD3-4EEC-4D61-9174-7F5235A9A322}"/>
                </a:ext>
              </a:extLst>
            </p:cNvPr>
            <p:cNvSpPr/>
            <p:nvPr/>
          </p:nvSpPr>
          <p:spPr bwMode="auto">
            <a:xfrm>
              <a:off x="3248235" y="2620882"/>
              <a:ext cx="754774" cy="754774"/>
            </a:xfrm>
            <a:custGeom>
              <a:avLst/>
              <a:gdLst>
                <a:gd name="T0" fmla="*/ 257 w 270"/>
                <a:gd name="T1" fmla="*/ 173 h 270"/>
                <a:gd name="T2" fmla="*/ 234 w 270"/>
                <a:gd name="T3" fmla="*/ 160 h 270"/>
                <a:gd name="T4" fmla="*/ 237 w 270"/>
                <a:gd name="T5" fmla="*/ 130 h 270"/>
                <a:gd name="T6" fmla="*/ 262 w 270"/>
                <a:gd name="T7" fmla="*/ 123 h 270"/>
                <a:gd name="T8" fmla="*/ 268 w 270"/>
                <a:gd name="T9" fmla="*/ 112 h 270"/>
                <a:gd name="T10" fmla="*/ 259 w 270"/>
                <a:gd name="T11" fmla="*/ 81 h 270"/>
                <a:gd name="T12" fmla="*/ 248 w 270"/>
                <a:gd name="T13" fmla="*/ 75 h 270"/>
                <a:gd name="T14" fmla="*/ 222 w 270"/>
                <a:gd name="T15" fmla="*/ 83 h 270"/>
                <a:gd name="T16" fmla="*/ 204 w 270"/>
                <a:gd name="T17" fmla="*/ 60 h 270"/>
                <a:gd name="T18" fmla="*/ 216 w 270"/>
                <a:gd name="T19" fmla="*/ 36 h 270"/>
                <a:gd name="T20" fmla="*/ 213 w 270"/>
                <a:gd name="T21" fmla="*/ 24 h 270"/>
                <a:gd name="T22" fmla="*/ 185 w 270"/>
                <a:gd name="T23" fmla="*/ 9 h 270"/>
                <a:gd name="T24" fmla="*/ 173 w 270"/>
                <a:gd name="T25" fmla="*/ 12 h 270"/>
                <a:gd name="T26" fmla="*/ 160 w 270"/>
                <a:gd name="T27" fmla="*/ 36 h 270"/>
                <a:gd name="T28" fmla="*/ 130 w 270"/>
                <a:gd name="T29" fmla="*/ 33 h 270"/>
                <a:gd name="T30" fmla="*/ 123 w 270"/>
                <a:gd name="T31" fmla="*/ 7 h 270"/>
                <a:gd name="T32" fmla="*/ 111 w 270"/>
                <a:gd name="T33" fmla="*/ 1 h 270"/>
                <a:gd name="T34" fmla="*/ 81 w 270"/>
                <a:gd name="T35" fmla="*/ 10 h 270"/>
                <a:gd name="T36" fmla="*/ 75 w 270"/>
                <a:gd name="T37" fmla="*/ 21 h 270"/>
                <a:gd name="T38" fmla="*/ 83 w 270"/>
                <a:gd name="T39" fmla="*/ 47 h 270"/>
                <a:gd name="T40" fmla="*/ 60 w 270"/>
                <a:gd name="T41" fmla="*/ 66 h 270"/>
                <a:gd name="T42" fmla="*/ 36 w 270"/>
                <a:gd name="T43" fmla="*/ 53 h 270"/>
                <a:gd name="T44" fmla="*/ 24 w 270"/>
                <a:gd name="T45" fmla="*/ 57 h 270"/>
                <a:gd name="T46" fmla="*/ 9 w 270"/>
                <a:gd name="T47" fmla="*/ 85 h 270"/>
                <a:gd name="T48" fmla="*/ 12 w 270"/>
                <a:gd name="T49" fmla="*/ 97 h 270"/>
                <a:gd name="T50" fmla="*/ 36 w 270"/>
                <a:gd name="T51" fmla="*/ 110 h 270"/>
                <a:gd name="T52" fmla="*/ 33 w 270"/>
                <a:gd name="T53" fmla="*/ 139 h 270"/>
                <a:gd name="T54" fmla="*/ 7 w 270"/>
                <a:gd name="T55" fmla="*/ 147 h 270"/>
                <a:gd name="T56" fmla="*/ 1 w 270"/>
                <a:gd name="T57" fmla="*/ 158 h 270"/>
                <a:gd name="T58" fmla="*/ 10 w 270"/>
                <a:gd name="T59" fmla="*/ 188 h 270"/>
                <a:gd name="T60" fmla="*/ 21 w 270"/>
                <a:gd name="T61" fmla="*/ 194 h 270"/>
                <a:gd name="T62" fmla="*/ 47 w 270"/>
                <a:gd name="T63" fmla="*/ 187 h 270"/>
                <a:gd name="T64" fmla="*/ 66 w 270"/>
                <a:gd name="T65" fmla="*/ 210 h 270"/>
                <a:gd name="T66" fmla="*/ 53 w 270"/>
                <a:gd name="T67" fmla="*/ 233 h 270"/>
                <a:gd name="T68" fmla="*/ 57 w 270"/>
                <a:gd name="T69" fmla="*/ 246 h 270"/>
                <a:gd name="T70" fmla="*/ 84 w 270"/>
                <a:gd name="T71" fmla="*/ 261 h 270"/>
                <a:gd name="T72" fmla="*/ 97 w 270"/>
                <a:gd name="T73" fmla="*/ 257 h 270"/>
                <a:gd name="T74" fmla="*/ 110 w 270"/>
                <a:gd name="T75" fmla="*/ 234 h 270"/>
                <a:gd name="T76" fmla="*/ 139 w 270"/>
                <a:gd name="T77" fmla="*/ 237 h 270"/>
                <a:gd name="T78" fmla="*/ 147 w 270"/>
                <a:gd name="T79" fmla="*/ 262 h 270"/>
                <a:gd name="T80" fmla="*/ 158 w 270"/>
                <a:gd name="T81" fmla="*/ 268 h 270"/>
                <a:gd name="T82" fmla="*/ 188 w 270"/>
                <a:gd name="T83" fmla="*/ 259 h 270"/>
                <a:gd name="T84" fmla="*/ 194 w 270"/>
                <a:gd name="T85" fmla="*/ 248 h 270"/>
                <a:gd name="T86" fmla="*/ 187 w 270"/>
                <a:gd name="T87" fmla="*/ 222 h 270"/>
                <a:gd name="T88" fmla="*/ 210 w 270"/>
                <a:gd name="T89" fmla="*/ 204 h 270"/>
                <a:gd name="T90" fmla="*/ 233 w 270"/>
                <a:gd name="T91" fmla="*/ 217 h 270"/>
                <a:gd name="T92" fmla="*/ 246 w 270"/>
                <a:gd name="T93" fmla="*/ 213 h 270"/>
                <a:gd name="T94" fmla="*/ 261 w 270"/>
                <a:gd name="T95" fmla="*/ 185 h 270"/>
                <a:gd name="T96" fmla="*/ 257 w 270"/>
                <a:gd name="T97" fmla="*/ 173 h 270"/>
                <a:gd name="T98" fmla="*/ 100 w 270"/>
                <a:gd name="T99" fmla="*/ 198 h 270"/>
                <a:gd name="T100" fmla="*/ 71 w 270"/>
                <a:gd name="T101" fmla="*/ 100 h 270"/>
                <a:gd name="T102" fmla="*/ 169 w 270"/>
                <a:gd name="T103" fmla="*/ 71 h 270"/>
                <a:gd name="T104" fmla="*/ 198 w 270"/>
                <a:gd name="T105" fmla="*/ 169 h 270"/>
                <a:gd name="T106" fmla="*/ 100 w 270"/>
                <a:gd name="T107" fmla="*/ 198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0" h="270">
                  <a:moveTo>
                    <a:pt x="257" y="173"/>
                  </a:moveTo>
                  <a:cubicBezTo>
                    <a:pt x="234" y="160"/>
                    <a:pt x="234" y="160"/>
                    <a:pt x="234" y="160"/>
                  </a:cubicBezTo>
                  <a:cubicBezTo>
                    <a:pt x="236" y="150"/>
                    <a:pt x="237" y="140"/>
                    <a:pt x="237" y="130"/>
                  </a:cubicBezTo>
                  <a:cubicBezTo>
                    <a:pt x="262" y="123"/>
                    <a:pt x="262" y="123"/>
                    <a:pt x="262" y="123"/>
                  </a:cubicBezTo>
                  <a:cubicBezTo>
                    <a:pt x="267" y="121"/>
                    <a:pt x="270" y="116"/>
                    <a:pt x="268" y="112"/>
                  </a:cubicBezTo>
                  <a:cubicBezTo>
                    <a:pt x="259" y="81"/>
                    <a:pt x="259" y="81"/>
                    <a:pt x="259" y="81"/>
                  </a:cubicBezTo>
                  <a:cubicBezTo>
                    <a:pt x="258" y="76"/>
                    <a:pt x="253" y="74"/>
                    <a:pt x="248" y="75"/>
                  </a:cubicBezTo>
                  <a:cubicBezTo>
                    <a:pt x="222" y="83"/>
                    <a:pt x="222" y="83"/>
                    <a:pt x="222" y="83"/>
                  </a:cubicBezTo>
                  <a:cubicBezTo>
                    <a:pt x="217" y="74"/>
                    <a:pt x="211" y="66"/>
                    <a:pt x="204" y="60"/>
                  </a:cubicBezTo>
                  <a:cubicBezTo>
                    <a:pt x="216" y="36"/>
                    <a:pt x="216" y="36"/>
                    <a:pt x="216" y="36"/>
                  </a:cubicBezTo>
                  <a:cubicBezTo>
                    <a:pt x="219" y="32"/>
                    <a:pt x="217" y="26"/>
                    <a:pt x="213" y="24"/>
                  </a:cubicBezTo>
                  <a:cubicBezTo>
                    <a:pt x="185" y="9"/>
                    <a:pt x="185" y="9"/>
                    <a:pt x="185" y="9"/>
                  </a:cubicBezTo>
                  <a:cubicBezTo>
                    <a:pt x="180" y="6"/>
                    <a:pt x="175" y="8"/>
                    <a:pt x="173" y="12"/>
                  </a:cubicBezTo>
                  <a:cubicBezTo>
                    <a:pt x="160" y="36"/>
                    <a:pt x="160" y="36"/>
                    <a:pt x="160" y="36"/>
                  </a:cubicBezTo>
                  <a:cubicBezTo>
                    <a:pt x="150" y="33"/>
                    <a:pt x="140" y="32"/>
                    <a:pt x="130" y="33"/>
                  </a:cubicBezTo>
                  <a:cubicBezTo>
                    <a:pt x="123" y="7"/>
                    <a:pt x="123" y="7"/>
                    <a:pt x="123" y="7"/>
                  </a:cubicBezTo>
                  <a:cubicBezTo>
                    <a:pt x="121" y="2"/>
                    <a:pt x="116" y="0"/>
                    <a:pt x="111" y="1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76" y="12"/>
                    <a:pt x="73" y="17"/>
                    <a:pt x="75" y="21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74" y="52"/>
                    <a:pt x="66" y="58"/>
                    <a:pt x="60" y="66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2" y="51"/>
                    <a:pt x="26" y="52"/>
                    <a:pt x="24" y="57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" y="89"/>
                    <a:pt x="8" y="94"/>
                    <a:pt x="12" y="97"/>
                  </a:cubicBezTo>
                  <a:cubicBezTo>
                    <a:pt x="36" y="110"/>
                    <a:pt x="36" y="110"/>
                    <a:pt x="36" y="110"/>
                  </a:cubicBezTo>
                  <a:cubicBezTo>
                    <a:pt x="33" y="119"/>
                    <a:pt x="32" y="129"/>
                    <a:pt x="33" y="139"/>
                  </a:cubicBezTo>
                  <a:cubicBezTo>
                    <a:pt x="7" y="147"/>
                    <a:pt x="7" y="147"/>
                    <a:pt x="7" y="147"/>
                  </a:cubicBezTo>
                  <a:cubicBezTo>
                    <a:pt x="2" y="148"/>
                    <a:pt x="0" y="153"/>
                    <a:pt x="1" y="158"/>
                  </a:cubicBezTo>
                  <a:cubicBezTo>
                    <a:pt x="10" y="188"/>
                    <a:pt x="10" y="188"/>
                    <a:pt x="10" y="188"/>
                  </a:cubicBezTo>
                  <a:cubicBezTo>
                    <a:pt x="12" y="193"/>
                    <a:pt x="17" y="196"/>
                    <a:pt x="21" y="194"/>
                  </a:cubicBezTo>
                  <a:cubicBezTo>
                    <a:pt x="47" y="187"/>
                    <a:pt x="47" y="187"/>
                    <a:pt x="47" y="187"/>
                  </a:cubicBezTo>
                  <a:cubicBezTo>
                    <a:pt x="52" y="195"/>
                    <a:pt x="58" y="203"/>
                    <a:pt x="66" y="210"/>
                  </a:cubicBezTo>
                  <a:cubicBezTo>
                    <a:pt x="53" y="233"/>
                    <a:pt x="53" y="233"/>
                    <a:pt x="53" y="233"/>
                  </a:cubicBezTo>
                  <a:cubicBezTo>
                    <a:pt x="50" y="238"/>
                    <a:pt x="52" y="243"/>
                    <a:pt x="57" y="246"/>
                  </a:cubicBezTo>
                  <a:cubicBezTo>
                    <a:pt x="84" y="261"/>
                    <a:pt x="84" y="261"/>
                    <a:pt x="84" y="261"/>
                  </a:cubicBezTo>
                  <a:cubicBezTo>
                    <a:pt x="89" y="263"/>
                    <a:pt x="94" y="262"/>
                    <a:pt x="97" y="257"/>
                  </a:cubicBezTo>
                  <a:cubicBezTo>
                    <a:pt x="110" y="234"/>
                    <a:pt x="110" y="234"/>
                    <a:pt x="110" y="234"/>
                  </a:cubicBezTo>
                  <a:cubicBezTo>
                    <a:pt x="119" y="236"/>
                    <a:pt x="129" y="237"/>
                    <a:pt x="139" y="237"/>
                  </a:cubicBezTo>
                  <a:cubicBezTo>
                    <a:pt x="147" y="262"/>
                    <a:pt x="147" y="262"/>
                    <a:pt x="147" y="262"/>
                  </a:cubicBezTo>
                  <a:cubicBezTo>
                    <a:pt x="148" y="267"/>
                    <a:pt x="153" y="270"/>
                    <a:pt x="158" y="268"/>
                  </a:cubicBezTo>
                  <a:cubicBezTo>
                    <a:pt x="188" y="259"/>
                    <a:pt x="188" y="259"/>
                    <a:pt x="188" y="259"/>
                  </a:cubicBezTo>
                  <a:cubicBezTo>
                    <a:pt x="193" y="258"/>
                    <a:pt x="196" y="253"/>
                    <a:pt x="194" y="248"/>
                  </a:cubicBezTo>
                  <a:cubicBezTo>
                    <a:pt x="187" y="222"/>
                    <a:pt x="187" y="222"/>
                    <a:pt x="187" y="222"/>
                  </a:cubicBezTo>
                  <a:cubicBezTo>
                    <a:pt x="195" y="217"/>
                    <a:pt x="203" y="211"/>
                    <a:pt x="210" y="204"/>
                  </a:cubicBezTo>
                  <a:cubicBezTo>
                    <a:pt x="233" y="217"/>
                    <a:pt x="233" y="217"/>
                    <a:pt x="233" y="217"/>
                  </a:cubicBezTo>
                  <a:cubicBezTo>
                    <a:pt x="238" y="219"/>
                    <a:pt x="243" y="217"/>
                    <a:pt x="246" y="213"/>
                  </a:cubicBezTo>
                  <a:cubicBezTo>
                    <a:pt x="261" y="185"/>
                    <a:pt x="261" y="185"/>
                    <a:pt x="261" y="185"/>
                  </a:cubicBezTo>
                  <a:cubicBezTo>
                    <a:pt x="263" y="181"/>
                    <a:pt x="261" y="175"/>
                    <a:pt x="257" y="173"/>
                  </a:cubicBezTo>
                  <a:moveTo>
                    <a:pt x="100" y="198"/>
                  </a:moveTo>
                  <a:cubicBezTo>
                    <a:pt x="65" y="179"/>
                    <a:pt x="52" y="135"/>
                    <a:pt x="71" y="100"/>
                  </a:cubicBezTo>
                  <a:cubicBezTo>
                    <a:pt x="90" y="65"/>
                    <a:pt x="134" y="52"/>
                    <a:pt x="169" y="71"/>
                  </a:cubicBezTo>
                  <a:cubicBezTo>
                    <a:pt x="204" y="90"/>
                    <a:pt x="217" y="134"/>
                    <a:pt x="198" y="169"/>
                  </a:cubicBezTo>
                  <a:cubicBezTo>
                    <a:pt x="179" y="204"/>
                    <a:pt x="135" y="217"/>
                    <a:pt x="100" y="19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" name="ExtraShape1">
              <a:extLst>
                <a:ext uri="{FF2B5EF4-FFF2-40B4-BE49-F238E27FC236}">
                  <a16:creationId xmlns:a16="http://schemas.microsoft.com/office/drawing/2014/main" id="{2C048AA8-CF17-4AC9-AA24-72C5086C8CF1}"/>
                </a:ext>
              </a:extLst>
            </p:cNvPr>
            <p:cNvSpPr/>
            <p:nvPr/>
          </p:nvSpPr>
          <p:spPr bwMode="auto">
            <a:xfrm>
              <a:off x="2533270" y="3331070"/>
              <a:ext cx="1917190" cy="1399675"/>
            </a:xfrm>
            <a:custGeom>
              <a:avLst/>
              <a:gdLst>
                <a:gd name="T0" fmla="*/ 652 w 686"/>
                <a:gd name="T1" fmla="*/ 501 h 501"/>
                <a:gd name="T2" fmla="*/ 34 w 686"/>
                <a:gd name="T3" fmla="*/ 501 h 501"/>
                <a:gd name="T4" fmla="*/ 0 w 686"/>
                <a:gd name="T5" fmla="*/ 467 h 501"/>
                <a:gd name="T6" fmla="*/ 0 w 686"/>
                <a:gd name="T7" fmla="*/ 34 h 501"/>
                <a:gd name="T8" fmla="*/ 34 w 686"/>
                <a:gd name="T9" fmla="*/ 0 h 501"/>
                <a:gd name="T10" fmla="*/ 652 w 686"/>
                <a:gd name="T11" fmla="*/ 0 h 501"/>
                <a:gd name="T12" fmla="*/ 686 w 686"/>
                <a:gd name="T13" fmla="*/ 34 h 501"/>
                <a:gd name="T14" fmla="*/ 686 w 686"/>
                <a:gd name="T15" fmla="*/ 467 h 501"/>
                <a:gd name="T16" fmla="*/ 652 w 686"/>
                <a:gd name="T17" fmla="*/ 501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501">
                  <a:moveTo>
                    <a:pt x="652" y="501"/>
                  </a:moveTo>
                  <a:cubicBezTo>
                    <a:pt x="34" y="501"/>
                    <a:pt x="34" y="501"/>
                    <a:pt x="34" y="501"/>
                  </a:cubicBezTo>
                  <a:cubicBezTo>
                    <a:pt x="15" y="501"/>
                    <a:pt x="0" y="486"/>
                    <a:pt x="0" y="467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652" y="0"/>
                    <a:pt x="652" y="0"/>
                    <a:pt x="652" y="0"/>
                  </a:cubicBezTo>
                  <a:cubicBezTo>
                    <a:pt x="671" y="0"/>
                    <a:pt x="686" y="15"/>
                    <a:pt x="686" y="34"/>
                  </a:cubicBezTo>
                  <a:cubicBezTo>
                    <a:pt x="686" y="467"/>
                    <a:pt x="686" y="467"/>
                    <a:pt x="686" y="467"/>
                  </a:cubicBezTo>
                  <a:cubicBezTo>
                    <a:pt x="686" y="486"/>
                    <a:pt x="671" y="501"/>
                    <a:pt x="652" y="50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" name="ExtraShape2">
              <a:extLst>
                <a:ext uri="{FF2B5EF4-FFF2-40B4-BE49-F238E27FC236}">
                  <a16:creationId xmlns:a16="http://schemas.microsoft.com/office/drawing/2014/main" id="{5B5934B6-6D2F-4587-9466-68BF32E052E5}"/>
                </a:ext>
              </a:extLst>
            </p:cNvPr>
            <p:cNvSpPr/>
            <p:nvPr/>
          </p:nvSpPr>
          <p:spPr bwMode="auto">
            <a:xfrm>
              <a:off x="2533270" y="3331070"/>
              <a:ext cx="1917190" cy="388534"/>
            </a:xfrm>
            <a:custGeom>
              <a:avLst/>
              <a:gdLst>
                <a:gd name="T0" fmla="*/ 0 w 686"/>
                <a:gd name="T1" fmla="*/ 139 h 139"/>
                <a:gd name="T2" fmla="*/ 0 w 686"/>
                <a:gd name="T3" fmla="*/ 26 h 139"/>
                <a:gd name="T4" fmla="*/ 25 w 686"/>
                <a:gd name="T5" fmla="*/ 0 h 139"/>
                <a:gd name="T6" fmla="*/ 661 w 686"/>
                <a:gd name="T7" fmla="*/ 0 h 139"/>
                <a:gd name="T8" fmla="*/ 686 w 686"/>
                <a:gd name="T9" fmla="*/ 26 h 139"/>
                <a:gd name="T10" fmla="*/ 686 w 686"/>
                <a:gd name="T11" fmla="*/ 136 h 139"/>
                <a:gd name="T12" fmla="*/ 0 w 686"/>
                <a:gd name="T13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6" h="139">
                  <a:moveTo>
                    <a:pt x="0" y="139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5" y="0"/>
                  </a:cubicBezTo>
                  <a:cubicBezTo>
                    <a:pt x="661" y="0"/>
                    <a:pt x="661" y="0"/>
                    <a:pt x="661" y="0"/>
                  </a:cubicBezTo>
                  <a:cubicBezTo>
                    <a:pt x="675" y="0"/>
                    <a:pt x="686" y="12"/>
                    <a:pt x="686" y="26"/>
                  </a:cubicBezTo>
                  <a:cubicBezTo>
                    <a:pt x="686" y="136"/>
                    <a:pt x="686" y="136"/>
                    <a:pt x="686" y="136"/>
                  </a:cubicBezTo>
                  <a:cubicBezTo>
                    <a:pt x="0" y="139"/>
                    <a:pt x="0" y="139"/>
                    <a:pt x="0" y="139"/>
                  </a:cubicBezTo>
                </a:path>
              </a:pathLst>
            </a:custGeom>
            <a:solidFill>
              <a:srgbClr val="FDC5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" name="ExtraShape2">
              <a:extLst>
                <a:ext uri="{FF2B5EF4-FFF2-40B4-BE49-F238E27FC236}">
                  <a16:creationId xmlns:a16="http://schemas.microsoft.com/office/drawing/2014/main" id="{EDD214FC-1F67-4555-8CE5-5C7088C1DABA}"/>
                </a:ext>
              </a:extLst>
            </p:cNvPr>
            <p:cNvSpPr/>
            <p:nvPr/>
          </p:nvSpPr>
          <p:spPr bwMode="auto">
            <a:xfrm>
              <a:off x="2681359" y="3794445"/>
              <a:ext cx="213375" cy="167197"/>
            </a:xfrm>
            <a:prstGeom prst="rect">
              <a:avLst/>
            </a:prstGeom>
            <a:solidFill>
              <a:srgbClr val="FDC5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" name="ExtraShape3">
              <a:extLst>
                <a:ext uri="{FF2B5EF4-FFF2-40B4-BE49-F238E27FC236}">
                  <a16:creationId xmlns:a16="http://schemas.microsoft.com/office/drawing/2014/main" id="{59661785-3811-4AD5-A1A7-192E99883AAC}"/>
                </a:ext>
              </a:extLst>
            </p:cNvPr>
            <p:cNvSpPr/>
            <p:nvPr/>
          </p:nvSpPr>
          <p:spPr bwMode="auto">
            <a:xfrm>
              <a:off x="2681359" y="4090622"/>
              <a:ext cx="213375" cy="170381"/>
            </a:xfrm>
            <a:prstGeom prst="rect">
              <a:avLst/>
            </a:pr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" name="ExtraShape4">
              <a:extLst>
                <a:ext uri="{FF2B5EF4-FFF2-40B4-BE49-F238E27FC236}">
                  <a16:creationId xmlns:a16="http://schemas.microsoft.com/office/drawing/2014/main" id="{B2970B23-5560-4C91-A93E-593F1FA4A765}"/>
                </a:ext>
              </a:extLst>
            </p:cNvPr>
            <p:cNvSpPr/>
            <p:nvPr/>
          </p:nvSpPr>
          <p:spPr bwMode="auto">
            <a:xfrm>
              <a:off x="2681359" y="4090622"/>
              <a:ext cx="213375" cy="1703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" name="ExtraShape5">
              <a:extLst>
                <a:ext uri="{FF2B5EF4-FFF2-40B4-BE49-F238E27FC236}">
                  <a16:creationId xmlns:a16="http://schemas.microsoft.com/office/drawing/2014/main" id="{CFA8C104-3B09-43C9-94EC-6206DFEA30F3}"/>
                </a:ext>
              </a:extLst>
            </p:cNvPr>
            <p:cNvSpPr/>
            <p:nvPr/>
          </p:nvSpPr>
          <p:spPr bwMode="auto">
            <a:xfrm>
              <a:off x="2681359" y="4378837"/>
              <a:ext cx="213375" cy="170381"/>
            </a:xfrm>
            <a:prstGeom prst="rect">
              <a:avLst/>
            </a:pr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" name="ExtraShape6">
              <a:extLst>
                <a:ext uri="{FF2B5EF4-FFF2-40B4-BE49-F238E27FC236}">
                  <a16:creationId xmlns:a16="http://schemas.microsoft.com/office/drawing/2014/main" id="{D65D8593-2E10-41D2-9180-3C2416F10AFB}"/>
                </a:ext>
              </a:extLst>
            </p:cNvPr>
            <p:cNvSpPr/>
            <p:nvPr/>
          </p:nvSpPr>
          <p:spPr bwMode="auto">
            <a:xfrm>
              <a:off x="2681359" y="4378837"/>
              <a:ext cx="213375" cy="1703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1" name="ExtraShape7">
              <a:extLst>
                <a:ext uri="{FF2B5EF4-FFF2-40B4-BE49-F238E27FC236}">
                  <a16:creationId xmlns:a16="http://schemas.microsoft.com/office/drawing/2014/main" id="{402B55C7-E091-4A0E-83B7-7933F9B924D3}"/>
                </a:ext>
              </a:extLst>
            </p:cNvPr>
            <p:cNvSpPr/>
            <p:nvPr/>
          </p:nvSpPr>
          <p:spPr bwMode="auto">
            <a:xfrm>
              <a:off x="3047600" y="3794445"/>
              <a:ext cx="211783" cy="167197"/>
            </a:xfrm>
            <a:prstGeom prst="rect">
              <a:avLst/>
            </a:pr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2" name="ExtraShape8">
              <a:extLst>
                <a:ext uri="{FF2B5EF4-FFF2-40B4-BE49-F238E27FC236}">
                  <a16:creationId xmlns:a16="http://schemas.microsoft.com/office/drawing/2014/main" id="{CE9DCEA4-A2AC-49D4-82F7-4ECEC038CD23}"/>
                </a:ext>
              </a:extLst>
            </p:cNvPr>
            <p:cNvSpPr/>
            <p:nvPr/>
          </p:nvSpPr>
          <p:spPr bwMode="auto">
            <a:xfrm>
              <a:off x="3047600" y="3794445"/>
              <a:ext cx="211783" cy="167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3" name="ExtraShape9">
              <a:extLst>
                <a:ext uri="{FF2B5EF4-FFF2-40B4-BE49-F238E27FC236}">
                  <a16:creationId xmlns:a16="http://schemas.microsoft.com/office/drawing/2014/main" id="{92923908-C6A2-4873-95E0-40BDCAEA0865}"/>
                </a:ext>
              </a:extLst>
            </p:cNvPr>
            <p:cNvSpPr/>
            <p:nvPr/>
          </p:nvSpPr>
          <p:spPr bwMode="auto">
            <a:xfrm>
              <a:off x="3047600" y="4090622"/>
              <a:ext cx="211783" cy="170381"/>
            </a:xfrm>
            <a:prstGeom prst="rect">
              <a:avLst/>
            </a:prstGeom>
            <a:solidFill>
              <a:srgbClr val="FDC5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4" name="ExtraShape3">
              <a:extLst>
                <a:ext uri="{FF2B5EF4-FFF2-40B4-BE49-F238E27FC236}">
                  <a16:creationId xmlns:a16="http://schemas.microsoft.com/office/drawing/2014/main" id="{ABB1CD79-0980-4D8B-8E0A-951E5C45EF85}"/>
                </a:ext>
              </a:extLst>
            </p:cNvPr>
            <p:cNvSpPr/>
            <p:nvPr/>
          </p:nvSpPr>
          <p:spPr bwMode="auto">
            <a:xfrm>
              <a:off x="3047600" y="4378837"/>
              <a:ext cx="211783" cy="170381"/>
            </a:xfrm>
            <a:custGeom>
              <a:avLst/>
              <a:gdLst>
                <a:gd name="T0" fmla="*/ 76 w 76"/>
                <a:gd name="T1" fmla="*/ 0 h 61"/>
                <a:gd name="T2" fmla="*/ 0 w 76"/>
                <a:gd name="T3" fmla="*/ 0 h 61"/>
                <a:gd name="T4" fmla="*/ 0 w 76"/>
                <a:gd name="T5" fmla="*/ 61 h 61"/>
                <a:gd name="T6" fmla="*/ 64 w 76"/>
                <a:gd name="T7" fmla="*/ 61 h 61"/>
                <a:gd name="T8" fmla="*/ 76 w 76"/>
                <a:gd name="T9" fmla="*/ 35 h 61"/>
                <a:gd name="T10" fmla="*/ 76 w 76"/>
                <a:gd name="T1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61">
                  <a:moveTo>
                    <a:pt x="7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7" y="52"/>
                    <a:pt x="71" y="43"/>
                    <a:pt x="76" y="35"/>
                  </a:cubicBezTo>
                  <a:cubicBezTo>
                    <a:pt x="76" y="0"/>
                    <a:pt x="76" y="0"/>
                    <a:pt x="76" y="0"/>
                  </a:cubicBezTo>
                </a:path>
              </a:pathLst>
            </a:cu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5" name="ExtraShape4">
              <a:extLst>
                <a:ext uri="{FF2B5EF4-FFF2-40B4-BE49-F238E27FC236}">
                  <a16:creationId xmlns:a16="http://schemas.microsoft.com/office/drawing/2014/main" id="{ED523C63-164D-4132-97B2-CA3FB3D94ECE}"/>
                </a:ext>
              </a:extLst>
            </p:cNvPr>
            <p:cNvSpPr/>
            <p:nvPr/>
          </p:nvSpPr>
          <p:spPr bwMode="auto">
            <a:xfrm>
              <a:off x="3402693" y="3794445"/>
              <a:ext cx="211783" cy="167197"/>
            </a:xfrm>
            <a:custGeom>
              <a:avLst/>
              <a:gdLst>
                <a:gd name="T0" fmla="*/ 67 w 76"/>
                <a:gd name="T1" fmla="*/ 0 h 60"/>
                <a:gd name="T2" fmla="*/ 0 w 76"/>
                <a:gd name="T3" fmla="*/ 0 h 60"/>
                <a:gd name="T4" fmla="*/ 0 w 76"/>
                <a:gd name="T5" fmla="*/ 60 h 60"/>
                <a:gd name="T6" fmla="*/ 76 w 76"/>
                <a:gd name="T7" fmla="*/ 60 h 60"/>
                <a:gd name="T8" fmla="*/ 67 w 7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60">
                  <a:moveTo>
                    <a:pt x="6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2" y="40"/>
                    <a:pt x="69" y="20"/>
                    <a:pt x="67" y="0"/>
                  </a:cubicBezTo>
                </a:path>
              </a:pathLst>
            </a:cu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6" name="ExtraShape5">
              <a:extLst>
                <a:ext uri="{FF2B5EF4-FFF2-40B4-BE49-F238E27FC236}">
                  <a16:creationId xmlns:a16="http://schemas.microsoft.com/office/drawing/2014/main" id="{933DF07B-72A8-4644-A2DA-D7151A5C093F}"/>
                </a:ext>
              </a:extLst>
            </p:cNvPr>
            <p:cNvSpPr/>
            <p:nvPr/>
          </p:nvSpPr>
          <p:spPr bwMode="auto">
            <a:xfrm>
              <a:off x="3402693" y="4090622"/>
              <a:ext cx="211783" cy="170381"/>
            </a:xfrm>
            <a:custGeom>
              <a:avLst/>
              <a:gdLst>
                <a:gd name="T0" fmla="*/ 76 w 76"/>
                <a:gd name="T1" fmla="*/ 0 h 61"/>
                <a:gd name="T2" fmla="*/ 0 w 76"/>
                <a:gd name="T3" fmla="*/ 0 h 61"/>
                <a:gd name="T4" fmla="*/ 0 w 76"/>
                <a:gd name="T5" fmla="*/ 61 h 61"/>
                <a:gd name="T6" fmla="*/ 36 w 76"/>
                <a:gd name="T7" fmla="*/ 61 h 61"/>
                <a:gd name="T8" fmla="*/ 76 w 76"/>
                <a:gd name="T9" fmla="*/ 49 h 61"/>
                <a:gd name="T10" fmla="*/ 76 w 76"/>
                <a:gd name="T1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61">
                  <a:moveTo>
                    <a:pt x="7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48" y="55"/>
                    <a:pt x="62" y="51"/>
                    <a:pt x="76" y="49"/>
                  </a:cubicBezTo>
                  <a:cubicBezTo>
                    <a:pt x="76" y="0"/>
                    <a:pt x="76" y="0"/>
                    <a:pt x="76" y="0"/>
                  </a:cubicBezTo>
                </a:path>
              </a:pathLst>
            </a:cu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7" name="ExtraShape1">
              <a:extLst>
                <a:ext uri="{FF2B5EF4-FFF2-40B4-BE49-F238E27FC236}">
                  <a16:creationId xmlns:a16="http://schemas.microsoft.com/office/drawing/2014/main" id="{C1BB1AAB-8816-447F-8887-ED68075647BC}"/>
                </a:ext>
              </a:extLst>
            </p:cNvPr>
            <p:cNvSpPr/>
            <p:nvPr/>
          </p:nvSpPr>
          <p:spPr bwMode="auto">
            <a:xfrm>
              <a:off x="4114474" y="4090622"/>
              <a:ext cx="211783" cy="170381"/>
            </a:xfrm>
            <a:prstGeom prst="rect">
              <a:avLst/>
            </a:prstGeom>
            <a:solidFill>
              <a:srgbClr val="FDC5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8" name="ExtraShape2">
              <a:extLst>
                <a:ext uri="{FF2B5EF4-FFF2-40B4-BE49-F238E27FC236}">
                  <a16:creationId xmlns:a16="http://schemas.microsoft.com/office/drawing/2014/main" id="{D85E7C23-FC17-41F9-8329-AF9AAEE19A32}"/>
                </a:ext>
              </a:extLst>
            </p:cNvPr>
            <p:cNvSpPr/>
            <p:nvPr/>
          </p:nvSpPr>
          <p:spPr bwMode="auto">
            <a:xfrm>
              <a:off x="4114474" y="4090622"/>
              <a:ext cx="211783" cy="1703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9" name="ExtraShape13">
              <a:extLst>
                <a:ext uri="{FF2B5EF4-FFF2-40B4-BE49-F238E27FC236}">
                  <a16:creationId xmlns:a16="http://schemas.microsoft.com/office/drawing/2014/main" id="{75637D9F-6201-4CDE-9A3E-D06D6A65AFC0}"/>
                </a:ext>
              </a:extLst>
            </p:cNvPr>
            <p:cNvSpPr/>
            <p:nvPr/>
          </p:nvSpPr>
          <p:spPr bwMode="auto">
            <a:xfrm>
              <a:off x="3092185" y="3802406"/>
              <a:ext cx="144904" cy="146496"/>
            </a:xfrm>
            <a:custGeom>
              <a:avLst/>
              <a:gdLst>
                <a:gd name="T0" fmla="*/ 50 w 52"/>
                <a:gd name="T1" fmla="*/ 26 h 52"/>
                <a:gd name="T2" fmla="*/ 48 w 52"/>
                <a:gd name="T3" fmla="*/ 26 h 52"/>
                <a:gd name="T4" fmla="*/ 42 w 52"/>
                <a:gd name="T5" fmla="*/ 42 h 52"/>
                <a:gd name="T6" fmla="*/ 26 w 52"/>
                <a:gd name="T7" fmla="*/ 48 h 52"/>
                <a:gd name="T8" fmla="*/ 10 w 52"/>
                <a:gd name="T9" fmla="*/ 42 h 52"/>
                <a:gd name="T10" fmla="*/ 4 w 52"/>
                <a:gd name="T11" fmla="*/ 26 h 52"/>
                <a:gd name="T12" fmla="*/ 10 w 52"/>
                <a:gd name="T13" fmla="*/ 10 h 52"/>
                <a:gd name="T14" fmla="*/ 26 w 52"/>
                <a:gd name="T15" fmla="*/ 4 h 52"/>
                <a:gd name="T16" fmla="*/ 42 w 52"/>
                <a:gd name="T17" fmla="*/ 10 h 52"/>
                <a:gd name="T18" fmla="*/ 48 w 52"/>
                <a:gd name="T19" fmla="*/ 26 h 52"/>
                <a:gd name="T20" fmla="*/ 50 w 52"/>
                <a:gd name="T21" fmla="*/ 26 h 52"/>
                <a:gd name="T22" fmla="*/ 52 w 52"/>
                <a:gd name="T23" fmla="*/ 26 h 52"/>
                <a:gd name="T24" fmla="*/ 26 w 52"/>
                <a:gd name="T25" fmla="*/ 0 h 52"/>
                <a:gd name="T26" fmla="*/ 0 w 52"/>
                <a:gd name="T27" fmla="*/ 26 h 52"/>
                <a:gd name="T28" fmla="*/ 26 w 52"/>
                <a:gd name="T29" fmla="*/ 52 h 52"/>
                <a:gd name="T30" fmla="*/ 52 w 52"/>
                <a:gd name="T31" fmla="*/ 26 h 52"/>
                <a:gd name="T32" fmla="*/ 50 w 52"/>
                <a:gd name="T33" fmla="*/ 2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52">
                  <a:moveTo>
                    <a:pt x="50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32"/>
                    <a:pt x="46" y="38"/>
                    <a:pt x="42" y="42"/>
                  </a:cubicBezTo>
                  <a:cubicBezTo>
                    <a:pt x="38" y="46"/>
                    <a:pt x="32" y="48"/>
                    <a:pt x="26" y="48"/>
                  </a:cubicBezTo>
                  <a:cubicBezTo>
                    <a:pt x="20" y="48"/>
                    <a:pt x="14" y="46"/>
                    <a:pt x="10" y="42"/>
                  </a:cubicBezTo>
                  <a:cubicBezTo>
                    <a:pt x="6" y="38"/>
                    <a:pt x="4" y="32"/>
                    <a:pt x="4" y="26"/>
                  </a:cubicBezTo>
                  <a:cubicBezTo>
                    <a:pt x="4" y="20"/>
                    <a:pt x="6" y="14"/>
                    <a:pt x="10" y="10"/>
                  </a:cubicBezTo>
                  <a:cubicBezTo>
                    <a:pt x="14" y="6"/>
                    <a:pt x="20" y="4"/>
                    <a:pt x="26" y="4"/>
                  </a:cubicBezTo>
                  <a:cubicBezTo>
                    <a:pt x="32" y="4"/>
                    <a:pt x="38" y="6"/>
                    <a:pt x="42" y="10"/>
                  </a:cubicBezTo>
                  <a:cubicBezTo>
                    <a:pt x="46" y="14"/>
                    <a:pt x="48" y="20"/>
                    <a:pt x="48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12"/>
                    <a:pt x="40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40"/>
                    <a:pt x="12" y="52"/>
                    <a:pt x="26" y="52"/>
                  </a:cubicBezTo>
                  <a:cubicBezTo>
                    <a:pt x="40" y="52"/>
                    <a:pt x="52" y="40"/>
                    <a:pt x="52" y="26"/>
                  </a:cubicBezTo>
                  <a:lnTo>
                    <a:pt x="5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0" name="ExtraShape14">
              <a:extLst>
                <a:ext uri="{FF2B5EF4-FFF2-40B4-BE49-F238E27FC236}">
                  <a16:creationId xmlns:a16="http://schemas.microsoft.com/office/drawing/2014/main" id="{B84D1CA9-2617-4159-86B8-D954D207B921}"/>
                </a:ext>
              </a:extLst>
            </p:cNvPr>
            <p:cNvSpPr/>
            <p:nvPr/>
          </p:nvSpPr>
          <p:spPr bwMode="auto">
            <a:xfrm>
              <a:off x="3128809" y="3819922"/>
              <a:ext cx="66878" cy="106687"/>
            </a:xfrm>
            <a:custGeom>
              <a:avLst/>
              <a:gdLst>
                <a:gd name="T0" fmla="*/ 0 w 24"/>
                <a:gd name="T1" fmla="*/ 3 h 38"/>
                <a:gd name="T2" fmla="*/ 20 w 24"/>
                <a:gd name="T3" fmla="*/ 37 h 38"/>
                <a:gd name="T4" fmla="*/ 23 w 24"/>
                <a:gd name="T5" fmla="*/ 38 h 38"/>
                <a:gd name="T6" fmla="*/ 24 w 24"/>
                <a:gd name="T7" fmla="*/ 35 h 38"/>
                <a:gd name="T8" fmla="*/ 4 w 24"/>
                <a:gd name="T9" fmla="*/ 1 h 38"/>
                <a:gd name="T10" fmla="*/ 1 w 24"/>
                <a:gd name="T11" fmla="*/ 0 h 38"/>
                <a:gd name="T12" fmla="*/ 0 w 24"/>
                <a:gd name="T13" fmla="*/ 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8">
                  <a:moveTo>
                    <a:pt x="0" y="3"/>
                  </a:moveTo>
                  <a:cubicBezTo>
                    <a:pt x="20" y="37"/>
                    <a:pt x="20" y="37"/>
                    <a:pt x="20" y="37"/>
                  </a:cubicBezTo>
                  <a:cubicBezTo>
                    <a:pt x="21" y="38"/>
                    <a:pt x="22" y="38"/>
                    <a:pt x="23" y="38"/>
                  </a:cubicBezTo>
                  <a:cubicBezTo>
                    <a:pt x="24" y="37"/>
                    <a:pt x="24" y="36"/>
                    <a:pt x="24" y="35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1" name="ExtraShape15">
              <a:extLst>
                <a:ext uri="{FF2B5EF4-FFF2-40B4-BE49-F238E27FC236}">
                  <a16:creationId xmlns:a16="http://schemas.microsoft.com/office/drawing/2014/main" id="{D533EDFA-9F85-417B-BF0B-CA041BC54B4C}"/>
                </a:ext>
              </a:extLst>
            </p:cNvPr>
            <p:cNvSpPr/>
            <p:nvPr/>
          </p:nvSpPr>
          <p:spPr bwMode="auto">
            <a:xfrm>
              <a:off x="3109700" y="3839031"/>
              <a:ext cx="105095" cy="66878"/>
            </a:xfrm>
            <a:custGeom>
              <a:avLst/>
              <a:gdLst>
                <a:gd name="T0" fmla="*/ 35 w 38"/>
                <a:gd name="T1" fmla="*/ 0 h 24"/>
                <a:gd name="T2" fmla="*/ 1 w 38"/>
                <a:gd name="T3" fmla="*/ 20 h 24"/>
                <a:gd name="T4" fmla="*/ 0 w 38"/>
                <a:gd name="T5" fmla="*/ 23 h 24"/>
                <a:gd name="T6" fmla="*/ 3 w 38"/>
                <a:gd name="T7" fmla="*/ 24 h 24"/>
                <a:gd name="T8" fmla="*/ 37 w 38"/>
                <a:gd name="T9" fmla="*/ 4 h 24"/>
                <a:gd name="T10" fmla="*/ 38 w 38"/>
                <a:gd name="T11" fmla="*/ 1 h 24"/>
                <a:gd name="T12" fmla="*/ 35 w 38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4">
                  <a:moveTo>
                    <a:pt x="35" y="0"/>
                  </a:move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2"/>
                    <a:pt x="0" y="23"/>
                  </a:cubicBezTo>
                  <a:cubicBezTo>
                    <a:pt x="1" y="24"/>
                    <a:pt x="2" y="24"/>
                    <a:pt x="3" y="2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8" y="3"/>
                    <a:pt x="38" y="2"/>
                    <a:pt x="38" y="1"/>
                  </a:cubicBezTo>
                  <a:cubicBezTo>
                    <a:pt x="37" y="0"/>
                    <a:pt x="36" y="0"/>
                    <a:pt x="3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2" name="ExtraShape16">
              <a:extLst>
                <a:ext uri="{FF2B5EF4-FFF2-40B4-BE49-F238E27FC236}">
                  <a16:creationId xmlns:a16="http://schemas.microsoft.com/office/drawing/2014/main" id="{3A7D8A00-5E25-496B-8DDD-BEC66E0A67E4}"/>
                </a:ext>
              </a:extLst>
            </p:cNvPr>
            <p:cNvSpPr/>
            <p:nvPr/>
          </p:nvSpPr>
          <p:spPr bwMode="auto">
            <a:xfrm>
              <a:off x="2684544" y="3389988"/>
              <a:ext cx="167197" cy="1703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3" name="ExtraShape17">
              <a:extLst>
                <a:ext uri="{FF2B5EF4-FFF2-40B4-BE49-F238E27FC236}">
                  <a16:creationId xmlns:a16="http://schemas.microsoft.com/office/drawing/2014/main" id="{32D73164-9247-4CBE-B257-9474A4579164}"/>
                </a:ext>
              </a:extLst>
            </p:cNvPr>
            <p:cNvSpPr/>
            <p:nvPr/>
          </p:nvSpPr>
          <p:spPr bwMode="auto">
            <a:xfrm>
              <a:off x="2732314" y="3189352"/>
              <a:ext cx="71657" cy="316877"/>
            </a:xfrm>
            <a:custGeom>
              <a:avLst/>
              <a:gdLst>
                <a:gd name="T0" fmla="*/ 13 w 26"/>
                <a:gd name="T1" fmla="*/ 114 h 114"/>
                <a:gd name="T2" fmla="*/ 13 w 26"/>
                <a:gd name="T3" fmla="*/ 114 h 114"/>
                <a:gd name="T4" fmla="*/ 0 w 26"/>
                <a:gd name="T5" fmla="*/ 100 h 114"/>
                <a:gd name="T6" fmla="*/ 0 w 26"/>
                <a:gd name="T7" fmla="*/ 13 h 114"/>
                <a:gd name="T8" fmla="*/ 13 w 26"/>
                <a:gd name="T9" fmla="*/ 0 h 114"/>
                <a:gd name="T10" fmla="*/ 26 w 26"/>
                <a:gd name="T11" fmla="*/ 13 h 114"/>
                <a:gd name="T12" fmla="*/ 26 w 26"/>
                <a:gd name="T13" fmla="*/ 100 h 114"/>
                <a:gd name="T14" fmla="*/ 13 w 26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14">
                  <a:moveTo>
                    <a:pt x="13" y="114"/>
                  </a:move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6" y="108"/>
                    <a:pt x="20" y="114"/>
                    <a:pt x="13" y="114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4" name="ExtraShape18">
              <a:extLst>
                <a:ext uri="{FF2B5EF4-FFF2-40B4-BE49-F238E27FC236}">
                  <a16:creationId xmlns:a16="http://schemas.microsoft.com/office/drawing/2014/main" id="{523731BF-E64E-4169-8D02-39AC4A874D33}"/>
                </a:ext>
              </a:extLst>
            </p:cNvPr>
            <p:cNvSpPr/>
            <p:nvPr/>
          </p:nvSpPr>
          <p:spPr bwMode="auto">
            <a:xfrm>
              <a:off x="2936135" y="3389988"/>
              <a:ext cx="167197" cy="1703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5" name="ExtraShape19">
              <a:extLst>
                <a:ext uri="{FF2B5EF4-FFF2-40B4-BE49-F238E27FC236}">
                  <a16:creationId xmlns:a16="http://schemas.microsoft.com/office/drawing/2014/main" id="{CEC7BF46-CC2E-4975-AE4C-3A78705BD1DC}"/>
                </a:ext>
              </a:extLst>
            </p:cNvPr>
            <p:cNvSpPr/>
            <p:nvPr/>
          </p:nvSpPr>
          <p:spPr bwMode="auto">
            <a:xfrm>
              <a:off x="2983906" y="3189352"/>
              <a:ext cx="71657" cy="316877"/>
            </a:xfrm>
            <a:custGeom>
              <a:avLst/>
              <a:gdLst>
                <a:gd name="T0" fmla="*/ 13 w 26"/>
                <a:gd name="T1" fmla="*/ 114 h 114"/>
                <a:gd name="T2" fmla="*/ 13 w 26"/>
                <a:gd name="T3" fmla="*/ 114 h 114"/>
                <a:gd name="T4" fmla="*/ 0 w 26"/>
                <a:gd name="T5" fmla="*/ 100 h 114"/>
                <a:gd name="T6" fmla="*/ 0 w 26"/>
                <a:gd name="T7" fmla="*/ 13 h 114"/>
                <a:gd name="T8" fmla="*/ 13 w 26"/>
                <a:gd name="T9" fmla="*/ 0 h 114"/>
                <a:gd name="T10" fmla="*/ 26 w 26"/>
                <a:gd name="T11" fmla="*/ 13 h 114"/>
                <a:gd name="T12" fmla="*/ 26 w 26"/>
                <a:gd name="T13" fmla="*/ 100 h 114"/>
                <a:gd name="T14" fmla="*/ 13 w 26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14">
                  <a:moveTo>
                    <a:pt x="13" y="114"/>
                  </a:move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6" y="108"/>
                    <a:pt x="20" y="114"/>
                    <a:pt x="13" y="114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6" name="ExtraShape20">
              <a:extLst>
                <a:ext uri="{FF2B5EF4-FFF2-40B4-BE49-F238E27FC236}">
                  <a16:creationId xmlns:a16="http://schemas.microsoft.com/office/drawing/2014/main" id="{8D96435F-6128-4FDB-BBC1-EB155CD0F4B9}"/>
                </a:ext>
              </a:extLst>
            </p:cNvPr>
            <p:cNvSpPr/>
            <p:nvPr/>
          </p:nvSpPr>
          <p:spPr bwMode="auto">
            <a:xfrm>
              <a:off x="3170210" y="3389988"/>
              <a:ext cx="170382" cy="1703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7" name="ExtraShape21">
              <a:extLst>
                <a:ext uri="{FF2B5EF4-FFF2-40B4-BE49-F238E27FC236}">
                  <a16:creationId xmlns:a16="http://schemas.microsoft.com/office/drawing/2014/main" id="{3105E992-1B16-4B23-BFF4-048C72353950}"/>
                </a:ext>
              </a:extLst>
            </p:cNvPr>
            <p:cNvSpPr/>
            <p:nvPr/>
          </p:nvSpPr>
          <p:spPr bwMode="auto">
            <a:xfrm>
              <a:off x="3217981" y="3189352"/>
              <a:ext cx="74841" cy="316877"/>
            </a:xfrm>
            <a:custGeom>
              <a:avLst/>
              <a:gdLst>
                <a:gd name="T0" fmla="*/ 14 w 27"/>
                <a:gd name="T1" fmla="*/ 114 h 114"/>
                <a:gd name="T2" fmla="*/ 14 w 27"/>
                <a:gd name="T3" fmla="*/ 114 h 114"/>
                <a:gd name="T4" fmla="*/ 0 w 27"/>
                <a:gd name="T5" fmla="*/ 100 h 114"/>
                <a:gd name="T6" fmla="*/ 0 w 27"/>
                <a:gd name="T7" fmla="*/ 13 h 114"/>
                <a:gd name="T8" fmla="*/ 14 w 27"/>
                <a:gd name="T9" fmla="*/ 0 h 114"/>
                <a:gd name="T10" fmla="*/ 27 w 27"/>
                <a:gd name="T11" fmla="*/ 13 h 114"/>
                <a:gd name="T12" fmla="*/ 27 w 27"/>
                <a:gd name="T13" fmla="*/ 100 h 114"/>
                <a:gd name="T14" fmla="*/ 14 w 27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14">
                  <a:moveTo>
                    <a:pt x="14" y="114"/>
                  </a:moveTo>
                  <a:cubicBezTo>
                    <a:pt x="14" y="114"/>
                    <a:pt x="14" y="114"/>
                    <a:pt x="14" y="114"/>
                  </a:cubicBezTo>
                  <a:cubicBezTo>
                    <a:pt x="6" y="114"/>
                    <a:pt x="0" y="108"/>
                    <a:pt x="0" y="10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1" y="0"/>
                    <a:pt x="27" y="6"/>
                    <a:pt x="27" y="13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7" y="108"/>
                    <a:pt x="21" y="114"/>
                    <a:pt x="14" y="114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8" name="ExtraShape22">
              <a:extLst>
                <a:ext uri="{FF2B5EF4-FFF2-40B4-BE49-F238E27FC236}">
                  <a16:creationId xmlns:a16="http://schemas.microsoft.com/office/drawing/2014/main" id="{A7F021DD-4FF9-47D6-ABFB-90496247DE19}"/>
                </a:ext>
              </a:extLst>
            </p:cNvPr>
            <p:cNvSpPr/>
            <p:nvPr/>
          </p:nvSpPr>
          <p:spPr bwMode="auto">
            <a:xfrm>
              <a:off x="3421801" y="3389988"/>
              <a:ext cx="165604" cy="170381"/>
            </a:xfrm>
            <a:custGeom>
              <a:avLst/>
              <a:gdLst>
                <a:gd name="T0" fmla="*/ 31 w 59"/>
                <a:gd name="T1" fmla="*/ 0 h 61"/>
                <a:gd name="T2" fmla="*/ 0 w 59"/>
                <a:gd name="T3" fmla="*/ 31 h 61"/>
                <a:gd name="T4" fmla="*/ 31 w 59"/>
                <a:gd name="T5" fmla="*/ 61 h 61"/>
                <a:gd name="T6" fmla="*/ 57 w 59"/>
                <a:gd name="T7" fmla="*/ 46 h 61"/>
                <a:gd name="T8" fmla="*/ 59 w 59"/>
                <a:gd name="T9" fmla="*/ 19 h 61"/>
                <a:gd name="T10" fmla="*/ 31 w 59"/>
                <a:gd name="T1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61">
                  <a:moveTo>
                    <a:pt x="31" y="0"/>
                  </a:moveTo>
                  <a:cubicBezTo>
                    <a:pt x="14" y="0"/>
                    <a:pt x="0" y="14"/>
                    <a:pt x="0" y="31"/>
                  </a:cubicBezTo>
                  <a:cubicBezTo>
                    <a:pt x="0" y="48"/>
                    <a:pt x="14" y="61"/>
                    <a:pt x="31" y="61"/>
                  </a:cubicBezTo>
                  <a:cubicBezTo>
                    <a:pt x="42" y="61"/>
                    <a:pt x="52" y="55"/>
                    <a:pt x="57" y="46"/>
                  </a:cubicBezTo>
                  <a:cubicBezTo>
                    <a:pt x="57" y="37"/>
                    <a:pt x="58" y="28"/>
                    <a:pt x="59" y="19"/>
                  </a:cubicBezTo>
                  <a:cubicBezTo>
                    <a:pt x="54" y="8"/>
                    <a:pt x="43" y="0"/>
                    <a:pt x="31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9" name="ExtraShape23">
              <a:extLst>
                <a:ext uri="{FF2B5EF4-FFF2-40B4-BE49-F238E27FC236}">
                  <a16:creationId xmlns:a16="http://schemas.microsoft.com/office/drawing/2014/main" id="{D1443A48-DAEA-40D2-80F6-ACB4DE388E18}"/>
                </a:ext>
              </a:extLst>
            </p:cNvPr>
            <p:cNvSpPr/>
            <p:nvPr/>
          </p:nvSpPr>
          <p:spPr bwMode="auto">
            <a:xfrm>
              <a:off x="3469572" y="3189352"/>
              <a:ext cx="74841" cy="316877"/>
            </a:xfrm>
            <a:custGeom>
              <a:avLst/>
              <a:gdLst>
                <a:gd name="T0" fmla="*/ 14 w 27"/>
                <a:gd name="T1" fmla="*/ 114 h 114"/>
                <a:gd name="T2" fmla="*/ 14 w 27"/>
                <a:gd name="T3" fmla="*/ 114 h 114"/>
                <a:gd name="T4" fmla="*/ 0 w 27"/>
                <a:gd name="T5" fmla="*/ 100 h 114"/>
                <a:gd name="T6" fmla="*/ 0 w 27"/>
                <a:gd name="T7" fmla="*/ 13 h 114"/>
                <a:gd name="T8" fmla="*/ 14 w 27"/>
                <a:gd name="T9" fmla="*/ 0 h 114"/>
                <a:gd name="T10" fmla="*/ 27 w 27"/>
                <a:gd name="T11" fmla="*/ 13 h 114"/>
                <a:gd name="T12" fmla="*/ 27 w 27"/>
                <a:gd name="T13" fmla="*/ 100 h 114"/>
                <a:gd name="T14" fmla="*/ 14 w 27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14">
                  <a:moveTo>
                    <a:pt x="14" y="114"/>
                  </a:moveTo>
                  <a:cubicBezTo>
                    <a:pt x="14" y="114"/>
                    <a:pt x="14" y="114"/>
                    <a:pt x="14" y="114"/>
                  </a:cubicBezTo>
                  <a:cubicBezTo>
                    <a:pt x="6" y="114"/>
                    <a:pt x="0" y="108"/>
                    <a:pt x="0" y="10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1" y="0"/>
                    <a:pt x="27" y="6"/>
                    <a:pt x="27" y="13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7" y="108"/>
                    <a:pt x="21" y="114"/>
                    <a:pt x="14" y="114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0" name="ExtraShape24">
              <a:extLst>
                <a:ext uri="{FF2B5EF4-FFF2-40B4-BE49-F238E27FC236}">
                  <a16:creationId xmlns:a16="http://schemas.microsoft.com/office/drawing/2014/main" id="{35386606-31E1-42C9-AA71-2192D436E4B3}"/>
                </a:ext>
              </a:extLst>
            </p:cNvPr>
            <p:cNvSpPr/>
            <p:nvPr/>
          </p:nvSpPr>
          <p:spPr bwMode="auto">
            <a:xfrm>
              <a:off x="3706833" y="3189352"/>
              <a:ext cx="73248" cy="316877"/>
            </a:xfrm>
            <a:custGeom>
              <a:avLst/>
              <a:gdLst>
                <a:gd name="T0" fmla="*/ 13 w 26"/>
                <a:gd name="T1" fmla="*/ 114 h 114"/>
                <a:gd name="T2" fmla="*/ 0 w 26"/>
                <a:gd name="T3" fmla="*/ 100 h 114"/>
                <a:gd name="T4" fmla="*/ 0 w 26"/>
                <a:gd name="T5" fmla="*/ 13 h 114"/>
                <a:gd name="T6" fmla="*/ 13 w 26"/>
                <a:gd name="T7" fmla="*/ 0 h 114"/>
                <a:gd name="T8" fmla="*/ 26 w 26"/>
                <a:gd name="T9" fmla="*/ 13 h 114"/>
                <a:gd name="T10" fmla="*/ 26 w 26"/>
                <a:gd name="T11" fmla="*/ 100 h 114"/>
                <a:gd name="T12" fmla="*/ 13 w 26"/>
                <a:gd name="T1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14">
                  <a:moveTo>
                    <a:pt x="13" y="114"/>
                  </a:moveTo>
                  <a:cubicBezTo>
                    <a:pt x="6" y="114"/>
                    <a:pt x="0" y="108"/>
                    <a:pt x="0" y="10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6" y="108"/>
                    <a:pt x="20" y="114"/>
                    <a:pt x="13" y="114"/>
                  </a:cubicBezTo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1" name="ExtraShape25">
              <a:extLst>
                <a:ext uri="{FF2B5EF4-FFF2-40B4-BE49-F238E27FC236}">
                  <a16:creationId xmlns:a16="http://schemas.microsoft.com/office/drawing/2014/main" id="{D2272134-11B3-45B6-ADEE-9FCA28776E26}"/>
                </a:ext>
              </a:extLst>
            </p:cNvPr>
            <p:cNvSpPr/>
            <p:nvPr/>
          </p:nvSpPr>
          <p:spPr bwMode="auto">
            <a:xfrm>
              <a:off x="3958425" y="3189352"/>
              <a:ext cx="73248" cy="316877"/>
            </a:xfrm>
            <a:custGeom>
              <a:avLst/>
              <a:gdLst>
                <a:gd name="T0" fmla="*/ 13 w 26"/>
                <a:gd name="T1" fmla="*/ 114 h 114"/>
                <a:gd name="T2" fmla="*/ 0 w 26"/>
                <a:gd name="T3" fmla="*/ 100 h 114"/>
                <a:gd name="T4" fmla="*/ 0 w 26"/>
                <a:gd name="T5" fmla="*/ 13 h 114"/>
                <a:gd name="T6" fmla="*/ 13 w 26"/>
                <a:gd name="T7" fmla="*/ 0 h 114"/>
                <a:gd name="T8" fmla="*/ 26 w 26"/>
                <a:gd name="T9" fmla="*/ 13 h 114"/>
                <a:gd name="T10" fmla="*/ 26 w 26"/>
                <a:gd name="T11" fmla="*/ 100 h 114"/>
                <a:gd name="T12" fmla="*/ 13 w 26"/>
                <a:gd name="T1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14">
                  <a:moveTo>
                    <a:pt x="13" y="114"/>
                  </a:moveTo>
                  <a:cubicBezTo>
                    <a:pt x="6" y="114"/>
                    <a:pt x="0" y="108"/>
                    <a:pt x="0" y="10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6" y="108"/>
                    <a:pt x="20" y="114"/>
                    <a:pt x="13" y="114"/>
                  </a:cubicBezTo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2" name="ExtraShape26">
              <a:extLst>
                <a:ext uri="{FF2B5EF4-FFF2-40B4-BE49-F238E27FC236}">
                  <a16:creationId xmlns:a16="http://schemas.microsoft.com/office/drawing/2014/main" id="{7A908177-8C93-46C3-BFCE-B00A686F303D}"/>
                </a:ext>
              </a:extLst>
            </p:cNvPr>
            <p:cNvSpPr/>
            <p:nvPr/>
          </p:nvSpPr>
          <p:spPr bwMode="auto">
            <a:xfrm>
              <a:off x="4192499" y="3189352"/>
              <a:ext cx="76433" cy="316877"/>
            </a:xfrm>
            <a:custGeom>
              <a:avLst/>
              <a:gdLst>
                <a:gd name="T0" fmla="*/ 14 w 27"/>
                <a:gd name="T1" fmla="*/ 114 h 114"/>
                <a:gd name="T2" fmla="*/ 0 w 27"/>
                <a:gd name="T3" fmla="*/ 100 h 114"/>
                <a:gd name="T4" fmla="*/ 0 w 27"/>
                <a:gd name="T5" fmla="*/ 13 h 114"/>
                <a:gd name="T6" fmla="*/ 14 w 27"/>
                <a:gd name="T7" fmla="*/ 0 h 114"/>
                <a:gd name="T8" fmla="*/ 27 w 27"/>
                <a:gd name="T9" fmla="*/ 13 h 114"/>
                <a:gd name="T10" fmla="*/ 27 w 27"/>
                <a:gd name="T11" fmla="*/ 100 h 114"/>
                <a:gd name="T12" fmla="*/ 14 w 27"/>
                <a:gd name="T1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14">
                  <a:moveTo>
                    <a:pt x="14" y="114"/>
                  </a:moveTo>
                  <a:cubicBezTo>
                    <a:pt x="6" y="114"/>
                    <a:pt x="0" y="108"/>
                    <a:pt x="0" y="10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1" y="0"/>
                    <a:pt x="27" y="6"/>
                    <a:pt x="27" y="13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7" y="108"/>
                    <a:pt x="21" y="114"/>
                    <a:pt x="14" y="114"/>
                  </a:cubicBezTo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3" name="ExtraShape27">
              <a:extLst>
                <a:ext uri="{FF2B5EF4-FFF2-40B4-BE49-F238E27FC236}">
                  <a16:creationId xmlns:a16="http://schemas.microsoft.com/office/drawing/2014/main" id="{489113F7-1105-4CB1-ADB3-49818F2324CE}"/>
                </a:ext>
              </a:extLst>
            </p:cNvPr>
            <p:cNvSpPr/>
            <p:nvPr/>
          </p:nvSpPr>
          <p:spPr bwMode="auto">
            <a:xfrm>
              <a:off x="3192503" y="4221194"/>
              <a:ext cx="998404" cy="1009550"/>
            </a:xfrm>
            <a:prstGeom prst="ellipse">
              <a:avLst/>
            </a:prstGeom>
            <a:solidFill>
              <a:srgbClr val="387A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4" name="ExtraShape28">
              <a:extLst>
                <a:ext uri="{FF2B5EF4-FFF2-40B4-BE49-F238E27FC236}">
                  <a16:creationId xmlns:a16="http://schemas.microsoft.com/office/drawing/2014/main" id="{DAD4DE6D-C8F8-414B-99E4-5BB46E2B6F9A}"/>
                </a:ext>
              </a:extLst>
            </p:cNvPr>
            <p:cNvSpPr/>
            <p:nvPr/>
          </p:nvSpPr>
          <p:spPr bwMode="auto">
            <a:xfrm>
              <a:off x="3307152" y="4339028"/>
              <a:ext cx="769106" cy="77388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5" name="ExtraShape29">
              <a:extLst>
                <a:ext uri="{FF2B5EF4-FFF2-40B4-BE49-F238E27FC236}">
                  <a16:creationId xmlns:a16="http://schemas.microsoft.com/office/drawing/2014/main" id="{E39CBC94-7147-4AAB-9685-F45D646145E3}"/>
                </a:ext>
              </a:extLst>
            </p:cNvPr>
            <p:cNvSpPr/>
            <p:nvPr/>
          </p:nvSpPr>
          <p:spPr bwMode="auto">
            <a:xfrm>
              <a:off x="3673393" y="4434570"/>
              <a:ext cx="36625" cy="264330"/>
            </a:xfrm>
            <a:custGeom>
              <a:avLst/>
              <a:gdLst>
                <a:gd name="T0" fmla="*/ 10 w 13"/>
                <a:gd name="T1" fmla="*/ 95 h 95"/>
                <a:gd name="T2" fmla="*/ 4 w 13"/>
                <a:gd name="T3" fmla="*/ 95 h 95"/>
                <a:gd name="T4" fmla="*/ 0 w 13"/>
                <a:gd name="T5" fmla="*/ 91 h 95"/>
                <a:gd name="T6" fmla="*/ 0 w 13"/>
                <a:gd name="T7" fmla="*/ 4 h 95"/>
                <a:gd name="T8" fmla="*/ 4 w 13"/>
                <a:gd name="T9" fmla="*/ 0 h 95"/>
                <a:gd name="T10" fmla="*/ 10 w 13"/>
                <a:gd name="T11" fmla="*/ 0 h 95"/>
                <a:gd name="T12" fmla="*/ 13 w 13"/>
                <a:gd name="T13" fmla="*/ 4 h 95"/>
                <a:gd name="T14" fmla="*/ 13 w 13"/>
                <a:gd name="T15" fmla="*/ 91 h 95"/>
                <a:gd name="T16" fmla="*/ 10 w 13"/>
                <a:gd name="T17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95">
                  <a:moveTo>
                    <a:pt x="10" y="95"/>
                  </a:moveTo>
                  <a:cubicBezTo>
                    <a:pt x="4" y="95"/>
                    <a:pt x="4" y="95"/>
                    <a:pt x="4" y="95"/>
                  </a:cubicBezTo>
                  <a:cubicBezTo>
                    <a:pt x="2" y="95"/>
                    <a:pt x="0" y="93"/>
                    <a:pt x="0" y="9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3" y="2"/>
                    <a:pt x="13" y="4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3"/>
                    <a:pt x="12" y="95"/>
                    <a:pt x="10" y="95"/>
                  </a:cubicBezTo>
                  <a:close/>
                </a:path>
              </a:pathLst>
            </a:custGeom>
            <a:solidFill>
              <a:srgbClr val="387A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6" name="ExtraShape30">
              <a:extLst>
                <a:ext uri="{FF2B5EF4-FFF2-40B4-BE49-F238E27FC236}">
                  <a16:creationId xmlns:a16="http://schemas.microsoft.com/office/drawing/2014/main" id="{3B702534-84D0-449F-A626-AEB72139BB9C}"/>
                </a:ext>
              </a:extLst>
            </p:cNvPr>
            <p:cNvSpPr/>
            <p:nvPr/>
          </p:nvSpPr>
          <p:spPr bwMode="auto">
            <a:xfrm>
              <a:off x="3692501" y="4713231"/>
              <a:ext cx="213375" cy="39808"/>
            </a:xfrm>
            <a:custGeom>
              <a:avLst/>
              <a:gdLst>
                <a:gd name="T0" fmla="*/ 0 w 76"/>
                <a:gd name="T1" fmla="*/ 10 h 14"/>
                <a:gd name="T2" fmla="*/ 0 w 76"/>
                <a:gd name="T3" fmla="*/ 4 h 14"/>
                <a:gd name="T4" fmla="*/ 4 w 76"/>
                <a:gd name="T5" fmla="*/ 0 h 14"/>
                <a:gd name="T6" fmla="*/ 72 w 76"/>
                <a:gd name="T7" fmla="*/ 0 h 14"/>
                <a:gd name="T8" fmla="*/ 76 w 76"/>
                <a:gd name="T9" fmla="*/ 4 h 14"/>
                <a:gd name="T10" fmla="*/ 76 w 76"/>
                <a:gd name="T11" fmla="*/ 10 h 14"/>
                <a:gd name="T12" fmla="*/ 72 w 76"/>
                <a:gd name="T13" fmla="*/ 14 h 14"/>
                <a:gd name="T14" fmla="*/ 4 w 76"/>
                <a:gd name="T15" fmla="*/ 14 h 14"/>
                <a:gd name="T16" fmla="*/ 0 w 76"/>
                <a:gd name="T17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14">
                  <a:moveTo>
                    <a:pt x="0" y="1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4" y="0"/>
                    <a:pt x="76" y="2"/>
                    <a:pt x="76" y="4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76" y="12"/>
                    <a:pt x="74" y="14"/>
                    <a:pt x="72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2" y="14"/>
                    <a:pt x="0" y="12"/>
                    <a:pt x="0" y="10"/>
                  </a:cubicBezTo>
                  <a:close/>
                </a:path>
              </a:pathLst>
            </a:custGeom>
            <a:solidFill>
              <a:srgbClr val="387A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7" name="ExtraShape31">
              <a:extLst>
                <a:ext uri="{FF2B5EF4-FFF2-40B4-BE49-F238E27FC236}">
                  <a16:creationId xmlns:a16="http://schemas.microsoft.com/office/drawing/2014/main" id="{FB34F37F-6778-4091-B9C9-267348F031FF}"/>
                </a:ext>
              </a:extLst>
            </p:cNvPr>
            <p:cNvSpPr/>
            <p:nvPr/>
          </p:nvSpPr>
          <p:spPr bwMode="auto">
            <a:xfrm>
              <a:off x="3636769" y="4668645"/>
              <a:ext cx="111465" cy="114649"/>
            </a:xfrm>
            <a:prstGeom prst="ellipse">
              <a:avLst/>
            </a:prstGeom>
            <a:solidFill>
              <a:srgbClr val="387A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8" name="ExtraShape1">
              <a:extLst>
                <a:ext uri="{FF2B5EF4-FFF2-40B4-BE49-F238E27FC236}">
                  <a16:creationId xmlns:a16="http://schemas.microsoft.com/office/drawing/2014/main" id="{6E71A12C-DFF3-45DB-96D0-3F0C74D41440}"/>
                </a:ext>
              </a:extLst>
            </p:cNvPr>
            <p:cNvSpPr/>
            <p:nvPr/>
          </p:nvSpPr>
          <p:spPr bwMode="auto">
            <a:xfrm>
              <a:off x="3577852" y="1864515"/>
              <a:ext cx="3487248" cy="3485656"/>
            </a:xfrm>
            <a:prstGeom prst="ellipse">
              <a:avLst/>
            </a:pr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9" name="ValueShape">
              <a:extLst>
                <a:ext uri="{FF2B5EF4-FFF2-40B4-BE49-F238E27FC236}">
                  <a16:creationId xmlns:a16="http://schemas.microsoft.com/office/drawing/2014/main" id="{40BE2831-8F7A-433F-96FF-9B403E1896C3}"/>
                </a:ext>
              </a:extLst>
            </p:cNvPr>
            <p:cNvSpPr/>
            <p:nvPr/>
          </p:nvSpPr>
          <p:spPr bwMode="auto">
            <a:xfrm>
              <a:off x="3899507" y="2186171"/>
              <a:ext cx="2843938" cy="2842346"/>
            </a:xfrm>
            <a:prstGeom prst="ellipse">
              <a:avLst/>
            </a:prstGeom>
            <a:gradFill flip="none" rotWithShape="1">
              <a:gsLst>
                <a:gs pos="0">
                  <a:schemeClr val="accent4">
                    <a:lumMod val="100000"/>
                  </a:schemeClr>
                </a:gs>
                <a:gs pos="100000">
                  <a:srgbClr val="F0F0F0"/>
                </a:gs>
                <a:gs pos="51923">
                  <a:schemeClr val="accent4">
                    <a:lumMod val="100000"/>
                  </a:schemeClr>
                </a:gs>
                <a:gs pos="52023">
                  <a:srgbClr val="F0F0F0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0" name="ExtraShape1">
              <a:extLst>
                <a:ext uri="{FF2B5EF4-FFF2-40B4-BE49-F238E27FC236}">
                  <a16:creationId xmlns:a16="http://schemas.microsoft.com/office/drawing/2014/main" id="{A9F05F8C-CF90-40E4-9CAD-835D51A9A166}"/>
                </a:ext>
              </a:extLst>
            </p:cNvPr>
            <p:cNvSpPr/>
            <p:nvPr/>
          </p:nvSpPr>
          <p:spPr bwMode="auto">
            <a:xfrm>
              <a:off x="5280075" y="2246680"/>
              <a:ext cx="78026" cy="261145"/>
            </a:xfrm>
            <a:custGeom>
              <a:avLst/>
              <a:gdLst>
                <a:gd name="T0" fmla="*/ 15 w 28"/>
                <a:gd name="T1" fmla="*/ 93 h 93"/>
                <a:gd name="T2" fmla="*/ 14 w 28"/>
                <a:gd name="T3" fmla="*/ 93 h 93"/>
                <a:gd name="T4" fmla="*/ 0 w 28"/>
                <a:gd name="T5" fmla="*/ 80 h 93"/>
                <a:gd name="T6" fmla="*/ 0 w 28"/>
                <a:gd name="T7" fmla="*/ 13 h 93"/>
                <a:gd name="T8" fmla="*/ 14 w 28"/>
                <a:gd name="T9" fmla="*/ 0 h 93"/>
                <a:gd name="T10" fmla="*/ 15 w 28"/>
                <a:gd name="T11" fmla="*/ 0 h 93"/>
                <a:gd name="T12" fmla="*/ 28 w 28"/>
                <a:gd name="T13" fmla="*/ 13 h 93"/>
                <a:gd name="T14" fmla="*/ 28 w 28"/>
                <a:gd name="T15" fmla="*/ 80 h 93"/>
                <a:gd name="T16" fmla="*/ 15 w 28"/>
                <a:gd name="T1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93">
                  <a:moveTo>
                    <a:pt x="15" y="93"/>
                  </a:moveTo>
                  <a:cubicBezTo>
                    <a:pt x="14" y="93"/>
                    <a:pt x="14" y="93"/>
                    <a:pt x="14" y="93"/>
                  </a:cubicBezTo>
                  <a:cubicBezTo>
                    <a:pt x="6" y="93"/>
                    <a:pt x="0" y="87"/>
                    <a:pt x="0" y="8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2" y="0"/>
                    <a:pt x="28" y="6"/>
                    <a:pt x="28" y="13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87"/>
                    <a:pt x="22" y="93"/>
                    <a:pt x="15" y="93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1" name="ExtraShape2">
              <a:extLst>
                <a:ext uri="{FF2B5EF4-FFF2-40B4-BE49-F238E27FC236}">
                  <a16:creationId xmlns:a16="http://schemas.microsoft.com/office/drawing/2014/main" id="{4F7E007D-02E7-43BD-BB2B-1E1E81F1831C}"/>
                </a:ext>
              </a:extLst>
            </p:cNvPr>
            <p:cNvSpPr/>
            <p:nvPr/>
          </p:nvSpPr>
          <p:spPr bwMode="auto">
            <a:xfrm>
              <a:off x="5284851" y="4708454"/>
              <a:ext cx="78026" cy="259552"/>
            </a:xfrm>
            <a:custGeom>
              <a:avLst/>
              <a:gdLst>
                <a:gd name="T0" fmla="*/ 14 w 28"/>
                <a:gd name="T1" fmla="*/ 93 h 93"/>
                <a:gd name="T2" fmla="*/ 13 w 28"/>
                <a:gd name="T3" fmla="*/ 93 h 93"/>
                <a:gd name="T4" fmla="*/ 0 w 28"/>
                <a:gd name="T5" fmla="*/ 80 h 93"/>
                <a:gd name="T6" fmla="*/ 0 w 28"/>
                <a:gd name="T7" fmla="*/ 13 h 93"/>
                <a:gd name="T8" fmla="*/ 13 w 28"/>
                <a:gd name="T9" fmla="*/ 0 h 93"/>
                <a:gd name="T10" fmla="*/ 14 w 28"/>
                <a:gd name="T11" fmla="*/ 0 h 93"/>
                <a:gd name="T12" fmla="*/ 28 w 28"/>
                <a:gd name="T13" fmla="*/ 13 h 93"/>
                <a:gd name="T14" fmla="*/ 28 w 28"/>
                <a:gd name="T15" fmla="*/ 80 h 93"/>
                <a:gd name="T16" fmla="*/ 14 w 28"/>
                <a:gd name="T1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93">
                  <a:moveTo>
                    <a:pt x="14" y="93"/>
                  </a:moveTo>
                  <a:cubicBezTo>
                    <a:pt x="13" y="93"/>
                    <a:pt x="13" y="93"/>
                    <a:pt x="13" y="93"/>
                  </a:cubicBezTo>
                  <a:cubicBezTo>
                    <a:pt x="6" y="93"/>
                    <a:pt x="0" y="87"/>
                    <a:pt x="0" y="8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22" y="0"/>
                    <a:pt x="28" y="6"/>
                    <a:pt x="28" y="13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87"/>
                    <a:pt x="22" y="93"/>
                    <a:pt x="14" y="93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2" name="ExtraShape3">
              <a:extLst>
                <a:ext uri="{FF2B5EF4-FFF2-40B4-BE49-F238E27FC236}">
                  <a16:creationId xmlns:a16="http://schemas.microsoft.com/office/drawing/2014/main" id="{9473934B-F819-4677-ABAD-8FBFAB1CB6A3}"/>
                </a:ext>
              </a:extLst>
            </p:cNvPr>
            <p:cNvSpPr/>
            <p:nvPr/>
          </p:nvSpPr>
          <p:spPr bwMode="auto">
            <a:xfrm>
              <a:off x="6421790" y="3565146"/>
              <a:ext cx="259553" cy="78025"/>
            </a:xfrm>
            <a:custGeom>
              <a:avLst/>
              <a:gdLst>
                <a:gd name="T0" fmla="*/ 0 w 93"/>
                <a:gd name="T1" fmla="*/ 15 h 28"/>
                <a:gd name="T2" fmla="*/ 0 w 93"/>
                <a:gd name="T3" fmla="*/ 14 h 28"/>
                <a:gd name="T4" fmla="*/ 13 w 93"/>
                <a:gd name="T5" fmla="*/ 0 h 28"/>
                <a:gd name="T6" fmla="*/ 80 w 93"/>
                <a:gd name="T7" fmla="*/ 0 h 28"/>
                <a:gd name="T8" fmla="*/ 93 w 93"/>
                <a:gd name="T9" fmla="*/ 14 h 28"/>
                <a:gd name="T10" fmla="*/ 93 w 93"/>
                <a:gd name="T11" fmla="*/ 15 h 28"/>
                <a:gd name="T12" fmla="*/ 80 w 93"/>
                <a:gd name="T13" fmla="*/ 28 h 28"/>
                <a:gd name="T14" fmla="*/ 13 w 93"/>
                <a:gd name="T15" fmla="*/ 28 h 28"/>
                <a:gd name="T16" fmla="*/ 0 w 93"/>
                <a:gd name="T1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28">
                  <a:moveTo>
                    <a:pt x="0" y="15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7" y="0"/>
                    <a:pt x="93" y="6"/>
                    <a:pt x="93" y="14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22"/>
                    <a:pt x="87" y="28"/>
                    <a:pt x="80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6" y="28"/>
                    <a:pt x="0" y="22"/>
                    <a:pt x="0" y="15"/>
                  </a:cubicBezTo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3" name="ExtraShape4">
              <a:extLst>
                <a:ext uri="{FF2B5EF4-FFF2-40B4-BE49-F238E27FC236}">
                  <a16:creationId xmlns:a16="http://schemas.microsoft.com/office/drawing/2014/main" id="{3E45AFEE-E2D7-4004-9B52-29287D80A951}"/>
                </a:ext>
              </a:extLst>
            </p:cNvPr>
            <p:cNvSpPr/>
            <p:nvPr/>
          </p:nvSpPr>
          <p:spPr bwMode="auto">
            <a:xfrm>
              <a:off x="3961609" y="3571515"/>
              <a:ext cx="259553" cy="78025"/>
            </a:xfrm>
            <a:custGeom>
              <a:avLst/>
              <a:gdLst>
                <a:gd name="T0" fmla="*/ 0 w 93"/>
                <a:gd name="T1" fmla="*/ 14 h 28"/>
                <a:gd name="T2" fmla="*/ 0 w 93"/>
                <a:gd name="T3" fmla="*/ 13 h 28"/>
                <a:gd name="T4" fmla="*/ 13 w 93"/>
                <a:gd name="T5" fmla="*/ 0 h 28"/>
                <a:gd name="T6" fmla="*/ 80 w 93"/>
                <a:gd name="T7" fmla="*/ 0 h 28"/>
                <a:gd name="T8" fmla="*/ 93 w 93"/>
                <a:gd name="T9" fmla="*/ 13 h 28"/>
                <a:gd name="T10" fmla="*/ 93 w 93"/>
                <a:gd name="T11" fmla="*/ 14 h 28"/>
                <a:gd name="T12" fmla="*/ 80 w 93"/>
                <a:gd name="T13" fmla="*/ 28 h 28"/>
                <a:gd name="T14" fmla="*/ 13 w 93"/>
                <a:gd name="T15" fmla="*/ 28 h 28"/>
                <a:gd name="T16" fmla="*/ 0 w 93"/>
                <a:gd name="T17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28">
                  <a:moveTo>
                    <a:pt x="0" y="14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7" y="0"/>
                    <a:pt x="93" y="6"/>
                    <a:pt x="93" y="13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3" y="22"/>
                    <a:pt x="87" y="28"/>
                    <a:pt x="80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6" y="28"/>
                    <a:pt x="0" y="22"/>
                    <a:pt x="0" y="14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4" name="ExtraShape5">
              <a:extLst>
                <a:ext uri="{FF2B5EF4-FFF2-40B4-BE49-F238E27FC236}">
                  <a16:creationId xmlns:a16="http://schemas.microsoft.com/office/drawing/2014/main" id="{866F1774-9C38-4024-9AAD-6D79619FBBE1}"/>
                </a:ext>
              </a:extLst>
            </p:cNvPr>
            <p:cNvSpPr/>
            <p:nvPr/>
          </p:nvSpPr>
          <p:spPr bwMode="auto">
            <a:xfrm>
              <a:off x="6117651" y="2657507"/>
              <a:ext cx="151274" cy="151273"/>
            </a:xfrm>
            <a:custGeom>
              <a:avLst/>
              <a:gdLst>
                <a:gd name="T0" fmla="*/ 6 w 54"/>
                <a:gd name="T1" fmla="*/ 49 h 54"/>
                <a:gd name="T2" fmla="*/ 5 w 54"/>
                <a:gd name="T3" fmla="*/ 48 h 54"/>
                <a:gd name="T4" fmla="*/ 5 w 54"/>
                <a:gd name="T5" fmla="*/ 29 h 54"/>
                <a:gd name="T6" fmla="*/ 29 w 54"/>
                <a:gd name="T7" fmla="*/ 5 h 54"/>
                <a:gd name="T8" fmla="*/ 48 w 54"/>
                <a:gd name="T9" fmla="*/ 5 h 54"/>
                <a:gd name="T10" fmla="*/ 49 w 54"/>
                <a:gd name="T11" fmla="*/ 6 h 54"/>
                <a:gd name="T12" fmla="*/ 49 w 54"/>
                <a:gd name="T13" fmla="*/ 24 h 54"/>
                <a:gd name="T14" fmla="*/ 25 w 54"/>
                <a:gd name="T15" fmla="*/ 49 h 54"/>
                <a:gd name="T16" fmla="*/ 6 w 54"/>
                <a:gd name="T17" fmla="*/ 4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54">
                  <a:moveTo>
                    <a:pt x="6" y="49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0" y="43"/>
                    <a:pt x="0" y="34"/>
                    <a:pt x="5" y="29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5" y="0"/>
                    <a:pt x="43" y="0"/>
                    <a:pt x="48" y="5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4" y="11"/>
                    <a:pt x="54" y="19"/>
                    <a:pt x="49" y="24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19" y="54"/>
                    <a:pt x="11" y="54"/>
                    <a:pt x="6" y="49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5" name="ExtraShape6">
              <a:extLst>
                <a:ext uri="{FF2B5EF4-FFF2-40B4-BE49-F238E27FC236}">
                  <a16:creationId xmlns:a16="http://schemas.microsoft.com/office/drawing/2014/main" id="{485DE2A1-2C26-44F9-8DFE-6BE6403E3B1D}"/>
                </a:ext>
              </a:extLst>
            </p:cNvPr>
            <p:cNvSpPr/>
            <p:nvPr/>
          </p:nvSpPr>
          <p:spPr bwMode="auto">
            <a:xfrm>
              <a:off x="4374027" y="4391576"/>
              <a:ext cx="165604" cy="168790"/>
            </a:xfrm>
            <a:custGeom>
              <a:avLst/>
              <a:gdLst>
                <a:gd name="T0" fmla="*/ 5 w 59"/>
                <a:gd name="T1" fmla="*/ 54 h 60"/>
                <a:gd name="T2" fmla="*/ 5 w 59"/>
                <a:gd name="T3" fmla="*/ 54 h 60"/>
                <a:gd name="T4" fmla="*/ 5 w 59"/>
                <a:gd name="T5" fmla="*/ 35 h 60"/>
                <a:gd name="T6" fmla="*/ 35 w 59"/>
                <a:gd name="T7" fmla="*/ 5 h 60"/>
                <a:gd name="T8" fmla="*/ 53 w 59"/>
                <a:gd name="T9" fmla="*/ 5 h 60"/>
                <a:gd name="T10" fmla="*/ 54 w 59"/>
                <a:gd name="T11" fmla="*/ 6 h 60"/>
                <a:gd name="T12" fmla="*/ 54 w 59"/>
                <a:gd name="T13" fmla="*/ 25 h 60"/>
                <a:gd name="T14" fmla="*/ 24 w 59"/>
                <a:gd name="T15" fmla="*/ 54 h 60"/>
                <a:gd name="T16" fmla="*/ 5 w 59"/>
                <a:gd name="T17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60">
                  <a:moveTo>
                    <a:pt x="5" y="54"/>
                  </a:moveTo>
                  <a:cubicBezTo>
                    <a:pt x="5" y="54"/>
                    <a:pt x="5" y="54"/>
                    <a:pt x="5" y="54"/>
                  </a:cubicBezTo>
                  <a:cubicBezTo>
                    <a:pt x="0" y="49"/>
                    <a:pt x="0" y="40"/>
                    <a:pt x="5" y="3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40" y="0"/>
                    <a:pt x="48" y="0"/>
                    <a:pt x="53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9" y="11"/>
                    <a:pt x="59" y="20"/>
                    <a:pt x="54" y="25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19" y="60"/>
                    <a:pt x="11" y="60"/>
                    <a:pt x="5" y="54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6" name="ExtraShape7">
              <a:extLst>
                <a:ext uri="{FF2B5EF4-FFF2-40B4-BE49-F238E27FC236}">
                  <a16:creationId xmlns:a16="http://schemas.microsoft.com/office/drawing/2014/main" id="{A2456B6F-CFD6-48C2-93FF-B5A9412853FD}"/>
                </a:ext>
              </a:extLst>
            </p:cNvPr>
            <p:cNvSpPr/>
            <p:nvPr/>
          </p:nvSpPr>
          <p:spPr bwMode="auto">
            <a:xfrm>
              <a:off x="6120836" y="4402723"/>
              <a:ext cx="149681" cy="151273"/>
            </a:xfrm>
            <a:custGeom>
              <a:avLst/>
              <a:gdLst>
                <a:gd name="T0" fmla="*/ 5 w 54"/>
                <a:gd name="T1" fmla="*/ 6 h 54"/>
                <a:gd name="T2" fmla="*/ 6 w 54"/>
                <a:gd name="T3" fmla="*/ 6 h 54"/>
                <a:gd name="T4" fmla="*/ 25 w 54"/>
                <a:gd name="T5" fmla="*/ 6 h 54"/>
                <a:gd name="T6" fmla="*/ 49 w 54"/>
                <a:gd name="T7" fmla="*/ 30 h 54"/>
                <a:gd name="T8" fmla="*/ 49 w 54"/>
                <a:gd name="T9" fmla="*/ 49 h 54"/>
                <a:gd name="T10" fmla="*/ 48 w 54"/>
                <a:gd name="T11" fmla="*/ 49 h 54"/>
                <a:gd name="T12" fmla="*/ 30 w 54"/>
                <a:gd name="T13" fmla="*/ 49 h 54"/>
                <a:gd name="T14" fmla="*/ 5 w 54"/>
                <a:gd name="T15" fmla="*/ 25 h 54"/>
                <a:gd name="T16" fmla="*/ 5 w 54"/>
                <a:gd name="T17" fmla="*/ 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54">
                  <a:moveTo>
                    <a:pt x="5" y="6"/>
                  </a:moveTo>
                  <a:cubicBezTo>
                    <a:pt x="6" y="6"/>
                    <a:pt x="6" y="6"/>
                    <a:pt x="6" y="6"/>
                  </a:cubicBezTo>
                  <a:cubicBezTo>
                    <a:pt x="11" y="0"/>
                    <a:pt x="20" y="0"/>
                    <a:pt x="25" y="6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54" y="35"/>
                    <a:pt x="54" y="43"/>
                    <a:pt x="49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3" y="54"/>
                    <a:pt x="35" y="54"/>
                    <a:pt x="30" y="49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0" y="20"/>
                    <a:pt x="0" y="11"/>
                    <a:pt x="5" y="6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7" name="ExtraShape1">
              <a:extLst>
                <a:ext uri="{FF2B5EF4-FFF2-40B4-BE49-F238E27FC236}">
                  <a16:creationId xmlns:a16="http://schemas.microsoft.com/office/drawing/2014/main" id="{18FDDF56-9557-4149-BA7B-4DD392E91E4A}"/>
                </a:ext>
              </a:extLst>
            </p:cNvPr>
            <p:cNvSpPr/>
            <p:nvPr/>
          </p:nvSpPr>
          <p:spPr bwMode="auto">
            <a:xfrm>
              <a:off x="4369250" y="2660691"/>
              <a:ext cx="167197" cy="167197"/>
            </a:xfrm>
            <a:custGeom>
              <a:avLst/>
              <a:gdLst>
                <a:gd name="T0" fmla="*/ 6 w 60"/>
                <a:gd name="T1" fmla="*/ 6 h 60"/>
                <a:gd name="T2" fmla="*/ 6 w 60"/>
                <a:gd name="T3" fmla="*/ 5 h 60"/>
                <a:gd name="T4" fmla="*/ 25 w 60"/>
                <a:gd name="T5" fmla="*/ 5 h 60"/>
                <a:gd name="T6" fmla="*/ 55 w 60"/>
                <a:gd name="T7" fmla="*/ 35 h 60"/>
                <a:gd name="T8" fmla="*/ 55 w 60"/>
                <a:gd name="T9" fmla="*/ 54 h 60"/>
                <a:gd name="T10" fmla="*/ 54 w 60"/>
                <a:gd name="T11" fmla="*/ 54 h 60"/>
                <a:gd name="T12" fmla="*/ 35 w 60"/>
                <a:gd name="T13" fmla="*/ 54 h 60"/>
                <a:gd name="T14" fmla="*/ 6 w 60"/>
                <a:gd name="T15" fmla="*/ 25 h 60"/>
                <a:gd name="T16" fmla="*/ 6 w 60"/>
                <a:gd name="T17" fmla="*/ 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60">
                  <a:moveTo>
                    <a:pt x="6" y="6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11" y="0"/>
                    <a:pt x="20" y="0"/>
                    <a:pt x="25" y="5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60" y="40"/>
                    <a:pt x="60" y="48"/>
                    <a:pt x="55" y="54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49" y="60"/>
                    <a:pt x="40" y="60"/>
                    <a:pt x="35" y="54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0" y="19"/>
                    <a:pt x="0" y="11"/>
                    <a:pt x="6" y="6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8" name="ExtraShape2">
              <a:extLst>
                <a:ext uri="{FF2B5EF4-FFF2-40B4-BE49-F238E27FC236}">
                  <a16:creationId xmlns:a16="http://schemas.microsoft.com/office/drawing/2014/main" id="{48255619-1F8A-4B4F-BF48-85EEEE8D1109}"/>
                </a:ext>
              </a:extLst>
            </p:cNvPr>
            <p:cNvSpPr/>
            <p:nvPr/>
          </p:nvSpPr>
          <p:spPr bwMode="auto">
            <a:xfrm>
              <a:off x="5280075" y="2655914"/>
              <a:ext cx="82802" cy="974519"/>
            </a:xfrm>
            <a:custGeom>
              <a:avLst/>
              <a:gdLst>
                <a:gd name="T0" fmla="*/ 15 w 30"/>
                <a:gd name="T1" fmla="*/ 349 h 349"/>
                <a:gd name="T2" fmla="*/ 14 w 30"/>
                <a:gd name="T3" fmla="*/ 349 h 349"/>
                <a:gd name="T4" fmla="*/ 0 w 30"/>
                <a:gd name="T5" fmla="*/ 334 h 349"/>
                <a:gd name="T6" fmla="*/ 0 w 30"/>
                <a:gd name="T7" fmla="*/ 15 h 349"/>
                <a:gd name="T8" fmla="*/ 14 w 30"/>
                <a:gd name="T9" fmla="*/ 0 h 349"/>
                <a:gd name="T10" fmla="*/ 15 w 30"/>
                <a:gd name="T11" fmla="*/ 0 h 349"/>
                <a:gd name="T12" fmla="*/ 30 w 30"/>
                <a:gd name="T13" fmla="*/ 15 h 349"/>
                <a:gd name="T14" fmla="*/ 30 w 30"/>
                <a:gd name="T15" fmla="*/ 334 h 349"/>
                <a:gd name="T16" fmla="*/ 15 w 30"/>
                <a:gd name="T17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49">
                  <a:moveTo>
                    <a:pt x="15" y="349"/>
                  </a:moveTo>
                  <a:cubicBezTo>
                    <a:pt x="14" y="349"/>
                    <a:pt x="14" y="349"/>
                    <a:pt x="14" y="349"/>
                  </a:cubicBezTo>
                  <a:cubicBezTo>
                    <a:pt x="6" y="349"/>
                    <a:pt x="0" y="342"/>
                    <a:pt x="0" y="33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334"/>
                    <a:pt x="30" y="334"/>
                    <a:pt x="30" y="334"/>
                  </a:cubicBezTo>
                  <a:cubicBezTo>
                    <a:pt x="30" y="342"/>
                    <a:pt x="23" y="349"/>
                    <a:pt x="15" y="349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9" name="ExtraShape3">
              <a:extLst>
                <a:ext uri="{FF2B5EF4-FFF2-40B4-BE49-F238E27FC236}">
                  <a16:creationId xmlns:a16="http://schemas.microsoft.com/office/drawing/2014/main" id="{0651BA87-2ADE-4CD4-90A0-460F20187AEA}"/>
                </a:ext>
              </a:extLst>
            </p:cNvPr>
            <p:cNvSpPr/>
            <p:nvPr/>
          </p:nvSpPr>
          <p:spPr bwMode="auto">
            <a:xfrm>
              <a:off x="5280075" y="3619286"/>
              <a:ext cx="697450" cy="82802"/>
            </a:xfrm>
            <a:custGeom>
              <a:avLst/>
              <a:gdLst>
                <a:gd name="T0" fmla="*/ 0 w 250"/>
                <a:gd name="T1" fmla="*/ 16 h 30"/>
                <a:gd name="T2" fmla="*/ 0 w 250"/>
                <a:gd name="T3" fmla="*/ 15 h 30"/>
                <a:gd name="T4" fmla="*/ 14 w 250"/>
                <a:gd name="T5" fmla="*/ 0 h 30"/>
                <a:gd name="T6" fmla="*/ 235 w 250"/>
                <a:gd name="T7" fmla="*/ 0 h 30"/>
                <a:gd name="T8" fmla="*/ 250 w 250"/>
                <a:gd name="T9" fmla="*/ 15 h 30"/>
                <a:gd name="T10" fmla="*/ 250 w 250"/>
                <a:gd name="T11" fmla="*/ 16 h 30"/>
                <a:gd name="T12" fmla="*/ 235 w 250"/>
                <a:gd name="T13" fmla="*/ 30 h 30"/>
                <a:gd name="T14" fmla="*/ 14 w 250"/>
                <a:gd name="T15" fmla="*/ 30 h 30"/>
                <a:gd name="T16" fmla="*/ 0 w 250"/>
                <a:gd name="T17" fmla="*/ 1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30">
                  <a:moveTo>
                    <a:pt x="0" y="16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43" y="0"/>
                    <a:pt x="250" y="7"/>
                    <a:pt x="250" y="15"/>
                  </a:cubicBezTo>
                  <a:cubicBezTo>
                    <a:pt x="250" y="16"/>
                    <a:pt x="250" y="16"/>
                    <a:pt x="250" y="16"/>
                  </a:cubicBezTo>
                  <a:cubicBezTo>
                    <a:pt x="250" y="24"/>
                    <a:pt x="243" y="30"/>
                    <a:pt x="235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6" y="30"/>
                    <a:pt x="0" y="24"/>
                    <a:pt x="0" y="16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0" name="ExtraShape4">
              <a:extLst>
                <a:ext uri="{FF2B5EF4-FFF2-40B4-BE49-F238E27FC236}">
                  <a16:creationId xmlns:a16="http://schemas.microsoft.com/office/drawing/2014/main" id="{73F54B4B-597B-4CA4-82FB-71BD842D596D}"/>
                </a:ext>
              </a:extLst>
            </p:cNvPr>
            <p:cNvSpPr/>
            <p:nvPr/>
          </p:nvSpPr>
          <p:spPr bwMode="auto">
            <a:xfrm>
              <a:off x="5313514" y="3018969"/>
              <a:ext cx="660826" cy="597131"/>
            </a:xfrm>
            <a:custGeom>
              <a:avLst/>
              <a:gdLst>
                <a:gd name="T0" fmla="*/ 230 w 237"/>
                <a:gd name="T1" fmla="*/ 2 h 214"/>
                <a:gd name="T2" fmla="*/ 2 w 237"/>
                <a:gd name="T3" fmla="*/ 206 h 214"/>
                <a:gd name="T4" fmla="*/ 2 w 237"/>
                <a:gd name="T5" fmla="*/ 212 h 214"/>
                <a:gd name="T6" fmla="*/ 7 w 237"/>
                <a:gd name="T7" fmla="*/ 212 h 214"/>
                <a:gd name="T8" fmla="*/ 235 w 237"/>
                <a:gd name="T9" fmla="*/ 8 h 214"/>
                <a:gd name="T10" fmla="*/ 235 w 237"/>
                <a:gd name="T11" fmla="*/ 2 h 214"/>
                <a:gd name="T12" fmla="*/ 230 w 237"/>
                <a:gd name="T13" fmla="*/ 2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7" h="214">
                  <a:moveTo>
                    <a:pt x="230" y="2"/>
                  </a:moveTo>
                  <a:cubicBezTo>
                    <a:pt x="2" y="206"/>
                    <a:pt x="2" y="206"/>
                    <a:pt x="2" y="206"/>
                  </a:cubicBezTo>
                  <a:cubicBezTo>
                    <a:pt x="0" y="208"/>
                    <a:pt x="0" y="210"/>
                    <a:pt x="2" y="212"/>
                  </a:cubicBezTo>
                  <a:cubicBezTo>
                    <a:pt x="3" y="214"/>
                    <a:pt x="6" y="214"/>
                    <a:pt x="7" y="212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237" y="6"/>
                    <a:pt x="237" y="4"/>
                    <a:pt x="235" y="2"/>
                  </a:cubicBezTo>
                  <a:cubicBezTo>
                    <a:pt x="234" y="0"/>
                    <a:pt x="231" y="0"/>
                    <a:pt x="230" y="2"/>
                  </a:cubicBezTo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1" name="ExtraShape1">
              <a:extLst>
                <a:ext uri="{FF2B5EF4-FFF2-40B4-BE49-F238E27FC236}">
                  <a16:creationId xmlns:a16="http://schemas.microsoft.com/office/drawing/2014/main" id="{2A57CAB9-399E-41B9-8462-5C6B13B291BD}"/>
                </a:ext>
              </a:extLst>
            </p:cNvPr>
            <p:cNvSpPr/>
            <p:nvPr/>
          </p:nvSpPr>
          <p:spPr bwMode="auto">
            <a:xfrm>
              <a:off x="5167017" y="3453681"/>
              <a:ext cx="307325" cy="307323"/>
            </a:xfrm>
            <a:prstGeom prst="ellipse">
              <a:avLst/>
            </a:pr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2" name="ExtraShape2">
              <a:extLst>
                <a:ext uri="{FF2B5EF4-FFF2-40B4-BE49-F238E27FC236}">
                  <a16:creationId xmlns:a16="http://schemas.microsoft.com/office/drawing/2014/main" id="{385A974C-1C54-4AE6-8826-1D0758EA7C01}"/>
                </a:ext>
              </a:extLst>
            </p:cNvPr>
            <p:cNvSpPr/>
            <p:nvPr/>
          </p:nvSpPr>
          <p:spPr bwMode="auto">
            <a:xfrm>
              <a:off x="8295986" y="4539665"/>
              <a:ext cx="304139" cy="176750"/>
            </a:xfrm>
            <a:custGeom>
              <a:avLst/>
              <a:gdLst>
                <a:gd name="T0" fmla="*/ 101 w 109"/>
                <a:gd name="T1" fmla="*/ 4 h 63"/>
                <a:gd name="T2" fmla="*/ 101 w 109"/>
                <a:gd name="T3" fmla="*/ 36 h 63"/>
                <a:gd name="T4" fmla="*/ 96 w 109"/>
                <a:gd name="T5" fmla="*/ 49 h 63"/>
                <a:gd name="T6" fmla="*/ 82 w 109"/>
                <a:gd name="T7" fmla="*/ 55 h 63"/>
                <a:gd name="T8" fmla="*/ 4 w 109"/>
                <a:gd name="T9" fmla="*/ 55 h 63"/>
                <a:gd name="T10" fmla="*/ 0 w 109"/>
                <a:gd name="T11" fmla="*/ 59 h 63"/>
                <a:gd name="T12" fmla="*/ 4 w 109"/>
                <a:gd name="T13" fmla="*/ 63 h 63"/>
                <a:gd name="T14" fmla="*/ 82 w 109"/>
                <a:gd name="T15" fmla="*/ 63 h 63"/>
                <a:gd name="T16" fmla="*/ 109 w 109"/>
                <a:gd name="T17" fmla="*/ 36 h 63"/>
                <a:gd name="T18" fmla="*/ 109 w 109"/>
                <a:gd name="T19" fmla="*/ 4 h 63"/>
                <a:gd name="T20" fmla="*/ 105 w 109"/>
                <a:gd name="T21" fmla="*/ 0 h 63"/>
                <a:gd name="T22" fmla="*/ 101 w 109"/>
                <a:gd name="T23" fmla="*/ 4 h 63"/>
                <a:gd name="T24" fmla="*/ 101 w 109"/>
                <a:gd name="T25" fmla="*/ 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" h="63">
                  <a:moveTo>
                    <a:pt x="101" y="4"/>
                  </a:moveTo>
                  <a:cubicBezTo>
                    <a:pt x="101" y="36"/>
                    <a:pt x="101" y="36"/>
                    <a:pt x="101" y="36"/>
                  </a:cubicBezTo>
                  <a:cubicBezTo>
                    <a:pt x="101" y="41"/>
                    <a:pt x="99" y="46"/>
                    <a:pt x="96" y="49"/>
                  </a:cubicBezTo>
                  <a:cubicBezTo>
                    <a:pt x="92" y="53"/>
                    <a:pt x="88" y="55"/>
                    <a:pt x="82" y="55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2" y="55"/>
                    <a:pt x="0" y="57"/>
                    <a:pt x="0" y="59"/>
                  </a:cubicBezTo>
                  <a:cubicBezTo>
                    <a:pt x="0" y="61"/>
                    <a:pt x="2" y="63"/>
                    <a:pt x="4" y="63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97" y="63"/>
                    <a:pt x="109" y="51"/>
                    <a:pt x="109" y="36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109" y="1"/>
                    <a:pt x="107" y="0"/>
                    <a:pt x="105" y="0"/>
                  </a:cubicBezTo>
                  <a:cubicBezTo>
                    <a:pt x="103" y="0"/>
                    <a:pt x="101" y="1"/>
                    <a:pt x="101" y="4"/>
                  </a:cubicBezTo>
                  <a:cubicBezTo>
                    <a:pt x="101" y="4"/>
                    <a:pt x="101" y="4"/>
                    <a:pt x="10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3" name="ExtraShape3">
              <a:extLst>
                <a:ext uri="{FF2B5EF4-FFF2-40B4-BE49-F238E27FC236}">
                  <a16:creationId xmlns:a16="http://schemas.microsoft.com/office/drawing/2014/main" id="{C331BA9E-EC16-4412-A57A-18FD26B99CEA}"/>
                </a:ext>
              </a:extLst>
            </p:cNvPr>
            <p:cNvSpPr/>
            <p:nvPr/>
          </p:nvSpPr>
          <p:spPr bwMode="auto">
            <a:xfrm>
              <a:off x="7988663" y="3953680"/>
              <a:ext cx="176751" cy="304139"/>
            </a:xfrm>
            <a:custGeom>
              <a:avLst/>
              <a:gdLst>
                <a:gd name="T0" fmla="*/ 4 w 63"/>
                <a:gd name="T1" fmla="*/ 8 h 109"/>
                <a:gd name="T2" fmla="*/ 37 w 63"/>
                <a:gd name="T3" fmla="*/ 8 h 109"/>
                <a:gd name="T4" fmla="*/ 50 w 63"/>
                <a:gd name="T5" fmla="*/ 14 h 109"/>
                <a:gd name="T6" fmla="*/ 55 w 63"/>
                <a:gd name="T7" fmla="*/ 27 h 109"/>
                <a:gd name="T8" fmla="*/ 55 w 63"/>
                <a:gd name="T9" fmla="*/ 105 h 109"/>
                <a:gd name="T10" fmla="*/ 59 w 63"/>
                <a:gd name="T11" fmla="*/ 109 h 109"/>
                <a:gd name="T12" fmla="*/ 63 w 63"/>
                <a:gd name="T13" fmla="*/ 105 h 109"/>
                <a:gd name="T14" fmla="*/ 63 w 63"/>
                <a:gd name="T15" fmla="*/ 27 h 109"/>
                <a:gd name="T16" fmla="*/ 37 w 63"/>
                <a:gd name="T17" fmla="*/ 0 h 109"/>
                <a:gd name="T18" fmla="*/ 4 w 63"/>
                <a:gd name="T19" fmla="*/ 0 h 109"/>
                <a:gd name="T20" fmla="*/ 0 w 63"/>
                <a:gd name="T21" fmla="*/ 4 h 109"/>
                <a:gd name="T22" fmla="*/ 4 w 63"/>
                <a:gd name="T23" fmla="*/ 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" h="109">
                  <a:moveTo>
                    <a:pt x="4" y="8"/>
                  </a:moveTo>
                  <a:cubicBezTo>
                    <a:pt x="37" y="8"/>
                    <a:pt x="37" y="8"/>
                    <a:pt x="37" y="8"/>
                  </a:cubicBezTo>
                  <a:cubicBezTo>
                    <a:pt x="42" y="8"/>
                    <a:pt x="47" y="10"/>
                    <a:pt x="50" y="14"/>
                  </a:cubicBezTo>
                  <a:cubicBezTo>
                    <a:pt x="53" y="17"/>
                    <a:pt x="55" y="22"/>
                    <a:pt x="55" y="27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8"/>
                    <a:pt x="57" y="109"/>
                    <a:pt x="59" y="109"/>
                  </a:cubicBezTo>
                  <a:cubicBezTo>
                    <a:pt x="62" y="109"/>
                    <a:pt x="63" y="108"/>
                    <a:pt x="63" y="105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63" y="12"/>
                    <a:pt x="52" y="0"/>
                    <a:pt x="3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4" name="ExtraShape3">
              <a:extLst>
                <a:ext uri="{FF2B5EF4-FFF2-40B4-BE49-F238E27FC236}">
                  <a16:creationId xmlns:a16="http://schemas.microsoft.com/office/drawing/2014/main" id="{954D8FDC-411B-449C-A149-BD6778E92866}"/>
                </a:ext>
              </a:extLst>
            </p:cNvPr>
            <p:cNvSpPr/>
            <p:nvPr/>
          </p:nvSpPr>
          <p:spPr bwMode="auto">
            <a:xfrm>
              <a:off x="7388347" y="4249857"/>
              <a:ext cx="926748" cy="608278"/>
            </a:xfrm>
            <a:custGeom>
              <a:avLst/>
              <a:gdLst>
                <a:gd name="T0" fmla="*/ 7 w 332"/>
                <a:gd name="T1" fmla="*/ 218 h 218"/>
                <a:gd name="T2" fmla="*/ 325 w 332"/>
                <a:gd name="T3" fmla="*/ 218 h 218"/>
                <a:gd name="T4" fmla="*/ 332 w 332"/>
                <a:gd name="T5" fmla="*/ 211 h 218"/>
                <a:gd name="T6" fmla="*/ 332 w 332"/>
                <a:gd name="T7" fmla="*/ 7 h 218"/>
                <a:gd name="T8" fmla="*/ 325 w 332"/>
                <a:gd name="T9" fmla="*/ 0 h 218"/>
                <a:gd name="T10" fmla="*/ 7 w 332"/>
                <a:gd name="T11" fmla="*/ 0 h 218"/>
                <a:gd name="T12" fmla="*/ 0 w 332"/>
                <a:gd name="T13" fmla="*/ 7 h 218"/>
                <a:gd name="T14" fmla="*/ 0 w 332"/>
                <a:gd name="T15" fmla="*/ 211 h 218"/>
                <a:gd name="T16" fmla="*/ 7 w 332"/>
                <a:gd name="T17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2" h="218">
                  <a:moveTo>
                    <a:pt x="7" y="218"/>
                  </a:moveTo>
                  <a:cubicBezTo>
                    <a:pt x="325" y="218"/>
                    <a:pt x="325" y="218"/>
                    <a:pt x="325" y="218"/>
                  </a:cubicBezTo>
                  <a:cubicBezTo>
                    <a:pt x="329" y="218"/>
                    <a:pt x="332" y="215"/>
                    <a:pt x="332" y="211"/>
                  </a:cubicBezTo>
                  <a:cubicBezTo>
                    <a:pt x="332" y="7"/>
                    <a:pt x="332" y="7"/>
                    <a:pt x="332" y="7"/>
                  </a:cubicBezTo>
                  <a:cubicBezTo>
                    <a:pt x="332" y="3"/>
                    <a:pt x="329" y="0"/>
                    <a:pt x="32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211"/>
                    <a:pt x="0" y="211"/>
                    <a:pt x="0" y="211"/>
                  </a:cubicBezTo>
                  <a:cubicBezTo>
                    <a:pt x="0" y="215"/>
                    <a:pt x="3" y="218"/>
                    <a:pt x="7" y="2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5" name="ExtraShape4">
              <a:extLst>
                <a:ext uri="{FF2B5EF4-FFF2-40B4-BE49-F238E27FC236}">
                  <a16:creationId xmlns:a16="http://schemas.microsoft.com/office/drawing/2014/main" id="{C2A0EBD5-A99F-4BB8-B5A5-CA218D4C47C4}"/>
                </a:ext>
              </a:extLst>
            </p:cNvPr>
            <p:cNvSpPr/>
            <p:nvPr/>
          </p:nvSpPr>
          <p:spPr bwMode="auto">
            <a:xfrm>
              <a:off x="7388347" y="4249857"/>
              <a:ext cx="926748" cy="608278"/>
            </a:xfrm>
            <a:custGeom>
              <a:avLst/>
              <a:gdLst>
                <a:gd name="T0" fmla="*/ 325 w 332"/>
                <a:gd name="T1" fmla="*/ 0 h 218"/>
                <a:gd name="T2" fmla="*/ 278 w 332"/>
                <a:gd name="T3" fmla="*/ 0 h 218"/>
                <a:gd name="T4" fmla="*/ 271 w 332"/>
                <a:gd name="T5" fmla="*/ 0 h 218"/>
                <a:gd name="T6" fmla="*/ 7 w 332"/>
                <a:gd name="T7" fmla="*/ 0 h 218"/>
                <a:gd name="T8" fmla="*/ 0 w 332"/>
                <a:gd name="T9" fmla="*/ 7 h 218"/>
                <a:gd name="T10" fmla="*/ 0 w 332"/>
                <a:gd name="T11" fmla="*/ 211 h 218"/>
                <a:gd name="T12" fmla="*/ 7 w 332"/>
                <a:gd name="T13" fmla="*/ 218 h 218"/>
                <a:gd name="T14" fmla="*/ 325 w 332"/>
                <a:gd name="T15" fmla="*/ 218 h 218"/>
                <a:gd name="T16" fmla="*/ 332 w 332"/>
                <a:gd name="T17" fmla="*/ 211 h 218"/>
                <a:gd name="T18" fmla="*/ 332 w 332"/>
                <a:gd name="T19" fmla="*/ 167 h 218"/>
                <a:gd name="T20" fmla="*/ 332 w 332"/>
                <a:gd name="T21" fmla="*/ 159 h 218"/>
                <a:gd name="T22" fmla="*/ 332 w 332"/>
                <a:gd name="T23" fmla="*/ 7 h 218"/>
                <a:gd name="T24" fmla="*/ 325 w 332"/>
                <a:gd name="T2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2" h="218">
                  <a:moveTo>
                    <a:pt x="325" y="0"/>
                  </a:moveTo>
                  <a:cubicBezTo>
                    <a:pt x="278" y="0"/>
                    <a:pt x="278" y="0"/>
                    <a:pt x="278" y="0"/>
                  </a:cubicBezTo>
                  <a:cubicBezTo>
                    <a:pt x="271" y="0"/>
                    <a:pt x="271" y="0"/>
                    <a:pt x="27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211"/>
                    <a:pt x="0" y="211"/>
                    <a:pt x="0" y="211"/>
                  </a:cubicBezTo>
                  <a:cubicBezTo>
                    <a:pt x="0" y="215"/>
                    <a:pt x="3" y="218"/>
                    <a:pt x="7" y="218"/>
                  </a:cubicBezTo>
                  <a:cubicBezTo>
                    <a:pt x="325" y="218"/>
                    <a:pt x="325" y="218"/>
                    <a:pt x="325" y="218"/>
                  </a:cubicBezTo>
                  <a:cubicBezTo>
                    <a:pt x="329" y="218"/>
                    <a:pt x="332" y="215"/>
                    <a:pt x="332" y="211"/>
                  </a:cubicBezTo>
                  <a:cubicBezTo>
                    <a:pt x="332" y="167"/>
                    <a:pt x="332" y="167"/>
                    <a:pt x="332" y="167"/>
                  </a:cubicBezTo>
                  <a:cubicBezTo>
                    <a:pt x="332" y="159"/>
                    <a:pt x="332" y="159"/>
                    <a:pt x="332" y="159"/>
                  </a:cubicBezTo>
                  <a:cubicBezTo>
                    <a:pt x="332" y="7"/>
                    <a:pt x="332" y="7"/>
                    <a:pt x="332" y="7"/>
                  </a:cubicBezTo>
                  <a:cubicBezTo>
                    <a:pt x="332" y="3"/>
                    <a:pt x="329" y="0"/>
                    <a:pt x="325" y="0"/>
                  </a:cubicBezTo>
                </a:path>
              </a:pathLst>
            </a:cu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6" name="ExtraShape5">
              <a:extLst>
                <a:ext uri="{FF2B5EF4-FFF2-40B4-BE49-F238E27FC236}">
                  <a16:creationId xmlns:a16="http://schemas.microsoft.com/office/drawing/2014/main" id="{67FA7F6C-1C7A-4286-AB6C-92D6BFBDEB88}"/>
                </a:ext>
              </a:extLst>
            </p:cNvPr>
            <p:cNvSpPr/>
            <p:nvPr/>
          </p:nvSpPr>
          <p:spPr bwMode="auto">
            <a:xfrm>
              <a:off x="7517327" y="4369283"/>
              <a:ext cx="670380" cy="162419"/>
            </a:xfrm>
            <a:custGeom>
              <a:avLst/>
              <a:gdLst>
                <a:gd name="T0" fmla="*/ 5 w 240"/>
                <a:gd name="T1" fmla="*/ 58 h 58"/>
                <a:gd name="T2" fmla="*/ 235 w 240"/>
                <a:gd name="T3" fmla="*/ 58 h 58"/>
                <a:gd name="T4" fmla="*/ 240 w 240"/>
                <a:gd name="T5" fmla="*/ 53 h 58"/>
                <a:gd name="T6" fmla="*/ 240 w 240"/>
                <a:gd name="T7" fmla="*/ 5 h 58"/>
                <a:gd name="T8" fmla="*/ 235 w 240"/>
                <a:gd name="T9" fmla="*/ 0 h 58"/>
                <a:gd name="T10" fmla="*/ 5 w 240"/>
                <a:gd name="T11" fmla="*/ 0 h 58"/>
                <a:gd name="T12" fmla="*/ 0 w 240"/>
                <a:gd name="T13" fmla="*/ 5 h 58"/>
                <a:gd name="T14" fmla="*/ 0 w 240"/>
                <a:gd name="T15" fmla="*/ 53 h 58"/>
                <a:gd name="T16" fmla="*/ 5 w 240"/>
                <a:gd name="T17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58">
                  <a:moveTo>
                    <a:pt x="5" y="58"/>
                  </a:moveTo>
                  <a:cubicBezTo>
                    <a:pt x="235" y="58"/>
                    <a:pt x="235" y="58"/>
                    <a:pt x="235" y="58"/>
                  </a:cubicBezTo>
                  <a:cubicBezTo>
                    <a:pt x="238" y="58"/>
                    <a:pt x="240" y="56"/>
                    <a:pt x="240" y="53"/>
                  </a:cubicBezTo>
                  <a:cubicBezTo>
                    <a:pt x="240" y="5"/>
                    <a:pt x="240" y="5"/>
                    <a:pt x="240" y="5"/>
                  </a:cubicBezTo>
                  <a:cubicBezTo>
                    <a:pt x="240" y="2"/>
                    <a:pt x="238" y="0"/>
                    <a:pt x="23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6"/>
                    <a:pt x="3" y="58"/>
                    <a:pt x="5" y="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7" name="ExtraShape6">
              <a:extLst>
                <a:ext uri="{FF2B5EF4-FFF2-40B4-BE49-F238E27FC236}">
                  <a16:creationId xmlns:a16="http://schemas.microsoft.com/office/drawing/2014/main" id="{9B16D946-ACC9-4F46-8D80-7906B6C35743}"/>
                </a:ext>
              </a:extLst>
            </p:cNvPr>
            <p:cNvSpPr/>
            <p:nvPr/>
          </p:nvSpPr>
          <p:spPr bwMode="auto">
            <a:xfrm>
              <a:off x="7517327" y="4593804"/>
              <a:ext cx="670380" cy="15924"/>
            </a:xfrm>
            <a:custGeom>
              <a:avLst/>
              <a:gdLst>
                <a:gd name="T0" fmla="*/ 4 w 240"/>
                <a:gd name="T1" fmla="*/ 6 h 6"/>
                <a:gd name="T2" fmla="*/ 237 w 240"/>
                <a:gd name="T3" fmla="*/ 6 h 6"/>
                <a:gd name="T4" fmla="*/ 240 w 240"/>
                <a:gd name="T5" fmla="*/ 3 h 6"/>
                <a:gd name="T6" fmla="*/ 237 w 240"/>
                <a:gd name="T7" fmla="*/ 0 h 6"/>
                <a:gd name="T8" fmla="*/ 4 w 240"/>
                <a:gd name="T9" fmla="*/ 0 h 6"/>
                <a:gd name="T10" fmla="*/ 0 w 240"/>
                <a:gd name="T11" fmla="*/ 3 h 6"/>
                <a:gd name="T12" fmla="*/ 4 w 24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6">
                  <a:moveTo>
                    <a:pt x="4" y="6"/>
                  </a:moveTo>
                  <a:cubicBezTo>
                    <a:pt x="237" y="6"/>
                    <a:pt x="237" y="6"/>
                    <a:pt x="237" y="6"/>
                  </a:cubicBezTo>
                  <a:cubicBezTo>
                    <a:pt x="238" y="6"/>
                    <a:pt x="240" y="5"/>
                    <a:pt x="240" y="3"/>
                  </a:cubicBezTo>
                  <a:cubicBezTo>
                    <a:pt x="240" y="1"/>
                    <a:pt x="238" y="0"/>
                    <a:pt x="23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"/>
                    <a:pt x="2" y="6"/>
                    <a:pt x="4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8" name="ExtraShape7">
              <a:extLst>
                <a:ext uri="{FF2B5EF4-FFF2-40B4-BE49-F238E27FC236}">
                  <a16:creationId xmlns:a16="http://schemas.microsoft.com/office/drawing/2014/main" id="{D81D12EB-AFB7-4225-9B35-69FD345E9E4C}"/>
                </a:ext>
              </a:extLst>
            </p:cNvPr>
            <p:cNvSpPr/>
            <p:nvPr/>
          </p:nvSpPr>
          <p:spPr bwMode="auto">
            <a:xfrm>
              <a:off x="7517327" y="4646352"/>
              <a:ext cx="670380" cy="17515"/>
            </a:xfrm>
            <a:custGeom>
              <a:avLst/>
              <a:gdLst>
                <a:gd name="T0" fmla="*/ 4 w 240"/>
                <a:gd name="T1" fmla="*/ 6 h 6"/>
                <a:gd name="T2" fmla="*/ 237 w 240"/>
                <a:gd name="T3" fmla="*/ 6 h 6"/>
                <a:gd name="T4" fmla="*/ 240 w 240"/>
                <a:gd name="T5" fmla="*/ 3 h 6"/>
                <a:gd name="T6" fmla="*/ 237 w 240"/>
                <a:gd name="T7" fmla="*/ 0 h 6"/>
                <a:gd name="T8" fmla="*/ 4 w 240"/>
                <a:gd name="T9" fmla="*/ 0 h 6"/>
                <a:gd name="T10" fmla="*/ 0 w 240"/>
                <a:gd name="T11" fmla="*/ 3 h 6"/>
                <a:gd name="T12" fmla="*/ 4 w 24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6">
                  <a:moveTo>
                    <a:pt x="4" y="6"/>
                  </a:moveTo>
                  <a:cubicBezTo>
                    <a:pt x="237" y="6"/>
                    <a:pt x="237" y="6"/>
                    <a:pt x="237" y="6"/>
                  </a:cubicBezTo>
                  <a:cubicBezTo>
                    <a:pt x="238" y="6"/>
                    <a:pt x="240" y="5"/>
                    <a:pt x="240" y="3"/>
                  </a:cubicBezTo>
                  <a:cubicBezTo>
                    <a:pt x="240" y="1"/>
                    <a:pt x="238" y="0"/>
                    <a:pt x="23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"/>
                    <a:pt x="2" y="6"/>
                    <a:pt x="4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9" name="ExtraShape8">
              <a:extLst>
                <a:ext uri="{FF2B5EF4-FFF2-40B4-BE49-F238E27FC236}">
                  <a16:creationId xmlns:a16="http://schemas.microsoft.com/office/drawing/2014/main" id="{C4119122-8246-400F-A7CF-278E7EA841D2}"/>
                </a:ext>
              </a:extLst>
            </p:cNvPr>
            <p:cNvSpPr/>
            <p:nvPr/>
          </p:nvSpPr>
          <p:spPr bwMode="auto">
            <a:xfrm>
              <a:off x="7517327" y="4702085"/>
              <a:ext cx="670380" cy="17515"/>
            </a:xfrm>
            <a:custGeom>
              <a:avLst/>
              <a:gdLst>
                <a:gd name="T0" fmla="*/ 4 w 240"/>
                <a:gd name="T1" fmla="*/ 6 h 6"/>
                <a:gd name="T2" fmla="*/ 237 w 240"/>
                <a:gd name="T3" fmla="*/ 6 h 6"/>
                <a:gd name="T4" fmla="*/ 240 w 240"/>
                <a:gd name="T5" fmla="*/ 3 h 6"/>
                <a:gd name="T6" fmla="*/ 237 w 240"/>
                <a:gd name="T7" fmla="*/ 0 h 6"/>
                <a:gd name="T8" fmla="*/ 4 w 240"/>
                <a:gd name="T9" fmla="*/ 0 h 6"/>
                <a:gd name="T10" fmla="*/ 0 w 240"/>
                <a:gd name="T11" fmla="*/ 3 h 6"/>
                <a:gd name="T12" fmla="*/ 4 w 24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6">
                  <a:moveTo>
                    <a:pt x="4" y="6"/>
                  </a:moveTo>
                  <a:cubicBezTo>
                    <a:pt x="237" y="6"/>
                    <a:pt x="237" y="6"/>
                    <a:pt x="237" y="6"/>
                  </a:cubicBezTo>
                  <a:cubicBezTo>
                    <a:pt x="238" y="6"/>
                    <a:pt x="240" y="5"/>
                    <a:pt x="240" y="3"/>
                  </a:cubicBezTo>
                  <a:cubicBezTo>
                    <a:pt x="240" y="1"/>
                    <a:pt x="238" y="0"/>
                    <a:pt x="23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"/>
                    <a:pt x="2" y="6"/>
                    <a:pt x="4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0" name="ExtraShape9">
              <a:extLst>
                <a:ext uri="{FF2B5EF4-FFF2-40B4-BE49-F238E27FC236}">
                  <a16:creationId xmlns:a16="http://schemas.microsoft.com/office/drawing/2014/main" id="{B5C0E61D-4CCA-4360-8370-54FDB868B68C}"/>
                </a:ext>
              </a:extLst>
            </p:cNvPr>
            <p:cNvSpPr/>
            <p:nvPr/>
          </p:nvSpPr>
          <p:spPr bwMode="auto">
            <a:xfrm>
              <a:off x="7517327" y="4753040"/>
              <a:ext cx="670380" cy="19108"/>
            </a:xfrm>
            <a:custGeom>
              <a:avLst/>
              <a:gdLst>
                <a:gd name="T0" fmla="*/ 4 w 240"/>
                <a:gd name="T1" fmla="*/ 7 h 7"/>
                <a:gd name="T2" fmla="*/ 237 w 240"/>
                <a:gd name="T3" fmla="*/ 7 h 7"/>
                <a:gd name="T4" fmla="*/ 240 w 240"/>
                <a:gd name="T5" fmla="*/ 4 h 7"/>
                <a:gd name="T6" fmla="*/ 237 w 240"/>
                <a:gd name="T7" fmla="*/ 0 h 7"/>
                <a:gd name="T8" fmla="*/ 4 w 240"/>
                <a:gd name="T9" fmla="*/ 0 h 7"/>
                <a:gd name="T10" fmla="*/ 0 w 240"/>
                <a:gd name="T11" fmla="*/ 4 h 7"/>
                <a:gd name="T12" fmla="*/ 4 w 24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7">
                  <a:moveTo>
                    <a:pt x="4" y="7"/>
                  </a:moveTo>
                  <a:cubicBezTo>
                    <a:pt x="237" y="7"/>
                    <a:pt x="237" y="7"/>
                    <a:pt x="237" y="7"/>
                  </a:cubicBezTo>
                  <a:cubicBezTo>
                    <a:pt x="238" y="7"/>
                    <a:pt x="240" y="5"/>
                    <a:pt x="240" y="4"/>
                  </a:cubicBezTo>
                  <a:cubicBezTo>
                    <a:pt x="240" y="2"/>
                    <a:pt x="238" y="0"/>
                    <a:pt x="23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5"/>
                    <a:pt x="2" y="7"/>
                    <a:pt x="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1" name="ExtraShape1">
              <a:extLst>
                <a:ext uri="{FF2B5EF4-FFF2-40B4-BE49-F238E27FC236}">
                  <a16:creationId xmlns:a16="http://schemas.microsoft.com/office/drawing/2014/main" id="{F31408B7-FC03-45B7-8C1F-7A8ADD3A1F4F}"/>
                </a:ext>
              </a:extLst>
            </p:cNvPr>
            <p:cNvSpPr/>
            <p:nvPr/>
          </p:nvSpPr>
          <p:spPr bwMode="auto">
            <a:xfrm>
              <a:off x="6999813" y="3316739"/>
              <a:ext cx="995220" cy="762736"/>
            </a:xfrm>
            <a:custGeom>
              <a:avLst/>
              <a:gdLst>
                <a:gd name="T0" fmla="*/ 146 w 356"/>
                <a:gd name="T1" fmla="*/ 217 h 273"/>
                <a:gd name="T2" fmla="*/ 138 w 356"/>
                <a:gd name="T3" fmla="*/ 209 h 273"/>
                <a:gd name="T4" fmla="*/ 138 w 356"/>
                <a:gd name="T5" fmla="*/ 131 h 273"/>
                <a:gd name="T6" fmla="*/ 146 w 356"/>
                <a:gd name="T7" fmla="*/ 123 h 273"/>
                <a:gd name="T8" fmla="*/ 283 w 356"/>
                <a:gd name="T9" fmla="*/ 123 h 273"/>
                <a:gd name="T10" fmla="*/ 291 w 356"/>
                <a:gd name="T11" fmla="*/ 131 h 273"/>
                <a:gd name="T12" fmla="*/ 291 w 356"/>
                <a:gd name="T13" fmla="*/ 209 h 273"/>
                <a:gd name="T14" fmla="*/ 283 w 356"/>
                <a:gd name="T15" fmla="*/ 217 h 273"/>
                <a:gd name="T16" fmla="*/ 146 w 356"/>
                <a:gd name="T17" fmla="*/ 217 h 273"/>
                <a:gd name="T18" fmla="*/ 176 w 356"/>
                <a:gd name="T19" fmla="*/ 101 h 273"/>
                <a:gd name="T20" fmla="*/ 172 w 356"/>
                <a:gd name="T21" fmla="*/ 99 h 273"/>
                <a:gd name="T22" fmla="*/ 176 w 356"/>
                <a:gd name="T23" fmla="*/ 96 h 273"/>
                <a:gd name="T24" fmla="*/ 285 w 356"/>
                <a:gd name="T25" fmla="*/ 96 h 273"/>
                <a:gd name="T26" fmla="*/ 289 w 356"/>
                <a:gd name="T27" fmla="*/ 99 h 273"/>
                <a:gd name="T28" fmla="*/ 285 w 356"/>
                <a:gd name="T29" fmla="*/ 101 h 273"/>
                <a:gd name="T30" fmla="*/ 176 w 356"/>
                <a:gd name="T31" fmla="*/ 101 h 273"/>
                <a:gd name="T32" fmla="*/ 349 w 356"/>
                <a:gd name="T33" fmla="*/ 0 h 273"/>
                <a:gd name="T34" fmla="*/ 34 w 356"/>
                <a:gd name="T35" fmla="*/ 0 h 273"/>
                <a:gd name="T36" fmla="*/ 47 w 356"/>
                <a:gd name="T37" fmla="*/ 41 h 273"/>
                <a:gd name="T38" fmla="*/ 43 w 356"/>
                <a:gd name="T39" fmla="*/ 64 h 273"/>
                <a:gd name="T40" fmla="*/ 289 w 356"/>
                <a:gd name="T41" fmla="*/ 64 h 273"/>
                <a:gd name="T42" fmla="*/ 291 w 356"/>
                <a:gd name="T43" fmla="*/ 66 h 273"/>
                <a:gd name="T44" fmla="*/ 289 w 356"/>
                <a:gd name="T45" fmla="*/ 68 h 273"/>
                <a:gd name="T46" fmla="*/ 43 w 356"/>
                <a:gd name="T47" fmla="*/ 68 h 273"/>
                <a:gd name="T48" fmla="*/ 39 w 356"/>
                <a:gd name="T49" fmla="*/ 96 h 273"/>
                <a:gd name="T50" fmla="*/ 145 w 356"/>
                <a:gd name="T51" fmla="*/ 96 h 273"/>
                <a:gd name="T52" fmla="*/ 147 w 356"/>
                <a:gd name="T53" fmla="*/ 98 h 273"/>
                <a:gd name="T54" fmla="*/ 145 w 356"/>
                <a:gd name="T55" fmla="*/ 100 h 273"/>
                <a:gd name="T56" fmla="*/ 38 w 356"/>
                <a:gd name="T57" fmla="*/ 100 h 273"/>
                <a:gd name="T58" fmla="*/ 32 w 356"/>
                <a:gd name="T59" fmla="*/ 145 h 273"/>
                <a:gd name="T60" fmla="*/ 110 w 356"/>
                <a:gd name="T61" fmla="*/ 145 h 273"/>
                <a:gd name="T62" fmla="*/ 112 w 356"/>
                <a:gd name="T63" fmla="*/ 147 h 273"/>
                <a:gd name="T64" fmla="*/ 110 w 356"/>
                <a:gd name="T65" fmla="*/ 149 h 273"/>
                <a:gd name="T66" fmla="*/ 31 w 356"/>
                <a:gd name="T67" fmla="*/ 149 h 273"/>
                <a:gd name="T68" fmla="*/ 25 w 356"/>
                <a:gd name="T69" fmla="*/ 194 h 273"/>
                <a:gd name="T70" fmla="*/ 110 w 356"/>
                <a:gd name="T71" fmla="*/ 194 h 273"/>
                <a:gd name="T72" fmla="*/ 112 w 356"/>
                <a:gd name="T73" fmla="*/ 196 h 273"/>
                <a:gd name="T74" fmla="*/ 110 w 356"/>
                <a:gd name="T75" fmla="*/ 198 h 273"/>
                <a:gd name="T76" fmla="*/ 24 w 356"/>
                <a:gd name="T77" fmla="*/ 198 h 273"/>
                <a:gd name="T78" fmla="*/ 23 w 356"/>
                <a:gd name="T79" fmla="*/ 204 h 273"/>
                <a:gd name="T80" fmla="*/ 34 w 356"/>
                <a:gd name="T81" fmla="*/ 265 h 273"/>
                <a:gd name="T82" fmla="*/ 2 w 356"/>
                <a:gd name="T83" fmla="*/ 265 h 273"/>
                <a:gd name="T84" fmla="*/ 0 w 356"/>
                <a:gd name="T85" fmla="*/ 273 h 273"/>
                <a:gd name="T86" fmla="*/ 349 w 356"/>
                <a:gd name="T87" fmla="*/ 273 h 273"/>
                <a:gd name="T88" fmla="*/ 356 w 356"/>
                <a:gd name="T89" fmla="*/ 266 h 273"/>
                <a:gd name="T90" fmla="*/ 356 w 356"/>
                <a:gd name="T91" fmla="*/ 235 h 273"/>
                <a:gd name="T92" fmla="*/ 354 w 356"/>
                <a:gd name="T93" fmla="*/ 232 h 273"/>
                <a:gd name="T94" fmla="*/ 356 w 356"/>
                <a:gd name="T95" fmla="*/ 229 h 273"/>
                <a:gd name="T96" fmla="*/ 356 w 356"/>
                <a:gd name="T97" fmla="*/ 6 h 273"/>
                <a:gd name="T98" fmla="*/ 349 w 356"/>
                <a:gd name="T9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56" h="273">
                  <a:moveTo>
                    <a:pt x="146" y="217"/>
                  </a:moveTo>
                  <a:cubicBezTo>
                    <a:pt x="142" y="217"/>
                    <a:pt x="138" y="214"/>
                    <a:pt x="138" y="209"/>
                  </a:cubicBezTo>
                  <a:cubicBezTo>
                    <a:pt x="138" y="131"/>
                    <a:pt x="138" y="131"/>
                    <a:pt x="138" y="131"/>
                  </a:cubicBezTo>
                  <a:cubicBezTo>
                    <a:pt x="138" y="127"/>
                    <a:pt x="142" y="123"/>
                    <a:pt x="146" y="123"/>
                  </a:cubicBezTo>
                  <a:cubicBezTo>
                    <a:pt x="283" y="123"/>
                    <a:pt x="283" y="123"/>
                    <a:pt x="283" y="123"/>
                  </a:cubicBezTo>
                  <a:cubicBezTo>
                    <a:pt x="288" y="123"/>
                    <a:pt x="291" y="127"/>
                    <a:pt x="291" y="131"/>
                  </a:cubicBezTo>
                  <a:cubicBezTo>
                    <a:pt x="291" y="209"/>
                    <a:pt x="291" y="209"/>
                    <a:pt x="291" y="209"/>
                  </a:cubicBezTo>
                  <a:cubicBezTo>
                    <a:pt x="291" y="214"/>
                    <a:pt x="288" y="217"/>
                    <a:pt x="283" y="217"/>
                  </a:cubicBezTo>
                  <a:cubicBezTo>
                    <a:pt x="146" y="217"/>
                    <a:pt x="146" y="217"/>
                    <a:pt x="146" y="217"/>
                  </a:cubicBezTo>
                  <a:moveTo>
                    <a:pt x="176" y="101"/>
                  </a:moveTo>
                  <a:cubicBezTo>
                    <a:pt x="174" y="101"/>
                    <a:pt x="172" y="100"/>
                    <a:pt x="172" y="99"/>
                  </a:cubicBezTo>
                  <a:cubicBezTo>
                    <a:pt x="172" y="97"/>
                    <a:pt x="174" y="96"/>
                    <a:pt x="176" y="96"/>
                  </a:cubicBezTo>
                  <a:cubicBezTo>
                    <a:pt x="285" y="96"/>
                    <a:pt x="285" y="96"/>
                    <a:pt x="285" y="96"/>
                  </a:cubicBezTo>
                  <a:cubicBezTo>
                    <a:pt x="287" y="96"/>
                    <a:pt x="289" y="97"/>
                    <a:pt x="289" y="99"/>
                  </a:cubicBezTo>
                  <a:cubicBezTo>
                    <a:pt x="289" y="100"/>
                    <a:pt x="287" y="101"/>
                    <a:pt x="285" y="101"/>
                  </a:cubicBezTo>
                  <a:cubicBezTo>
                    <a:pt x="176" y="101"/>
                    <a:pt x="176" y="101"/>
                    <a:pt x="176" y="101"/>
                  </a:cubicBezTo>
                  <a:moveTo>
                    <a:pt x="349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44" y="10"/>
                    <a:pt x="49" y="24"/>
                    <a:pt x="47" y="41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289" y="64"/>
                    <a:pt x="289" y="64"/>
                    <a:pt x="289" y="64"/>
                  </a:cubicBezTo>
                  <a:cubicBezTo>
                    <a:pt x="290" y="64"/>
                    <a:pt x="291" y="65"/>
                    <a:pt x="291" y="66"/>
                  </a:cubicBezTo>
                  <a:cubicBezTo>
                    <a:pt x="291" y="67"/>
                    <a:pt x="290" y="68"/>
                    <a:pt x="289" y="68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39" y="96"/>
                    <a:pt x="39" y="96"/>
                    <a:pt x="39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6" y="96"/>
                    <a:pt x="147" y="97"/>
                    <a:pt x="147" y="98"/>
                  </a:cubicBezTo>
                  <a:cubicBezTo>
                    <a:pt x="147" y="99"/>
                    <a:pt x="146" y="100"/>
                    <a:pt x="145" y="100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2" y="145"/>
                    <a:pt x="32" y="145"/>
                    <a:pt x="32" y="145"/>
                  </a:cubicBezTo>
                  <a:cubicBezTo>
                    <a:pt x="110" y="145"/>
                    <a:pt x="110" y="145"/>
                    <a:pt x="110" y="145"/>
                  </a:cubicBezTo>
                  <a:cubicBezTo>
                    <a:pt x="111" y="145"/>
                    <a:pt x="112" y="146"/>
                    <a:pt x="112" y="147"/>
                  </a:cubicBezTo>
                  <a:cubicBezTo>
                    <a:pt x="112" y="148"/>
                    <a:pt x="111" y="149"/>
                    <a:pt x="110" y="149"/>
                  </a:cubicBezTo>
                  <a:cubicBezTo>
                    <a:pt x="31" y="149"/>
                    <a:pt x="31" y="149"/>
                    <a:pt x="31" y="149"/>
                  </a:cubicBezTo>
                  <a:cubicBezTo>
                    <a:pt x="25" y="194"/>
                    <a:pt x="25" y="194"/>
                    <a:pt x="25" y="194"/>
                  </a:cubicBezTo>
                  <a:cubicBezTo>
                    <a:pt x="110" y="194"/>
                    <a:pt x="110" y="194"/>
                    <a:pt x="110" y="194"/>
                  </a:cubicBezTo>
                  <a:cubicBezTo>
                    <a:pt x="111" y="194"/>
                    <a:pt x="112" y="194"/>
                    <a:pt x="112" y="196"/>
                  </a:cubicBezTo>
                  <a:cubicBezTo>
                    <a:pt x="112" y="197"/>
                    <a:pt x="111" y="198"/>
                    <a:pt x="110" y="198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3" y="204"/>
                    <a:pt x="23" y="204"/>
                    <a:pt x="23" y="204"/>
                  </a:cubicBezTo>
                  <a:cubicBezTo>
                    <a:pt x="23" y="206"/>
                    <a:pt x="36" y="265"/>
                    <a:pt x="34" y="265"/>
                  </a:cubicBezTo>
                  <a:cubicBezTo>
                    <a:pt x="2" y="265"/>
                    <a:pt x="2" y="265"/>
                    <a:pt x="2" y="265"/>
                  </a:cubicBezTo>
                  <a:cubicBezTo>
                    <a:pt x="1" y="268"/>
                    <a:pt x="1" y="270"/>
                    <a:pt x="0" y="273"/>
                  </a:cubicBezTo>
                  <a:cubicBezTo>
                    <a:pt x="349" y="273"/>
                    <a:pt x="349" y="273"/>
                    <a:pt x="349" y="273"/>
                  </a:cubicBezTo>
                  <a:cubicBezTo>
                    <a:pt x="353" y="273"/>
                    <a:pt x="356" y="269"/>
                    <a:pt x="356" y="266"/>
                  </a:cubicBezTo>
                  <a:cubicBezTo>
                    <a:pt x="356" y="235"/>
                    <a:pt x="356" y="235"/>
                    <a:pt x="356" y="235"/>
                  </a:cubicBezTo>
                  <a:cubicBezTo>
                    <a:pt x="355" y="235"/>
                    <a:pt x="354" y="233"/>
                    <a:pt x="354" y="232"/>
                  </a:cubicBezTo>
                  <a:cubicBezTo>
                    <a:pt x="354" y="231"/>
                    <a:pt x="355" y="230"/>
                    <a:pt x="356" y="229"/>
                  </a:cubicBezTo>
                  <a:cubicBezTo>
                    <a:pt x="356" y="6"/>
                    <a:pt x="356" y="6"/>
                    <a:pt x="356" y="6"/>
                  </a:cubicBezTo>
                  <a:cubicBezTo>
                    <a:pt x="356" y="3"/>
                    <a:pt x="353" y="0"/>
                    <a:pt x="349" y="0"/>
                  </a:cubicBezTo>
                </a:path>
              </a:pathLst>
            </a:cu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2" name="ExtraShape2">
              <a:extLst>
                <a:ext uri="{FF2B5EF4-FFF2-40B4-BE49-F238E27FC236}">
                  <a16:creationId xmlns:a16="http://schemas.microsoft.com/office/drawing/2014/main" id="{8CD155E2-A75D-446E-9F81-2E73DB02C885}"/>
                </a:ext>
              </a:extLst>
            </p:cNvPr>
            <p:cNvSpPr/>
            <p:nvPr/>
          </p:nvSpPr>
          <p:spPr bwMode="auto">
            <a:xfrm>
              <a:off x="6835801" y="4057182"/>
              <a:ext cx="170382" cy="22293"/>
            </a:xfrm>
            <a:custGeom>
              <a:avLst/>
              <a:gdLst>
                <a:gd name="T0" fmla="*/ 61 w 61"/>
                <a:gd name="T1" fmla="*/ 0 h 8"/>
                <a:gd name="T2" fmla="*/ 2 w 61"/>
                <a:gd name="T3" fmla="*/ 0 h 8"/>
                <a:gd name="T4" fmla="*/ 0 w 61"/>
                <a:gd name="T5" fmla="*/ 8 h 8"/>
                <a:gd name="T6" fmla="*/ 59 w 61"/>
                <a:gd name="T7" fmla="*/ 8 h 8"/>
                <a:gd name="T8" fmla="*/ 61 w 61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8">
                  <a:moveTo>
                    <a:pt x="61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3"/>
                    <a:pt x="0" y="5"/>
                    <a:pt x="0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60" y="5"/>
                    <a:pt x="60" y="3"/>
                    <a:pt x="61" y="0"/>
                  </a:cubicBezTo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3" name="ExtraShape3">
              <a:extLst>
                <a:ext uri="{FF2B5EF4-FFF2-40B4-BE49-F238E27FC236}">
                  <a16:creationId xmlns:a16="http://schemas.microsoft.com/office/drawing/2014/main" id="{520732EA-8D14-4207-BE7E-B849887D42D0}"/>
                </a:ext>
              </a:extLst>
            </p:cNvPr>
            <p:cNvSpPr/>
            <p:nvPr/>
          </p:nvSpPr>
          <p:spPr bwMode="auto">
            <a:xfrm>
              <a:off x="6807139" y="4057182"/>
              <a:ext cx="33440" cy="22293"/>
            </a:xfrm>
            <a:custGeom>
              <a:avLst/>
              <a:gdLst>
                <a:gd name="T0" fmla="*/ 12 w 12"/>
                <a:gd name="T1" fmla="*/ 0 h 8"/>
                <a:gd name="T2" fmla="*/ 0 w 12"/>
                <a:gd name="T3" fmla="*/ 0 h 8"/>
                <a:gd name="T4" fmla="*/ 0 w 12"/>
                <a:gd name="T5" fmla="*/ 1 h 8"/>
                <a:gd name="T6" fmla="*/ 7 w 12"/>
                <a:gd name="T7" fmla="*/ 8 h 8"/>
                <a:gd name="T8" fmla="*/ 10 w 12"/>
                <a:gd name="T9" fmla="*/ 8 h 8"/>
                <a:gd name="T10" fmla="*/ 12 w 12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3" y="8"/>
                    <a:pt x="7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5"/>
                    <a:pt x="11" y="3"/>
                    <a:pt x="12" y="0"/>
                  </a:cubicBezTo>
                </a:path>
              </a:pathLst>
            </a:custGeom>
            <a:solidFill>
              <a:srgbClr val="7081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4" name="ExtraShape4">
              <a:extLst>
                <a:ext uri="{FF2B5EF4-FFF2-40B4-BE49-F238E27FC236}">
                  <a16:creationId xmlns:a16="http://schemas.microsoft.com/office/drawing/2014/main" id="{F6C1D56B-4720-466A-9101-DDD64C8D88DE}"/>
                </a:ext>
              </a:extLst>
            </p:cNvPr>
            <p:cNvSpPr/>
            <p:nvPr/>
          </p:nvSpPr>
          <p:spPr bwMode="auto">
            <a:xfrm>
              <a:off x="7988663" y="3956865"/>
              <a:ext cx="6369" cy="15924"/>
            </a:xfrm>
            <a:custGeom>
              <a:avLst/>
              <a:gdLst>
                <a:gd name="T0" fmla="*/ 2 w 2"/>
                <a:gd name="T1" fmla="*/ 0 h 6"/>
                <a:gd name="T2" fmla="*/ 0 w 2"/>
                <a:gd name="T3" fmla="*/ 3 h 6"/>
                <a:gd name="T4" fmla="*/ 2 w 2"/>
                <a:gd name="T5" fmla="*/ 6 h 6"/>
                <a:gd name="T6" fmla="*/ 2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cubicBezTo>
                    <a:pt x="1" y="1"/>
                    <a:pt x="0" y="2"/>
                    <a:pt x="0" y="3"/>
                  </a:cubicBezTo>
                  <a:cubicBezTo>
                    <a:pt x="0" y="4"/>
                    <a:pt x="1" y="6"/>
                    <a:pt x="2" y="6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5" name="ExtraShape5">
              <a:extLst>
                <a:ext uri="{FF2B5EF4-FFF2-40B4-BE49-F238E27FC236}">
                  <a16:creationId xmlns:a16="http://schemas.microsoft.com/office/drawing/2014/main" id="{4BD30C18-0FA3-4D58-8F78-F9CD37043423}"/>
                </a:ext>
              </a:extLst>
            </p:cNvPr>
            <p:cNvSpPr/>
            <p:nvPr/>
          </p:nvSpPr>
          <p:spPr bwMode="auto">
            <a:xfrm>
              <a:off x="7120832" y="3495082"/>
              <a:ext cx="692673" cy="11146"/>
            </a:xfrm>
            <a:custGeom>
              <a:avLst/>
              <a:gdLst>
                <a:gd name="T0" fmla="*/ 246 w 248"/>
                <a:gd name="T1" fmla="*/ 0 h 4"/>
                <a:gd name="T2" fmla="*/ 0 w 248"/>
                <a:gd name="T3" fmla="*/ 0 h 4"/>
                <a:gd name="T4" fmla="*/ 0 w 248"/>
                <a:gd name="T5" fmla="*/ 4 h 4"/>
                <a:gd name="T6" fmla="*/ 246 w 248"/>
                <a:gd name="T7" fmla="*/ 4 h 4"/>
                <a:gd name="T8" fmla="*/ 248 w 248"/>
                <a:gd name="T9" fmla="*/ 2 h 4"/>
                <a:gd name="T10" fmla="*/ 246 w 248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8" h="4">
                  <a:moveTo>
                    <a:pt x="24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46" y="4"/>
                    <a:pt x="246" y="4"/>
                    <a:pt x="246" y="4"/>
                  </a:cubicBezTo>
                  <a:cubicBezTo>
                    <a:pt x="247" y="4"/>
                    <a:pt x="248" y="3"/>
                    <a:pt x="248" y="2"/>
                  </a:cubicBezTo>
                  <a:cubicBezTo>
                    <a:pt x="248" y="1"/>
                    <a:pt x="247" y="0"/>
                    <a:pt x="24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6" name="ExtraShape6">
              <a:extLst>
                <a:ext uri="{FF2B5EF4-FFF2-40B4-BE49-F238E27FC236}">
                  <a16:creationId xmlns:a16="http://schemas.microsoft.com/office/drawing/2014/main" id="{4E4FF1FF-3246-4F62-9106-D5D7EC040BAB}"/>
                </a:ext>
              </a:extLst>
            </p:cNvPr>
            <p:cNvSpPr/>
            <p:nvPr/>
          </p:nvSpPr>
          <p:spPr bwMode="auto">
            <a:xfrm>
              <a:off x="7087392" y="3722788"/>
              <a:ext cx="226114" cy="11146"/>
            </a:xfrm>
            <a:custGeom>
              <a:avLst/>
              <a:gdLst>
                <a:gd name="T0" fmla="*/ 79 w 81"/>
                <a:gd name="T1" fmla="*/ 0 h 4"/>
                <a:gd name="T2" fmla="*/ 1 w 81"/>
                <a:gd name="T3" fmla="*/ 0 h 4"/>
                <a:gd name="T4" fmla="*/ 0 w 81"/>
                <a:gd name="T5" fmla="*/ 4 h 4"/>
                <a:gd name="T6" fmla="*/ 79 w 81"/>
                <a:gd name="T7" fmla="*/ 4 h 4"/>
                <a:gd name="T8" fmla="*/ 81 w 81"/>
                <a:gd name="T9" fmla="*/ 2 h 4"/>
                <a:gd name="T10" fmla="*/ 79 w 81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4">
                  <a:moveTo>
                    <a:pt x="79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80" y="4"/>
                    <a:pt x="81" y="3"/>
                    <a:pt x="81" y="2"/>
                  </a:cubicBezTo>
                  <a:cubicBezTo>
                    <a:pt x="81" y="1"/>
                    <a:pt x="80" y="0"/>
                    <a:pt x="7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7" name="ExtraShape7">
              <a:extLst>
                <a:ext uri="{FF2B5EF4-FFF2-40B4-BE49-F238E27FC236}">
                  <a16:creationId xmlns:a16="http://schemas.microsoft.com/office/drawing/2014/main" id="{697ECBB4-E201-4C77-9251-5A3E43C0EAF2}"/>
                </a:ext>
              </a:extLst>
            </p:cNvPr>
            <p:cNvSpPr/>
            <p:nvPr/>
          </p:nvSpPr>
          <p:spPr bwMode="auto">
            <a:xfrm>
              <a:off x="7066692" y="3858139"/>
              <a:ext cx="246815" cy="11146"/>
            </a:xfrm>
            <a:custGeom>
              <a:avLst/>
              <a:gdLst>
                <a:gd name="T0" fmla="*/ 86 w 88"/>
                <a:gd name="T1" fmla="*/ 0 h 4"/>
                <a:gd name="T2" fmla="*/ 1 w 88"/>
                <a:gd name="T3" fmla="*/ 0 h 4"/>
                <a:gd name="T4" fmla="*/ 0 w 88"/>
                <a:gd name="T5" fmla="*/ 4 h 4"/>
                <a:gd name="T6" fmla="*/ 86 w 88"/>
                <a:gd name="T7" fmla="*/ 4 h 4"/>
                <a:gd name="T8" fmla="*/ 88 w 88"/>
                <a:gd name="T9" fmla="*/ 2 h 4"/>
                <a:gd name="T10" fmla="*/ 86 w 88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4">
                  <a:moveTo>
                    <a:pt x="86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6" y="4"/>
                    <a:pt x="86" y="4"/>
                    <a:pt x="86" y="4"/>
                  </a:cubicBezTo>
                  <a:cubicBezTo>
                    <a:pt x="87" y="4"/>
                    <a:pt x="88" y="3"/>
                    <a:pt x="88" y="2"/>
                  </a:cubicBezTo>
                  <a:cubicBezTo>
                    <a:pt x="88" y="0"/>
                    <a:pt x="87" y="0"/>
                    <a:pt x="8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8" name="ExtraShape8">
              <a:extLst>
                <a:ext uri="{FF2B5EF4-FFF2-40B4-BE49-F238E27FC236}">
                  <a16:creationId xmlns:a16="http://schemas.microsoft.com/office/drawing/2014/main" id="{75FEBBC4-01A5-4902-A5FB-19BE4237FA44}"/>
                </a:ext>
              </a:extLst>
            </p:cNvPr>
            <p:cNvSpPr/>
            <p:nvPr/>
          </p:nvSpPr>
          <p:spPr bwMode="auto">
            <a:xfrm>
              <a:off x="7106500" y="3585846"/>
              <a:ext cx="304139" cy="11146"/>
            </a:xfrm>
            <a:custGeom>
              <a:avLst/>
              <a:gdLst>
                <a:gd name="T0" fmla="*/ 107 w 109"/>
                <a:gd name="T1" fmla="*/ 0 h 4"/>
                <a:gd name="T2" fmla="*/ 1 w 109"/>
                <a:gd name="T3" fmla="*/ 0 h 4"/>
                <a:gd name="T4" fmla="*/ 0 w 109"/>
                <a:gd name="T5" fmla="*/ 4 h 4"/>
                <a:gd name="T6" fmla="*/ 107 w 109"/>
                <a:gd name="T7" fmla="*/ 4 h 4"/>
                <a:gd name="T8" fmla="*/ 109 w 109"/>
                <a:gd name="T9" fmla="*/ 2 h 4"/>
                <a:gd name="T10" fmla="*/ 107 w 109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" h="4">
                  <a:moveTo>
                    <a:pt x="107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08" y="4"/>
                    <a:pt x="109" y="3"/>
                    <a:pt x="109" y="2"/>
                  </a:cubicBezTo>
                  <a:cubicBezTo>
                    <a:pt x="109" y="1"/>
                    <a:pt x="108" y="0"/>
                    <a:pt x="10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9" name="ExtraShape9">
              <a:extLst>
                <a:ext uri="{FF2B5EF4-FFF2-40B4-BE49-F238E27FC236}">
                  <a16:creationId xmlns:a16="http://schemas.microsoft.com/office/drawing/2014/main" id="{5B4C4590-C5EC-4667-B84B-1B37140D1D61}"/>
                </a:ext>
              </a:extLst>
            </p:cNvPr>
            <p:cNvSpPr/>
            <p:nvPr/>
          </p:nvSpPr>
          <p:spPr bwMode="auto">
            <a:xfrm>
              <a:off x="7480703" y="3585846"/>
              <a:ext cx="326433" cy="12739"/>
            </a:xfrm>
            <a:custGeom>
              <a:avLst/>
              <a:gdLst>
                <a:gd name="T0" fmla="*/ 113 w 117"/>
                <a:gd name="T1" fmla="*/ 0 h 5"/>
                <a:gd name="T2" fmla="*/ 4 w 117"/>
                <a:gd name="T3" fmla="*/ 0 h 5"/>
                <a:gd name="T4" fmla="*/ 0 w 117"/>
                <a:gd name="T5" fmla="*/ 3 h 5"/>
                <a:gd name="T6" fmla="*/ 4 w 117"/>
                <a:gd name="T7" fmla="*/ 5 h 5"/>
                <a:gd name="T8" fmla="*/ 113 w 117"/>
                <a:gd name="T9" fmla="*/ 5 h 5"/>
                <a:gd name="T10" fmla="*/ 117 w 117"/>
                <a:gd name="T11" fmla="*/ 3 h 5"/>
                <a:gd name="T12" fmla="*/ 113 w 117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5">
                  <a:moveTo>
                    <a:pt x="113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2" y="5"/>
                    <a:pt x="4" y="5"/>
                  </a:cubicBezTo>
                  <a:cubicBezTo>
                    <a:pt x="113" y="5"/>
                    <a:pt x="113" y="5"/>
                    <a:pt x="113" y="5"/>
                  </a:cubicBezTo>
                  <a:cubicBezTo>
                    <a:pt x="115" y="5"/>
                    <a:pt x="117" y="4"/>
                    <a:pt x="117" y="3"/>
                  </a:cubicBezTo>
                  <a:cubicBezTo>
                    <a:pt x="117" y="1"/>
                    <a:pt x="115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0" name="ExtraShape1">
              <a:extLst>
                <a:ext uri="{FF2B5EF4-FFF2-40B4-BE49-F238E27FC236}">
                  <a16:creationId xmlns:a16="http://schemas.microsoft.com/office/drawing/2014/main" id="{62496255-E5C4-4F7D-A586-703FEA1F7BE3}"/>
                </a:ext>
              </a:extLst>
            </p:cNvPr>
            <p:cNvSpPr/>
            <p:nvPr/>
          </p:nvSpPr>
          <p:spPr bwMode="auto">
            <a:xfrm>
              <a:off x="7385162" y="3660687"/>
              <a:ext cx="428343" cy="262737"/>
            </a:xfrm>
            <a:custGeom>
              <a:avLst/>
              <a:gdLst>
                <a:gd name="T0" fmla="*/ 131 w 153"/>
                <a:gd name="T1" fmla="*/ 28 h 94"/>
                <a:gd name="T2" fmla="*/ 127 w 153"/>
                <a:gd name="T3" fmla="*/ 25 h 94"/>
                <a:gd name="T4" fmla="*/ 130 w 153"/>
                <a:gd name="T5" fmla="*/ 21 h 94"/>
                <a:gd name="T6" fmla="*/ 145 w 153"/>
                <a:gd name="T7" fmla="*/ 17 h 94"/>
                <a:gd name="T8" fmla="*/ 145 w 153"/>
                <a:gd name="T9" fmla="*/ 32 h 94"/>
                <a:gd name="T10" fmla="*/ 141 w 153"/>
                <a:gd name="T11" fmla="*/ 36 h 94"/>
                <a:gd name="T12" fmla="*/ 138 w 153"/>
                <a:gd name="T13" fmla="*/ 34 h 94"/>
                <a:gd name="T14" fmla="*/ 116 w 153"/>
                <a:gd name="T15" fmla="*/ 69 h 94"/>
                <a:gd name="T16" fmla="*/ 110 w 153"/>
                <a:gd name="T17" fmla="*/ 72 h 94"/>
                <a:gd name="T18" fmla="*/ 110 w 153"/>
                <a:gd name="T19" fmla="*/ 72 h 94"/>
                <a:gd name="T20" fmla="*/ 110 w 153"/>
                <a:gd name="T21" fmla="*/ 72 h 94"/>
                <a:gd name="T22" fmla="*/ 105 w 153"/>
                <a:gd name="T23" fmla="*/ 69 h 94"/>
                <a:gd name="T24" fmla="*/ 74 w 153"/>
                <a:gd name="T25" fmla="*/ 31 h 94"/>
                <a:gd name="T26" fmla="*/ 61 w 153"/>
                <a:gd name="T27" fmla="*/ 67 h 94"/>
                <a:gd name="T28" fmla="*/ 59 w 153"/>
                <a:gd name="T29" fmla="*/ 70 h 94"/>
                <a:gd name="T30" fmla="*/ 55 w 153"/>
                <a:gd name="T31" fmla="*/ 72 h 94"/>
                <a:gd name="T32" fmla="*/ 55 w 153"/>
                <a:gd name="T33" fmla="*/ 72 h 94"/>
                <a:gd name="T34" fmla="*/ 50 w 153"/>
                <a:gd name="T35" fmla="*/ 69 h 94"/>
                <a:gd name="T36" fmla="*/ 28 w 153"/>
                <a:gd name="T37" fmla="*/ 46 h 94"/>
                <a:gd name="T38" fmla="*/ 20 w 153"/>
                <a:gd name="T39" fmla="*/ 69 h 94"/>
                <a:gd name="T40" fmla="*/ 20 w 153"/>
                <a:gd name="T41" fmla="*/ 69 h 94"/>
                <a:gd name="T42" fmla="*/ 16 w 153"/>
                <a:gd name="T43" fmla="*/ 72 h 94"/>
                <a:gd name="T44" fmla="*/ 15 w 153"/>
                <a:gd name="T45" fmla="*/ 71 h 94"/>
                <a:gd name="T46" fmla="*/ 13 w 153"/>
                <a:gd name="T47" fmla="*/ 66 h 94"/>
                <a:gd name="T48" fmla="*/ 21 w 153"/>
                <a:gd name="T49" fmla="*/ 41 h 94"/>
                <a:gd name="T50" fmla="*/ 24 w 153"/>
                <a:gd name="T51" fmla="*/ 38 h 94"/>
                <a:gd name="T52" fmla="*/ 27 w 153"/>
                <a:gd name="T53" fmla="*/ 37 h 94"/>
                <a:gd name="T54" fmla="*/ 28 w 153"/>
                <a:gd name="T55" fmla="*/ 37 h 94"/>
                <a:gd name="T56" fmla="*/ 32 w 153"/>
                <a:gd name="T57" fmla="*/ 39 h 94"/>
                <a:gd name="T58" fmla="*/ 54 w 153"/>
                <a:gd name="T59" fmla="*/ 63 h 94"/>
                <a:gd name="T60" fmla="*/ 68 w 153"/>
                <a:gd name="T61" fmla="*/ 26 h 94"/>
                <a:gd name="T62" fmla="*/ 70 w 153"/>
                <a:gd name="T63" fmla="*/ 23 h 94"/>
                <a:gd name="T64" fmla="*/ 74 w 153"/>
                <a:gd name="T65" fmla="*/ 22 h 94"/>
                <a:gd name="T66" fmla="*/ 74 w 153"/>
                <a:gd name="T67" fmla="*/ 22 h 94"/>
                <a:gd name="T68" fmla="*/ 79 w 153"/>
                <a:gd name="T69" fmla="*/ 25 h 94"/>
                <a:gd name="T70" fmla="*/ 110 w 153"/>
                <a:gd name="T71" fmla="*/ 63 h 94"/>
                <a:gd name="T72" fmla="*/ 132 w 153"/>
                <a:gd name="T73" fmla="*/ 28 h 94"/>
                <a:gd name="T74" fmla="*/ 131 w 153"/>
                <a:gd name="T75" fmla="*/ 28 h 94"/>
                <a:gd name="T76" fmla="*/ 145 w 153"/>
                <a:gd name="T77" fmla="*/ 0 h 94"/>
                <a:gd name="T78" fmla="*/ 8 w 153"/>
                <a:gd name="T79" fmla="*/ 0 h 94"/>
                <a:gd name="T80" fmla="*/ 0 w 153"/>
                <a:gd name="T81" fmla="*/ 8 h 94"/>
                <a:gd name="T82" fmla="*/ 0 w 153"/>
                <a:gd name="T83" fmla="*/ 86 h 94"/>
                <a:gd name="T84" fmla="*/ 8 w 153"/>
                <a:gd name="T85" fmla="*/ 94 h 94"/>
                <a:gd name="T86" fmla="*/ 145 w 153"/>
                <a:gd name="T87" fmla="*/ 94 h 94"/>
                <a:gd name="T88" fmla="*/ 153 w 153"/>
                <a:gd name="T89" fmla="*/ 86 h 94"/>
                <a:gd name="T90" fmla="*/ 153 w 153"/>
                <a:gd name="T91" fmla="*/ 8 h 94"/>
                <a:gd name="T92" fmla="*/ 145 w 153"/>
                <a:gd name="T93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94">
                  <a:moveTo>
                    <a:pt x="131" y="28"/>
                  </a:moveTo>
                  <a:cubicBezTo>
                    <a:pt x="129" y="28"/>
                    <a:pt x="128" y="27"/>
                    <a:pt x="127" y="25"/>
                  </a:cubicBezTo>
                  <a:cubicBezTo>
                    <a:pt x="127" y="23"/>
                    <a:pt x="128" y="21"/>
                    <a:pt x="130" y="21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4"/>
                    <a:pt x="143" y="36"/>
                    <a:pt x="141" y="36"/>
                  </a:cubicBezTo>
                  <a:cubicBezTo>
                    <a:pt x="140" y="36"/>
                    <a:pt x="138" y="35"/>
                    <a:pt x="138" y="34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4" y="71"/>
                    <a:pt x="112" y="72"/>
                    <a:pt x="110" y="72"/>
                  </a:cubicBezTo>
                  <a:cubicBezTo>
                    <a:pt x="110" y="72"/>
                    <a:pt x="110" y="72"/>
                    <a:pt x="110" y="72"/>
                  </a:cubicBezTo>
                  <a:cubicBezTo>
                    <a:pt x="110" y="72"/>
                    <a:pt x="110" y="72"/>
                    <a:pt x="110" y="72"/>
                  </a:cubicBezTo>
                  <a:cubicBezTo>
                    <a:pt x="108" y="72"/>
                    <a:pt x="106" y="71"/>
                    <a:pt x="105" y="69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1" y="69"/>
                    <a:pt x="60" y="70"/>
                    <a:pt x="59" y="70"/>
                  </a:cubicBezTo>
                  <a:cubicBezTo>
                    <a:pt x="58" y="71"/>
                    <a:pt x="56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3" y="72"/>
                    <a:pt x="51" y="71"/>
                    <a:pt x="50" y="69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71"/>
                    <a:pt x="18" y="72"/>
                    <a:pt x="16" y="72"/>
                  </a:cubicBezTo>
                  <a:cubicBezTo>
                    <a:pt x="16" y="72"/>
                    <a:pt x="16" y="72"/>
                    <a:pt x="15" y="71"/>
                  </a:cubicBezTo>
                  <a:cubicBezTo>
                    <a:pt x="13" y="71"/>
                    <a:pt x="12" y="68"/>
                    <a:pt x="13" y="66"/>
                  </a:cubicBezTo>
                  <a:cubicBezTo>
                    <a:pt x="21" y="41"/>
                    <a:pt x="21" y="41"/>
                    <a:pt x="21" y="41"/>
                  </a:cubicBezTo>
                  <a:cubicBezTo>
                    <a:pt x="21" y="40"/>
                    <a:pt x="22" y="39"/>
                    <a:pt x="24" y="38"/>
                  </a:cubicBezTo>
                  <a:cubicBezTo>
                    <a:pt x="25" y="37"/>
                    <a:pt x="26" y="37"/>
                    <a:pt x="27" y="37"/>
                  </a:cubicBezTo>
                  <a:cubicBezTo>
                    <a:pt x="27" y="37"/>
                    <a:pt x="27" y="37"/>
                    <a:pt x="28" y="37"/>
                  </a:cubicBezTo>
                  <a:cubicBezTo>
                    <a:pt x="29" y="37"/>
                    <a:pt x="31" y="37"/>
                    <a:pt x="32" y="39"/>
                  </a:cubicBezTo>
                  <a:cubicBezTo>
                    <a:pt x="54" y="63"/>
                    <a:pt x="54" y="63"/>
                    <a:pt x="54" y="6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5"/>
                    <a:pt x="69" y="24"/>
                    <a:pt x="70" y="23"/>
                  </a:cubicBezTo>
                  <a:cubicBezTo>
                    <a:pt x="71" y="22"/>
                    <a:pt x="73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6" y="22"/>
                    <a:pt x="78" y="23"/>
                    <a:pt x="79" y="25"/>
                  </a:cubicBezTo>
                  <a:cubicBezTo>
                    <a:pt x="110" y="63"/>
                    <a:pt x="110" y="63"/>
                    <a:pt x="110" y="63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32" y="28"/>
                    <a:pt x="131" y="28"/>
                    <a:pt x="131" y="28"/>
                  </a:cubicBezTo>
                  <a:moveTo>
                    <a:pt x="145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1"/>
                    <a:pt x="4" y="94"/>
                    <a:pt x="8" y="94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50" y="94"/>
                    <a:pt x="153" y="91"/>
                    <a:pt x="153" y="86"/>
                  </a:cubicBezTo>
                  <a:cubicBezTo>
                    <a:pt x="153" y="8"/>
                    <a:pt x="153" y="8"/>
                    <a:pt x="153" y="8"/>
                  </a:cubicBezTo>
                  <a:cubicBezTo>
                    <a:pt x="153" y="4"/>
                    <a:pt x="150" y="0"/>
                    <a:pt x="14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1" name="ExtraShape2">
              <a:extLst>
                <a:ext uri="{FF2B5EF4-FFF2-40B4-BE49-F238E27FC236}">
                  <a16:creationId xmlns:a16="http://schemas.microsoft.com/office/drawing/2014/main" id="{7011033A-F513-4891-9608-326DED9BC03F}"/>
                </a:ext>
              </a:extLst>
            </p:cNvPr>
            <p:cNvSpPr/>
            <p:nvPr/>
          </p:nvSpPr>
          <p:spPr bwMode="auto">
            <a:xfrm>
              <a:off x="7418601" y="3722788"/>
              <a:ext cx="351910" cy="138534"/>
            </a:xfrm>
            <a:custGeom>
              <a:avLst/>
              <a:gdLst>
                <a:gd name="T0" fmla="*/ 62 w 126"/>
                <a:gd name="T1" fmla="*/ 7 h 50"/>
                <a:gd name="T2" fmla="*/ 62 w 126"/>
                <a:gd name="T3" fmla="*/ 7 h 50"/>
                <a:gd name="T4" fmla="*/ 62 w 126"/>
                <a:gd name="T5" fmla="*/ 0 h 50"/>
                <a:gd name="T6" fmla="*/ 62 w 126"/>
                <a:gd name="T7" fmla="*/ 0 h 50"/>
                <a:gd name="T8" fmla="*/ 58 w 126"/>
                <a:gd name="T9" fmla="*/ 1 h 50"/>
                <a:gd name="T10" fmla="*/ 56 w 126"/>
                <a:gd name="T11" fmla="*/ 4 h 50"/>
                <a:gd name="T12" fmla="*/ 42 w 126"/>
                <a:gd name="T13" fmla="*/ 41 h 50"/>
                <a:gd name="T14" fmla="*/ 20 w 126"/>
                <a:gd name="T15" fmla="*/ 17 h 50"/>
                <a:gd name="T16" fmla="*/ 16 w 126"/>
                <a:gd name="T17" fmla="*/ 15 h 50"/>
                <a:gd name="T18" fmla="*/ 15 w 126"/>
                <a:gd name="T19" fmla="*/ 15 h 50"/>
                <a:gd name="T20" fmla="*/ 12 w 126"/>
                <a:gd name="T21" fmla="*/ 16 h 50"/>
                <a:gd name="T22" fmla="*/ 9 w 126"/>
                <a:gd name="T23" fmla="*/ 19 h 50"/>
                <a:gd name="T24" fmla="*/ 1 w 126"/>
                <a:gd name="T25" fmla="*/ 44 h 50"/>
                <a:gd name="T26" fmla="*/ 3 w 126"/>
                <a:gd name="T27" fmla="*/ 49 h 50"/>
                <a:gd name="T28" fmla="*/ 4 w 126"/>
                <a:gd name="T29" fmla="*/ 50 h 50"/>
                <a:gd name="T30" fmla="*/ 8 w 126"/>
                <a:gd name="T31" fmla="*/ 47 h 50"/>
                <a:gd name="T32" fmla="*/ 8 w 126"/>
                <a:gd name="T33" fmla="*/ 47 h 50"/>
                <a:gd name="T34" fmla="*/ 16 w 126"/>
                <a:gd name="T35" fmla="*/ 24 h 50"/>
                <a:gd name="T36" fmla="*/ 38 w 126"/>
                <a:gd name="T37" fmla="*/ 47 h 50"/>
                <a:gd name="T38" fmla="*/ 43 w 126"/>
                <a:gd name="T39" fmla="*/ 50 h 50"/>
                <a:gd name="T40" fmla="*/ 43 w 126"/>
                <a:gd name="T41" fmla="*/ 50 h 50"/>
                <a:gd name="T42" fmla="*/ 47 w 126"/>
                <a:gd name="T43" fmla="*/ 48 h 50"/>
                <a:gd name="T44" fmla="*/ 49 w 126"/>
                <a:gd name="T45" fmla="*/ 45 h 50"/>
                <a:gd name="T46" fmla="*/ 62 w 126"/>
                <a:gd name="T47" fmla="*/ 9 h 50"/>
                <a:gd name="T48" fmla="*/ 93 w 126"/>
                <a:gd name="T49" fmla="*/ 47 h 50"/>
                <a:gd name="T50" fmla="*/ 98 w 126"/>
                <a:gd name="T51" fmla="*/ 50 h 50"/>
                <a:gd name="T52" fmla="*/ 98 w 126"/>
                <a:gd name="T53" fmla="*/ 50 h 50"/>
                <a:gd name="T54" fmla="*/ 98 w 126"/>
                <a:gd name="T55" fmla="*/ 50 h 50"/>
                <a:gd name="T56" fmla="*/ 104 w 126"/>
                <a:gd name="T57" fmla="*/ 47 h 50"/>
                <a:gd name="T58" fmla="*/ 126 w 126"/>
                <a:gd name="T59" fmla="*/ 12 h 50"/>
                <a:gd name="T60" fmla="*/ 125 w 126"/>
                <a:gd name="T61" fmla="*/ 10 h 50"/>
                <a:gd name="T62" fmla="*/ 125 w 126"/>
                <a:gd name="T63" fmla="*/ 5 h 50"/>
                <a:gd name="T64" fmla="*/ 120 w 126"/>
                <a:gd name="T65" fmla="*/ 6 h 50"/>
                <a:gd name="T66" fmla="*/ 120 w 126"/>
                <a:gd name="T67" fmla="*/ 6 h 50"/>
                <a:gd name="T68" fmla="*/ 98 w 126"/>
                <a:gd name="T69" fmla="*/ 41 h 50"/>
                <a:gd name="T70" fmla="*/ 67 w 126"/>
                <a:gd name="T71" fmla="*/ 3 h 50"/>
                <a:gd name="T72" fmla="*/ 62 w 126"/>
                <a:gd name="T73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6" h="50">
                  <a:moveTo>
                    <a:pt x="62" y="7"/>
                  </a:moveTo>
                  <a:cubicBezTo>
                    <a:pt x="62" y="7"/>
                    <a:pt x="62" y="7"/>
                    <a:pt x="62" y="7"/>
                  </a:cubicBezTo>
                  <a:moveTo>
                    <a:pt x="62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1" y="0"/>
                    <a:pt x="59" y="0"/>
                    <a:pt x="58" y="1"/>
                  </a:cubicBezTo>
                  <a:cubicBezTo>
                    <a:pt x="57" y="2"/>
                    <a:pt x="56" y="3"/>
                    <a:pt x="56" y="4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19" y="15"/>
                    <a:pt x="17" y="15"/>
                    <a:pt x="16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4" y="15"/>
                    <a:pt x="13" y="15"/>
                    <a:pt x="12" y="16"/>
                  </a:cubicBezTo>
                  <a:cubicBezTo>
                    <a:pt x="10" y="17"/>
                    <a:pt x="9" y="18"/>
                    <a:pt x="9" y="19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0" y="46"/>
                    <a:pt x="1" y="49"/>
                    <a:pt x="3" y="49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6" y="50"/>
                    <a:pt x="8" y="49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9" y="49"/>
                    <a:pt x="41" y="50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4" y="50"/>
                    <a:pt x="46" y="49"/>
                    <a:pt x="47" y="48"/>
                  </a:cubicBezTo>
                  <a:cubicBezTo>
                    <a:pt x="48" y="48"/>
                    <a:pt x="49" y="47"/>
                    <a:pt x="49" y="45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4" y="49"/>
                    <a:pt x="96" y="50"/>
                    <a:pt x="98" y="50"/>
                  </a:cubicBezTo>
                  <a:cubicBezTo>
                    <a:pt x="98" y="50"/>
                    <a:pt x="98" y="50"/>
                    <a:pt x="98" y="50"/>
                  </a:cubicBezTo>
                  <a:cubicBezTo>
                    <a:pt x="98" y="50"/>
                    <a:pt x="98" y="50"/>
                    <a:pt x="98" y="50"/>
                  </a:cubicBezTo>
                  <a:cubicBezTo>
                    <a:pt x="100" y="50"/>
                    <a:pt x="102" y="49"/>
                    <a:pt x="104" y="47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5" y="11"/>
                    <a:pt x="125" y="11"/>
                    <a:pt x="125" y="10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6" y="1"/>
                    <a:pt x="64" y="0"/>
                    <a:pt x="62" y="0"/>
                  </a:cubicBezTo>
                </a:path>
              </a:pathLst>
            </a:cu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2" name="ExtraShape3">
              <a:extLst>
                <a:ext uri="{FF2B5EF4-FFF2-40B4-BE49-F238E27FC236}">
                  <a16:creationId xmlns:a16="http://schemas.microsoft.com/office/drawing/2014/main" id="{74D5865C-21C0-477B-8EC7-FA64A10A1576}"/>
                </a:ext>
              </a:extLst>
            </p:cNvPr>
            <p:cNvSpPr/>
            <p:nvPr/>
          </p:nvSpPr>
          <p:spPr bwMode="auto">
            <a:xfrm>
              <a:off x="7740256" y="3708458"/>
              <a:ext cx="50956" cy="52547"/>
            </a:xfrm>
            <a:custGeom>
              <a:avLst/>
              <a:gdLst>
                <a:gd name="T0" fmla="*/ 18 w 18"/>
                <a:gd name="T1" fmla="*/ 0 h 19"/>
                <a:gd name="T2" fmla="*/ 3 w 18"/>
                <a:gd name="T3" fmla="*/ 4 h 19"/>
                <a:gd name="T4" fmla="*/ 0 w 18"/>
                <a:gd name="T5" fmla="*/ 8 h 19"/>
                <a:gd name="T6" fmla="*/ 4 w 18"/>
                <a:gd name="T7" fmla="*/ 11 h 19"/>
                <a:gd name="T8" fmla="*/ 5 w 18"/>
                <a:gd name="T9" fmla="*/ 11 h 19"/>
                <a:gd name="T10" fmla="*/ 5 w 18"/>
                <a:gd name="T11" fmla="*/ 11 h 19"/>
                <a:gd name="T12" fmla="*/ 10 w 18"/>
                <a:gd name="T13" fmla="*/ 10 h 19"/>
                <a:gd name="T14" fmla="*/ 10 w 18"/>
                <a:gd name="T15" fmla="*/ 15 h 19"/>
                <a:gd name="T16" fmla="*/ 11 w 18"/>
                <a:gd name="T17" fmla="*/ 17 h 19"/>
                <a:gd name="T18" fmla="*/ 14 w 18"/>
                <a:gd name="T19" fmla="*/ 19 h 19"/>
                <a:gd name="T20" fmla="*/ 18 w 18"/>
                <a:gd name="T21" fmla="*/ 15 h 19"/>
                <a:gd name="T22" fmla="*/ 18 w 18"/>
                <a:gd name="T2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9">
                  <a:moveTo>
                    <a:pt x="18" y="0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1" y="10"/>
                    <a:pt x="2" y="11"/>
                    <a:pt x="4" y="11"/>
                  </a:cubicBezTo>
                  <a:cubicBezTo>
                    <a:pt x="4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6"/>
                    <a:pt x="10" y="16"/>
                    <a:pt x="11" y="17"/>
                  </a:cubicBezTo>
                  <a:cubicBezTo>
                    <a:pt x="11" y="18"/>
                    <a:pt x="13" y="19"/>
                    <a:pt x="14" y="19"/>
                  </a:cubicBezTo>
                  <a:cubicBezTo>
                    <a:pt x="16" y="19"/>
                    <a:pt x="18" y="17"/>
                    <a:pt x="18" y="15"/>
                  </a:cubicBezTo>
                  <a:cubicBezTo>
                    <a:pt x="18" y="0"/>
                    <a:pt x="18" y="0"/>
                    <a:pt x="18" y="0"/>
                  </a:cubicBezTo>
                </a:path>
              </a:pathLst>
            </a:custGeom>
            <a:solidFill>
              <a:srgbClr val="D5EB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3" name="ExtraShape">
              <a:extLst>
                <a:ext uri="{FF2B5EF4-FFF2-40B4-BE49-F238E27FC236}">
                  <a16:creationId xmlns:a16="http://schemas.microsoft.com/office/drawing/2014/main" id="{900F7502-4A7A-4E7E-8ED8-6FE7FCDDD201}"/>
                </a:ext>
              </a:extLst>
            </p:cNvPr>
            <p:cNvSpPr/>
            <p:nvPr/>
          </p:nvSpPr>
          <p:spPr bwMode="auto">
            <a:xfrm>
              <a:off x="6963189" y="1571523"/>
              <a:ext cx="294585" cy="170381"/>
            </a:xfrm>
            <a:prstGeom prst="rect">
              <a:avLst/>
            </a:pr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4" name="ExtraShape1">
              <a:extLst>
                <a:ext uri="{FF2B5EF4-FFF2-40B4-BE49-F238E27FC236}">
                  <a16:creationId xmlns:a16="http://schemas.microsoft.com/office/drawing/2014/main" id="{D8A04E4F-A9A5-44EA-A961-80701E0A4134}"/>
                </a:ext>
              </a:extLst>
            </p:cNvPr>
            <p:cNvSpPr/>
            <p:nvPr/>
          </p:nvSpPr>
          <p:spPr bwMode="auto">
            <a:xfrm>
              <a:off x="6917011" y="1507829"/>
              <a:ext cx="386942" cy="116241"/>
            </a:xfrm>
            <a:custGeom>
              <a:avLst/>
              <a:gdLst>
                <a:gd name="T0" fmla="*/ 131 w 139"/>
                <a:gd name="T1" fmla="*/ 42 h 42"/>
                <a:gd name="T2" fmla="*/ 8 w 139"/>
                <a:gd name="T3" fmla="*/ 42 h 42"/>
                <a:gd name="T4" fmla="*/ 0 w 139"/>
                <a:gd name="T5" fmla="*/ 34 h 42"/>
                <a:gd name="T6" fmla="*/ 0 w 139"/>
                <a:gd name="T7" fmla="*/ 8 h 42"/>
                <a:gd name="T8" fmla="*/ 8 w 139"/>
                <a:gd name="T9" fmla="*/ 0 h 42"/>
                <a:gd name="T10" fmla="*/ 131 w 139"/>
                <a:gd name="T11" fmla="*/ 0 h 42"/>
                <a:gd name="T12" fmla="*/ 139 w 139"/>
                <a:gd name="T13" fmla="*/ 8 h 42"/>
                <a:gd name="T14" fmla="*/ 139 w 139"/>
                <a:gd name="T15" fmla="*/ 34 h 42"/>
                <a:gd name="T16" fmla="*/ 131 w 139"/>
                <a:gd name="T1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42">
                  <a:moveTo>
                    <a:pt x="131" y="42"/>
                  </a:moveTo>
                  <a:cubicBezTo>
                    <a:pt x="8" y="42"/>
                    <a:pt x="8" y="42"/>
                    <a:pt x="8" y="42"/>
                  </a:cubicBezTo>
                  <a:cubicBezTo>
                    <a:pt x="4" y="42"/>
                    <a:pt x="0" y="38"/>
                    <a:pt x="0" y="3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5" y="0"/>
                    <a:pt x="139" y="4"/>
                    <a:pt x="139" y="8"/>
                  </a:cubicBezTo>
                  <a:cubicBezTo>
                    <a:pt x="139" y="34"/>
                    <a:pt x="139" y="34"/>
                    <a:pt x="139" y="34"/>
                  </a:cubicBezTo>
                  <a:cubicBezTo>
                    <a:pt x="139" y="38"/>
                    <a:pt x="135" y="42"/>
                    <a:pt x="131" y="42"/>
                  </a:cubicBezTo>
                  <a:close/>
                </a:path>
              </a:pathLst>
            </a:custGeom>
            <a:solidFill>
              <a:srgbClr val="4C65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5" name="ExtraShape2">
              <a:extLst>
                <a:ext uri="{FF2B5EF4-FFF2-40B4-BE49-F238E27FC236}">
                  <a16:creationId xmlns:a16="http://schemas.microsoft.com/office/drawing/2014/main" id="{1F2A607D-484C-48B3-A00A-EA1A7A2E5453}"/>
                </a:ext>
              </a:extLst>
            </p:cNvPr>
            <p:cNvSpPr/>
            <p:nvPr/>
          </p:nvSpPr>
          <p:spPr bwMode="auto">
            <a:xfrm>
              <a:off x="6407459" y="1705280"/>
              <a:ext cx="1406046" cy="1421969"/>
            </a:xfrm>
            <a:prstGeom prst="ellipse">
              <a:avLst/>
            </a:prstGeom>
            <a:solidFill>
              <a:srgbClr val="FDC5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6" name="ExtraShape3">
              <a:extLst>
                <a:ext uri="{FF2B5EF4-FFF2-40B4-BE49-F238E27FC236}">
                  <a16:creationId xmlns:a16="http://schemas.microsoft.com/office/drawing/2014/main" id="{25A61691-E0C2-4DBE-8DF3-DD7749812F29}"/>
                </a:ext>
              </a:extLst>
            </p:cNvPr>
            <p:cNvSpPr/>
            <p:nvPr/>
          </p:nvSpPr>
          <p:spPr bwMode="auto">
            <a:xfrm>
              <a:off x="6569879" y="1870885"/>
              <a:ext cx="1081206" cy="109076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7" name="ExtraShape4">
              <a:extLst>
                <a:ext uri="{FF2B5EF4-FFF2-40B4-BE49-F238E27FC236}">
                  <a16:creationId xmlns:a16="http://schemas.microsoft.com/office/drawing/2014/main" id="{A892C82F-9965-4F00-B28E-62C47F2C2CED}"/>
                </a:ext>
              </a:extLst>
            </p:cNvPr>
            <p:cNvSpPr/>
            <p:nvPr/>
          </p:nvSpPr>
          <p:spPr bwMode="auto">
            <a:xfrm>
              <a:off x="6625610" y="2660691"/>
              <a:ext cx="480890" cy="300953"/>
            </a:xfrm>
            <a:custGeom>
              <a:avLst/>
              <a:gdLst>
                <a:gd name="T0" fmla="*/ 154 w 172"/>
                <a:gd name="T1" fmla="*/ 107 h 108"/>
                <a:gd name="T2" fmla="*/ 154 w 172"/>
                <a:gd name="T3" fmla="*/ 107 h 108"/>
                <a:gd name="T4" fmla="*/ 172 w 172"/>
                <a:gd name="T5" fmla="*/ 108 h 108"/>
                <a:gd name="T6" fmla="*/ 172 w 172"/>
                <a:gd name="T7" fmla="*/ 108 h 108"/>
                <a:gd name="T8" fmla="*/ 170 w 172"/>
                <a:gd name="T9" fmla="*/ 108 h 108"/>
                <a:gd name="T10" fmla="*/ 154 w 172"/>
                <a:gd name="T11" fmla="*/ 107 h 108"/>
                <a:gd name="T12" fmla="*/ 1 w 172"/>
                <a:gd name="T13" fmla="*/ 0 h 108"/>
                <a:gd name="T14" fmla="*/ 1 w 172"/>
                <a:gd name="T15" fmla="*/ 3 h 108"/>
                <a:gd name="T16" fmla="*/ 44 w 172"/>
                <a:gd name="T17" fmla="*/ 59 h 108"/>
                <a:gd name="T18" fmla="*/ 45 w 172"/>
                <a:gd name="T19" fmla="*/ 59 h 108"/>
                <a:gd name="T20" fmla="*/ 1 w 172"/>
                <a:gd name="T2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2" h="108">
                  <a:moveTo>
                    <a:pt x="154" y="107"/>
                  </a:moveTo>
                  <a:cubicBezTo>
                    <a:pt x="154" y="107"/>
                    <a:pt x="154" y="107"/>
                    <a:pt x="154" y="107"/>
                  </a:cubicBezTo>
                  <a:cubicBezTo>
                    <a:pt x="160" y="108"/>
                    <a:pt x="166" y="108"/>
                    <a:pt x="172" y="108"/>
                  </a:cubicBezTo>
                  <a:cubicBezTo>
                    <a:pt x="172" y="108"/>
                    <a:pt x="172" y="108"/>
                    <a:pt x="172" y="108"/>
                  </a:cubicBezTo>
                  <a:cubicBezTo>
                    <a:pt x="172" y="108"/>
                    <a:pt x="171" y="108"/>
                    <a:pt x="170" y="108"/>
                  </a:cubicBezTo>
                  <a:cubicBezTo>
                    <a:pt x="164" y="108"/>
                    <a:pt x="159" y="108"/>
                    <a:pt x="154" y="107"/>
                  </a:cubicBezTo>
                  <a:moveTo>
                    <a:pt x="1" y="0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12" y="25"/>
                    <a:pt x="27" y="44"/>
                    <a:pt x="44" y="59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27" y="42"/>
                    <a:pt x="12" y="23"/>
                    <a:pt x="1" y="0"/>
                  </a:cubicBezTo>
                </a:path>
              </a:pathLst>
            </a:custGeom>
            <a:solidFill>
              <a:srgbClr val="EDDF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8" name="ExtraShape5">
              <a:extLst>
                <a:ext uri="{FF2B5EF4-FFF2-40B4-BE49-F238E27FC236}">
                  <a16:creationId xmlns:a16="http://schemas.microsoft.com/office/drawing/2014/main" id="{8C98662A-4777-4E31-8333-BD43A77609B1}"/>
                </a:ext>
              </a:extLst>
            </p:cNvPr>
            <p:cNvSpPr/>
            <p:nvPr/>
          </p:nvSpPr>
          <p:spPr bwMode="auto">
            <a:xfrm>
              <a:off x="7084208" y="2007827"/>
              <a:ext cx="52548" cy="367833"/>
            </a:xfrm>
            <a:custGeom>
              <a:avLst/>
              <a:gdLst>
                <a:gd name="T0" fmla="*/ 15 w 19"/>
                <a:gd name="T1" fmla="*/ 132 h 132"/>
                <a:gd name="T2" fmla="*/ 4 w 19"/>
                <a:gd name="T3" fmla="*/ 132 h 132"/>
                <a:gd name="T4" fmla="*/ 0 w 19"/>
                <a:gd name="T5" fmla="*/ 129 h 132"/>
                <a:gd name="T6" fmla="*/ 0 w 19"/>
                <a:gd name="T7" fmla="*/ 3 h 132"/>
                <a:gd name="T8" fmla="*/ 4 w 19"/>
                <a:gd name="T9" fmla="*/ 0 h 132"/>
                <a:gd name="T10" fmla="*/ 15 w 19"/>
                <a:gd name="T11" fmla="*/ 0 h 132"/>
                <a:gd name="T12" fmla="*/ 19 w 19"/>
                <a:gd name="T13" fmla="*/ 3 h 132"/>
                <a:gd name="T14" fmla="*/ 19 w 19"/>
                <a:gd name="T15" fmla="*/ 129 h 132"/>
                <a:gd name="T16" fmla="*/ 15 w 19"/>
                <a:gd name="T17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32">
                  <a:moveTo>
                    <a:pt x="15" y="132"/>
                  </a:moveTo>
                  <a:cubicBezTo>
                    <a:pt x="4" y="132"/>
                    <a:pt x="4" y="132"/>
                    <a:pt x="4" y="132"/>
                  </a:cubicBezTo>
                  <a:cubicBezTo>
                    <a:pt x="2" y="132"/>
                    <a:pt x="0" y="131"/>
                    <a:pt x="0" y="1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19" y="1"/>
                    <a:pt x="19" y="3"/>
                  </a:cubicBezTo>
                  <a:cubicBezTo>
                    <a:pt x="19" y="129"/>
                    <a:pt x="19" y="129"/>
                    <a:pt x="19" y="129"/>
                  </a:cubicBezTo>
                  <a:cubicBezTo>
                    <a:pt x="19" y="131"/>
                    <a:pt x="17" y="132"/>
                    <a:pt x="15" y="132"/>
                  </a:cubicBezTo>
                  <a:close/>
                </a:path>
              </a:pathLst>
            </a:custGeom>
            <a:solidFill>
              <a:srgbClr val="FDC5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9" name="ExtraShape6">
              <a:extLst>
                <a:ext uri="{FF2B5EF4-FFF2-40B4-BE49-F238E27FC236}">
                  <a16:creationId xmlns:a16="http://schemas.microsoft.com/office/drawing/2014/main" id="{3125D597-05D6-4DA6-8BE3-D461967AE681}"/>
                </a:ext>
              </a:extLst>
            </p:cNvPr>
            <p:cNvSpPr/>
            <p:nvPr/>
          </p:nvSpPr>
          <p:spPr bwMode="auto">
            <a:xfrm>
              <a:off x="7031660" y="2337443"/>
              <a:ext cx="157643" cy="159235"/>
            </a:xfrm>
            <a:prstGeom prst="ellipse">
              <a:avLst/>
            </a:pr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0" name="ExtraShape1">
              <a:extLst>
                <a:ext uri="{FF2B5EF4-FFF2-40B4-BE49-F238E27FC236}">
                  <a16:creationId xmlns:a16="http://schemas.microsoft.com/office/drawing/2014/main" id="{08E29E7F-3F86-4B38-B763-138BB85850D5}"/>
                </a:ext>
              </a:extLst>
            </p:cNvPr>
            <p:cNvSpPr/>
            <p:nvPr/>
          </p:nvSpPr>
          <p:spPr bwMode="auto">
            <a:xfrm>
              <a:off x="6611280" y="5175012"/>
              <a:ext cx="195860" cy="83598"/>
            </a:xfrm>
            <a:custGeom>
              <a:avLst/>
              <a:gdLst>
                <a:gd name="connsiteX0" fmla="*/ 122635 w 195263"/>
                <a:gd name="connsiteY0" fmla="*/ 0 h 83344"/>
                <a:gd name="connsiteX1" fmla="*/ 125413 w 195263"/>
                <a:gd name="connsiteY1" fmla="*/ 0 h 83344"/>
                <a:gd name="connsiteX2" fmla="*/ 183754 w 195263"/>
                <a:gd name="connsiteY2" fmla="*/ 0 h 83344"/>
                <a:gd name="connsiteX3" fmla="*/ 186532 w 195263"/>
                <a:gd name="connsiteY3" fmla="*/ 0 h 83344"/>
                <a:gd name="connsiteX4" fmla="*/ 189310 w 195263"/>
                <a:gd name="connsiteY4" fmla="*/ 0 h 83344"/>
                <a:gd name="connsiteX5" fmla="*/ 189310 w 195263"/>
                <a:gd name="connsiteY5" fmla="*/ 5461 h 83344"/>
                <a:gd name="connsiteX6" fmla="*/ 192088 w 195263"/>
                <a:gd name="connsiteY6" fmla="*/ 13653 h 83344"/>
                <a:gd name="connsiteX7" fmla="*/ 192088 w 195263"/>
                <a:gd name="connsiteY7" fmla="*/ 35496 h 83344"/>
                <a:gd name="connsiteX8" fmla="*/ 192088 w 195263"/>
                <a:gd name="connsiteY8" fmla="*/ 61777 h 83344"/>
                <a:gd name="connsiteX9" fmla="*/ 192088 w 195263"/>
                <a:gd name="connsiteY9" fmla="*/ 64300 h 83344"/>
                <a:gd name="connsiteX10" fmla="*/ 192474 w 195263"/>
                <a:gd name="connsiteY10" fmla="*/ 64294 h 83344"/>
                <a:gd name="connsiteX11" fmla="*/ 195263 w 195263"/>
                <a:gd name="connsiteY11" fmla="*/ 64294 h 83344"/>
                <a:gd name="connsiteX12" fmla="*/ 195263 w 195263"/>
                <a:gd name="connsiteY12" fmla="*/ 80623 h 83344"/>
                <a:gd name="connsiteX13" fmla="*/ 0 w 195263"/>
                <a:gd name="connsiteY13" fmla="*/ 83344 h 83344"/>
                <a:gd name="connsiteX14" fmla="*/ 0 w 195263"/>
                <a:gd name="connsiteY14" fmla="*/ 69737 h 83344"/>
                <a:gd name="connsiteX15" fmla="*/ 2789 w 195263"/>
                <a:gd name="connsiteY15" fmla="*/ 67016 h 83344"/>
                <a:gd name="connsiteX16" fmla="*/ 3867 w 195263"/>
                <a:gd name="connsiteY16" fmla="*/ 67000 h 83344"/>
                <a:gd name="connsiteX17" fmla="*/ 12899 w 195263"/>
                <a:gd name="connsiteY17" fmla="*/ 50514 h 83344"/>
                <a:gd name="connsiteX18" fmla="*/ 30957 w 195263"/>
                <a:gd name="connsiteY18" fmla="*/ 40957 h 83344"/>
                <a:gd name="connsiteX19" fmla="*/ 75407 w 195263"/>
                <a:gd name="connsiteY19" fmla="*/ 35496 h 83344"/>
                <a:gd name="connsiteX20" fmla="*/ 103188 w 195263"/>
                <a:gd name="connsiteY20" fmla="*/ 21844 h 83344"/>
                <a:gd name="connsiteX21" fmla="*/ 122635 w 195263"/>
                <a:gd name="connsiteY21" fmla="*/ 0 h 83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5263" h="83344">
                  <a:moveTo>
                    <a:pt x="122635" y="0"/>
                  </a:moveTo>
                  <a:lnTo>
                    <a:pt x="125413" y="0"/>
                  </a:lnTo>
                  <a:cubicBezTo>
                    <a:pt x="183754" y="0"/>
                    <a:pt x="183754" y="0"/>
                    <a:pt x="183754" y="0"/>
                  </a:cubicBezTo>
                  <a:cubicBezTo>
                    <a:pt x="186532" y="0"/>
                    <a:pt x="186532" y="0"/>
                    <a:pt x="186532" y="0"/>
                  </a:cubicBezTo>
                  <a:cubicBezTo>
                    <a:pt x="189310" y="0"/>
                    <a:pt x="189310" y="0"/>
                    <a:pt x="189310" y="0"/>
                  </a:cubicBezTo>
                  <a:cubicBezTo>
                    <a:pt x="189310" y="2731"/>
                    <a:pt x="189310" y="2731"/>
                    <a:pt x="189310" y="5461"/>
                  </a:cubicBezTo>
                  <a:cubicBezTo>
                    <a:pt x="192088" y="13653"/>
                    <a:pt x="192088" y="13653"/>
                    <a:pt x="192088" y="13653"/>
                  </a:cubicBezTo>
                  <a:cubicBezTo>
                    <a:pt x="192088" y="35496"/>
                    <a:pt x="192088" y="35496"/>
                    <a:pt x="192088" y="35496"/>
                  </a:cubicBezTo>
                  <a:cubicBezTo>
                    <a:pt x="192088" y="50514"/>
                    <a:pt x="192088" y="58023"/>
                    <a:pt x="192088" y="61777"/>
                  </a:cubicBezTo>
                  <a:lnTo>
                    <a:pt x="192088" y="64300"/>
                  </a:lnTo>
                  <a:lnTo>
                    <a:pt x="192474" y="64294"/>
                  </a:lnTo>
                  <a:cubicBezTo>
                    <a:pt x="195263" y="64294"/>
                    <a:pt x="195263" y="64294"/>
                    <a:pt x="195263" y="64294"/>
                  </a:cubicBezTo>
                  <a:cubicBezTo>
                    <a:pt x="195263" y="80623"/>
                    <a:pt x="195263" y="80623"/>
                    <a:pt x="195263" y="80623"/>
                  </a:cubicBezTo>
                  <a:cubicBezTo>
                    <a:pt x="0" y="83344"/>
                    <a:pt x="0" y="83344"/>
                    <a:pt x="0" y="83344"/>
                  </a:cubicBezTo>
                  <a:cubicBezTo>
                    <a:pt x="0" y="69737"/>
                    <a:pt x="0" y="69737"/>
                    <a:pt x="0" y="69737"/>
                  </a:cubicBezTo>
                  <a:cubicBezTo>
                    <a:pt x="0" y="67016"/>
                    <a:pt x="0" y="67016"/>
                    <a:pt x="2789" y="67016"/>
                  </a:cubicBezTo>
                  <a:lnTo>
                    <a:pt x="3867" y="67000"/>
                  </a:lnTo>
                  <a:lnTo>
                    <a:pt x="12899" y="50514"/>
                  </a:lnTo>
                  <a:cubicBezTo>
                    <a:pt x="17760" y="45736"/>
                    <a:pt x="24011" y="42323"/>
                    <a:pt x="30957" y="40957"/>
                  </a:cubicBezTo>
                  <a:cubicBezTo>
                    <a:pt x="75407" y="35496"/>
                    <a:pt x="75407" y="35496"/>
                    <a:pt x="75407" y="35496"/>
                  </a:cubicBezTo>
                  <a:cubicBezTo>
                    <a:pt x="83741" y="32766"/>
                    <a:pt x="94854" y="27305"/>
                    <a:pt x="103188" y="21844"/>
                  </a:cubicBezTo>
                  <a:cubicBezTo>
                    <a:pt x="122635" y="0"/>
                    <a:pt x="122635" y="0"/>
                    <a:pt x="122635" y="0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1" name="ExtraShape2">
              <a:extLst>
                <a:ext uri="{FF2B5EF4-FFF2-40B4-BE49-F238E27FC236}">
                  <a16:creationId xmlns:a16="http://schemas.microsoft.com/office/drawing/2014/main" id="{012CD14A-7A8D-41ED-A9C8-5F674A5D7A97}"/>
                </a:ext>
              </a:extLst>
            </p:cNvPr>
            <p:cNvSpPr/>
            <p:nvPr/>
          </p:nvSpPr>
          <p:spPr bwMode="auto">
            <a:xfrm>
              <a:off x="6905863" y="5175012"/>
              <a:ext cx="197451" cy="85987"/>
            </a:xfrm>
            <a:custGeom>
              <a:avLst/>
              <a:gdLst>
                <a:gd name="connsiteX0" fmla="*/ 121445 w 196850"/>
                <a:gd name="connsiteY0" fmla="*/ 0 h 85725"/>
                <a:gd name="connsiteX1" fmla="*/ 124223 w 196850"/>
                <a:gd name="connsiteY1" fmla="*/ 0 h 85725"/>
                <a:gd name="connsiteX2" fmla="*/ 127001 w 196850"/>
                <a:gd name="connsiteY2" fmla="*/ 0 h 85725"/>
                <a:gd name="connsiteX3" fmla="*/ 185342 w 196850"/>
                <a:gd name="connsiteY3" fmla="*/ 0 h 85725"/>
                <a:gd name="connsiteX4" fmla="*/ 188120 w 196850"/>
                <a:gd name="connsiteY4" fmla="*/ 0 h 85725"/>
                <a:gd name="connsiteX5" fmla="*/ 190898 w 196850"/>
                <a:gd name="connsiteY5" fmla="*/ 2778 h 85725"/>
                <a:gd name="connsiteX6" fmla="*/ 190898 w 196850"/>
                <a:gd name="connsiteY6" fmla="*/ 5556 h 85725"/>
                <a:gd name="connsiteX7" fmla="*/ 190898 w 196850"/>
                <a:gd name="connsiteY7" fmla="*/ 13891 h 85725"/>
                <a:gd name="connsiteX8" fmla="*/ 193676 w 196850"/>
                <a:gd name="connsiteY8" fmla="*/ 36116 h 85725"/>
                <a:gd name="connsiteX9" fmla="*/ 193676 w 196850"/>
                <a:gd name="connsiteY9" fmla="*/ 66675 h 85725"/>
                <a:gd name="connsiteX10" fmla="*/ 194078 w 196850"/>
                <a:gd name="connsiteY10" fmla="*/ 66675 h 85725"/>
                <a:gd name="connsiteX11" fmla="*/ 196850 w 196850"/>
                <a:gd name="connsiteY11" fmla="*/ 66675 h 85725"/>
                <a:gd name="connsiteX12" fmla="*/ 196850 w 196850"/>
                <a:gd name="connsiteY12" fmla="*/ 83004 h 85725"/>
                <a:gd name="connsiteX13" fmla="*/ 0 w 196850"/>
                <a:gd name="connsiteY13" fmla="*/ 85725 h 85725"/>
                <a:gd name="connsiteX14" fmla="*/ 0 w 196850"/>
                <a:gd name="connsiteY14" fmla="*/ 72118 h 85725"/>
                <a:gd name="connsiteX15" fmla="*/ 5545 w 196850"/>
                <a:gd name="connsiteY15" fmla="*/ 66675 h 85725"/>
                <a:gd name="connsiteX16" fmla="*/ 4763 w 196850"/>
                <a:gd name="connsiteY16" fmla="*/ 66675 h 85725"/>
                <a:gd name="connsiteX17" fmla="*/ 32545 w 196850"/>
                <a:gd name="connsiteY17" fmla="*/ 41672 h 85725"/>
                <a:gd name="connsiteX18" fmla="*/ 74217 w 196850"/>
                <a:gd name="connsiteY18" fmla="*/ 36116 h 85725"/>
                <a:gd name="connsiteX19" fmla="*/ 104776 w 196850"/>
                <a:gd name="connsiteY19" fmla="*/ 22225 h 85725"/>
                <a:gd name="connsiteX20" fmla="*/ 121445 w 196850"/>
                <a:gd name="connsiteY20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6850" h="85725">
                  <a:moveTo>
                    <a:pt x="121445" y="0"/>
                  </a:moveTo>
                  <a:cubicBezTo>
                    <a:pt x="124223" y="0"/>
                    <a:pt x="124223" y="0"/>
                    <a:pt x="124223" y="0"/>
                  </a:cubicBezTo>
                  <a:lnTo>
                    <a:pt x="127001" y="0"/>
                  </a:lnTo>
                  <a:cubicBezTo>
                    <a:pt x="185342" y="0"/>
                    <a:pt x="185342" y="0"/>
                    <a:pt x="185342" y="0"/>
                  </a:cubicBezTo>
                  <a:cubicBezTo>
                    <a:pt x="185342" y="0"/>
                    <a:pt x="188120" y="0"/>
                    <a:pt x="188120" y="0"/>
                  </a:cubicBezTo>
                  <a:cubicBezTo>
                    <a:pt x="190898" y="2778"/>
                    <a:pt x="190898" y="2778"/>
                    <a:pt x="190898" y="2778"/>
                  </a:cubicBezTo>
                  <a:cubicBezTo>
                    <a:pt x="190898" y="2778"/>
                    <a:pt x="190898" y="5556"/>
                    <a:pt x="190898" y="5556"/>
                  </a:cubicBezTo>
                  <a:cubicBezTo>
                    <a:pt x="190898" y="13891"/>
                    <a:pt x="190898" y="13891"/>
                    <a:pt x="190898" y="13891"/>
                  </a:cubicBezTo>
                  <a:cubicBezTo>
                    <a:pt x="193676" y="36116"/>
                    <a:pt x="193676" y="36116"/>
                    <a:pt x="193676" y="36116"/>
                  </a:cubicBezTo>
                  <a:cubicBezTo>
                    <a:pt x="193676" y="66675"/>
                    <a:pt x="193676" y="66675"/>
                    <a:pt x="193676" y="66675"/>
                  </a:cubicBezTo>
                  <a:lnTo>
                    <a:pt x="194078" y="66675"/>
                  </a:lnTo>
                  <a:cubicBezTo>
                    <a:pt x="196850" y="66675"/>
                    <a:pt x="196850" y="66675"/>
                    <a:pt x="196850" y="66675"/>
                  </a:cubicBezTo>
                  <a:cubicBezTo>
                    <a:pt x="196850" y="83004"/>
                    <a:pt x="196850" y="83004"/>
                    <a:pt x="196850" y="83004"/>
                  </a:cubicBezTo>
                  <a:cubicBezTo>
                    <a:pt x="0" y="85725"/>
                    <a:pt x="0" y="85725"/>
                    <a:pt x="0" y="85725"/>
                  </a:cubicBezTo>
                  <a:cubicBezTo>
                    <a:pt x="0" y="72118"/>
                    <a:pt x="0" y="72118"/>
                    <a:pt x="0" y="72118"/>
                  </a:cubicBezTo>
                  <a:cubicBezTo>
                    <a:pt x="0" y="69397"/>
                    <a:pt x="2772" y="69397"/>
                    <a:pt x="5545" y="66675"/>
                  </a:cubicBezTo>
                  <a:lnTo>
                    <a:pt x="4763" y="66675"/>
                  </a:lnTo>
                  <a:cubicBezTo>
                    <a:pt x="7541" y="52785"/>
                    <a:pt x="18654" y="44450"/>
                    <a:pt x="32545" y="41672"/>
                  </a:cubicBezTo>
                  <a:cubicBezTo>
                    <a:pt x="74217" y="36116"/>
                    <a:pt x="74217" y="36116"/>
                    <a:pt x="74217" y="36116"/>
                  </a:cubicBezTo>
                  <a:cubicBezTo>
                    <a:pt x="85329" y="33338"/>
                    <a:pt x="93663" y="27781"/>
                    <a:pt x="104776" y="22225"/>
                  </a:cubicBezTo>
                  <a:cubicBezTo>
                    <a:pt x="121445" y="0"/>
                    <a:pt x="121445" y="0"/>
                    <a:pt x="121445" y="0"/>
                  </a:cubicBezTo>
                  <a:close/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2" name="ExtraShape1">
              <a:extLst>
                <a:ext uri="{FF2B5EF4-FFF2-40B4-BE49-F238E27FC236}">
                  <a16:creationId xmlns:a16="http://schemas.microsoft.com/office/drawing/2014/main" id="{20D71768-87C4-4581-AF5D-A2614259222D}"/>
                </a:ext>
              </a:extLst>
            </p:cNvPr>
            <p:cNvSpPr/>
            <p:nvPr/>
          </p:nvSpPr>
          <p:spPr bwMode="auto">
            <a:xfrm>
              <a:off x="6053957" y="2850180"/>
              <a:ext cx="222929" cy="162419"/>
            </a:xfrm>
            <a:custGeom>
              <a:avLst/>
              <a:gdLst>
                <a:gd name="T0" fmla="*/ 2 w 80"/>
                <a:gd name="T1" fmla="*/ 35 h 58"/>
                <a:gd name="T2" fmla="*/ 7 w 80"/>
                <a:gd name="T3" fmla="*/ 32 h 58"/>
                <a:gd name="T4" fmla="*/ 11 w 80"/>
                <a:gd name="T5" fmla="*/ 33 h 58"/>
                <a:gd name="T6" fmla="*/ 11 w 80"/>
                <a:gd name="T7" fmla="*/ 33 h 58"/>
                <a:gd name="T8" fmla="*/ 5 w 80"/>
                <a:gd name="T9" fmla="*/ 31 h 58"/>
                <a:gd name="T10" fmla="*/ 1 w 80"/>
                <a:gd name="T11" fmla="*/ 25 h 58"/>
                <a:gd name="T12" fmla="*/ 10 w 80"/>
                <a:gd name="T13" fmla="*/ 23 h 58"/>
                <a:gd name="T14" fmla="*/ 14 w 80"/>
                <a:gd name="T15" fmla="*/ 24 h 58"/>
                <a:gd name="T16" fmla="*/ 8 w 80"/>
                <a:gd name="T17" fmla="*/ 22 h 58"/>
                <a:gd name="T18" fmla="*/ 7 w 80"/>
                <a:gd name="T19" fmla="*/ 18 h 58"/>
                <a:gd name="T20" fmla="*/ 12 w 80"/>
                <a:gd name="T21" fmla="*/ 15 h 58"/>
                <a:gd name="T22" fmla="*/ 27 w 80"/>
                <a:gd name="T23" fmla="*/ 17 h 58"/>
                <a:gd name="T24" fmla="*/ 54 w 80"/>
                <a:gd name="T25" fmla="*/ 21 h 58"/>
                <a:gd name="T26" fmla="*/ 48 w 80"/>
                <a:gd name="T27" fmla="*/ 8 h 58"/>
                <a:gd name="T28" fmla="*/ 51 w 80"/>
                <a:gd name="T29" fmla="*/ 1 h 58"/>
                <a:gd name="T30" fmla="*/ 58 w 80"/>
                <a:gd name="T31" fmla="*/ 4 h 58"/>
                <a:gd name="T32" fmla="*/ 68 w 80"/>
                <a:gd name="T33" fmla="*/ 26 h 58"/>
                <a:gd name="T34" fmla="*/ 71 w 80"/>
                <a:gd name="T35" fmla="*/ 31 h 58"/>
                <a:gd name="T36" fmla="*/ 80 w 80"/>
                <a:gd name="T37" fmla="*/ 51 h 58"/>
                <a:gd name="T38" fmla="*/ 60 w 80"/>
                <a:gd name="T39" fmla="*/ 58 h 58"/>
                <a:gd name="T40" fmla="*/ 16 w 80"/>
                <a:gd name="T41" fmla="*/ 44 h 58"/>
                <a:gd name="T42" fmla="*/ 5 w 80"/>
                <a:gd name="T43" fmla="*/ 41 h 58"/>
                <a:gd name="T44" fmla="*/ 2 w 80"/>
                <a:gd name="T45" fmla="*/ 3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58">
                  <a:moveTo>
                    <a:pt x="2" y="35"/>
                  </a:moveTo>
                  <a:cubicBezTo>
                    <a:pt x="3" y="33"/>
                    <a:pt x="5" y="32"/>
                    <a:pt x="7" y="32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2" y="31"/>
                    <a:pt x="0" y="28"/>
                    <a:pt x="1" y="25"/>
                  </a:cubicBezTo>
                  <a:cubicBezTo>
                    <a:pt x="4" y="20"/>
                    <a:pt x="8" y="22"/>
                    <a:pt x="10" y="23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7" y="21"/>
                    <a:pt x="7" y="19"/>
                    <a:pt x="7" y="18"/>
                  </a:cubicBezTo>
                  <a:cubicBezTo>
                    <a:pt x="7" y="16"/>
                    <a:pt x="10" y="14"/>
                    <a:pt x="12" y="15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36" y="18"/>
                    <a:pt x="48" y="19"/>
                    <a:pt x="54" y="21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7" y="6"/>
                    <a:pt x="48" y="2"/>
                    <a:pt x="51" y="1"/>
                  </a:cubicBezTo>
                  <a:cubicBezTo>
                    <a:pt x="54" y="0"/>
                    <a:pt x="57" y="1"/>
                    <a:pt x="58" y="4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1" y="31"/>
                    <a:pt x="71" y="31"/>
                  </a:cubicBezTo>
                  <a:cubicBezTo>
                    <a:pt x="72" y="34"/>
                    <a:pt x="80" y="51"/>
                    <a:pt x="80" y="51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60" y="58"/>
                    <a:pt x="29" y="49"/>
                    <a:pt x="16" y="44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3" y="40"/>
                    <a:pt x="1" y="37"/>
                    <a:pt x="2" y="35"/>
                  </a:cubicBezTo>
                  <a:close/>
                </a:path>
              </a:pathLst>
            </a:custGeom>
            <a:solidFill>
              <a:srgbClr val="FFBD9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3" name="ExtraShape2">
              <a:extLst>
                <a:ext uri="{FF2B5EF4-FFF2-40B4-BE49-F238E27FC236}">
                  <a16:creationId xmlns:a16="http://schemas.microsoft.com/office/drawing/2014/main" id="{495AF2F1-1222-4F77-BE74-0A055606EC65}"/>
                </a:ext>
              </a:extLst>
            </p:cNvPr>
            <p:cNvSpPr/>
            <p:nvPr/>
          </p:nvSpPr>
          <p:spPr bwMode="auto">
            <a:xfrm>
              <a:off x="6187715" y="2909097"/>
              <a:ext cx="15924" cy="47770"/>
            </a:xfrm>
            <a:custGeom>
              <a:avLst/>
              <a:gdLst>
                <a:gd name="T0" fmla="*/ 6 w 6"/>
                <a:gd name="T1" fmla="*/ 0 h 17"/>
                <a:gd name="T2" fmla="*/ 6 w 6"/>
                <a:gd name="T3" fmla="*/ 0 h 17"/>
                <a:gd name="T4" fmla="*/ 4 w 6"/>
                <a:gd name="T5" fmla="*/ 0 h 17"/>
                <a:gd name="T6" fmla="*/ 0 w 6"/>
                <a:gd name="T7" fmla="*/ 8 h 17"/>
                <a:gd name="T8" fmla="*/ 4 w 6"/>
                <a:gd name="T9" fmla="*/ 17 h 17"/>
                <a:gd name="T10" fmla="*/ 5 w 6"/>
                <a:gd name="T11" fmla="*/ 17 h 17"/>
                <a:gd name="T12" fmla="*/ 5 w 6"/>
                <a:gd name="T13" fmla="*/ 16 h 17"/>
                <a:gd name="T14" fmla="*/ 2 w 6"/>
                <a:gd name="T15" fmla="*/ 8 h 17"/>
                <a:gd name="T16" fmla="*/ 5 w 6"/>
                <a:gd name="T17" fmla="*/ 1 h 17"/>
                <a:gd name="T18" fmla="*/ 6 w 6"/>
                <a:gd name="T1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17"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3"/>
                    <a:pt x="0" y="5"/>
                    <a:pt x="0" y="8"/>
                  </a:cubicBezTo>
                  <a:cubicBezTo>
                    <a:pt x="0" y="13"/>
                    <a:pt x="4" y="17"/>
                    <a:pt x="4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2" y="12"/>
                    <a:pt x="2" y="8"/>
                  </a:cubicBezTo>
                  <a:cubicBezTo>
                    <a:pt x="2" y="6"/>
                    <a:pt x="3" y="3"/>
                    <a:pt x="5" y="1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FFA0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4" name="ExtraShape3">
              <a:extLst>
                <a:ext uri="{FF2B5EF4-FFF2-40B4-BE49-F238E27FC236}">
                  <a16:creationId xmlns:a16="http://schemas.microsoft.com/office/drawing/2014/main" id="{85815BC5-0836-4044-83B8-B04F45BF8D45}"/>
                </a:ext>
              </a:extLst>
            </p:cNvPr>
            <p:cNvSpPr/>
            <p:nvPr/>
          </p:nvSpPr>
          <p:spPr bwMode="auto">
            <a:xfrm>
              <a:off x="6202045" y="2961645"/>
              <a:ext cx="942671" cy="1095537"/>
            </a:xfrm>
            <a:custGeom>
              <a:avLst/>
              <a:gdLst>
                <a:gd name="T0" fmla="*/ 258 w 338"/>
                <a:gd name="T1" fmla="*/ 100 h 392"/>
                <a:gd name="T2" fmla="*/ 250 w 338"/>
                <a:gd name="T3" fmla="*/ 100 h 392"/>
                <a:gd name="T4" fmla="*/ 228 w 338"/>
                <a:gd name="T5" fmla="*/ 100 h 392"/>
                <a:gd name="T6" fmla="*/ 220 w 338"/>
                <a:gd name="T7" fmla="*/ 100 h 392"/>
                <a:gd name="T8" fmla="*/ 176 w 338"/>
                <a:gd name="T9" fmla="*/ 116 h 392"/>
                <a:gd name="T10" fmla="*/ 120 w 338"/>
                <a:gd name="T11" fmla="*/ 108 h 392"/>
                <a:gd name="T12" fmla="*/ 28 w 338"/>
                <a:gd name="T13" fmla="*/ 2 h 392"/>
                <a:gd name="T14" fmla="*/ 22 w 338"/>
                <a:gd name="T15" fmla="*/ 1 h 392"/>
                <a:gd name="T16" fmla="*/ 3 w 338"/>
                <a:gd name="T17" fmla="*/ 16 h 392"/>
                <a:gd name="T18" fmla="*/ 1 w 338"/>
                <a:gd name="T19" fmla="*/ 22 h 392"/>
                <a:gd name="T20" fmla="*/ 92 w 338"/>
                <a:gd name="T21" fmla="*/ 152 h 392"/>
                <a:gd name="T22" fmla="*/ 146 w 338"/>
                <a:gd name="T23" fmla="*/ 173 h 392"/>
                <a:gd name="T24" fmla="*/ 152 w 338"/>
                <a:gd name="T25" fmla="*/ 207 h 392"/>
                <a:gd name="T26" fmla="*/ 158 w 338"/>
                <a:gd name="T27" fmla="*/ 360 h 392"/>
                <a:gd name="T28" fmla="*/ 155 w 338"/>
                <a:gd name="T29" fmla="*/ 388 h 392"/>
                <a:gd name="T30" fmla="*/ 155 w 338"/>
                <a:gd name="T31" fmla="*/ 392 h 392"/>
                <a:gd name="T32" fmla="*/ 320 w 338"/>
                <a:gd name="T33" fmla="*/ 392 h 392"/>
                <a:gd name="T34" fmla="*/ 309 w 338"/>
                <a:gd name="T35" fmla="*/ 331 h 392"/>
                <a:gd name="T36" fmla="*/ 333 w 338"/>
                <a:gd name="T37" fmla="*/ 168 h 392"/>
                <a:gd name="T38" fmla="*/ 258 w 338"/>
                <a:gd name="T39" fmla="*/ 10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8" h="392">
                  <a:moveTo>
                    <a:pt x="258" y="100"/>
                  </a:moveTo>
                  <a:cubicBezTo>
                    <a:pt x="250" y="100"/>
                    <a:pt x="250" y="100"/>
                    <a:pt x="250" y="100"/>
                  </a:cubicBezTo>
                  <a:cubicBezTo>
                    <a:pt x="228" y="100"/>
                    <a:pt x="228" y="100"/>
                    <a:pt x="228" y="100"/>
                  </a:cubicBezTo>
                  <a:cubicBezTo>
                    <a:pt x="220" y="100"/>
                    <a:pt x="220" y="100"/>
                    <a:pt x="220" y="100"/>
                  </a:cubicBezTo>
                  <a:cubicBezTo>
                    <a:pt x="206" y="100"/>
                    <a:pt x="190" y="106"/>
                    <a:pt x="176" y="116"/>
                  </a:cubicBezTo>
                  <a:cubicBezTo>
                    <a:pt x="154" y="115"/>
                    <a:pt x="125" y="112"/>
                    <a:pt x="120" y="108"/>
                  </a:cubicBezTo>
                  <a:cubicBezTo>
                    <a:pt x="112" y="101"/>
                    <a:pt x="43" y="20"/>
                    <a:pt x="28" y="2"/>
                  </a:cubicBezTo>
                  <a:cubicBezTo>
                    <a:pt x="26" y="0"/>
                    <a:pt x="24" y="0"/>
                    <a:pt x="22" y="1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1" y="17"/>
                    <a:pt x="0" y="20"/>
                    <a:pt x="1" y="22"/>
                  </a:cubicBezTo>
                  <a:cubicBezTo>
                    <a:pt x="15" y="43"/>
                    <a:pt x="81" y="146"/>
                    <a:pt x="92" y="152"/>
                  </a:cubicBezTo>
                  <a:cubicBezTo>
                    <a:pt x="96" y="155"/>
                    <a:pt x="119" y="164"/>
                    <a:pt x="146" y="173"/>
                  </a:cubicBezTo>
                  <a:cubicBezTo>
                    <a:pt x="152" y="207"/>
                    <a:pt x="152" y="207"/>
                    <a:pt x="152" y="207"/>
                  </a:cubicBezTo>
                  <a:cubicBezTo>
                    <a:pt x="161" y="257"/>
                    <a:pt x="162" y="309"/>
                    <a:pt x="158" y="360"/>
                  </a:cubicBezTo>
                  <a:cubicBezTo>
                    <a:pt x="155" y="388"/>
                    <a:pt x="155" y="388"/>
                    <a:pt x="155" y="388"/>
                  </a:cubicBezTo>
                  <a:cubicBezTo>
                    <a:pt x="155" y="390"/>
                    <a:pt x="153" y="392"/>
                    <a:pt x="155" y="392"/>
                  </a:cubicBezTo>
                  <a:cubicBezTo>
                    <a:pt x="320" y="392"/>
                    <a:pt x="320" y="392"/>
                    <a:pt x="320" y="392"/>
                  </a:cubicBezTo>
                  <a:cubicBezTo>
                    <a:pt x="322" y="392"/>
                    <a:pt x="309" y="333"/>
                    <a:pt x="309" y="331"/>
                  </a:cubicBezTo>
                  <a:cubicBezTo>
                    <a:pt x="333" y="168"/>
                    <a:pt x="333" y="168"/>
                    <a:pt x="333" y="168"/>
                  </a:cubicBezTo>
                  <a:cubicBezTo>
                    <a:pt x="338" y="126"/>
                    <a:pt x="296" y="100"/>
                    <a:pt x="258" y="100"/>
                  </a:cubicBezTo>
                </a:path>
              </a:pathLst>
            </a:custGeom>
            <a:solidFill>
              <a:srgbClr val="FDC5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5" name="ExtraShape4">
              <a:extLst>
                <a:ext uri="{FF2B5EF4-FFF2-40B4-BE49-F238E27FC236}">
                  <a16:creationId xmlns:a16="http://schemas.microsoft.com/office/drawing/2014/main" id="{CED4C499-05A4-424D-9D27-3669370C39D5}"/>
                </a:ext>
              </a:extLst>
            </p:cNvPr>
            <p:cNvSpPr/>
            <p:nvPr/>
          </p:nvSpPr>
          <p:spPr bwMode="auto">
            <a:xfrm>
              <a:off x="6237077" y="3472790"/>
              <a:ext cx="176751" cy="136942"/>
            </a:xfrm>
            <a:custGeom>
              <a:avLst/>
              <a:gdLst>
                <a:gd name="T0" fmla="*/ 3 w 63"/>
                <a:gd name="T1" fmla="*/ 35 h 49"/>
                <a:gd name="T2" fmla="*/ 5 w 63"/>
                <a:gd name="T3" fmla="*/ 32 h 49"/>
                <a:gd name="T4" fmla="*/ 24 w 63"/>
                <a:gd name="T5" fmla="*/ 32 h 49"/>
                <a:gd name="T6" fmla="*/ 2 w 63"/>
                <a:gd name="T7" fmla="*/ 29 h 49"/>
                <a:gd name="T8" fmla="*/ 0 w 63"/>
                <a:gd name="T9" fmla="*/ 26 h 49"/>
                <a:gd name="T10" fmla="*/ 0 w 63"/>
                <a:gd name="T11" fmla="*/ 26 h 49"/>
                <a:gd name="T12" fmla="*/ 2 w 63"/>
                <a:gd name="T13" fmla="*/ 24 h 49"/>
                <a:gd name="T14" fmla="*/ 24 w 63"/>
                <a:gd name="T15" fmla="*/ 25 h 49"/>
                <a:gd name="T16" fmla="*/ 6 w 63"/>
                <a:gd name="T17" fmla="*/ 21 h 49"/>
                <a:gd name="T18" fmla="*/ 4 w 63"/>
                <a:gd name="T19" fmla="*/ 18 h 49"/>
                <a:gd name="T20" fmla="*/ 4 w 63"/>
                <a:gd name="T21" fmla="*/ 18 h 49"/>
                <a:gd name="T22" fmla="*/ 7 w 63"/>
                <a:gd name="T23" fmla="*/ 16 h 49"/>
                <a:gd name="T24" fmla="*/ 24 w 63"/>
                <a:gd name="T25" fmla="*/ 18 h 49"/>
                <a:gd name="T26" fmla="*/ 24 w 63"/>
                <a:gd name="T27" fmla="*/ 18 h 49"/>
                <a:gd name="T28" fmla="*/ 38 w 63"/>
                <a:gd name="T29" fmla="*/ 17 h 49"/>
                <a:gd name="T30" fmla="*/ 40 w 63"/>
                <a:gd name="T31" fmla="*/ 13 h 49"/>
                <a:gd name="T32" fmla="*/ 33 w 63"/>
                <a:gd name="T33" fmla="*/ 5 h 49"/>
                <a:gd name="T34" fmla="*/ 33 w 63"/>
                <a:gd name="T35" fmla="*/ 1 h 49"/>
                <a:gd name="T36" fmla="*/ 33 w 63"/>
                <a:gd name="T37" fmla="*/ 1 h 49"/>
                <a:gd name="T38" fmla="*/ 37 w 63"/>
                <a:gd name="T39" fmla="*/ 1 h 49"/>
                <a:gd name="T40" fmla="*/ 50 w 63"/>
                <a:gd name="T41" fmla="*/ 11 h 49"/>
                <a:gd name="T42" fmla="*/ 63 w 63"/>
                <a:gd name="T43" fmla="*/ 23 h 49"/>
                <a:gd name="T44" fmla="*/ 61 w 63"/>
                <a:gd name="T45" fmla="*/ 48 h 49"/>
                <a:gd name="T46" fmla="*/ 61 w 63"/>
                <a:gd name="T47" fmla="*/ 48 h 49"/>
                <a:gd name="T48" fmla="*/ 27 w 63"/>
                <a:gd name="T49" fmla="*/ 46 h 49"/>
                <a:gd name="T50" fmla="*/ 26 w 63"/>
                <a:gd name="T51" fmla="*/ 46 h 49"/>
                <a:gd name="T52" fmla="*/ 12 w 63"/>
                <a:gd name="T53" fmla="*/ 46 h 49"/>
                <a:gd name="T54" fmla="*/ 9 w 63"/>
                <a:gd name="T55" fmla="*/ 43 h 49"/>
                <a:gd name="T56" fmla="*/ 11 w 63"/>
                <a:gd name="T57" fmla="*/ 41 h 49"/>
                <a:gd name="T58" fmla="*/ 24 w 63"/>
                <a:gd name="T59" fmla="*/ 39 h 49"/>
                <a:gd name="T60" fmla="*/ 6 w 63"/>
                <a:gd name="T61" fmla="*/ 38 h 49"/>
                <a:gd name="T62" fmla="*/ 3 w 63"/>
                <a:gd name="T63" fmla="*/ 36 h 49"/>
                <a:gd name="T64" fmla="*/ 3 w 63"/>
                <a:gd name="T65" fmla="*/ 3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3" h="49">
                  <a:moveTo>
                    <a:pt x="3" y="35"/>
                  </a:moveTo>
                  <a:cubicBezTo>
                    <a:pt x="3" y="34"/>
                    <a:pt x="4" y="32"/>
                    <a:pt x="5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29"/>
                    <a:pt x="0" y="28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1" y="24"/>
                    <a:pt x="2" y="24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4" y="20"/>
                    <a:pt x="4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5" y="17"/>
                    <a:pt x="6" y="16"/>
                    <a:pt x="7" y="16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40" y="17"/>
                    <a:pt x="41" y="15"/>
                    <a:pt x="40" y="13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2" y="4"/>
                    <a:pt x="32" y="2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4" y="0"/>
                    <a:pt x="36" y="0"/>
                    <a:pt x="37" y="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8" y="15"/>
                    <a:pt x="62" y="20"/>
                    <a:pt x="63" y="23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52" y="49"/>
                    <a:pt x="29" y="46"/>
                    <a:pt x="27" y="46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12" y="46"/>
                    <a:pt x="12" y="46"/>
                    <a:pt x="12" y="46"/>
                  </a:cubicBezTo>
                  <a:cubicBezTo>
                    <a:pt x="10" y="46"/>
                    <a:pt x="9" y="45"/>
                    <a:pt x="9" y="43"/>
                  </a:cubicBezTo>
                  <a:cubicBezTo>
                    <a:pt x="9" y="42"/>
                    <a:pt x="10" y="41"/>
                    <a:pt x="11" y="41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5" y="38"/>
                    <a:pt x="4" y="37"/>
                    <a:pt x="3" y="36"/>
                  </a:cubicBezTo>
                  <a:cubicBezTo>
                    <a:pt x="3" y="35"/>
                    <a:pt x="3" y="35"/>
                    <a:pt x="3" y="35"/>
                  </a:cubicBezTo>
                </a:path>
              </a:pathLst>
            </a:custGeom>
            <a:solidFill>
              <a:srgbClr val="FFBD9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6" name="ExtraShape5">
              <a:extLst>
                <a:ext uri="{FF2B5EF4-FFF2-40B4-BE49-F238E27FC236}">
                  <a16:creationId xmlns:a16="http://schemas.microsoft.com/office/drawing/2014/main" id="{11527B31-936B-4245-B220-4BC6DFE34DF4}"/>
                </a:ext>
              </a:extLst>
            </p:cNvPr>
            <p:cNvSpPr/>
            <p:nvPr/>
          </p:nvSpPr>
          <p:spPr bwMode="auto">
            <a:xfrm>
              <a:off x="6402681" y="3297631"/>
              <a:ext cx="734074" cy="351909"/>
            </a:xfrm>
            <a:custGeom>
              <a:avLst/>
              <a:gdLst>
                <a:gd name="T0" fmla="*/ 241 w 263"/>
                <a:gd name="T1" fmla="*/ 9 h 126"/>
                <a:gd name="T2" fmla="*/ 203 w 263"/>
                <a:gd name="T3" fmla="*/ 13 h 126"/>
                <a:gd name="T4" fmla="*/ 203 w 263"/>
                <a:gd name="T5" fmla="*/ 13 h 126"/>
                <a:gd name="T6" fmla="*/ 145 w 263"/>
                <a:gd name="T7" fmla="*/ 72 h 126"/>
                <a:gd name="T8" fmla="*/ 4 w 263"/>
                <a:gd name="T9" fmla="*/ 81 h 126"/>
                <a:gd name="T10" fmla="*/ 0 w 263"/>
                <a:gd name="T11" fmla="*/ 85 h 126"/>
                <a:gd name="T12" fmla="*/ 0 w 263"/>
                <a:gd name="T13" fmla="*/ 109 h 126"/>
                <a:gd name="T14" fmla="*/ 4 w 263"/>
                <a:gd name="T15" fmla="*/ 114 h 126"/>
                <a:gd name="T16" fmla="*/ 162 w 263"/>
                <a:gd name="T17" fmla="*/ 122 h 126"/>
                <a:gd name="T18" fmla="*/ 240 w 263"/>
                <a:gd name="T19" fmla="*/ 73 h 126"/>
                <a:gd name="T20" fmla="*/ 242 w 263"/>
                <a:gd name="T21" fmla="*/ 10 h 126"/>
                <a:gd name="T22" fmla="*/ 241 w 263"/>
                <a:gd name="T23" fmla="*/ 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3" h="126">
                  <a:moveTo>
                    <a:pt x="241" y="9"/>
                  </a:moveTo>
                  <a:cubicBezTo>
                    <a:pt x="230" y="0"/>
                    <a:pt x="213" y="2"/>
                    <a:pt x="203" y="13"/>
                  </a:cubicBezTo>
                  <a:cubicBezTo>
                    <a:pt x="203" y="13"/>
                    <a:pt x="203" y="13"/>
                    <a:pt x="203" y="13"/>
                  </a:cubicBezTo>
                  <a:cubicBezTo>
                    <a:pt x="194" y="22"/>
                    <a:pt x="155" y="70"/>
                    <a:pt x="145" y="72"/>
                  </a:cubicBezTo>
                  <a:cubicBezTo>
                    <a:pt x="134" y="75"/>
                    <a:pt x="28" y="80"/>
                    <a:pt x="4" y="81"/>
                  </a:cubicBezTo>
                  <a:cubicBezTo>
                    <a:pt x="2" y="81"/>
                    <a:pt x="0" y="83"/>
                    <a:pt x="0" y="85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1"/>
                    <a:pt x="2" y="114"/>
                    <a:pt x="4" y="114"/>
                  </a:cubicBezTo>
                  <a:cubicBezTo>
                    <a:pt x="29" y="116"/>
                    <a:pt x="151" y="126"/>
                    <a:pt x="162" y="122"/>
                  </a:cubicBezTo>
                  <a:cubicBezTo>
                    <a:pt x="168" y="119"/>
                    <a:pt x="208" y="94"/>
                    <a:pt x="240" y="73"/>
                  </a:cubicBezTo>
                  <a:cubicBezTo>
                    <a:pt x="262" y="58"/>
                    <a:pt x="263" y="26"/>
                    <a:pt x="242" y="10"/>
                  </a:cubicBezTo>
                  <a:cubicBezTo>
                    <a:pt x="241" y="9"/>
                    <a:pt x="241" y="9"/>
                    <a:pt x="241" y="9"/>
                  </a:cubicBezTo>
                </a:path>
              </a:pathLst>
            </a:custGeom>
            <a:solidFill>
              <a:srgbClr val="FDC52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7" name="ExtraShape6">
              <a:extLst>
                <a:ext uri="{FF2B5EF4-FFF2-40B4-BE49-F238E27FC236}">
                  <a16:creationId xmlns:a16="http://schemas.microsoft.com/office/drawing/2014/main" id="{5ED1B87C-80BB-4DA0-857E-B77EFFC60A12}"/>
                </a:ext>
              </a:extLst>
            </p:cNvPr>
            <p:cNvSpPr/>
            <p:nvPr/>
          </p:nvSpPr>
          <p:spPr bwMode="auto">
            <a:xfrm>
              <a:off x="6407459" y="3612916"/>
              <a:ext cx="17516" cy="7961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1 h 3"/>
                <a:gd name="T4" fmla="*/ 2 w 6"/>
                <a:gd name="T5" fmla="*/ 3 h 3"/>
                <a:gd name="T6" fmla="*/ 2 w 6"/>
                <a:gd name="T7" fmla="*/ 3 h 3"/>
                <a:gd name="T8" fmla="*/ 6 w 6"/>
                <a:gd name="T9" fmla="*/ 3 h 3"/>
                <a:gd name="T10" fmla="*/ 6 w 6"/>
                <a:gd name="T11" fmla="*/ 1 h 3"/>
                <a:gd name="T12" fmla="*/ 2 w 6"/>
                <a:gd name="T13" fmla="*/ 1 h 3"/>
                <a:gd name="T14" fmla="*/ 0 w 6"/>
                <a:gd name="T1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5" y="3"/>
                    <a:pt x="6" y="3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1" y="1"/>
                    <a:pt x="1" y="1"/>
                    <a:pt x="0" y="0"/>
                  </a:cubicBezTo>
                </a:path>
              </a:pathLst>
            </a:custGeom>
            <a:solidFill>
              <a:srgbClr val="F9FB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8" name="ExtraShape7">
              <a:extLst>
                <a:ext uri="{FF2B5EF4-FFF2-40B4-BE49-F238E27FC236}">
                  <a16:creationId xmlns:a16="http://schemas.microsoft.com/office/drawing/2014/main" id="{EA7CCD8D-88B4-426F-8053-BC0F7061A856}"/>
                </a:ext>
              </a:extLst>
            </p:cNvPr>
            <p:cNvSpPr/>
            <p:nvPr/>
          </p:nvSpPr>
          <p:spPr bwMode="auto">
            <a:xfrm>
              <a:off x="6424974" y="3616102"/>
              <a:ext cx="214968" cy="22293"/>
            </a:xfrm>
            <a:custGeom>
              <a:avLst/>
              <a:gdLst>
                <a:gd name="T0" fmla="*/ 0 w 77"/>
                <a:gd name="T1" fmla="*/ 0 h 8"/>
                <a:gd name="T2" fmla="*/ 0 w 77"/>
                <a:gd name="T3" fmla="*/ 2 h 8"/>
                <a:gd name="T4" fmla="*/ 77 w 77"/>
                <a:gd name="T5" fmla="*/ 8 h 8"/>
                <a:gd name="T6" fmla="*/ 77 w 77"/>
                <a:gd name="T7" fmla="*/ 6 h 8"/>
                <a:gd name="T8" fmla="*/ 0 w 77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8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15" y="3"/>
                    <a:pt x="46" y="6"/>
                    <a:pt x="77" y="8"/>
                  </a:cubicBezTo>
                  <a:cubicBezTo>
                    <a:pt x="77" y="7"/>
                    <a:pt x="77" y="7"/>
                    <a:pt x="77" y="6"/>
                  </a:cubicBezTo>
                  <a:cubicBezTo>
                    <a:pt x="46" y="4"/>
                    <a:pt x="14" y="1"/>
                    <a:pt x="0" y="0"/>
                  </a:cubicBezTo>
                </a:path>
              </a:pathLst>
            </a:custGeom>
            <a:solidFill>
              <a:srgbClr val="0027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9" name="ExtraShape1">
              <a:extLst>
                <a:ext uri="{FF2B5EF4-FFF2-40B4-BE49-F238E27FC236}">
                  <a16:creationId xmlns:a16="http://schemas.microsoft.com/office/drawing/2014/main" id="{24A0F51F-5259-4CCB-85E2-53D96DD9BF7E}"/>
                </a:ext>
              </a:extLst>
            </p:cNvPr>
            <p:cNvSpPr/>
            <p:nvPr/>
          </p:nvSpPr>
          <p:spPr bwMode="auto">
            <a:xfrm>
              <a:off x="6639942" y="3593808"/>
              <a:ext cx="292993" cy="52547"/>
            </a:xfrm>
            <a:custGeom>
              <a:avLst/>
              <a:gdLst>
                <a:gd name="T0" fmla="*/ 104 w 105"/>
                <a:gd name="T1" fmla="*/ 0 h 19"/>
                <a:gd name="T2" fmla="*/ 77 w 105"/>
                <a:gd name="T3" fmla="*/ 16 h 19"/>
                <a:gd name="T4" fmla="*/ 62 w 105"/>
                <a:gd name="T5" fmla="*/ 17 h 19"/>
                <a:gd name="T6" fmla="*/ 0 w 105"/>
                <a:gd name="T7" fmla="*/ 14 h 19"/>
                <a:gd name="T8" fmla="*/ 0 w 105"/>
                <a:gd name="T9" fmla="*/ 16 h 19"/>
                <a:gd name="T10" fmla="*/ 62 w 105"/>
                <a:gd name="T11" fmla="*/ 19 h 19"/>
                <a:gd name="T12" fmla="*/ 72 w 105"/>
                <a:gd name="T13" fmla="*/ 19 h 19"/>
                <a:gd name="T14" fmla="*/ 78 w 105"/>
                <a:gd name="T15" fmla="*/ 18 h 19"/>
                <a:gd name="T16" fmla="*/ 82 w 105"/>
                <a:gd name="T17" fmla="*/ 16 h 19"/>
                <a:gd name="T18" fmla="*/ 104 w 105"/>
                <a:gd name="T19" fmla="*/ 2 h 19"/>
                <a:gd name="T20" fmla="*/ 104 w 105"/>
                <a:gd name="T2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5" h="19">
                  <a:moveTo>
                    <a:pt x="104" y="0"/>
                  </a:moveTo>
                  <a:cubicBezTo>
                    <a:pt x="91" y="8"/>
                    <a:pt x="80" y="15"/>
                    <a:pt x="77" y="16"/>
                  </a:cubicBezTo>
                  <a:cubicBezTo>
                    <a:pt x="75" y="16"/>
                    <a:pt x="70" y="17"/>
                    <a:pt x="62" y="17"/>
                  </a:cubicBezTo>
                  <a:cubicBezTo>
                    <a:pt x="47" y="17"/>
                    <a:pt x="24" y="16"/>
                    <a:pt x="0" y="14"/>
                  </a:cubicBezTo>
                  <a:cubicBezTo>
                    <a:pt x="0" y="15"/>
                    <a:pt x="0" y="15"/>
                    <a:pt x="0" y="16"/>
                  </a:cubicBezTo>
                  <a:cubicBezTo>
                    <a:pt x="24" y="18"/>
                    <a:pt x="47" y="19"/>
                    <a:pt x="62" y="19"/>
                  </a:cubicBezTo>
                  <a:cubicBezTo>
                    <a:pt x="66" y="19"/>
                    <a:pt x="69" y="19"/>
                    <a:pt x="72" y="19"/>
                  </a:cubicBezTo>
                  <a:cubicBezTo>
                    <a:pt x="75" y="18"/>
                    <a:pt x="77" y="18"/>
                    <a:pt x="78" y="18"/>
                  </a:cubicBezTo>
                  <a:cubicBezTo>
                    <a:pt x="79" y="17"/>
                    <a:pt x="80" y="17"/>
                    <a:pt x="82" y="16"/>
                  </a:cubicBezTo>
                  <a:cubicBezTo>
                    <a:pt x="86" y="13"/>
                    <a:pt x="94" y="8"/>
                    <a:pt x="104" y="2"/>
                  </a:cubicBezTo>
                  <a:cubicBezTo>
                    <a:pt x="105" y="2"/>
                    <a:pt x="105" y="1"/>
                    <a:pt x="104" y="0"/>
                  </a:cubicBezTo>
                </a:path>
              </a:pathLst>
            </a:custGeom>
            <a:solidFill>
              <a:srgbClr val="F0B2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0" name="ExtraShape2">
              <a:extLst>
                <a:ext uri="{FF2B5EF4-FFF2-40B4-BE49-F238E27FC236}">
                  <a16:creationId xmlns:a16="http://schemas.microsoft.com/office/drawing/2014/main" id="{DD050AD1-A58B-4775-8921-17FF8EC1E769}"/>
                </a:ext>
              </a:extLst>
            </p:cNvPr>
            <p:cNvSpPr/>
            <p:nvPr/>
          </p:nvSpPr>
          <p:spPr bwMode="auto">
            <a:xfrm>
              <a:off x="6407459" y="3506229"/>
              <a:ext cx="213375" cy="17515"/>
            </a:xfrm>
            <a:custGeom>
              <a:avLst/>
              <a:gdLst>
                <a:gd name="T0" fmla="*/ 76 w 76"/>
                <a:gd name="T1" fmla="*/ 0 h 6"/>
                <a:gd name="T2" fmla="*/ 2 w 76"/>
                <a:gd name="T3" fmla="*/ 4 h 6"/>
                <a:gd name="T4" fmla="*/ 0 w 76"/>
                <a:gd name="T5" fmla="*/ 6 h 6"/>
                <a:gd name="T6" fmla="*/ 1 w 76"/>
                <a:gd name="T7" fmla="*/ 6 h 6"/>
                <a:gd name="T8" fmla="*/ 2 w 76"/>
                <a:gd name="T9" fmla="*/ 6 h 6"/>
                <a:gd name="T10" fmla="*/ 76 w 76"/>
                <a:gd name="T11" fmla="*/ 2 h 6"/>
                <a:gd name="T12" fmla="*/ 76 w 7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6">
                  <a:moveTo>
                    <a:pt x="76" y="0"/>
                  </a:moveTo>
                  <a:cubicBezTo>
                    <a:pt x="46" y="2"/>
                    <a:pt x="14" y="3"/>
                    <a:pt x="2" y="4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14" y="5"/>
                    <a:pt x="46" y="4"/>
                    <a:pt x="76" y="2"/>
                  </a:cubicBezTo>
                  <a:cubicBezTo>
                    <a:pt x="76" y="0"/>
                    <a:pt x="76" y="0"/>
                    <a:pt x="76" y="0"/>
                  </a:cubicBezTo>
                </a:path>
              </a:pathLst>
            </a:custGeom>
            <a:solidFill>
              <a:srgbClr val="F9FB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1" name="ExtraShape3">
              <a:extLst>
                <a:ext uri="{FF2B5EF4-FFF2-40B4-BE49-F238E27FC236}">
                  <a16:creationId xmlns:a16="http://schemas.microsoft.com/office/drawing/2014/main" id="{0418CF1E-643A-419C-AB9F-A2B2D2972DB4}"/>
                </a:ext>
              </a:extLst>
            </p:cNvPr>
            <p:cNvSpPr/>
            <p:nvPr/>
          </p:nvSpPr>
          <p:spPr bwMode="auto">
            <a:xfrm>
              <a:off x="6410643" y="3308777"/>
              <a:ext cx="670380" cy="219744"/>
            </a:xfrm>
            <a:custGeom>
              <a:avLst/>
              <a:gdLst>
                <a:gd name="T0" fmla="*/ 221 w 240"/>
                <a:gd name="T1" fmla="*/ 0 h 79"/>
                <a:gd name="T2" fmla="*/ 200 w 240"/>
                <a:gd name="T3" fmla="*/ 9 h 79"/>
                <a:gd name="T4" fmla="*/ 200 w 240"/>
                <a:gd name="T5" fmla="*/ 9 h 79"/>
                <a:gd name="T6" fmla="*/ 142 w 240"/>
                <a:gd name="T7" fmla="*/ 68 h 79"/>
                <a:gd name="T8" fmla="*/ 75 w 240"/>
                <a:gd name="T9" fmla="*/ 73 h 79"/>
                <a:gd name="T10" fmla="*/ 1 w 240"/>
                <a:gd name="T11" fmla="*/ 77 h 79"/>
                <a:gd name="T12" fmla="*/ 0 w 240"/>
                <a:gd name="T13" fmla="*/ 77 h 79"/>
                <a:gd name="T14" fmla="*/ 1 w 240"/>
                <a:gd name="T15" fmla="*/ 79 h 79"/>
                <a:gd name="T16" fmla="*/ 2 w 240"/>
                <a:gd name="T17" fmla="*/ 79 h 79"/>
                <a:gd name="T18" fmla="*/ 77 w 240"/>
                <a:gd name="T19" fmla="*/ 75 h 79"/>
                <a:gd name="T20" fmla="*/ 119 w 240"/>
                <a:gd name="T21" fmla="*/ 72 h 79"/>
                <a:gd name="T22" fmla="*/ 134 w 240"/>
                <a:gd name="T23" fmla="*/ 71 h 79"/>
                <a:gd name="T24" fmla="*/ 142 w 240"/>
                <a:gd name="T25" fmla="*/ 70 h 79"/>
                <a:gd name="T26" fmla="*/ 148 w 240"/>
                <a:gd name="T27" fmla="*/ 67 h 79"/>
                <a:gd name="T28" fmla="*/ 177 w 240"/>
                <a:gd name="T29" fmla="*/ 37 h 79"/>
                <a:gd name="T30" fmla="*/ 201 w 240"/>
                <a:gd name="T31" fmla="*/ 10 h 79"/>
                <a:gd name="T32" fmla="*/ 201 w 240"/>
                <a:gd name="T33" fmla="*/ 10 h 79"/>
                <a:gd name="T34" fmla="*/ 202 w 240"/>
                <a:gd name="T35" fmla="*/ 10 h 79"/>
                <a:gd name="T36" fmla="*/ 202 w 240"/>
                <a:gd name="T37" fmla="*/ 10 h 79"/>
                <a:gd name="T38" fmla="*/ 221 w 240"/>
                <a:gd name="T39" fmla="*/ 2 h 79"/>
                <a:gd name="T40" fmla="*/ 237 w 240"/>
                <a:gd name="T41" fmla="*/ 7 h 79"/>
                <a:gd name="T42" fmla="*/ 238 w 240"/>
                <a:gd name="T43" fmla="*/ 7 h 79"/>
                <a:gd name="T44" fmla="*/ 240 w 240"/>
                <a:gd name="T45" fmla="*/ 6 h 79"/>
                <a:gd name="T46" fmla="*/ 239 w 240"/>
                <a:gd name="T47" fmla="*/ 6 h 79"/>
                <a:gd name="T48" fmla="*/ 238 w 240"/>
                <a:gd name="T49" fmla="*/ 5 h 79"/>
                <a:gd name="T50" fmla="*/ 221 w 240"/>
                <a:gd name="T5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0" h="79">
                  <a:moveTo>
                    <a:pt x="221" y="0"/>
                  </a:moveTo>
                  <a:cubicBezTo>
                    <a:pt x="213" y="0"/>
                    <a:pt x="206" y="3"/>
                    <a:pt x="200" y="9"/>
                  </a:cubicBezTo>
                  <a:cubicBezTo>
                    <a:pt x="200" y="9"/>
                    <a:pt x="200" y="9"/>
                    <a:pt x="200" y="9"/>
                  </a:cubicBezTo>
                  <a:cubicBezTo>
                    <a:pt x="191" y="18"/>
                    <a:pt x="152" y="66"/>
                    <a:pt x="142" y="68"/>
                  </a:cubicBezTo>
                  <a:cubicBezTo>
                    <a:pt x="136" y="70"/>
                    <a:pt x="106" y="71"/>
                    <a:pt x="75" y="73"/>
                  </a:cubicBezTo>
                  <a:cubicBezTo>
                    <a:pt x="45" y="75"/>
                    <a:pt x="13" y="76"/>
                    <a:pt x="1" y="77"/>
                  </a:cubicBezTo>
                  <a:cubicBezTo>
                    <a:pt x="1" y="77"/>
                    <a:pt x="0" y="77"/>
                    <a:pt x="0" y="77"/>
                  </a:cubicBezTo>
                  <a:cubicBezTo>
                    <a:pt x="0" y="78"/>
                    <a:pt x="1" y="79"/>
                    <a:pt x="1" y="79"/>
                  </a:cubicBezTo>
                  <a:cubicBezTo>
                    <a:pt x="1" y="79"/>
                    <a:pt x="2" y="79"/>
                    <a:pt x="2" y="79"/>
                  </a:cubicBezTo>
                  <a:cubicBezTo>
                    <a:pt x="13" y="78"/>
                    <a:pt x="46" y="77"/>
                    <a:pt x="77" y="75"/>
                  </a:cubicBezTo>
                  <a:cubicBezTo>
                    <a:pt x="92" y="74"/>
                    <a:pt x="107" y="73"/>
                    <a:pt x="119" y="72"/>
                  </a:cubicBezTo>
                  <a:cubicBezTo>
                    <a:pt x="125" y="72"/>
                    <a:pt x="130" y="72"/>
                    <a:pt x="134" y="71"/>
                  </a:cubicBezTo>
                  <a:cubicBezTo>
                    <a:pt x="138" y="71"/>
                    <a:pt x="140" y="71"/>
                    <a:pt x="142" y="70"/>
                  </a:cubicBezTo>
                  <a:cubicBezTo>
                    <a:pt x="144" y="70"/>
                    <a:pt x="146" y="69"/>
                    <a:pt x="148" y="67"/>
                  </a:cubicBezTo>
                  <a:cubicBezTo>
                    <a:pt x="155" y="61"/>
                    <a:pt x="167" y="49"/>
                    <a:pt x="177" y="37"/>
                  </a:cubicBezTo>
                  <a:cubicBezTo>
                    <a:pt x="188" y="26"/>
                    <a:pt x="198" y="14"/>
                    <a:pt x="201" y="10"/>
                  </a:cubicBezTo>
                  <a:cubicBezTo>
                    <a:pt x="201" y="10"/>
                    <a:pt x="201" y="10"/>
                    <a:pt x="201" y="10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7" y="4"/>
                    <a:pt x="214" y="2"/>
                    <a:pt x="221" y="2"/>
                  </a:cubicBezTo>
                  <a:cubicBezTo>
                    <a:pt x="227" y="2"/>
                    <a:pt x="232" y="3"/>
                    <a:pt x="237" y="7"/>
                  </a:cubicBezTo>
                  <a:cubicBezTo>
                    <a:pt x="238" y="7"/>
                    <a:pt x="238" y="7"/>
                    <a:pt x="238" y="7"/>
                  </a:cubicBezTo>
                  <a:cubicBezTo>
                    <a:pt x="239" y="7"/>
                    <a:pt x="240" y="7"/>
                    <a:pt x="240" y="6"/>
                  </a:cubicBezTo>
                  <a:cubicBezTo>
                    <a:pt x="240" y="6"/>
                    <a:pt x="239" y="6"/>
                    <a:pt x="239" y="6"/>
                  </a:cubicBezTo>
                  <a:cubicBezTo>
                    <a:pt x="238" y="5"/>
                    <a:pt x="238" y="5"/>
                    <a:pt x="238" y="5"/>
                  </a:cubicBezTo>
                  <a:cubicBezTo>
                    <a:pt x="233" y="1"/>
                    <a:pt x="227" y="0"/>
                    <a:pt x="221" y="0"/>
                  </a:cubicBezTo>
                </a:path>
              </a:pathLst>
            </a:custGeom>
            <a:solidFill>
              <a:srgbClr val="F0B2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2" name="ExtraShape4">
              <a:extLst>
                <a:ext uri="{FF2B5EF4-FFF2-40B4-BE49-F238E27FC236}">
                  <a16:creationId xmlns:a16="http://schemas.microsoft.com/office/drawing/2014/main" id="{B1229A8A-5EC8-4FCF-AAA0-71B95E3CBBC4}"/>
                </a:ext>
              </a:extLst>
            </p:cNvPr>
            <p:cNvSpPr/>
            <p:nvPr/>
          </p:nvSpPr>
          <p:spPr bwMode="auto">
            <a:xfrm>
              <a:off x="6631980" y="3897947"/>
              <a:ext cx="477705" cy="1292989"/>
            </a:xfrm>
            <a:custGeom>
              <a:avLst/>
              <a:gdLst>
                <a:gd name="T0" fmla="*/ 3 w 171"/>
                <a:gd name="T1" fmla="*/ 9 h 463"/>
                <a:gd name="T2" fmla="*/ 12 w 171"/>
                <a:gd name="T3" fmla="*/ 4 h 463"/>
                <a:gd name="T4" fmla="*/ 151 w 171"/>
                <a:gd name="T5" fmla="*/ 0 h 463"/>
                <a:gd name="T6" fmla="*/ 161 w 171"/>
                <a:gd name="T7" fmla="*/ 8 h 463"/>
                <a:gd name="T8" fmla="*/ 169 w 171"/>
                <a:gd name="T9" fmla="*/ 97 h 463"/>
                <a:gd name="T10" fmla="*/ 171 w 171"/>
                <a:gd name="T11" fmla="*/ 453 h 463"/>
                <a:gd name="T12" fmla="*/ 162 w 171"/>
                <a:gd name="T13" fmla="*/ 463 h 463"/>
                <a:gd name="T14" fmla="*/ 132 w 171"/>
                <a:gd name="T15" fmla="*/ 463 h 463"/>
                <a:gd name="T16" fmla="*/ 121 w 171"/>
                <a:gd name="T17" fmla="*/ 453 h 463"/>
                <a:gd name="T18" fmla="*/ 92 w 171"/>
                <a:gd name="T19" fmla="*/ 139 h 463"/>
                <a:gd name="T20" fmla="*/ 83 w 171"/>
                <a:gd name="T21" fmla="*/ 131 h 463"/>
                <a:gd name="T22" fmla="*/ 74 w 171"/>
                <a:gd name="T23" fmla="*/ 140 h 463"/>
                <a:gd name="T24" fmla="*/ 65 w 171"/>
                <a:gd name="T25" fmla="*/ 455 h 463"/>
                <a:gd name="T26" fmla="*/ 57 w 171"/>
                <a:gd name="T27" fmla="*/ 463 h 463"/>
                <a:gd name="T28" fmla="*/ 27 w 171"/>
                <a:gd name="T29" fmla="*/ 463 h 463"/>
                <a:gd name="T30" fmla="*/ 19 w 171"/>
                <a:gd name="T31" fmla="*/ 455 h 463"/>
                <a:gd name="T32" fmla="*/ 0 w 171"/>
                <a:gd name="T33" fmla="*/ 72 h 463"/>
                <a:gd name="T34" fmla="*/ 3 w 171"/>
                <a:gd name="T35" fmla="*/ 9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" h="463">
                  <a:moveTo>
                    <a:pt x="3" y="9"/>
                  </a:moveTo>
                  <a:cubicBezTo>
                    <a:pt x="3" y="4"/>
                    <a:pt x="7" y="4"/>
                    <a:pt x="12" y="4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6" y="0"/>
                    <a:pt x="160" y="4"/>
                    <a:pt x="161" y="8"/>
                  </a:cubicBezTo>
                  <a:cubicBezTo>
                    <a:pt x="161" y="8"/>
                    <a:pt x="168" y="69"/>
                    <a:pt x="169" y="97"/>
                  </a:cubicBezTo>
                  <a:cubicBezTo>
                    <a:pt x="171" y="453"/>
                    <a:pt x="171" y="453"/>
                    <a:pt x="171" y="453"/>
                  </a:cubicBezTo>
                  <a:cubicBezTo>
                    <a:pt x="171" y="459"/>
                    <a:pt x="167" y="463"/>
                    <a:pt x="162" y="463"/>
                  </a:cubicBezTo>
                  <a:cubicBezTo>
                    <a:pt x="132" y="463"/>
                    <a:pt x="132" y="463"/>
                    <a:pt x="132" y="463"/>
                  </a:cubicBezTo>
                  <a:cubicBezTo>
                    <a:pt x="126" y="463"/>
                    <a:pt x="122" y="459"/>
                    <a:pt x="121" y="453"/>
                  </a:cubicBezTo>
                  <a:cubicBezTo>
                    <a:pt x="92" y="139"/>
                    <a:pt x="92" y="139"/>
                    <a:pt x="92" y="139"/>
                  </a:cubicBezTo>
                  <a:cubicBezTo>
                    <a:pt x="92" y="135"/>
                    <a:pt x="88" y="131"/>
                    <a:pt x="83" y="131"/>
                  </a:cubicBezTo>
                  <a:cubicBezTo>
                    <a:pt x="78" y="131"/>
                    <a:pt x="74" y="135"/>
                    <a:pt x="74" y="140"/>
                  </a:cubicBezTo>
                  <a:cubicBezTo>
                    <a:pt x="65" y="455"/>
                    <a:pt x="65" y="455"/>
                    <a:pt x="65" y="455"/>
                  </a:cubicBezTo>
                  <a:cubicBezTo>
                    <a:pt x="65" y="459"/>
                    <a:pt x="61" y="463"/>
                    <a:pt x="57" y="463"/>
                  </a:cubicBezTo>
                  <a:cubicBezTo>
                    <a:pt x="27" y="463"/>
                    <a:pt x="27" y="463"/>
                    <a:pt x="27" y="463"/>
                  </a:cubicBezTo>
                  <a:cubicBezTo>
                    <a:pt x="23" y="463"/>
                    <a:pt x="19" y="460"/>
                    <a:pt x="19" y="455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61"/>
                    <a:pt x="3" y="9"/>
                    <a:pt x="3" y="9"/>
                  </a:cubicBezTo>
                  <a:close/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3" name="ExtraShape5">
              <a:extLst>
                <a:ext uri="{FF2B5EF4-FFF2-40B4-BE49-F238E27FC236}">
                  <a16:creationId xmlns:a16="http://schemas.microsoft.com/office/drawing/2014/main" id="{AC1C6725-C4FA-400E-8055-963ABD9D9BF4}"/>
                </a:ext>
              </a:extLst>
            </p:cNvPr>
            <p:cNvSpPr/>
            <p:nvPr/>
          </p:nvSpPr>
          <p:spPr bwMode="auto">
            <a:xfrm>
              <a:off x="6584209" y="2802410"/>
              <a:ext cx="514330" cy="476112"/>
            </a:xfrm>
            <a:custGeom>
              <a:avLst/>
              <a:gdLst>
                <a:gd name="T0" fmla="*/ 163 w 184"/>
                <a:gd name="T1" fmla="*/ 77 h 170"/>
                <a:gd name="T2" fmla="*/ 163 w 184"/>
                <a:gd name="T3" fmla="*/ 75 h 170"/>
                <a:gd name="T4" fmla="*/ 169 w 184"/>
                <a:gd name="T5" fmla="*/ 56 h 170"/>
                <a:gd name="T6" fmla="*/ 161 w 184"/>
                <a:gd name="T7" fmla="*/ 44 h 170"/>
                <a:gd name="T8" fmla="*/ 154 w 184"/>
                <a:gd name="T9" fmla="*/ 31 h 170"/>
                <a:gd name="T10" fmla="*/ 151 w 184"/>
                <a:gd name="T11" fmla="*/ 16 h 170"/>
                <a:gd name="T12" fmla="*/ 143 w 184"/>
                <a:gd name="T13" fmla="*/ 9 h 170"/>
                <a:gd name="T14" fmla="*/ 116 w 184"/>
                <a:gd name="T15" fmla="*/ 0 h 170"/>
                <a:gd name="T16" fmla="*/ 102 w 184"/>
                <a:gd name="T17" fmla="*/ 3 h 170"/>
                <a:gd name="T18" fmla="*/ 94 w 184"/>
                <a:gd name="T19" fmla="*/ 1 h 170"/>
                <a:gd name="T20" fmla="*/ 86 w 184"/>
                <a:gd name="T21" fmla="*/ 0 h 170"/>
                <a:gd name="T22" fmla="*/ 68 w 184"/>
                <a:gd name="T23" fmla="*/ 4 h 170"/>
                <a:gd name="T24" fmla="*/ 37 w 184"/>
                <a:gd name="T25" fmla="*/ 34 h 170"/>
                <a:gd name="T26" fmla="*/ 34 w 184"/>
                <a:gd name="T27" fmla="*/ 49 h 170"/>
                <a:gd name="T28" fmla="*/ 14 w 184"/>
                <a:gd name="T29" fmla="*/ 66 h 170"/>
                <a:gd name="T30" fmla="*/ 8 w 184"/>
                <a:gd name="T31" fmla="*/ 82 h 170"/>
                <a:gd name="T32" fmla="*/ 11 w 184"/>
                <a:gd name="T33" fmla="*/ 91 h 170"/>
                <a:gd name="T34" fmla="*/ 9 w 184"/>
                <a:gd name="T35" fmla="*/ 100 h 170"/>
                <a:gd name="T36" fmla="*/ 0 w 184"/>
                <a:gd name="T37" fmla="*/ 121 h 170"/>
                <a:gd name="T38" fmla="*/ 3 w 184"/>
                <a:gd name="T39" fmla="*/ 130 h 170"/>
                <a:gd name="T40" fmla="*/ 106 w 184"/>
                <a:gd name="T41" fmla="*/ 165 h 170"/>
                <a:gd name="T42" fmla="*/ 167 w 184"/>
                <a:gd name="T43" fmla="*/ 142 h 170"/>
                <a:gd name="T44" fmla="*/ 181 w 184"/>
                <a:gd name="T45" fmla="*/ 121 h 170"/>
                <a:gd name="T46" fmla="*/ 164 w 184"/>
                <a:gd name="T47" fmla="*/ 81 h 170"/>
                <a:gd name="T48" fmla="*/ 163 w 184"/>
                <a:gd name="T49" fmla="*/ 78 h 170"/>
                <a:gd name="T50" fmla="*/ 163 w 184"/>
                <a:gd name="T51" fmla="*/ 77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4" h="170">
                  <a:moveTo>
                    <a:pt x="163" y="77"/>
                  </a:moveTo>
                  <a:cubicBezTo>
                    <a:pt x="163" y="76"/>
                    <a:pt x="163" y="76"/>
                    <a:pt x="163" y="75"/>
                  </a:cubicBezTo>
                  <a:cubicBezTo>
                    <a:pt x="166" y="69"/>
                    <a:pt x="170" y="63"/>
                    <a:pt x="169" y="56"/>
                  </a:cubicBezTo>
                  <a:cubicBezTo>
                    <a:pt x="168" y="51"/>
                    <a:pt x="165" y="47"/>
                    <a:pt x="161" y="44"/>
                  </a:cubicBezTo>
                  <a:cubicBezTo>
                    <a:pt x="157" y="40"/>
                    <a:pt x="155" y="37"/>
                    <a:pt x="154" y="31"/>
                  </a:cubicBezTo>
                  <a:cubicBezTo>
                    <a:pt x="153" y="26"/>
                    <a:pt x="153" y="21"/>
                    <a:pt x="151" y="16"/>
                  </a:cubicBezTo>
                  <a:cubicBezTo>
                    <a:pt x="149" y="13"/>
                    <a:pt x="146" y="11"/>
                    <a:pt x="143" y="9"/>
                  </a:cubicBezTo>
                  <a:cubicBezTo>
                    <a:pt x="135" y="3"/>
                    <a:pt x="125" y="0"/>
                    <a:pt x="116" y="0"/>
                  </a:cubicBezTo>
                  <a:cubicBezTo>
                    <a:pt x="111" y="0"/>
                    <a:pt x="107" y="2"/>
                    <a:pt x="102" y="3"/>
                  </a:cubicBezTo>
                  <a:cubicBezTo>
                    <a:pt x="99" y="3"/>
                    <a:pt x="97" y="2"/>
                    <a:pt x="94" y="1"/>
                  </a:cubicBezTo>
                  <a:cubicBezTo>
                    <a:pt x="92" y="1"/>
                    <a:pt x="89" y="0"/>
                    <a:pt x="86" y="0"/>
                  </a:cubicBezTo>
                  <a:cubicBezTo>
                    <a:pt x="80" y="0"/>
                    <a:pt x="74" y="1"/>
                    <a:pt x="68" y="4"/>
                  </a:cubicBezTo>
                  <a:cubicBezTo>
                    <a:pt x="56" y="9"/>
                    <a:pt x="40" y="21"/>
                    <a:pt x="37" y="34"/>
                  </a:cubicBezTo>
                  <a:cubicBezTo>
                    <a:pt x="36" y="39"/>
                    <a:pt x="36" y="44"/>
                    <a:pt x="34" y="49"/>
                  </a:cubicBezTo>
                  <a:cubicBezTo>
                    <a:pt x="31" y="58"/>
                    <a:pt x="20" y="59"/>
                    <a:pt x="14" y="66"/>
                  </a:cubicBezTo>
                  <a:cubicBezTo>
                    <a:pt x="10" y="70"/>
                    <a:pt x="7" y="76"/>
                    <a:pt x="8" y="82"/>
                  </a:cubicBezTo>
                  <a:cubicBezTo>
                    <a:pt x="9" y="85"/>
                    <a:pt x="11" y="88"/>
                    <a:pt x="11" y="91"/>
                  </a:cubicBezTo>
                  <a:cubicBezTo>
                    <a:pt x="12" y="94"/>
                    <a:pt x="11" y="97"/>
                    <a:pt x="9" y="100"/>
                  </a:cubicBezTo>
                  <a:cubicBezTo>
                    <a:pt x="6" y="107"/>
                    <a:pt x="0" y="113"/>
                    <a:pt x="0" y="121"/>
                  </a:cubicBezTo>
                  <a:cubicBezTo>
                    <a:pt x="1" y="124"/>
                    <a:pt x="2" y="127"/>
                    <a:pt x="3" y="130"/>
                  </a:cubicBezTo>
                  <a:cubicBezTo>
                    <a:pt x="22" y="166"/>
                    <a:pt x="71" y="170"/>
                    <a:pt x="106" y="165"/>
                  </a:cubicBezTo>
                  <a:cubicBezTo>
                    <a:pt x="128" y="162"/>
                    <a:pt x="150" y="156"/>
                    <a:pt x="167" y="142"/>
                  </a:cubicBezTo>
                  <a:cubicBezTo>
                    <a:pt x="174" y="137"/>
                    <a:pt x="180" y="130"/>
                    <a:pt x="181" y="121"/>
                  </a:cubicBezTo>
                  <a:cubicBezTo>
                    <a:pt x="184" y="106"/>
                    <a:pt x="172" y="93"/>
                    <a:pt x="164" y="81"/>
                  </a:cubicBezTo>
                  <a:cubicBezTo>
                    <a:pt x="163" y="80"/>
                    <a:pt x="163" y="79"/>
                    <a:pt x="163" y="78"/>
                  </a:cubicBezTo>
                  <a:cubicBezTo>
                    <a:pt x="162" y="78"/>
                    <a:pt x="163" y="77"/>
                    <a:pt x="163" y="77"/>
                  </a:cubicBezTo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4" name="ExtraShape6">
              <a:extLst>
                <a:ext uri="{FF2B5EF4-FFF2-40B4-BE49-F238E27FC236}">
                  <a16:creationId xmlns:a16="http://schemas.microsoft.com/office/drawing/2014/main" id="{5583CD35-4129-4CE7-9DCF-6EB0D8B79C4D}"/>
                </a:ext>
              </a:extLst>
            </p:cNvPr>
            <p:cNvSpPr/>
            <p:nvPr/>
          </p:nvSpPr>
          <p:spPr bwMode="auto">
            <a:xfrm>
              <a:off x="6678158" y="2909097"/>
              <a:ext cx="307325" cy="441081"/>
            </a:xfrm>
            <a:custGeom>
              <a:avLst/>
              <a:gdLst>
                <a:gd name="T0" fmla="*/ 97 w 110"/>
                <a:gd name="T1" fmla="*/ 32 h 158"/>
                <a:gd name="T2" fmla="*/ 99 w 110"/>
                <a:gd name="T3" fmla="*/ 32 h 158"/>
                <a:gd name="T4" fmla="*/ 109 w 110"/>
                <a:gd name="T5" fmla="*/ 43 h 158"/>
                <a:gd name="T6" fmla="*/ 109 w 110"/>
                <a:gd name="T7" fmla="*/ 53 h 158"/>
                <a:gd name="T8" fmla="*/ 98 w 110"/>
                <a:gd name="T9" fmla="*/ 63 h 158"/>
                <a:gd name="T10" fmla="*/ 93 w 110"/>
                <a:gd name="T11" fmla="*/ 63 h 158"/>
                <a:gd name="T12" fmla="*/ 92 w 110"/>
                <a:gd name="T13" fmla="*/ 63 h 158"/>
                <a:gd name="T14" fmla="*/ 87 w 110"/>
                <a:gd name="T15" fmla="*/ 133 h 158"/>
                <a:gd name="T16" fmla="*/ 59 w 110"/>
                <a:gd name="T17" fmla="*/ 156 h 158"/>
                <a:gd name="T18" fmla="*/ 40 w 110"/>
                <a:gd name="T19" fmla="*/ 123 h 158"/>
                <a:gd name="T20" fmla="*/ 40 w 110"/>
                <a:gd name="T21" fmla="*/ 109 h 158"/>
                <a:gd name="T22" fmla="*/ 2 w 110"/>
                <a:gd name="T23" fmla="*/ 67 h 158"/>
                <a:gd name="T24" fmla="*/ 7 w 110"/>
                <a:gd name="T25" fmla="*/ 19 h 158"/>
                <a:gd name="T26" fmla="*/ 9 w 110"/>
                <a:gd name="T27" fmla="*/ 12 h 158"/>
                <a:gd name="T28" fmla="*/ 51 w 110"/>
                <a:gd name="T29" fmla="*/ 2 h 158"/>
                <a:gd name="T30" fmla="*/ 94 w 110"/>
                <a:gd name="T31" fmla="*/ 32 h 158"/>
                <a:gd name="T32" fmla="*/ 97 w 110"/>
                <a:gd name="T33" fmla="*/ 3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158">
                  <a:moveTo>
                    <a:pt x="97" y="32"/>
                  </a:moveTo>
                  <a:cubicBezTo>
                    <a:pt x="99" y="32"/>
                    <a:pt x="99" y="32"/>
                    <a:pt x="99" y="32"/>
                  </a:cubicBezTo>
                  <a:cubicBezTo>
                    <a:pt x="105" y="32"/>
                    <a:pt x="110" y="37"/>
                    <a:pt x="109" y="43"/>
                  </a:cubicBezTo>
                  <a:cubicBezTo>
                    <a:pt x="109" y="53"/>
                    <a:pt x="109" y="53"/>
                    <a:pt x="109" y="53"/>
                  </a:cubicBezTo>
                  <a:cubicBezTo>
                    <a:pt x="108" y="59"/>
                    <a:pt x="103" y="64"/>
                    <a:pt x="98" y="63"/>
                  </a:cubicBezTo>
                  <a:cubicBezTo>
                    <a:pt x="93" y="63"/>
                    <a:pt x="93" y="63"/>
                    <a:pt x="93" y="63"/>
                  </a:cubicBezTo>
                  <a:cubicBezTo>
                    <a:pt x="92" y="63"/>
                    <a:pt x="92" y="63"/>
                    <a:pt x="92" y="63"/>
                  </a:cubicBezTo>
                  <a:cubicBezTo>
                    <a:pt x="87" y="133"/>
                    <a:pt x="87" y="133"/>
                    <a:pt x="87" y="133"/>
                  </a:cubicBezTo>
                  <a:cubicBezTo>
                    <a:pt x="84" y="148"/>
                    <a:pt x="72" y="158"/>
                    <a:pt x="59" y="156"/>
                  </a:cubicBezTo>
                  <a:cubicBezTo>
                    <a:pt x="46" y="154"/>
                    <a:pt x="37" y="139"/>
                    <a:pt x="40" y="123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21" y="108"/>
                    <a:pt x="0" y="90"/>
                    <a:pt x="2" y="67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7"/>
                    <a:pt x="8" y="14"/>
                    <a:pt x="9" y="12"/>
                  </a:cubicBezTo>
                  <a:cubicBezTo>
                    <a:pt x="28" y="28"/>
                    <a:pt x="40" y="3"/>
                    <a:pt x="51" y="2"/>
                  </a:cubicBezTo>
                  <a:cubicBezTo>
                    <a:pt x="77" y="0"/>
                    <a:pt x="88" y="9"/>
                    <a:pt x="94" y="32"/>
                  </a:cubicBezTo>
                  <a:cubicBezTo>
                    <a:pt x="94" y="34"/>
                    <a:pt x="97" y="32"/>
                    <a:pt x="97" y="32"/>
                  </a:cubicBezTo>
                </a:path>
              </a:pathLst>
            </a:custGeom>
            <a:solidFill>
              <a:srgbClr val="FFBD9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5" name="ExtraShape7">
              <a:extLst>
                <a:ext uri="{FF2B5EF4-FFF2-40B4-BE49-F238E27FC236}">
                  <a16:creationId xmlns:a16="http://schemas.microsoft.com/office/drawing/2014/main" id="{B87782F5-BA61-446A-A25A-3A6DF75CD39A}"/>
                </a:ext>
              </a:extLst>
            </p:cNvPr>
            <p:cNvSpPr/>
            <p:nvPr/>
          </p:nvSpPr>
          <p:spPr bwMode="auto">
            <a:xfrm>
              <a:off x="6791215" y="3213236"/>
              <a:ext cx="93949" cy="36624"/>
            </a:xfrm>
            <a:custGeom>
              <a:avLst/>
              <a:gdLst>
                <a:gd name="T0" fmla="*/ 59 w 59"/>
                <a:gd name="T1" fmla="*/ 0 h 23"/>
                <a:gd name="T2" fmla="*/ 0 w 59"/>
                <a:gd name="T3" fmla="*/ 2 h 23"/>
                <a:gd name="T4" fmla="*/ 0 w 59"/>
                <a:gd name="T5" fmla="*/ 13 h 23"/>
                <a:gd name="T6" fmla="*/ 0 w 59"/>
                <a:gd name="T7" fmla="*/ 23 h 23"/>
                <a:gd name="T8" fmla="*/ 59 w 59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3">
                  <a:moveTo>
                    <a:pt x="59" y="0"/>
                  </a:moveTo>
                  <a:lnTo>
                    <a:pt x="0" y="2"/>
                  </a:lnTo>
                  <a:lnTo>
                    <a:pt x="0" y="13"/>
                  </a:lnTo>
                  <a:lnTo>
                    <a:pt x="0" y="23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BD9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6" name="ExtraShape8">
              <a:extLst>
                <a:ext uri="{FF2B5EF4-FFF2-40B4-BE49-F238E27FC236}">
                  <a16:creationId xmlns:a16="http://schemas.microsoft.com/office/drawing/2014/main" id="{2F386009-FD81-4E0E-B5AD-2231B6E51327}"/>
                </a:ext>
              </a:extLst>
            </p:cNvPr>
            <p:cNvSpPr/>
            <p:nvPr/>
          </p:nvSpPr>
          <p:spPr bwMode="auto">
            <a:xfrm>
              <a:off x="6791215" y="3213236"/>
              <a:ext cx="93949" cy="36624"/>
            </a:xfrm>
            <a:custGeom>
              <a:avLst/>
              <a:gdLst>
                <a:gd name="T0" fmla="*/ 59 w 59"/>
                <a:gd name="T1" fmla="*/ 0 h 23"/>
                <a:gd name="T2" fmla="*/ 0 w 59"/>
                <a:gd name="T3" fmla="*/ 2 h 23"/>
                <a:gd name="T4" fmla="*/ 0 w 59"/>
                <a:gd name="T5" fmla="*/ 13 h 23"/>
                <a:gd name="T6" fmla="*/ 0 w 59"/>
                <a:gd name="T7" fmla="*/ 23 h 23"/>
                <a:gd name="T8" fmla="*/ 59 w 59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3">
                  <a:moveTo>
                    <a:pt x="59" y="0"/>
                  </a:moveTo>
                  <a:lnTo>
                    <a:pt x="0" y="2"/>
                  </a:lnTo>
                  <a:lnTo>
                    <a:pt x="0" y="13"/>
                  </a:lnTo>
                  <a:lnTo>
                    <a:pt x="0" y="23"/>
                  </a:lnTo>
                  <a:lnTo>
                    <a:pt x="5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7" name="ExtraShape1">
              <a:extLst>
                <a:ext uri="{FF2B5EF4-FFF2-40B4-BE49-F238E27FC236}">
                  <a16:creationId xmlns:a16="http://schemas.microsoft.com/office/drawing/2014/main" id="{3BE682FB-D8E3-43E7-8519-8A22EB94F50B}"/>
                </a:ext>
              </a:extLst>
            </p:cNvPr>
            <p:cNvSpPr/>
            <p:nvPr/>
          </p:nvSpPr>
          <p:spPr bwMode="auto">
            <a:xfrm>
              <a:off x="6802361" y="2761009"/>
              <a:ext cx="312101" cy="469743"/>
            </a:xfrm>
            <a:custGeom>
              <a:avLst/>
              <a:gdLst>
                <a:gd name="T0" fmla="*/ 5 w 112"/>
                <a:gd name="T1" fmla="*/ 32 h 168"/>
                <a:gd name="T2" fmla="*/ 0 w 112"/>
                <a:gd name="T3" fmla="*/ 46 h 168"/>
                <a:gd name="T4" fmla="*/ 26 w 112"/>
                <a:gd name="T5" fmla="*/ 68 h 168"/>
                <a:gd name="T6" fmla="*/ 33 w 112"/>
                <a:gd name="T7" fmla="*/ 81 h 168"/>
                <a:gd name="T8" fmla="*/ 21 w 112"/>
                <a:gd name="T9" fmla="*/ 105 h 168"/>
                <a:gd name="T10" fmla="*/ 28 w 112"/>
                <a:gd name="T11" fmla="*/ 123 h 168"/>
                <a:gd name="T12" fmla="*/ 23 w 112"/>
                <a:gd name="T13" fmla="*/ 137 h 168"/>
                <a:gd name="T14" fmla="*/ 16 w 112"/>
                <a:gd name="T15" fmla="*/ 152 h 168"/>
                <a:gd name="T16" fmla="*/ 24 w 112"/>
                <a:gd name="T17" fmla="*/ 163 h 168"/>
                <a:gd name="T18" fmla="*/ 37 w 112"/>
                <a:gd name="T19" fmla="*/ 167 h 168"/>
                <a:gd name="T20" fmla="*/ 63 w 112"/>
                <a:gd name="T21" fmla="*/ 165 h 168"/>
                <a:gd name="T22" fmla="*/ 103 w 112"/>
                <a:gd name="T23" fmla="*/ 137 h 168"/>
                <a:gd name="T24" fmla="*/ 85 w 112"/>
                <a:gd name="T25" fmla="*/ 92 h 168"/>
                <a:gd name="T26" fmla="*/ 83 w 112"/>
                <a:gd name="T27" fmla="*/ 59 h 168"/>
                <a:gd name="T28" fmla="*/ 67 w 112"/>
                <a:gd name="T29" fmla="*/ 26 h 168"/>
                <a:gd name="T30" fmla="*/ 5 w 112"/>
                <a:gd name="T31" fmla="*/ 3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68">
                  <a:moveTo>
                    <a:pt x="5" y="32"/>
                  </a:moveTo>
                  <a:cubicBezTo>
                    <a:pt x="1" y="36"/>
                    <a:pt x="0" y="42"/>
                    <a:pt x="0" y="46"/>
                  </a:cubicBezTo>
                  <a:cubicBezTo>
                    <a:pt x="2" y="60"/>
                    <a:pt x="17" y="61"/>
                    <a:pt x="26" y="68"/>
                  </a:cubicBezTo>
                  <a:cubicBezTo>
                    <a:pt x="30" y="71"/>
                    <a:pt x="33" y="76"/>
                    <a:pt x="33" y="81"/>
                  </a:cubicBezTo>
                  <a:cubicBezTo>
                    <a:pt x="32" y="90"/>
                    <a:pt x="23" y="96"/>
                    <a:pt x="21" y="105"/>
                  </a:cubicBezTo>
                  <a:cubicBezTo>
                    <a:pt x="20" y="113"/>
                    <a:pt x="27" y="116"/>
                    <a:pt x="28" y="123"/>
                  </a:cubicBezTo>
                  <a:cubicBezTo>
                    <a:pt x="29" y="128"/>
                    <a:pt x="26" y="133"/>
                    <a:pt x="23" y="137"/>
                  </a:cubicBezTo>
                  <a:cubicBezTo>
                    <a:pt x="20" y="142"/>
                    <a:pt x="16" y="145"/>
                    <a:pt x="16" y="152"/>
                  </a:cubicBezTo>
                  <a:cubicBezTo>
                    <a:pt x="17" y="156"/>
                    <a:pt x="20" y="160"/>
                    <a:pt x="24" y="163"/>
                  </a:cubicBezTo>
                  <a:cubicBezTo>
                    <a:pt x="28" y="165"/>
                    <a:pt x="32" y="167"/>
                    <a:pt x="37" y="167"/>
                  </a:cubicBezTo>
                  <a:cubicBezTo>
                    <a:pt x="46" y="168"/>
                    <a:pt x="55" y="167"/>
                    <a:pt x="63" y="165"/>
                  </a:cubicBezTo>
                  <a:cubicBezTo>
                    <a:pt x="79" y="162"/>
                    <a:pt x="96" y="151"/>
                    <a:pt x="103" y="137"/>
                  </a:cubicBezTo>
                  <a:cubicBezTo>
                    <a:pt x="112" y="119"/>
                    <a:pt x="82" y="98"/>
                    <a:pt x="85" y="92"/>
                  </a:cubicBezTo>
                  <a:cubicBezTo>
                    <a:pt x="88" y="86"/>
                    <a:pt x="98" y="71"/>
                    <a:pt x="83" y="59"/>
                  </a:cubicBezTo>
                  <a:cubicBezTo>
                    <a:pt x="69" y="48"/>
                    <a:pt x="85" y="44"/>
                    <a:pt x="67" y="26"/>
                  </a:cubicBezTo>
                  <a:cubicBezTo>
                    <a:pt x="60" y="18"/>
                    <a:pt x="33" y="0"/>
                    <a:pt x="5" y="32"/>
                  </a:cubicBezTo>
                  <a:close/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8" name="ExtraShape2">
              <a:extLst>
                <a:ext uri="{FF2B5EF4-FFF2-40B4-BE49-F238E27FC236}">
                  <a16:creationId xmlns:a16="http://schemas.microsoft.com/office/drawing/2014/main" id="{4F207882-7007-43FB-8A28-EE4462316426}"/>
                </a:ext>
              </a:extLst>
            </p:cNvPr>
            <p:cNvSpPr/>
            <p:nvPr/>
          </p:nvSpPr>
          <p:spPr bwMode="auto">
            <a:xfrm>
              <a:off x="6706821" y="2996677"/>
              <a:ext cx="36625" cy="19108"/>
            </a:xfrm>
            <a:custGeom>
              <a:avLst/>
              <a:gdLst>
                <a:gd name="T0" fmla="*/ 11 w 13"/>
                <a:gd name="T1" fmla="*/ 7 h 7"/>
                <a:gd name="T2" fmla="*/ 9 w 13"/>
                <a:gd name="T3" fmla="*/ 7 h 7"/>
                <a:gd name="T4" fmla="*/ 6 w 13"/>
                <a:gd name="T5" fmla="*/ 7 h 7"/>
                <a:gd name="T6" fmla="*/ 3 w 13"/>
                <a:gd name="T7" fmla="*/ 6 h 7"/>
                <a:gd name="T8" fmla="*/ 0 w 13"/>
                <a:gd name="T9" fmla="*/ 6 h 7"/>
                <a:gd name="T10" fmla="*/ 0 w 13"/>
                <a:gd name="T11" fmla="*/ 3 h 7"/>
                <a:gd name="T12" fmla="*/ 6 w 13"/>
                <a:gd name="T13" fmla="*/ 1 h 7"/>
                <a:gd name="T14" fmla="*/ 12 w 13"/>
                <a:gd name="T15" fmla="*/ 4 h 7"/>
                <a:gd name="T16" fmla="*/ 11 w 13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7">
                  <a:moveTo>
                    <a:pt x="11" y="7"/>
                  </a:moveTo>
                  <a:cubicBezTo>
                    <a:pt x="11" y="7"/>
                    <a:pt x="10" y="7"/>
                    <a:pt x="9" y="7"/>
                  </a:cubicBezTo>
                  <a:cubicBezTo>
                    <a:pt x="8" y="7"/>
                    <a:pt x="7" y="7"/>
                    <a:pt x="6" y="7"/>
                  </a:cubicBezTo>
                  <a:cubicBezTo>
                    <a:pt x="5" y="6"/>
                    <a:pt x="4" y="6"/>
                    <a:pt x="3" y="6"/>
                  </a:cubicBezTo>
                  <a:cubicBezTo>
                    <a:pt x="2" y="6"/>
                    <a:pt x="1" y="6"/>
                    <a:pt x="0" y="6"/>
                  </a:cubicBezTo>
                  <a:cubicBezTo>
                    <a:pt x="0" y="6"/>
                    <a:pt x="0" y="4"/>
                    <a:pt x="0" y="3"/>
                  </a:cubicBezTo>
                  <a:cubicBezTo>
                    <a:pt x="1" y="2"/>
                    <a:pt x="4" y="0"/>
                    <a:pt x="6" y="1"/>
                  </a:cubicBezTo>
                  <a:cubicBezTo>
                    <a:pt x="9" y="1"/>
                    <a:pt x="11" y="3"/>
                    <a:pt x="12" y="4"/>
                  </a:cubicBezTo>
                  <a:cubicBezTo>
                    <a:pt x="13" y="5"/>
                    <a:pt x="12" y="6"/>
                    <a:pt x="11" y="7"/>
                  </a:cubicBezTo>
                  <a:close/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9" name="ExtraShape3">
              <a:extLst>
                <a:ext uri="{FF2B5EF4-FFF2-40B4-BE49-F238E27FC236}">
                  <a16:creationId xmlns:a16="http://schemas.microsoft.com/office/drawing/2014/main" id="{AEB651E4-0029-4ABC-B8B2-78A67F0CBA49}"/>
                </a:ext>
              </a:extLst>
            </p:cNvPr>
            <p:cNvSpPr/>
            <p:nvPr/>
          </p:nvSpPr>
          <p:spPr bwMode="auto">
            <a:xfrm>
              <a:off x="6799177" y="3004638"/>
              <a:ext cx="36625" cy="15924"/>
            </a:xfrm>
            <a:custGeom>
              <a:avLst/>
              <a:gdLst>
                <a:gd name="T0" fmla="*/ 12 w 13"/>
                <a:gd name="T1" fmla="*/ 6 h 6"/>
                <a:gd name="T2" fmla="*/ 9 w 13"/>
                <a:gd name="T3" fmla="*/ 6 h 6"/>
                <a:gd name="T4" fmla="*/ 6 w 13"/>
                <a:gd name="T5" fmla="*/ 6 h 6"/>
                <a:gd name="T6" fmla="*/ 4 w 13"/>
                <a:gd name="T7" fmla="*/ 5 h 6"/>
                <a:gd name="T8" fmla="*/ 1 w 13"/>
                <a:gd name="T9" fmla="*/ 5 h 6"/>
                <a:gd name="T10" fmla="*/ 1 w 13"/>
                <a:gd name="T11" fmla="*/ 2 h 6"/>
                <a:gd name="T12" fmla="*/ 7 w 13"/>
                <a:gd name="T13" fmla="*/ 0 h 6"/>
                <a:gd name="T14" fmla="*/ 12 w 13"/>
                <a:gd name="T15" fmla="*/ 3 h 6"/>
                <a:gd name="T16" fmla="*/ 12 w 13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6">
                  <a:moveTo>
                    <a:pt x="12" y="6"/>
                  </a:moveTo>
                  <a:cubicBezTo>
                    <a:pt x="11" y="6"/>
                    <a:pt x="10" y="6"/>
                    <a:pt x="9" y="6"/>
                  </a:cubicBezTo>
                  <a:cubicBezTo>
                    <a:pt x="8" y="6"/>
                    <a:pt x="7" y="6"/>
                    <a:pt x="6" y="6"/>
                  </a:cubicBezTo>
                  <a:cubicBezTo>
                    <a:pt x="6" y="5"/>
                    <a:pt x="5" y="5"/>
                    <a:pt x="4" y="5"/>
                  </a:cubicBezTo>
                  <a:cubicBezTo>
                    <a:pt x="3" y="5"/>
                    <a:pt x="2" y="5"/>
                    <a:pt x="1" y="5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1"/>
                    <a:pt x="4" y="0"/>
                    <a:pt x="7" y="0"/>
                  </a:cubicBezTo>
                  <a:cubicBezTo>
                    <a:pt x="10" y="0"/>
                    <a:pt x="12" y="2"/>
                    <a:pt x="12" y="3"/>
                  </a:cubicBezTo>
                  <a:cubicBezTo>
                    <a:pt x="13" y="4"/>
                    <a:pt x="13" y="5"/>
                    <a:pt x="12" y="6"/>
                  </a:cubicBezTo>
                  <a:close/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0" name="ExtraShape4">
              <a:extLst>
                <a:ext uri="{FF2B5EF4-FFF2-40B4-BE49-F238E27FC236}">
                  <a16:creationId xmlns:a16="http://schemas.microsoft.com/office/drawing/2014/main" id="{7BD2E3FB-CD72-4B32-AA4F-B62F83CC8D8C}"/>
                </a:ext>
              </a:extLst>
            </p:cNvPr>
            <p:cNvSpPr/>
            <p:nvPr/>
          </p:nvSpPr>
          <p:spPr bwMode="auto">
            <a:xfrm>
              <a:off x="6713190" y="3030117"/>
              <a:ext cx="12739" cy="23885"/>
            </a:xfrm>
            <a:custGeom>
              <a:avLst/>
              <a:gdLst>
                <a:gd name="T0" fmla="*/ 2 w 5"/>
                <a:gd name="T1" fmla="*/ 9 h 9"/>
                <a:gd name="T2" fmla="*/ 2 w 5"/>
                <a:gd name="T3" fmla="*/ 9 h 9"/>
                <a:gd name="T4" fmla="*/ 0 w 5"/>
                <a:gd name="T5" fmla="*/ 6 h 9"/>
                <a:gd name="T6" fmla="*/ 0 w 5"/>
                <a:gd name="T7" fmla="*/ 2 h 9"/>
                <a:gd name="T8" fmla="*/ 3 w 5"/>
                <a:gd name="T9" fmla="*/ 0 h 9"/>
                <a:gd name="T10" fmla="*/ 5 w 5"/>
                <a:gd name="T11" fmla="*/ 2 h 9"/>
                <a:gd name="T12" fmla="*/ 4 w 5"/>
                <a:gd name="T13" fmla="*/ 7 h 9"/>
                <a:gd name="T14" fmla="*/ 2 w 5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9">
                  <a:moveTo>
                    <a:pt x="2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3" y="9"/>
                    <a:pt x="2" y="9"/>
                  </a:cubicBezTo>
                  <a:close/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1" name="ExtraShape5">
              <a:extLst>
                <a:ext uri="{FF2B5EF4-FFF2-40B4-BE49-F238E27FC236}">
                  <a16:creationId xmlns:a16="http://schemas.microsoft.com/office/drawing/2014/main" id="{4A39F3A0-5E25-40AD-B1DC-E048D9AD03D4}"/>
                </a:ext>
              </a:extLst>
            </p:cNvPr>
            <p:cNvSpPr/>
            <p:nvPr/>
          </p:nvSpPr>
          <p:spPr bwMode="auto">
            <a:xfrm>
              <a:off x="6802361" y="3038078"/>
              <a:ext cx="12739" cy="25477"/>
            </a:xfrm>
            <a:custGeom>
              <a:avLst/>
              <a:gdLst>
                <a:gd name="T0" fmla="*/ 2 w 5"/>
                <a:gd name="T1" fmla="*/ 9 h 9"/>
                <a:gd name="T2" fmla="*/ 2 w 5"/>
                <a:gd name="T3" fmla="*/ 9 h 9"/>
                <a:gd name="T4" fmla="*/ 0 w 5"/>
                <a:gd name="T5" fmla="*/ 6 h 9"/>
                <a:gd name="T6" fmla="*/ 1 w 5"/>
                <a:gd name="T7" fmla="*/ 2 h 9"/>
                <a:gd name="T8" fmla="*/ 3 w 5"/>
                <a:gd name="T9" fmla="*/ 0 h 9"/>
                <a:gd name="T10" fmla="*/ 5 w 5"/>
                <a:gd name="T11" fmla="*/ 2 h 9"/>
                <a:gd name="T12" fmla="*/ 5 w 5"/>
                <a:gd name="T13" fmla="*/ 7 h 9"/>
                <a:gd name="T14" fmla="*/ 2 w 5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9">
                  <a:moveTo>
                    <a:pt x="2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1" y="9"/>
                    <a:pt x="0" y="8"/>
                    <a:pt x="0" y="6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8"/>
                    <a:pt x="4" y="9"/>
                    <a:pt x="2" y="9"/>
                  </a:cubicBezTo>
                  <a:close/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2" name="ExtraShape6">
              <a:extLst>
                <a:ext uri="{FF2B5EF4-FFF2-40B4-BE49-F238E27FC236}">
                  <a16:creationId xmlns:a16="http://schemas.microsoft.com/office/drawing/2014/main" id="{DF45649F-CC34-4068-BAE6-3E7B29514120}"/>
                </a:ext>
              </a:extLst>
            </p:cNvPr>
            <p:cNvSpPr/>
            <p:nvPr/>
          </p:nvSpPr>
          <p:spPr bwMode="auto">
            <a:xfrm>
              <a:off x="6743444" y="3030117"/>
              <a:ext cx="27070" cy="55732"/>
            </a:xfrm>
            <a:custGeom>
              <a:avLst/>
              <a:gdLst>
                <a:gd name="T0" fmla="*/ 7 w 10"/>
                <a:gd name="T1" fmla="*/ 1 h 20"/>
                <a:gd name="T2" fmla="*/ 0 w 10"/>
                <a:gd name="T3" fmla="*/ 10 h 20"/>
                <a:gd name="T4" fmla="*/ 0 w 10"/>
                <a:gd name="T5" fmla="*/ 10 h 20"/>
                <a:gd name="T6" fmla="*/ 0 w 10"/>
                <a:gd name="T7" fmla="*/ 13 h 20"/>
                <a:gd name="T8" fmla="*/ 5 w 10"/>
                <a:gd name="T9" fmla="*/ 20 h 20"/>
                <a:gd name="T10" fmla="*/ 9 w 10"/>
                <a:gd name="T11" fmla="*/ 20 h 20"/>
                <a:gd name="T12" fmla="*/ 10 w 10"/>
                <a:gd name="T13" fmla="*/ 19 h 20"/>
                <a:gd name="T14" fmla="*/ 9 w 10"/>
                <a:gd name="T15" fmla="*/ 18 h 20"/>
                <a:gd name="T16" fmla="*/ 5 w 10"/>
                <a:gd name="T17" fmla="*/ 18 h 20"/>
                <a:gd name="T18" fmla="*/ 2 w 10"/>
                <a:gd name="T19" fmla="*/ 13 h 20"/>
                <a:gd name="T20" fmla="*/ 2 w 10"/>
                <a:gd name="T21" fmla="*/ 11 h 20"/>
                <a:gd name="T22" fmla="*/ 1 w 10"/>
                <a:gd name="T23" fmla="*/ 11 h 20"/>
                <a:gd name="T24" fmla="*/ 2 w 10"/>
                <a:gd name="T25" fmla="*/ 11 h 20"/>
                <a:gd name="T26" fmla="*/ 9 w 10"/>
                <a:gd name="T27" fmla="*/ 2 h 20"/>
                <a:gd name="T28" fmla="*/ 8 w 10"/>
                <a:gd name="T29" fmla="*/ 0 h 20"/>
                <a:gd name="T30" fmla="*/ 7 w 10"/>
                <a:gd name="T31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20">
                  <a:moveTo>
                    <a:pt x="7" y="1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0" y="17"/>
                    <a:pt x="2" y="19"/>
                    <a:pt x="5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10" y="19"/>
                    <a:pt x="10" y="19"/>
                  </a:cubicBezTo>
                  <a:cubicBezTo>
                    <a:pt x="10" y="18"/>
                    <a:pt x="10" y="18"/>
                    <a:pt x="9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3" y="18"/>
                    <a:pt x="2" y="16"/>
                    <a:pt x="2" y="13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8" y="0"/>
                  </a:cubicBezTo>
                  <a:cubicBezTo>
                    <a:pt x="8" y="0"/>
                    <a:pt x="7" y="0"/>
                    <a:pt x="7" y="1"/>
                  </a:cubicBezTo>
                  <a:close/>
                </a:path>
              </a:pathLst>
            </a:custGeom>
            <a:solidFill>
              <a:srgbClr val="0151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3" name="ExtraShape1">
              <a:extLst>
                <a:ext uri="{FF2B5EF4-FFF2-40B4-BE49-F238E27FC236}">
                  <a16:creationId xmlns:a16="http://schemas.microsoft.com/office/drawing/2014/main" id="{509261EC-BB51-4E39-A9A0-5176937CD55D}"/>
                </a:ext>
              </a:extLst>
            </p:cNvPr>
            <p:cNvSpPr/>
            <p:nvPr/>
          </p:nvSpPr>
          <p:spPr bwMode="auto">
            <a:xfrm>
              <a:off x="6770515" y="3098587"/>
              <a:ext cx="55733" cy="36624"/>
            </a:xfrm>
            <a:custGeom>
              <a:avLst/>
              <a:gdLst>
                <a:gd name="T0" fmla="*/ 12 w 20"/>
                <a:gd name="T1" fmla="*/ 13 h 13"/>
                <a:gd name="T2" fmla="*/ 3 w 20"/>
                <a:gd name="T3" fmla="*/ 13 h 13"/>
                <a:gd name="T4" fmla="*/ 0 w 20"/>
                <a:gd name="T5" fmla="*/ 9 h 13"/>
                <a:gd name="T6" fmla="*/ 0 w 20"/>
                <a:gd name="T7" fmla="*/ 0 h 13"/>
                <a:gd name="T8" fmla="*/ 20 w 20"/>
                <a:gd name="T9" fmla="*/ 2 h 13"/>
                <a:gd name="T10" fmla="*/ 20 w 20"/>
                <a:gd name="T11" fmla="*/ 6 h 13"/>
                <a:gd name="T12" fmla="*/ 12 w 20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3">
                  <a:moveTo>
                    <a:pt x="12" y="13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1" y="13"/>
                    <a:pt x="0" y="11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10"/>
                    <a:pt x="16" y="13"/>
                    <a:pt x="12" y="13"/>
                  </a:cubicBezTo>
                  <a:close/>
                </a:path>
              </a:pathLst>
            </a:custGeom>
            <a:solidFill>
              <a:srgbClr val="EA6A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4" name="ExtraShape2">
              <a:extLst>
                <a:ext uri="{FF2B5EF4-FFF2-40B4-BE49-F238E27FC236}">
                  <a16:creationId xmlns:a16="http://schemas.microsoft.com/office/drawing/2014/main" id="{8759409B-C18A-4DC0-AB09-2422B96FC90A}"/>
                </a:ext>
              </a:extLst>
            </p:cNvPr>
            <p:cNvSpPr/>
            <p:nvPr/>
          </p:nvSpPr>
          <p:spPr bwMode="auto">
            <a:xfrm>
              <a:off x="6792808" y="3112919"/>
              <a:ext cx="33440" cy="22293"/>
            </a:xfrm>
            <a:custGeom>
              <a:avLst/>
              <a:gdLst>
                <a:gd name="T0" fmla="*/ 4 w 12"/>
                <a:gd name="T1" fmla="*/ 8 h 8"/>
                <a:gd name="T2" fmla="*/ 3 w 12"/>
                <a:gd name="T3" fmla="*/ 8 h 8"/>
                <a:gd name="T4" fmla="*/ 0 w 12"/>
                <a:gd name="T5" fmla="*/ 4 h 8"/>
                <a:gd name="T6" fmla="*/ 12 w 12"/>
                <a:gd name="T7" fmla="*/ 1 h 8"/>
                <a:gd name="T8" fmla="*/ 4 w 12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8">
                  <a:moveTo>
                    <a:pt x="4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0"/>
                    <a:pt x="12" y="1"/>
                    <a:pt x="12" y="1"/>
                  </a:cubicBezTo>
                  <a:cubicBezTo>
                    <a:pt x="12" y="5"/>
                    <a:pt x="8" y="8"/>
                    <a:pt x="4" y="8"/>
                  </a:cubicBezTo>
                  <a:close/>
                </a:path>
              </a:pathLst>
            </a:custGeom>
            <a:solidFill>
              <a:srgbClr val="FF7A0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5" name="CustomText">
              <a:extLst>
                <a:ext uri="{FF2B5EF4-FFF2-40B4-BE49-F238E27FC236}">
                  <a16:creationId xmlns:a16="http://schemas.microsoft.com/office/drawing/2014/main" id="{83AE992F-315C-48DC-B847-09958674F4C3}"/>
                </a:ext>
              </a:extLst>
            </p:cNvPr>
            <p:cNvSpPr/>
            <p:nvPr/>
          </p:nvSpPr>
          <p:spPr>
            <a:xfrm>
              <a:off x="8335796" y="4185229"/>
              <a:ext cx="1322934" cy="376523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0000" lnSpcReduction="20000"/>
            </a:bodyPr>
            <a:lstStyle/>
            <a:p>
              <a:pPr marL="0" marR="0" lvl="0" indent="0" algn="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1" kern="1200" cap="none" normalizeH="0" baseline="0" noProof="0" dirty="0">
                  <a:solidFill>
                    <a:srgbClr val="012263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106" name="CustomText1">
              <a:extLst>
                <a:ext uri="{FF2B5EF4-FFF2-40B4-BE49-F238E27FC236}">
                  <a16:creationId xmlns:a16="http://schemas.microsoft.com/office/drawing/2014/main" id="{61F22E37-32B7-4025-915A-900E42479EE4}"/>
                </a:ext>
              </a:extLst>
            </p:cNvPr>
            <p:cNvSpPr/>
            <p:nvPr/>
          </p:nvSpPr>
          <p:spPr>
            <a:xfrm>
              <a:off x="8315095" y="4505135"/>
              <a:ext cx="1340117" cy="247904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lnSpcReduction="10000"/>
            </a:bodyPr>
            <a:lstStyle/>
            <a:p>
              <a:pPr lvl="0" algn="r">
                <a:defRPr/>
              </a:pPr>
              <a:r>
                <a:rPr lang="en-US" altLang="zh-CN" sz="1100" dirty="0">
                  <a:solidFill>
                    <a:srgbClr val="012263"/>
                  </a:solidFill>
                  <a:latin typeface="+mj-lt"/>
                </a:rPr>
                <a:t>OPTION HERE</a:t>
              </a:r>
              <a:endParaRPr kumimoji="0" lang="en-US" altLang="zh-CN" sz="1100" i="0" u="none" strike="noStrike" kern="1200" cap="none" spc="0" normalizeH="0" baseline="0" noProof="0" dirty="0">
                <a:ln>
                  <a:noFill/>
                </a:ln>
                <a:solidFill>
                  <a:srgbClr val="012263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7" name="ValueText">
              <a:extLst>
                <a:ext uri="{FF2B5EF4-FFF2-40B4-BE49-F238E27FC236}">
                  <a16:creationId xmlns:a16="http://schemas.microsoft.com/office/drawing/2014/main" id="{C2E15108-85D7-45B9-8268-D34C61F2ACFD}"/>
                </a:ext>
              </a:extLst>
            </p:cNvPr>
            <p:cNvSpPr txBox="1"/>
            <p:nvPr/>
          </p:nvSpPr>
          <p:spPr>
            <a:xfrm>
              <a:off x="7903149" y="2889467"/>
              <a:ext cx="1699204" cy="1274403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1600">
                  <a:solidFill>
                    <a:srgbClr val="002774"/>
                  </a:solidFill>
                  <a:latin typeface="+mj-lt"/>
                </a:rPr>
                <a:t>52%</a:t>
              </a:r>
              <a:endParaRPr lang="en-US" sz="1600" dirty="0">
                <a:solidFill>
                  <a:srgbClr val="002774"/>
                </a:solidFill>
                <a:latin typeface="+mj-lt"/>
              </a:endParaRPr>
            </a:p>
          </p:txBody>
        </p:sp>
      </p:grpSp>
      <p:sp>
        <p:nvSpPr>
          <p:cNvPr id="110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112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2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49240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01758368-54c8-4b26-9cb8-e3dc1125cf93" descr="8xQAAB+LCAAAAAAABADNWF2PojAU/S/d2TdjaEEqvumgk32YnUmczMvGBxaqdhfBFEzGTPzvWxDWW/kIjDAZH4i9vRdOzz09VN/RHffQBGE0QHfxcc/k9+XOEbHNnY1wdo+hx3w59yzCPRMxZxGa/HrPiggoenX8A8uyjjL+yAO+O+zSMJpoQ02GnDcQwloatJnLd45v8w2P5b1l5Ef0zITLgjhLjMWBDVA2MLShPjZMPMquVB+gBxEe9ukaToMcmg6g3Yd+KAC07FZ5qgFSn9Zr7rKXLduxtEpOvfAgngbecut4+UJmgm+2ccCiKAs8/f7D3BiUTUayML1lmn6ItvLm3xbyY1maJnGWgh41B23eCHrcCvR8bptVoClUTix4sCmiRtp3VF49BtWzMPSZExTLzwooK7c+X4HUGFrwQ8kFGgHQsNa8mxj3oUGzvJ1kPrMXC9hOBTZpAVvvQ4UVsG1zQWpgG61lqJSP2utQqTc/X4gja3jxweQKrFCH2GiLjo77ECKt8pX7qWqGCmyrOWyi9SHEStgLU7VDCJvg1kJUykl7Icr6lUTIA08+THk/w/35IByPSylleek7XcpNHFVuE04FW2ew0JK5YeDVZI2SrJI4SeOOPEKwmIkonblCAmZzptGC+8lxYxps/LxTsmt79lNmJks7M5CGMFqdigeTy9OVhSh4O01bgeZBE3phb4DrKyVceKLt+UtXHynslXCUPL8xRdcDuKjCqQQqqFw15bjPEippegI1abqbWJ3cvhGLs02X79H/wUQQcDcrEx9gQa9sra6yYPbOQi79HliYOe7fTligtxgK1ho5CiYVW8Lq3VJIDUcWpCVdioq480TI+7i9scgTUWsamztLY6auB3BVhTd87Z46y+drWUsdDVcdLYwAE3rht0L3TPRsL10xgW9yGNrMYayKrYHN3i1Gr+PJVJihykh1i84yIfekvcsQ/AEqm9tMC7YKI7iywt9B9fuLfj2nqWWC1vSYqkwY/TPRs9PcxsTq9A9Eq5168xQAAA==">
            <a:extLst>
              <a:ext uri="{FF2B5EF4-FFF2-40B4-BE49-F238E27FC236}">
                <a16:creationId xmlns:a16="http://schemas.microsoft.com/office/drawing/2014/main" id="{BA1B4E48-D107-424B-A8F3-9E2813A00367}"/>
              </a:ext>
            </a:extLst>
          </p:cNvPr>
          <p:cNvGrpSpPr>
            <a:grpSpLocks noChangeAspect="1"/>
          </p:cNvGrpSpPr>
          <p:nvPr/>
        </p:nvGrpSpPr>
        <p:grpSpPr>
          <a:xfrm>
            <a:off x="1895971" y="1579783"/>
            <a:ext cx="8400059" cy="3698435"/>
            <a:chOff x="1895971" y="1579783"/>
            <a:chExt cx="8400059" cy="3698435"/>
          </a:xfrm>
        </p:grpSpPr>
        <p:sp>
          <p:nvSpPr>
            <p:cNvPr id="3" name="ValueShape1">
              <a:extLst>
                <a:ext uri="{FF2B5EF4-FFF2-40B4-BE49-F238E27FC236}">
                  <a16:creationId xmlns:a16="http://schemas.microsoft.com/office/drawing/2014/main" id="{3C14DAE4-CADF-4402-9B73-15FB539F180B}"/>
                </a:ext>
              </a:extLst>
            </p:cNvPr>
            <p:cNvSpPr/>
            <p:nvPr/>
          </p:nvSpPr>
          <p:spPr>
            <a:xfrm>
              <a:off x="4945763" y="2176716"/>
              <a:ext cx="4587462" cy="36834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40385">
                  <a:schemeClr val="accent1">
                    <a:lumMod val="100000"/>
                  </a:schemeClr>
                </a:gs>
                <a:gs pos="40485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4" name="ValueShape2">
              <a:extLst>
                <a:ext uri="{FF2B5EF4-FFF2-40B4-BE49-F238E27FC236}">
                  <a16:creationId xmlns:a16="http://schemas.microsoft.com/office/drawing/2014/main" id="{9AA990BE-51A7-4C2C-8119-2603D652918D}"/>
                </a:ext>
              </a:extLst>
            </p:cNvPr>
            <p:cNvSpPr/>
            <p:nvPr/>
          </p:nvSpPr>
          <p:spPr>
            <a:xfrm>
              <a:off x="4945763" y="2954620"/>
              <a:ext cx="4587462" cy="36834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75000">
                  <a:schemeClr val="accent2">
                    <a:lumMod val="100000"/>
                  </a:schemeClr>
                </a:gs>
                <a:gs pos="75100">
                  <a:schemeClr val="accent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5" name="ValueShape3">
              <a:extLst>
                <a:ext uri="{FF2B5EF4-FFF2-40B4-BE49-F238E27FC236}">
                  <a16:creationId xmlns:a16="http://schemas.microsoft.com/office/drawing/2014/main" id="{5DF0343A-B995-4202-8291-A7F62A8706F2}"/>
                </a:ext>
              </a:extLst>
            </p:cNvPr>
            <p:cNvSpPr/>
            <p:nvPr/>
          </p:nvSpPr>
          <p:spPr>
            <a:xfrm>
              <a:off x="4975033" y="3732524"/>
              <a:ext cx="4587462" cy="36834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59615">
                  <a:schemeClr val="accent3">
                    <a:lumMod val="100000"/>
                  </a:schemeClr>
                </a:gs>
                <a:gs pos="59715">
                  <a:schemeClr val="accent3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6" name="ValueBack1">
              <a:extLst>
                <a:ext uri="{FF2B5EF4-FFF2-40B4-BE49-F238E27FC236}">
                  <a16:creationId xmlns:a16="http://schemas.microsoft.com/office/drawing/2014/main" id="{360AD0A2-2F25-4F89-9738-B3873C58F588}"/>
                </a:ext>
              </a:extLst>
            </p:cNvPr>
            <p:cNvSpPr/>
            <p:nvPr/>
          </p:nvSpPr>
          <p:spPr bwMode="auto">
            <a:xfrm>
              <a:off x="1895971" y="2765029"/>
              <a:ext cx="796469" cy="498056"/>
            </a:xfrm>
            <a:custGeom>
              <a:avLst/>
              <a:gdLst>
                <a:gd name="T0" fmla="*/ 171 w 547"/>
                <a:gd name="T1" fmla="*/ 343 h 343"/>
                <a:gd name="T2" fmla="*/ 334 w 547"/>
                <a:gd name="T3" fmla="*/ 225 h 343"/>
                <a:gd name="T4" fmla="*/ 508 w 547"/>
                <a:gd name="T5" fmla="*/ 225 h 343"/>
                <a:gd name="T6" fmla="*/ 547 w 547"/>
                <a:gd name="T7" fmla="*/ 185 h 343"/>
                <a:gd name="T8" fmla="*/ 508 w 547"/>
                <a:gd name="T9" fmla="*/ 146 h 343"/>
                <a:gd name="T10" fmla="*/ 340 w 547"/>
                <a:gd name="T11" fmla="*/ 146 h 343"/>
                <a:gd name="T12" fmla="*/ 171 w 547"/>
                <a:gd name="T13" fmla="*/ 0 h 343"/>
                <a:gd name="T14" fmla="*/ 0 w 547"/>
                <a:gd name="T15" fmla="*/ 171 h 343"/>
                <a:gd name="T16" fmla="*/ 171 w 547"/>
                <a:gd name="T17" fmla="*/ 343 h 343"/>
                <a:gd name="T18" fmla="*/ 171 w 547"/>
                <a:gd name="T19" fmla="*/ 79 h 343"/>
                <a:gd name="T20" fmla="*/ 263 w 547"/>
                <a:gd name="T21" fmla="*/ 171 h 343"/>
                <a:gd name="T22" fmla="*/ 171 w 547"/>
                <a:gd name="T23" fmla="*/ 263 h 343"/>
                <a:gd name="T24" fmla="*/ 79 w 547"/>
                <a:gd name="T25" fmla="*/ 171 h 343"/>
                <a:gd name="T26" fmla="*/ 171 w 547"/>
                <a:gd name="T27" fmla="*/ 79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7" h="343">
                  <a:moveTo>
                    <a:pt x="171" y="343"/>
                  </a:moveTo>
                  <a:cubicBezTo>
                    <a:pt x="247" y="343"/>
                    <a:pt x="311" y="293"/>
                    <a:pt x="334" y="225"/>
                  </a:cubicBezTo>
                  <a:cubicBezTo>
                    <a:pt x="508" y="225"/>
                    <a:pt x="508" y="225"/>
                    <a:pt x="508" y="225"/>
                  </a:cubicBezTo>
                  <a:cubicBezTo>
                    <a:pt x="530" y="225"/>
                    <a:pt x="547" y="207"/>
                    <a:pt x="547" y="185"/>
                  </a:cubicBezTo>
                  <a:cubicBezTo>
                    <a:pt x="547" y="163"/>
                    <a:pt x="530" y="146"/>
                    <a:pt x="508" y="146"/>
                  </a:cubicBezTo>
                  <a:cubicBezTo>
                    <a:pt x="340" y="146"/>
                    <a:pt x="340" y="146"/>
                    <a:pt x="340" y="146"/>
                  </a:cubicBezTo>
                  <a:cubicBezTo>
                    <a:pt x="328" y="63"/>
                    <a:pt x="257" y="0"/>
                    <a:pt x="171" y="0"/>
                  </a:cubicBezTo>
                  <a:cubicBezTo>
                    <a:pt x="77" y="0"/>
                    <a:pt x="0" y="77"/>
                    <a:pt x="0" y="171"/>
                  </a:cubicBezTo>
                  <a:cubicBezTo>
                    <a:pt x="0" y="265"/>
                    <a:pt x="77" y="343"/>
                    <a:pt x="171" y="343"/>
                  </a:cubicBezTo>
                  <a:close/>
                  <a:moveTo>
                    <a:pt x="171" y="79"/>
                  </a:moveTo>
                  <a:cubicBezTo>
                    <a:pt x="222" y="79"/>
                    <a:pt x="263" y="120"/>
                    <a:pt x="263" y="171"/>
                  </a:cubicBezTo>
                  <a:cubicBezTo>
                    <a:pt x="263" y="222"/>
                    <a:pt x="222" y="263"/>
                    <a:pt x="171" y="263"/>
                  </a:cubicBezTo>
                  <a:cubicBezTo>
                    <a:pt x="120" y="263"/>
                    <a:pt x="79" y="222"/>
                    <a:pt x="79" y="171"/>
                  </a:cubicBezTo>
                  <a:cubicBezTo>
                    <a:pt x="79" y="120"/>
                    <a:pt x="120" y="79"/>
                    <a:pt x="171" y="79"/>
                  </a:cubicBez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7" name="ValueBack2">
              <a:extLst>
                <a:ext uri="{FF2B5EF4-FFF2-40B4-BE49-F238E27FC236}">
                  <a16:creationId xmlns:a16="http://schemas.microsoft.com/office/drawing/2014/main" id="{D309DC99-4DA1-4C7C-8E1D-B2B1A351195C}"/>
                </a:ext>
              </a:extLst>
            </p:cNvPr>
            <p:cNvSpPr/>
            <p:nvPr/>
          </p:nvSpPr>
          <p:spPr bwMode="auto">
            <a:xfrm>
              <a:off x="3081217" y="1579783"/>
              <a:ext cx="498756" cy="820287"/>
            </a:xfrm>
            <a:custGeom>
              <a:avLst/>
              <a:gdLst>
                <a:gd name="T0" fmla="*/ 119 w 343"/>
                <a:gd name="T1" fmla="*/ 335 h 564"/>
                <a:gd name="T2" fmla="*/ 119 w 343"/>
                <a:gd name="T3" fmla="*/ 525 h 564"/>
                <a:gd name="T4" fmla="*/ 159 w 343"/>
                <a:gd name="T5" fmla="*/ 564 h 564"/>
                <a:gd name="T6" fmla="*/ 198 w 343"/>
                <a:gd name="T7" fmla="*/ 525 h 564"/>
                <a:gd name="T8" fmla="*/ 198 w 343"/>
                <a:gd name="T9" fmla="*/ 341 h 564"/>
                <a:gd name="T10" fmla="*/ 343 w 343"/>
                <a:gd name="T11" fmla="*/ 172 h 564"/>
                <a:gd name="T12" fmla="*/ 172 w 343"/>
                <a:gd name="T13" fmla="*/ 0 h 564"/>
                <a:gd name="T14" fmla="*/ 0 w 343"/>
                <a:gd name="T15" fmla="*/ 172 h 564"/>
                <a:gd name="T16" fmla="*/ 119 w 343"/>
                <a:gd name="T17" fmla="*/ 335 h 564"/>
                <a:gd name="T18" fmla="*/ 172 w 343"/>
                <a:gd name="T19" fmla="*/ 80 h 564"/>
                <a:gd name="T20" fmla="*/ 264 w 343"/>
                <a:gd name="T21" fmla="*/ 172 h 564"/>
                <a:gd name="T22" fmla="*/ 172 w 343"/>
                <a:gd name="T23" fmla="*/ 264 h 564"/>
                <a:gd name="T24" fmla="*/ 80 w 343"/>
                <a:gd name="T25" fmla="*/ 172 h 564"/>
                <a:gd name="T26" fmla="*/ 172 w 343"/>
                <a:gd name="T27" fmla="*/ 80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3" h="564">
                  <a:moveTo>
                    <a:pt x="119" y="335"/>
                  </a:moveTo>
                  <a:cubicBezTo>
                    <a:pt x="119" y="525"/>
                    <a:pt x="119" y="525"/>
                    <a:pt x="119" y="525"/>
                  </a:cubicBezTo>
                  <a:cubicBezTo>
                    <a:pt x="119" y="547"/>
                    <a:pt x="137" y="564"/>
                    <a:pt x="159" y="564"/>
                  </a:cubicBezTo>
                  <a:cubicBezTo>
                    <a:pt x="181" y="564"/>
                    <a:pt x="198" y="547"/>
                    <a:pt x="198" y="525"/>
                  </a:cubicBezTo>
                  <a:cubicBezTo>
                    <a:pt x="198" y="341"/>
                    <a:pt x="198" y="341"/>
                    <a:pt x="198" y="341"/>
                  </a:cubicBezTo>
                  <a:cubicBezTo>
                    <a:pt x="280" y="328"/>
                    <a:pt x="343" y="257"/>
                    <a:pt x="343" y="172"/>
                  </a:cubicBezTo>
                  <a:cubicBezTo>
                    <a:pt x="343" y="77"/>
                    <a:pt x="266" y="0"/>
                    <a:pt x="172" y="0"/>
                  </a:cubicBezTo>
                  <a:cubicBezTo>
                    <a:pt x="77" y="0"/>
                    <a:pt x="0" y="77"/>
                    <a:pt x="0" y="172"/>
                  </a:cubicBezTo>
                  <a:cubicBezTo>
                    <a:pt x="0" y="248"/>
                    <a:pt x="50" y="312"/>
                    <a:pt x="119" y="335"/>
                  </a:cubicBezTo>
                  <a:close/>
                  <a:moveTo>
                    <a:pt x="172" y="80"/>
                  </a:moveTo>
                  <a:cubicBezTo>
                    <a:pt x="222" y="80"/>
                    <a:pt x="264" y="121"/>
                    <a:pt x="264" y="172"/>
                  </a:cubicBezTo>
                  <a:cubicBezTo>
                    <a:pt x="264" y="222"/>
                    <a:pt x="222" y="264"/>
                    <a:pt x="172" y="264"/>
                  </a:cubicBezTo>
                  <a:cubicBezTo>
                    <a:pt x="121" y="264"/>
                    <a:pt x="80" y="222"/>
                    <a:pt x="80" y="172"/>
                  </a:cubicBezTo>
                  <a:cubicBezTo>
                    <a:pt x="80" y="121"/>
                    <a:pt x="121" y="80"/>
                    <a:pt x="172" y="80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" name="ValueBack3">
              <a:extLst>
                <a:ext uri="{FF2B5EF4-FFF2-40B4-BE49-F238E27FC236}">
                  <a16:creationId xmlns:a16="http://schemas.microsoft.com/office/drawing/2014/main" id="{F0CDA951-282E-4090-9939-53B53F1D2F7D}"/>
                </a:ext>
              </a:extLst>
            </p:cNvPr>
            <p:cNvSpPr/>
            <p:nvPr/>
          </p:nvSpPr>
          <p:spPr bwMode="auto">
            <a:xfrm>
              <a:off x="3945635" y="2765029"/>
              <a:ext cx="819585" cy="496655"/>
            </a:xfrm>
            <a:custGeom>
              <a:avLst/>
              <a:gdLst>
                <a:gd name="T0" fmla="*/ 40 w 563"/>
                <a:gd name="T1" fmla="*/ 225 h 342"/>
                <a:gd name="T2" fmla="*/ 229 w 563"/>
                <a:gd name="T3" fmla="*/ 225 h 342"/>
                <a:gd name="T4" fmla="*/ 392 w 563"/>
                <a:gd name="T5" fmla="*/ 342 h 342"/>
                <a:gd name="T6" fmla="*/ 563 w 563"/>
                <a:gd name="T7" fmla="*/ 171 h 342"/>
                <a:gd name="T8" fmla="*/ 392 w 563"/>
                <a:gd name="T9" fmla="*/ 0 h 342"/>
                <a:gd name="T10" fmla="*/ 223 w 563"/>
                <a:gd name="T11" fmla="*/ 146 h 342"/>
                <a:gd name="T12" fmla="*/ 40 w 563"/>
                <a:gd name="T13" fmla="*/ 146 h 342"/>
                <a:gd name="T14" fmla="*/ 0 w 563"/>
                <a:gd name="T15" fmla="*/ 185 h 342"/>
                <a:gd name="T16" fmla="*/ 40 w 563"/>
                <a:gd name="T17" fmla="*/ 225 h 342"/>
                <a:gd name="T18" fmla="*/ 392 w 563"/>
                <a:gd name="T19" fmla="*/ 79 h 342"/>
                <a:gd name="T20" fmla="*/ 484 w 563"/>
                <a:gd name="T21" fmla="*/ 171 h 342"/>
                <a:gd name="T22" fmla="*/ 392 w 563"/>
                <a:gd name="T23" fmla="*/ 263 h 342"/>
                <a:gd name="T24" fmla="*/ 300 w 563"/>
                <a:gd name="T25" fmla="*/ 171 h 342"/>
                <a:gd name="T26" fmla="*/ 392 w 563"/>
                <a:gd name="T27" fmla="*/ 7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3" h="342">
                  <a:moveTo>
                    <a:pt x="40" y="225"/>
                  </a:moveTo>
                  <a:cubicBezTo>
                    <a:pt x="229" y="225"/>
                    <a:pt x="229" y="225"/>
                    <a:pt x="229" y="225"/>
                  </a:cubicBezTo>
                  <a:cubicBezTo>
                    <a:pt x="252" y="293"/>
                    <a:pt x="316" y="342"/>
                    <a:pt x="392" y="342"/>
                  </a:cubicBezTo>
                  <a:cubicBezTo>
                    <a:pt x="486" y="342"/>
                    <a:pt x="563" y="265"/>
                    <a:pt x="563" y="171"/>
                  </a:cubicBezTo>
                  <a:cubicBezTo>
                    <a:pt x="563" y="77"/>
                    <a:pt x="486" y="0"/>
                    <a:pt x="392" y="0"/>
                  </a:cubicBezTo>
                  <a:cubicBezTo>
                    <a:pt x="306" y="0"/>
                    <a:pt x="235" y="63"/>
                    <a:pt x="223" y="146"/>
                  </a:cubicBezTo>
                  <a:cubicBezTo>
                    <a:pt x="40" y="146"/>
                    <a:pt x="40" y="146"/>
                    <a:pt x="40" y="146"/>
                  </a:cubicBezTo>
                  <a:cubicBezTo>
                    <a:pt x="18" y="146"/>
                    <a:pt x="0" y="163"/>
                    <a:pt x="0" y="185"/>
                  </a:cubicBezTo>
                  <a:cubicBezTo>
                    <a:pt x="0" y="207"/>
                    <a:pt x="18" y="225"/>
                    <a:pt x="40" y="225"/>
                  </a:cubicBezTo>
                  <a:close/>
                  <a:moveTo>
                    <a:pt x="392" y="79"/>
                  </a:moveTo>
                  <a:cubicBezTo>
                    <a:pt x="443" y="79"/>
                    <a:pt x="484" y="120"/>
                    <a:pt x="484" y="171"/>
                  </a:cubicBezTo>
                  <a:cubicBezTo>
                    <a:pt x="484" y="222"/>
                    <a:pt x="443" y="263"/>
                    <a:pt x="392" y="263"/>
                  </a:cubicBezTo>
                  <a:cubicBezTo>
                    <a:pt x="341" y="263"/>
                    <a:pt x="300" y="222"/>
                    <a:pt x="300" y="171"/>
                  </a:cubicBezTo>
                  <a:cubicBezTo>
                    <a:pt x="300" y="120"/>
                    <a:pt x="341" y="79"/>
                    <a:pt x="392" y="79"/>
                  </a:cubicBez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" name="ExtraShape1">
              <a:extLst>
                <a:ext uri="{FF2B5EF4-FFF2-40B4-BE49-F238E27FC236}">
                  <a16:creationId xmlns:a16="http://schemas.microsoft.com/office/drawing/2014/main" id="{14C398F4-689D-49AE-8196-B88A3D92C850}"/>
                </a:ext>
              </a:extLst>
            </p:cNvPr>
            <p:cNvSpPr/>
            <p:nvPr/>
          </p:nvSpPr>
          <p:spPr bwMode="auto">
            <a:xfrm>
              <a:off x="3747393" y="1927231"/>
              <a:ext cx="696297" cy="652866"/>
            </a:xfrm>
            <a:custGeom>
              <a:avLst/>
              <a:gdLst>
                <a:gd name="T0" fmla="*/ 15 w 478"/>
                <a:gd name="T1" fmla="*/ 437 h 449"/>
                <a:gd name="T2" fmla="*/ 43 w 478"/>
                <a:gd name="T3" fmla="*/ 449 h 449"/>
                <a:gd name="T4" fmla="*/ 71 w 478"/>
                <a:gd name="T5" fmla="*/ 437 h 449"/>
                <a:gd name="T6" fmla="*/ 194 w 478"/>
                <a:gd name="T7" fmla="*/ 314 h 449"/>
                <a:gd name="T8" fmla="*/ 290 w 478"/>
                <a:gd name="T9" fmla="*/ 343 h 449"/>
                <a:gd name="T10" fmla="*/ 411 w 478"/>
                <a:gd name="T11" fmla="*/ 293 h 449"/>
                <a:gd name="T12" fmla="*/ 411 w 478"/>
                <a:gd name="T13" fmla="*/ 50 h 449"/>
                <a:gd name="T14" fmla="*/ 290 w 478"/>
                <a:gd name="T15" fmla="*/ 0 h 449"/>
                <a:gd name="T16" fmla="*/ 168 w 478"/>
                <a:gd name="T17" fmla="*/ 50 h 449"/>
                <a:gd name="T18" fmla="*/ 141 w 478"/>
                <a:gd name="T19" fmla="*/ 256 h 449"/>
                <a:gd name="T20" fmla="*/ 16 w 478"/>
                <a:gd name="T21" fmla="*/ 381 h 449"/>
                <a:gd name="T22" fmla="*/ 15 w 478"/>
                <a:gd name="T23" fmla="*/ 437 h 449"/>
                <a:gd name="T24" fmla="*/ 224 w 478"/>
                <a:gd name="T25" fmla="*/ 106 h 449"/>
                <a:gd name="T26" fmla="*/ 290 w 478"/>
                <a:gd name="T27" fmla="*/ 79 h 449"/>
                <a:gd name="T28" fmla="*/ 355 w 478"/>
                <a:gd name="T29" fmla="*/ 106 h 449"/>
                <a:gd name="T30" fmla="*/ 355 w 478"/>
                <a:gd name="T31" fmla="*/ 236 h 449"/>
                <a:gd name="T32" fmla="*/ 290 w 478"/>
                <a:gd name="T33" fmla="*/ 263 h 449"/>
                <a:gd name="T34" fmla="*/ 224 w 478"/>
                <a:gd name="T35" fmla="*/ 236 h 449"/>
                <a:gd name="T36" fmla="*/ 224 w 478"/>
                <a:gd name="T37" fmla="*/ 106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8" h="449">
                  <a:moveTo>
                    <a:pt x="15" y="437"/>
                  </a:moveTo>
                  <a:cubicBezTo>
                    <a:pt x="23" y="445"/>
                    <a:pt x="33" y="449"/>
                    <a:pt x="43" y="449"/>
                  </a:cubicBezTo>
                  <a:cubicBezTo>
                    <a:pt x="53" y="449"/>
                    <a:pt x="64" y="445"/>
                    <a:pt x="71" y="437"/>
                  </a:cubicBezTo>
                  <a:cubicBezTo>
                    <a:pt x="194" y="314"/>
                    <a:pt x="194" y="314"/>
                    <a:pt x="194" y="314"/>
                  </a:cubicBezTo>
                  <a:cubicBezTo>
                    <a:pt x="222" y="333"/>
                    <a:pt x="255" y="343"/>
                    <a:pt x="290" y="343"/>
                  </a:cubicBezTo>
                  <a:cubicBezTo>
                    <a:pt x="335" y="343"/>
                    <a:pt x="378" y="325"/>
                    <a:pt x="411" y="293"/>
                  </a:cubicBezTo>
                  <a:cubicBezTo>
                    <a:pt x="478" y="226"/>
                    <a:pt x="478" y="117"/>
                    <a:pt x="411" y="50"/>
                  </a:cubicBezTo>
                  <a:cubicBezTo>
                    <a:pt x="378" y="18"/>
                    <a:pt x="335" y="0"/>
                    <a:pt x="290" y="0"/>
                  </a:cubicBezTo>
                  <a:cubicBezTo>
                    <a:pt x="244" y="0"/>
                    <a:pt x="201" y="18"/>
                    <a:pt x="168" y="50"/>
                  </a:cubicBezTo>
                  <a:cubicBezTo>
                    <a:pt x="113" y="106"/>
                    <a:pt x="104" y="191"/>
                    <a:pt x="141" y="256"/>
                  </a:cubicBezTo>
                  <a:cubicBezTo>
                    <a:pt x="16" y="381"/>
                    <a:pt x="16" y="381"/>
                    <a:pt x="16" y="381"/>
                  </a:cubicBezTo>
                  <a:cubicBezTo>
                    <a:pt x="0" y="396"/>
                    <a:pt x="0" y="421"/>
                    <a:pt x="15" y="437"/>
                  </a:cubicBezTo>
                  <a:close/>
                  <a:moveTo>
                    <a:pt x="224" y="106"/>
                  </a:moveTo>
                  <a:cubicBezTo>
                    <a:pt x="242" y="88"/>
                    <a:pt x="265" y="79"/>
                    <a:pt x="290" y="79"/>
                  </a:cubicBezTo>
                  <a:cubicBezTo>
                    <a:pt x="314" y="79"/>
                    <a:pt x="337" y="89"/>
                    <a:pt x="355" y="106"/>
                  </a:cubicBezTo>
                  <a:cubicBezTo>
                    <a:pt x="391" y="142"/>
                    <a:pt x="391" y="200"/>
                    <a:pt x="355" y="236"/>
                  </a:cubicBezTo>
                  <a:cubicBezTo>
                    <a:pt x="337" y="254"/>
                    <a:pt x="314" y="263"/>
                    <a:pt x="290" y="263"/>
                  </a:cubicBezTo>
                  <a:cubicBezTo>
                    <a:pt x="265" y="263"/>
                    <a:pt x="242" y="254"/>
                    <a:pt x="224" y="236"/>
                  </a:cubicBezTo>
                  <a:cubicBezTo>
                    <a:pt x="188" y="200"/>
                    <a:pt x="188" y="142"/>
                    <a:pt x="224" y="1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" name="ExtraShape2">
              <a:extLst>
                <a:ext uri="{FF2B5EF4-FFF2-40B4-BE49-F238E27FC236}">
                  <a16:creationId xmlns:a16="http://schemas.microsoft.com/office/drawing/2014/main" id="{99AE09E2-72F7-4186-8AC4-3B5FF543F810}"/>
                </a:ext>
              </a:extLst>
            </p:cNvPr>
            <p:cNvSpPr/>
            <p:nvPr/>
          </p:nvSpPr>
          <p:spPr bwMode="auto">
            <a:xfrm>
              <a:off x="2226606" y="1927231"/>
              <a:ext cx="687191" cy="662673"/>
            </a:xfrm>
            <a:custGeom>
              <a:avLst/>
              <a:gdLst>
                <a:gd name="T0" fmla="*/ 189 w 472"/>
                <a:gd name="T1" fmla="*/ 343 h 456"/>
                <a:gd name="T2" fmla="*/ 275 w 472"/>
                <a:gd name="T3" fmla="*/ 319 h 456"/>
                <a:gd name="T4" fmla="*/ 400 w 472"/>
                <a:gd name="T5" fmla="*/ 444 h 456"/>
                <a:gd name="T6" fmla="*/ 428 w 472"/>
                <a:gd name="T7" fmla="*/ 456 h 456"/>
                <a:gd name="T8" fmla="*/ 456 w 472"/>
                <a:gd name="T9" fmla="*/ 444 h 456"/>
                <a:gd name="T10" fmla="*/ 456 w 472"/>
                <a:gd name="T11" fmla="*/ 388 h 456"/>
                <a:gd name="T12" fmla="*/ 332 w 472"/>
                <a:gd name="T13" fmla="*/ 264 h 456"/>
                <a:gd name="T14" fmla="*/ 309 w 472"/>
                <a:gd name="T15" fmla="*/ 50 h 456"/>
                <a:gd name="T16" fmla="*/ 188 w 472"/>
                <a:gd name="T17" fmla="*/ 0 h 456"/>
                <a:gd name="T18" fmla="*/ 67 w 472"/>
                <a:gd name="T19" fmla="*/ 50 h 456"/>
                <a:gd name="T20" fmla="*/ 67 w 472"/>
                <a:gd name="T21" fmla="*/ 292 h 456"/>
                <a:gd name="T22" fmla="*/ 189 w 472"/>
                <a:gd name="T23" fmla="*/ 343 h 456"/>
                <a:gd name="T24" fmla="*/ 123 w 472"/>
                <a:gd name="T25" fmla="*/ 106 h 456"/>
                <a:gd name="T26" fmla="*/ 189 w 472"/>
                <a:gd name="T27" fmla="*/ 79 h 456"/>
                <a:gd name="T28" fmla="*/ 254 w 472"/>
                <a:gd name="T29" fmla="*/ 106 h 456"/>
                <a:gd name="T30" fmla="*/ 254 w 472"/>
                <a:gd name="T31" fmla="*/ 236 h 456"/>
                <a:gd name="T32" fmla="*/ 189 w 472"/>
                <a:gd name="T33" fmla="*/ 263 h 456"/>
                <a:gd name="T34" fmla="*/ 123 w 472"/>
                <a:gd name="T35" fmla="*/ 236 h 456"/>
                <a:gd name="T36" fmla="*/ 123 w 472"/>
                <a:gd name="T37" fmla="*/ 10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2" h="456">
                  <a:moveTo>
                    <a:pt x="189" y="343"/>
                  </a:moveTo>
                  <a:cubicBezTo>
                    <a:pt x="219" y="343"/>
                    <a:pt x="249" y="334"/>
                    <a:pt x="275" y="319"/>
                  </a:cubicBezTo>
                  <a:cubicBezTo>
                    <a:pt x="400" y="444"/>
                    <a:pt x="400" y="444"/>
                    <a:pt x="400" y="444"/>
                  </a:cubicBezTo>
                  <a:cubicBezTo>
                    <a:pt x="408" y="452"/>
                    <a:pt x="418" y="456"/>
                    <a:pt x="428" y="456"/>
                  </a:cubicBezTo>
                  <a:cubicBezTo>
                    <a:pt x="438" y="456"/>
                    <a:pt x="449" y="452"/>
                    <a:pt x="456" y="444"/>
                  </a:cubicBezTo>
                  <a:cubicBezTo>
                    <a:pt x="472" y="429"/>
                    <a:pt x="472" y="404"/>
                    <a:pt x="456" y="388"/>
                  </a:cubicBezTo>
                  <a:cubicBezTo>
                    <a:pt x="332" y="264"/>
                    <a:pt x="332" y="264"/>
                    <a:pt x="332" y="264"/>
                  </a:cubicBezTo>
                  <a:cubicBezTo>
                    <a:pt x="375" y="198"/>
                    <a:pt x="368" y="108"/>
                    <a:pt x="309" y="50"/>
                  </a:cubicBezTo>
                  <a:cubicBezTo>
                    <a:pt x="277" y="17"/>
                    <a:pt x="234" y="0"/>
                    <a:pt x="188" y="0"/>
                  </a:cubicBezTo>
                  <a:cubicBezTo>
                    <a:pt x="143" y="0"/>
                    <a:pt x="99" y="18"/>
                    <a:pt x="67" y="50"/>
                  </a:cubicBezTo>
                  <a:cubicBezTo>
                    <a:pt x="0" y="117"/>
                    <a:pt x="0" y="225"/>
                    <a:pt x="67" y="292"/>
                  </a:cubicBezTo>
                  <a:cubicBezTo>
                    <a:pt x="100" y="325"/>
                    <a:pt x="143" y="343"/>
                    <a:pt x="189" y="343"/>
                  </a:cubicBezTo>
                  <a:close/>
                  <a:moveTo>
                    <a:pt x="123" y="106"/>
                  </a:moveTo>
                  <a:cubicBezTo>
                    <a:pt x="141" y="88"/>
                    <a:pt x="164" y="79"/>
                    <a:pt x="189" y="79"/>
                  </a:cubicBezTo>
                  <a:cubicBezTo>
                    <a:pt x="213" y="79"/>
                    <a:pt x="236" y="89"/>
                    <a:pt x="254" y="106"/>
                  </a:cubicBezTo>
                  <a:cubicBezTo>
                    <a:pt x="290" y="142"/>
                    <a:pt x="290" y="200"/>
                    <a:pt x="254" y="236"/>
                  </a:cubicBezTo>
                  <a:cubicBezTo>
                    <a:pt x="236" y="254"/>
                    <a:pt x="213" y="263"/>
                    <a:pt x="189" y="263"/>
                  </a:cubicBezTo>
                  <a:cubicBezTo>
                    <a:pt x="164" y="263"/>
                    <a:pt x="141" y="254"/>
                    <a:pt x="123" y="236"/>
                  </a:cubicBezTo>
                  <a:cubicBezTo>
                    <a:pt x="87" y="200"/>
                    <a:pt x="87" y="142"/>
                    <a:pt x="123" y="1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1" name="ExtraShape3">
              <a:extLst>
                <a:ext uri="{FF2B5EF4-FFF2-40B4-BE49-F238E27FC236}">
                  <a16:creationId xmlns:a16="http://schemas.microsoft.com/office/drawing/2014/main" id="{843E5C8C-0C92-4093-8CBD-6EE638BDE284}"/>
                </a:ext>
              </a:extLst>
            </p:cNvPr>
            <p:cNvSpPr/>
            <p:nvPr/>
          </p:nvSpPr>
          <p:spPr bwMode="auto">
            <a:xfrm>
              <a:off x="2504706" y="2588503"/>
              <a:ext cx="1653181" cy="1773667"/>
            </a:xfrm>
            <a:custGeom>
              <a:avLst/>
              <a:gdLst>
                <a:gd name="T0" fmla="*/ 353 w 1136"/>
                <a:gd name="T1" fmla="*/ 553 h 1220"/>
                <a:gd name="T2" fmla="*/ 353 w 1136"/>
                <a:gd name="T3" fmla="*/ 725 h 1220"/>
                <a:gd name="T4" fmla="*/ 53 w 1136"/>
                <a:gd name="T5" fmla="*/ 920 h 1220"/>
                <a:gd name="T6" fmla="*/ 0 w 1136"/>
                <a:gd name="T7" fmla="*/ 1032 h 1220"/>
                <a:gd name="T8" fmla="*/ 0 w 1136"/>
                <a:gd name="T9" fmla="*/ 1181 h 1220"/>
                <a:gd name="T10" fmla="*/ 40 w 1136"/>
                <a:gd name="T11" fmla="*/ 1220 h 1220"/>
                <a:gd name="T12" fmla="*/ 79 w 1136"/>
                <a:gd name="T13" fmla="*/ 1181 h 1220"/>
                <a:gd name="T14" fmla="*/ 79 w 1136"/>
                <a:gd name="T15" fmla="*/ 1032 h 1220"/>
                <a:gd name="T16" fmla="*/ 103 w 1136"/>
                <a:gd name="T17" fmla="*/ 981 h 1220"/>
                <a:gd name="T18" fmla="*/ 404 w 1136"/>
                <a:gd name="T19" fmla="*/ 788 h 1220"/>
                <a:gd name="T20" fmla="*/ 432 w 1136"/>
                <a:gd name="T21" fmla="*/ 744 h 1220"/>
                <a:gd name="T22" fmla="*/ 432 w 1136"/>
                <a:gd name="T23" fmla="*/ 534 h 1220"/>
                <a:gd name="T24" fmla="*/ 414 w 1136"/>
                <a:gd name="T25" fmla="*/ 502 h 1220"/>
                <a:gd name="T26" fmla="*/ 388 w 1136"/>
                <a:gd name="T27" fmla="*/ 453 h 1220"/>
                <a:gd name="T28" fmla="*/ 388 w 1136"/>
                <a:gd name="T29" fmla="*/ 236 h 1220"/>
                <a:gd name="T30" fmla="*/ 544 w 1136"/>
                <a:gd name="T31" fmla="*/ 80 h 1220"/>
                <a:gd name="T32" fmla="*/ 591 w 1136"/>
                <a:gd name="T33" fmla="*/ 80 h 1220"/>
                <a:gd name="T34" fmla="*/ 747 w 1136"/>
                <a:gd name="T35" fmla="*/ 236 h 1220"/>
                <a:gd name="T36" fmla="*/ 747 w 1136"/>
                <a:gd name="T37" fmla="*/ 453 h 1220"/>
                <a:gd name="T38" fmla="*/ 721 w 1136"/>
                <a:gd name="T39" fmla="*/ 502 h 1220"/>
                <a:gd name="T40" fmla="*/ 704 w 1136"/>
                <a:gd name="T41" fmla="*/ 534 h 1220"/>
                <a:gd name="T42" fmla="*/ 704 w 1136"/>
                <a:gd name="T43" fmla="*/ 744 h 1220"/>
                <a:gd name="T44" fmla="*/ 731 w 1136"/>
                <a:gd name="T45" fmla="*/ 788 h 1220"/>
                <a:gd name="T46" fmla="*/ 1032 w 1136"/>
                <a:gd name="T47" fmla="*/ 981 h 1220"/>
                <a:gd name="T48" fmla="*/ 1056 w 1136"/>
                <a:gd name="T49" fmla="*/ 1032 h 1220"/>
                <a:gd name="T50" fmla="*/ 1056 w 1136"/>
                <a:gd name="T51" fmla="*/ 1181 h 1220"/>
                <a:gd name="T52" fmla="*/ 1096 w 1136"/>
                <a:gd name="T53" fmla="*/ 1220 h 1220"/>
                <a:gd name="T54" fmla="*/ 1136 w 1136"/>
                <a:gd name="T55" fmla="*/ 1181 h 1220"/>
                <a:gd name="T56" fmla="*/ 1136 w 1136"/>
                <a:gd name="T57" fmla="*/ 1032 h 1220"/>
                <a:gd name="T58" fmla="*/ 1083 w 1136"/>
                <a:gd name="T59" fmla="*/ 920 h 1220"/>
                <a:gd name="T60" fmla="*/ 783 w 1136"/>
                <a:gd name="T61" fmla="*/ 725 h 1220"/>
                <a:gd name="T62" fmla="*/ 783 w 1136"/>
                <a:gd name="T63" fmla="*/ 553 h 1220"/>
                <a:gd name="T64" fmla="*/ 826 w 1136"/>
                <a:gd name="T65" fmla="*/ 453 h 1220"/>
                <a:gd name="T66" fmla="*/ 826 w 1136"/>
                <a:gd name="T67" fmla="*/ 236 h 1220"/>
                <a:gd name="T68" fmla="*/ 591 w 1136"/>
                <a:gd name="T69" fmla="*/ 0 h 1220"/>
                <a:gd name="T70" fmla="*/ 544 w 1136"/>
                <a:gd name="T71" fmla="*/ 0 h 1220"/>
                <a:gd name="T72" fmla="*/ 309 w 1136"/>
                <a:gd name="T73" fmla="*/ 236 h 1220"/>
                <a:gd name="T74" fmla="*/ 309 w 1136"/>
                <a:gd name="T75" fmla="*/ 453 h 1220"/>
                <a:gd name="T76" fmla="*/ 353 w 1136"/>
                <a:gd name="T77" fmla="*/ 553 h 1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36" h="1220">
                  <a:moveTo>
                    <a:pt x="353" y="553"/>
                  </a:moveTo>
                  <a:cubicBezTo>
                    <a:pt x="353" y="725"/>
                    <a:pt x="353" y="725"/>
                    <a:pt x="353" y="725"/>
                  </a:cubicBezTo>
                  <a:cubicBezTo>
                    <a:pt x="302" y="751"/>
                    <a:pt x="173" y="821"/>
                    <a:pt x="53" y="920"/>
                  </a:cubicBezTo>
                  <a:cubicBezTo>
                    <a:pt x="19" y="948"/>
                    <a:pt x="0" y="988"/>
                    <a:pt x="0" y="1032"/>
                  </a:cubicBezTo>
                  <a:cubicBezTo>
                    <a:pt x="0" y="1181"/>
                    <a:pt x="0" y="1181"/>
                    <a:pt x="0" y="1181"/>
                  </a:cubicBezTo>
                  <a:cubicBezTo>
                    <a:pt x="0" y="1203"/>
                    <a:pt x="18" y="1220"/>
                    <a:pt x="40" y="1220"/>
                  </a:cubicBezTo>
                  <a:cubicBezTo>
                    <a:pt x="62" y="1220"/>
                    <a:pt x="79" y="1203"/>
                    <a:pt x="79" y="1181"/>
                  </a:cubicBezTo>
                  <a:cubicBezTo>
                    <a:pt x="79" y="1032"/>
                    <a:pt x="79" y="1032"/>
                    <a:pt x="79" y="1032"/>
                  </a:cubicBezTo>
                  <a:cubicBezTo>
                    <a:pt x="79" y="1012"/>
                    <a:pt x="88" y="994"/>
                    <a:pt x="103" y="981"/>
                  </a:cubicBezTo>
                  <a:cubicBezTo>
                    <a:pt x="235" y="873"/>
                    <a:pt x="377" y="801"/>
                    <a:pt x="404" y="788"/>
                  </a:cubicBezTo>
                  <a:cubicBezTo>
                    <a:pt x="422" y="780"/>
                    <a:pt x="432" y="763"/>
                    <a:pt x="432" y="744"/>
                  </a:cubicBezTo>
                  <a:cubicBezTo>
                    <a:pt x="432" y="534"/>
                    <a:pt x="432" y="534"/>
                    <a:pt x="432" y="534"/>
                  </a:cubicBezTo>
                  <a:cubicBezTo>
                    <a:pt x="432" y="521"/>
                    <a:pt x="425" y="509"/>
                    <a:pt x="414" y="502"/>
                  </a:cubicBezTo>
                  <a:cubicBezTo>
                    <a:pt x="398" y="491"/>
                    <a:pt x="388" y="472"/>
                    <a:pt x="388" y="453"/>
                  </a:cubicBezTo>
                  <a:cubicBezTo>
                    <a:pt x="388" y="236"/>
                    <a:pt x="388" y="236"/>
                    <a:pt x="388" y="236"/>
                  </a:cubicBezTo>
                  <a:cubicBezTo>
                    <a:pt x="388" y="150"/>
                    <a:pt x="458" y="80"/>
                    <a:pt x="544" y="80"/>
                  </a:cubicBezTo>
                  <a:cubicBezTo>
                    <a:pt x="591" y="80"/>
                    <a:pt x="591" y="80"/>
                    <a:pt x="591" y="80"/>
                  </a:cubicBezTo>
                  <a:cubicBezTo>
                    <a:pt x="677" y="80"/>
                    <a:pt x="747" y="150"/>
                    <a:pt x="747" y="236"/>
                  </a:cubicBezTo>
                  <a:cubicBezTo>
                    <a:pt x="747" y="453"/>
                    <a:pt x="747" y="453"/>
                    <a:pt x="747" y="453"/>
                  </a:cubicBezTo>
                  <a:cubicBezTo>
                    <a:pt x="747" y="473"/>
                    <a:pt x="738" y="491"/>
                    <a:pt x="721" y="502"/>
                  </a:cubicBezTo>
                  <a:cubicBezTo>
                    <a:pt x="710" y="509"/>
                    <a:pt x="704" y="521"/>
                    <a:pt x="704" y="534"/>
                  </a:cubicBezTo>
                  <a:cubicBezTo>
                    <a:pt x="704" y="744"/>
                    <a:pt x="704" y="744"/>
                    <a:pt x="704" y="744"/>
                  </a:cubicBezTo>
                  <a:cubicBezTo>
                    <a:pt x="704" y="762"/>
                    <a:pt x="714" y="780"/>
                    <a:pt x="731" y="788"/>
                  </a:cubicBezTo>
                  <a:cubicBezTo>
                    <a:pt x="758" y="801"/>
                    <a:pt x="901" y="873"/>
                    <a:pt x="1032" y="981"/>
                  </a:cubicBezTo>
                  <a:cubicBezTo>
                    <a:pt x="1048" y="994"/>
                    <a:pt x="1056" y="1012"/>
                    <a:pt x="1056" y="1032"/>
                  </a:cubicBezTo>
                  <a:cubicBezTo>
                    <a:pt x="1056" y="1181"/>
                    <a:pt x="1056" y="1181"/>
                    <a:pt x="1056" y="1181"/>
                  </a:cubicBezTo>
                  <a:cubicBezTo>
                    <a:pt x="1056" y="1203"/>
                    <a:pt x="1074" y="1220"/>
                    <a:pt x="1096" y="1220"/>
                  </a:cubicBezTo>
                  <a:cubicBezTo>
                    <a:pt x="1118" y="1220"/>
                    <a:pt x="1136" y="1203"/>
                    <a:pt x="1136" y="1181"/>
                  </a:cubicBezTo>
                  <a:cubicBezTo>
                    <a:pt x="1136" y="1032"/>
                    <a:pt x="1136" y="1032"/>
                    <a:pt x="1136" y="1032"/>
                  </a:cubicBezTo>
                  <a:cubicBezTo>
                    <a:pt x="1136" y="988"/>
                    <a:pt x="1116" y="948"/>
                    <a:pt x="1083" y="920"/>
                  </a:cubicBezTo>
                  <a:cubicBezTo>
                    <a:pt x="962" y="821"/>
                    <a:pt x="833" y="751"/>
                    <a:pt x="783" y="725"/>
                  </a:cubicBezTo>
                  <a:cubicBezTo>
                    <a:pt x="783" y="553"/>
                    <a:pt x="783" y="553"/>
                    <a:pt x="783" y="553"/>
                  </a:cubicBezTo>
                  <a:cubicBezTo>
                    <a:pt x="810" y="528"/>
                    <a:pt x="826" y="491"/>
                    <a:pt x="826" y="453"/>
                  </a:cubicBezTo>
                  <a:cubicBezTo>
                    <a:pt x="826" y="236"/>
                    <a:pt x="826" y="236"/>
                    <a:pt x="826" y="236"/>
                  </a:cubicBezTo>
                  <a:cubicBezTo>
                    <a:pt x="826" y="106"/>
                    <a:pt x="721" y="0"/>
                    <a:pt x="591" y="0"/>
                  </a:cubicBezTo>
                  <a:cubicBezTo>
                    <a:pt x="544" y="0"/>
                    <a:pt x="544" y="0"/>
                    <a:pt x="544" y="0"/>
                  </a:cubicBezTo>
                  <a:cubicBezTo>
                    <a:pt x="415" y="0"/>
                    <a:pt x="309" y="106"/>
                    <a:pt x="309" y="236"/>
                  </a:cubicBezTo>
                  <a:cubicBezTo>
                    <a:pt x="309" y="453"/>
                    <a:pt x="309" y="453"/>
                    <a:pt x="309" y="453"/>
                  </a:cubicBezTo>
                  <a:cubicBezTo>
                    <a:pt x="309" y="491"/>
                    <a:pt x="325" y="528"/>
                    <a:pt x="353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2" name="ValueText1">
              <a:extLst>
                <a:ext uri="{FF2B5EF4-FFF2-40B4-BE49-F238E27FC236}">
                  <a16:creationId xmlns:a16="http://schemas.microsoft.com/office/drawing/2014/main" id="{994D4952-CE47-42C8-81E4-8183F731936D}"/>
                </a:ext>
              </a:extLst>
            </p:cNvPr>
            <p:cNvSpPr txBox="1"/>
            <p:nvPr/>
          </p:nvSpPr>
          <p:spPr>
            <a:xfrm>
              <a:off x="9663594" y="2163522"/>
              <a:ext cx="626327" cy="39955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+mj-lt"/>
                </a:rPr>
                <a:t>40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3" name="ValueText2">
              <a:extLst>
                <a:ext uri="{FF2B5EF4-FFF2-40B4-BE49-F238E27FC236}">
                  <a16:creationId xmlns:a16="http://schemas.microsoft.com/office/drawing/2014/main" id="{3DFABE50-9E50-4D78-B7DA-766A8D3BB38A}"/>
                </a:ext>
              </a:extLst>
            </p:cNvPr>
            <p:cNvSpPr txBox="1"/>
            <p:nvPr/>
          </p:nvSpPr>
          <p:spPr>
            <a:xfrm>
              <a:off x="9669702" y="2946256"/>
              <a:ext cx="626327" cy="39955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+mj-lt"/>
                </a:rPr>
                <a:t>75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4" name="ValueText3">
              <a:extLst>
                <a:ext uri="{FF2B5EF4-FFF2-40B4-BE49-F238E27FC236}">
                  <a16:creationId xmlns:a16="http://schemas.microsoft.com/office/drawing/2014/main" id="{0F83B122-B08E-484E-8CEB-535A4D828CCB}"/>
                </a:ext>
              </a:extLst>
            </p:cNvPr>
            <p:cNvSpPr txBox="1"/>
            <p:nvPr/>
          </p:nvSpPr>
          <p:spPr>
            <a:xfrm>
              <a:off x="9669703" y="3803452"/>
              <a:ext cx="626327" cy="39955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+mj-lt"/>
                </a:rPr>
                <a:t>60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5" name="CustomText">
              <a:extLst>
                <a:ext uri="{FF2B5EF4-FFF2-40B4-BE49-F238E27FC236}">
                  <a16:creationId xmlns:a16="http://schemas.microsoft.com/office/drawing/2014/main" id="{00FF04E6-38EF-418C-BFAC-950425FFC2E0}"/>
                </a:ext>
              </a:extLst>
            </p:cNvPr>
            <p:cNvSpPr/>
            <p:nvPr/>
          </p:nvSpPr>
          <p:spPr>
            <a:xfrm flipH="1">
              <a:off x="3567390" y="4566419"/>
              <a:ext cx="2395659" cy="410629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75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200" b="1" i="1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16" name="CustomText1">
              <a:extLst>
                <a:ext uri="{FF2B5EF4-FFF2-40B4-BE49-F238E27FC236}">
                  <a16:creationId xmlns:a16="http://schemas.microsoft.com/office/drawing/2014/main" id="{04BB2403-A88B-4AAD-A43B-AF89E260FABD}"/>
                </a:ext>
              </a:extLst>
            </p:cNvPr>
            <p:cNvSpPr/>
            <p:nvPr/>
          </p:nvSpPr>
          <p:spPr>
            <a:xfrm flipH="1">
              <a:off x="3567391" y="4977048"/>
              <a:ext cx="2395659" cy="301170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 fontScale="925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Supporting text here</a:t>
              </a:r>
            </a:p>
          </p:txBody>
        </p:sp>
        <p:sp>
          <p:nvSpPr>
            <p:cNvPr id="17" name="CustomText1">
              <a:extLst>
                <a:ext uri="{FF2B5EF4-FFF2-40B4-BE49-F238E27FC236}">
                  <a16:creationId xmlns:a16="http://schemas.microsoft.com/office/drawing/2014/main" id="{0EFF7967-8ECB-4FE3-8163-FC1F945C87F6}"/>
                </a:ext>
              </a:extLst>
            </p:cNvPr>
            <p:cNvSpPr/>
            <p:nvPr/>
          </p:nvSpPr>
          <p:spPr>
            <a:xfrm>
              <a:off x="5963049" y="4708026"/>
              <a:ext cx="3533050" cy="529080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i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Go ahead and replace it with your own text.</a:t>
              </a:r>
              <a:endParaRPr lang="tr-TR" altLang="zh-CN" sz="12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i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Go ahead and replace it with your own text.</a:t>
              </a:r>
            </a:p>
          </p:txBody>
        </p:sp>
      </p:grpSp>
      <p:sp>
        <p:nvSpPr>
          <p:cNvPr id="20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22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2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95879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îšliḑê"/>
          <p:cNvSpPr>
            <a:spLocks noGrp="1"/>
          </p:cNvSpPr>
          <p:nvPr>
            <p:ph type="title"/>
          </p:nvPr>
        </p:nvSpPr>
        <p:spPr>
          <a:xfrm>
            <a:off x="675698" y="4185069"/>
            <a:ext cx="5419185" cy="895350"/>
          </a:xfrm>
        </p:spPr>
        <p:txBody>
          <a:bodyPr>
            <a:normAutofit/>
          </a:bodyPr>
          <a:lstStyle/>
          <a:p>
            <a:r>
              <a:rPr lang="en-US" altLang="zh-CN" sz="4800" dirty="0"/>
              <a:t>EVENTS</a:t>
            </a:r>
            <a:endParaRPr lang="zh-CN" altLang="en-US" sz="4800" dirty="0"/>
          </a:p>
        </p:txBody>
      </p:sp>
      <p:sp>
        <p:nvSpPr>
          <p:cNvPr id="8" name="íślíd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/0</a:t>
            </a:r>
            <a:r>
              <a:rPr lang="tr-TR" altLang="zh-CN" spc="1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3</a:t>
            </a:r>
            <a:endParaRPr lang="zh-CN" altLang="en-US" spc="1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54425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7853ad09-5941-4995-b662-b2377a8b6e64" descr="yRcAAB+LCAAAAAAABADNV01v4jAQ/S/e7g2h2EnshBs0pdpDt5Va7WXVQ5a44FVIkBOkVlX/+zohLGPyoZivFiSEJzPJ85v3zPCOrkSERgijAbrK31ZcfX9chjIPRDiX4fIujXisrj3IdMVlLniGRr/fqyICin6F8ZpXWW8qficSsVwvyzAaWUNLhcJXEMJWGQz4TCzDOBBzkat7q8iP7IHLGU/yKjGXaz5A1cL1hxS7tudsPl3mDdCtTNercg8fgy00G0C7TuNUAmjVrbapDki9f3kRM/604EteVqlLTyLJx0n0uAij7UYmUswXecKzrArc//nLZzkoG7mqsLxlmb7OFurm36bq5fuWpXA2gnb7g6ZHgvaMQN/cBLQNNIPKyaVI5nXUyPqOmqs9UD1J05iHSb18o4Cmcv/yCnT8oQ9fHt1BIwAatvp3E+NzaJA2t5PcTILpFLZTg00MYNvnUGEL7IBOSQdsx1iGWrlrrkOtnn7+Uei5O2w2xMYMOuqdQ4is7Vy5HuuHoQbb7w+bWOcQYivsKdWPQwibYGMhauXEXIhavf0JJ6I3tBj1iV19gp9kB0JzDBrqnkOHXltD3Yk7hg3VYFMD2OwcOmyFHezpUIPtGetQK/fNdajqnxVCkUTqYXBOtKE9b2UYCaWkKq+cLZXa5JvObcGp5C+VvNEjn6VJ1JHlFlkNcVLGQzXK8pzLrLyyhwRc3TKNpiIuxt5xMo/VkrCyV6pvK/5T5Rab23BQhjB6/qiPyLvna1vREJ807RmMv/AUeuKvgO09LeyYYuYMlrvPNP4aOCqe35ui/QXcVG00gRpq1k0z7o2IGtpeQC3aPivOOmXgjOeV7bYu/R8sBAH9rF04gAW7tbW2zoJ9jJmw1ctNmLSIwb+AnUgHSz4kptyMjvnkiZB5x9xU2DEnsr+rejO1v4C7qv3r7HTVRkBfy1ZdNOx1tLaCTNCjnMX6OctvEQSmF7CW3cUU1bhh2kp3yckyIfvM3F0EH0Bmf3sZsFVbwZ15Zg5jX89hnUywjh4znQn/GIcRp5fDCG0bZDomgpM5zOkadLSfdeJoK01Bp8sE7DvWAQ7zDiCzv8MM2Kqt4M6wkcM2QvpaDutkwunocfGvS73/AbWcN4zJFwAA">
            <a:extLst>
              <a:ext uri="{FF2B5EF4-FFF2-40B4-BE49-F238E27FC236}">
                <a16:creationId xmlns:a16="http://schemas.microsoft.com/office/drawing/2014/main" id="{4583DE6F-C478-4432-8685-D9F34979B752}"/>
              </a:ext>
            </a:extLst>
          </p:cNvPr>
          <p:cNvGrpSpPr>
            <a:grpSpLocks noChangeAspect="1"/>
          </p:cNvGrpSpPr>
          <p:nvPr/>
        </p:nvGrpSpPr>
        <p:grpSpPr>
          <a:xfrm>
            <a:off x="3474549" y="1481840"/>
            <a:ext cx="5242902" cy="3894320"/>
            <a:chOff x="3474549" y="1481840"/>
            <a:chExt cx="5242902" cy="3894320"/>
          </a:xfrm>
        </p:grpSpPr>
        <p:sp>
          <p:nvSpPr>
            <p:cNvPr id="3" name="ExtraShape1">
              <a:extLst>
                <a:ext uri="{FF2B5EF4-FFF2-40B4-BE49-F238E27FC236}">
                  <a16:creationId xmlns:a16="http://schemas.microsoft.com/office/drawing/2014/main" id="{8E2F8CAB-5679-4B7B-B08E-E6AC7F64DC81}"/>
                </a:ext>
              </a:extLst>
            </p:cNvPr>
            <p:cNvSpPr/>
            <p:nvPr/>
          </p:nvSpPr>
          <p:spPr bwMode="auto">
            <a:xfrm>
              <a:off x="4534619" y="1512431"/>
              <a:ext cx="1417397" cy="1558302"/>
            </a:xfrm>
            <a:custGeom>
              <a:avLst/>
              <a:gdLst>
                <a:gd name="T0" fmla="*/ 636 w 736"/>
                <a:gd name="T1" fmla="*/ 580 h 810"/>
                <a:gd name="T2" fmla="*/ 714 w 736"/>
                <a:gd name="T3" fmla="*/ 357 h 810"/>
                <a:gd name="T4" fmla="*/ 357 w 736"/>
                <a:gd name="T5" fmla="*/ 0 h 810"/>
                <a:gd name="T6" fmla="*/ 229 w 736"/>
                <a:gd name="T7" fmla="*/ 0 h 810"/>
                <a:gd name="T8" fmla="*/ 229 w 736"/>
                <a:gd name="T9" fmla="*/ 24 h 810"/>
                <a:gd name="T10" fmla="*/ 0 w 736"/>
                <a:gd name="T11" fmla="*/ 357 h 810"/>
                <a:gd name="T12" fmla="*/ 229 w 736"/>
                <a:gd name="T13" fmla="*/ 690 h 810"/>
                <a:gd name="T14" fmla="*/ 229 w 736"/>
                <a:gd name="T15" fmla="*/ 714 h 810"/>
                <a:gd name="T16" fmla="*/ 357 w 736"/>
                <a:gd name="T17" fmla="*/ 714 h 810"/>
                <a:gd name="T18" fmla="*/ 490 w 736"/>
                <a:gd name="T19" fmla="*/ 688 h 810"/>
                <a:gd name="T20" fmla="*/ 608 w 736"/>
                <a:gd name="T21" fmla="*/ 810 h 810"/>
                <a:gd name="T22" fmla="*/ 736 w 736"/>
                <a:gd name="T23" fmla="*/ 810 h 810"/>
                <a:gd name="T24" fmla="*/ 636 w 736"/>
                <a:gd name="T25" fmla="*/ 58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6" h="810">
                  <a:moveTo>
                    <a:pt x="636" y="580"/>
                  </a:moveTo>
                  <a:cubicBezTo>
                    <a:pt x="684" y="519"/>
                    <a:pt x="714" y="442"/>
                    <a:pt x="714" y="357"/>
                  </a:cubicBezTo>
                  <a:cubicBezTo>
                    <a:pt x="714" y="160"/>
                    <a:pt x="554" y="0"/>
                    <a:pt x="357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29" y="24"/>
                    <a:pt x="229" y="24"/>
                    <a:pt x="229" y="24"/>
                  </a:cubicBezTo>
                  <a:cubicBezTo>
                    <a:pt x="95" y="76"/>
                    <a:pt x="0" y="205"/>
                    <a:pt x="0" y="357"/>
                  </a:cubicBezTo>
                  <a:cubicBezTo>
                    <a:pt x="0" y="509"/>
                    <a:pt x="95" y="639"/>
                    <a:pt x="229" y="690"/>
                  </a:cubicBezTo>
                  <a:cubicBezTo>
                    <a:pt x="229" y="714"/>
                    <a:pt x="229" y="714"/>
                    <a:pt x="229" y="714"/>
                  </a:cubicBezTo>
                  <a:cubicBezTo>
                    <a:pt x="357" y="714"/>
                    <a:pt x="357" y="714"/>
                    <a:pt x="357" y="714"/>
                  </a:cubicBezTo>
                  <a:cubicBezTo>
                    <a:pt x="404" y="714"/>
                    <a:pt x="449" y="705"/>
                    <a:pt x="490" y="688"/>
                  </a:cubicBezTo>
                  <a:cubicBezTo>
                    <a:pt x="608" y="810"/>
                    <a:pt x="608" y="810"/>
                    <a:pt x="608" y="810"/>
                  </a:cubicBezTo>
                  <a:cubicBezTo>
                    <a:pt x="736" y="810"/>
                    <a:pt x="736" y="810"/>
                    <a:pt x="736" y="810"/>
                  </a:cubicBezTo>
                  <a:lnTo>
                    <a:pt x="636" y="580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" name="ExtraShape1">
              <a:extLst>
                <a:ext uri="{FF2B5EF4-FFF2-40B4-BE49-F238E27FC236}">
                  <a16:creationId xmlns:a16="http://schemas.microsoft.com/office/drawing/2014/main" id="{909F6A0A-F697-4032-8DAE-ED5C52C99966}"/>
                </a:ext>
              </a:extLst>
            </p:cNvPr>
            <p:cNvSpPr/>
            <p:nvPr/>
          </p:nvSpPr>
          <p:spPr bwMode="auto">
            <a:xfrm>
              <a:off x="4504027" y="1481840"/>
              <a:ext cx="1479505" cy="1619483"/>
            </a:xfrm>
            <a:custGeom>
              <a:avLst/>
              <a:gdLst>
                <a:gd name="T0" fmla="*/ 752 w 768"/>
                <a:gd name="T1" fmla="*/ 842 h 842"/>
                <a:gd name="T2" fmla="*/ 624 w 768"/>
                <a:gd name="T3" fmla="*/ 842 h 842"/>
                <a:gd name="T4" fmla="*/ 612 w 768"/>
                <a:gd name="T5" fmla="*/ 837 h 842"/>
                <a:gd name="T6" fmla="*/ 502 w 768"/>
                <a:gd name="T7" fmla="*/ 723 h 842"/>
                <a:gd name="T8" fmla="*/ 373 w 768"/>
                <a:gd name="T9" fmla="*/ 746 h 842"/>
                <a:gd name="T10" fmla="*/ 245 w 768"/>
                <a:gd name="T11" fmla="*/ 746 h 842"/>
                <a:gd name="T12" fmla="*/ 229 w 768"/>
                <a:gd name="T13" fmla="*/ 730 h 842"/>
                <a:gd name="T14" fmla="*/ 229 w 768"/>
                <a:gd name="T15" fmla="*/ 717 h 842"/>
                <a:gd name="T16" fmla="*/ 0 w 768"/>
                <a:gd name="T17" fmla="*/ 373 h 842"/>
                <a:gd name="T18" fmla="*/ 229 w 768"/>
                <a:gd name="T19" fmla="*/ 29 h 842"/>
                <a:gd name="T20" fmla="*/ 229 w 768"/>
                <a:gd name="T21" fmla="*/ 16 h 842"/>
                <a:gd name="T22" fmla="*/ 245 w 768"/>
                <a:gd name="T23" fmla="*/ 0 h 842"/>
                <a:gd name="T24" fmla="*/ 373 w 768"/>
                <a:gd name="T25" fmla="*/ 0 h 842"/>
                <a:gd name="T26" fmla="*/ 746 w 768"/>
                <a:gd name="T27" fmla="*/ 373 h 842"/>
                <a:gd name="T28" fmla="*/ 670 w 768"/>
                <a:gd name="T29" fmla="*/ 598 h 842"/>
                <a:gd name="T30" fmla="*/ 766 w 768"/>
                <a:gd name="T31" fmla="*/ 819 h 842"/>
                <a:gd name="T32" fmla="*/ 765 w 768"/>
                <a:gd name="T33" fmla="*/ 835 h 842"/>
                <a:gd name="T34" fmla="*/ 752 w 768"/>
                <a:gd name="T35" fmla="*/ 842 h 842"/>
                <a:gd name="T36" fmla="*/ 630 w 768"/>
                <a:gd name="T37" fmla="*/ 810 h 842"/>
                <a:gd name="T38" fmla="*/ 727 w 768"/>
                <a:gd name="T39" fmla="*/ 810 h 842"/>
                <a:gd name="T40" fmla="*/ 637 w 768"/>
                <a:gd name="T41" fmla="*/ 602 h 842"/>
                <a:gd name="T42" fmla="*/ 639 w 768"/>
                <a:gd name="T43" fmla="*/ 586 h 842"/>
                <a:gd name="T44" fmla="*/ 714 w 768"/>
                <a:gd name="T45" fmla="*/ 373 h 842"/>
                <a:gd name="T46" fmla="*/ 373 w 768"/>
                <a:gd name="T47" fmla="*/ 32 h 842"/>
                <a:gd name="T48" fmla="*/ 261 w 768"/>
                <a:gd name="T49" fmla="*/ 32 h 842"/>
                <a:gd name="T50" fmla="*/ 261 w 768"/>
                <a:gd name="T51" fmla="*/ 40 h 842"/>
                <a:gd name="T52" fmla="*/ 250 w 768"/>
                <a:gd name="T53" fmla="*/ 55 h 842"/>
                <a:gd name="T54" fmla="*/ 32 w 768"/>
                <a:gd name="T55" fmla="*/ 373 h 842"/>
                <a:gd name="T56" fmla="*/ 250 w 768"/>
                <a:gd name="T57" fmla="*/ 691 h 842"/>
                <a:gd name="T58" fmla="*/ 261 w 768"/>
                <a:gd name="T59" fmla="*/ 706 h 842"/>
                <a:gd name="T60" fmla="*/ 261 w 768"/>
                <a:gd name="T61" fmla="*/ 714 h 842"/>
                <a:gd name="T62" fmla="*/ 373 w 768"/>
                <a:gd name="T63" fmla="*/ 714 h 842"/>
                <a:gd name="T64" fmla="*/ 500 w 768"/>
                <a:gd name="T65" fmla="*/ 690 h 842"/>
                <a:gd name="T66" fmla="*/ 517 w 768"/>
                <a:gd name="T67" fmla="*/ 693 h 842"/>
                <a:gd name="T68" fmla="*/ 630 w 768"/>
                <a:gd name="T69" fmla="*/ 81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8" h="842">
                  <a:moveTo>
                    <a:pt x="752" y="842"/>
                  </a:moveTo>
                  <a:cubicBezTo>
                    <a:pt x="624" y="842"/>
                    <a:pt x="624" y="842"/>
                    <a:pt x="624" y="842"/>
                  </a:cubicBezTo>
                  <a:cubicBezTo>
                    <a:pt x="619" y="842"/>
                    <a:pt x="615" y="840"/>
                    <a:pt x="612" y="837"/>
                  </a:cubicBezTo>
                  <a:cubicBezTo>
                    <a:pt x="502" y="723"/>
                    <a:pt x="502" y="723"/>
                    <a:pt x="502" y="723"/>
                  </a:cubicBezTo>
                  <a:cubicBezTo>
                    <a:pt x="460" y="739"/>
                    <a:pt x="417" y="746"/>
                    <a:pt x="373" y="746"/>
                  </a:cubicBezTo>
                  <a:cubicBezTo>
                    <a:pt x="245" y="746"/>
                    <a:pt x="245" y="746"/>
                    <a:pt x="245" y="746"/>
                  </a:cubicBezTo>
                  <a:cubicBezTo>
                    <a:pt x="236" y="746"/>
                    <a:pt x="229" y="739"/>
                    <a:pt x="229" y="730"/>
                  </a:cubicBezTo>
                  <a:cubicBezTo>
                    <a:pt x="229" y="717"/>
                    <a:pt x="229" y="717"/>
                    <a:pt x="229" y="717"/>
                  </a:cubicBezTo>
                  <a:cubicBezTo>
                    <a:pt x="91" y="659"/>
                    <a:pt x="0" y="523"/>
                    <a:pt x="0" y="373"/>
                  </a:cubicBezTo>
                  <a:cubicBezTo>
                    <a:pt x="0" y="224"/>
                    <a:pt x="91" y="87"/>
                    <a:pt x="229" y="29"/>
                  </a:cubicBezTo>
                  <a:cubicBezTo>
                    <a:pt x="229" y="16"/>
                    <a:pt x="229" y="16"/>
                    <a:pt x="229" y="16"/>
                  </a:cubicBezTo>
                  <a:cubicBezTo>
                    <a:pt x="229" y="7"/>
                    <a:pt x="236" y="0"/>
                    <a:pt x="245" y="0"/>
                  </a:cubicBezTo>
                  <a:cubicBezTo>
                    <a:pt x="373" y="0"/>
                    <a:pt x="373" y="0"/>
                    <a:pt x="373" y="0"/>
                  </a:cubicBezTo>
                  <a:cubicBezTo>
                    <a:pt x="578" y="0"/>
                    <a:pt x="746" y="168"/>
                    <a:pt x="746" y="373"/>
                  </a:cubicBezTo>
                  <a:cubicBezTo>
                    <a:pt x="746" y="455"/>
                    <a:pt x="720" y="533"/>
                    <a:pt x="670" y="598"/>
                  </a:cubicBezTo>
                  <a:cubicBezTo>
                    <a:pt x="766" y="819"/>
                    <a:pt x="766" y="819"/>
                    <a:pt x="766" y="819"/>
                  </a:cubicBezTo>
                  <a:cubicBezTo>
                    <a:pt x="768" y="824"/>
                    <a:pt x="768" y="830"/>
                    <a:pt x="765" y="835"/>
                  </a:cubicBezTo>
                  <a:cubicBezTo>
                    <a:pt x="762" y="839"/>
                    <a:pt x="757" y="842"/>
                    <a:pt x="752" y="842"/>
                  </a:cubicBezTo>
                  <a:close/>
                  <a:moveTo>
                    <a:pt x="630" y="810"/>
                  </a:moveTo>
                  <a:cubicBezTo>
                    <a:pt x="727" y="810"/>
                    <a:pt x="727" y="810"/>
                    <a:pt x="727" y="810"/>
                  </a:cubicBezTo>
                  <a:cubicBezTo>
                    <a:pt x="637" y="602"/>
                    <a:pt x="637" y="602"/>
                    <a:pt x="637" y="602"/>
                  </a:cubicBezTo>
                  <a:cubicBezTo>
                    <a:pt x="635" y="597"/>
                    <a:pt x="635" y="591"/>
                    <a:pt x="639" y="586"/>
                  </a:cubicBezTo>
                  <a:cubicBezTo>
                    <a:pt x="688" y="525"/>
                    <a:pt x="714" y="451"/>
                    <a:pt x="714" y="373"/>
                  </a:cubicBezTo>
                  <a:cubicBezTo>
                    <a:pt x="714" y="185"/>
                    <a:pt x="561" y="32"/>
                    <a:pt x="373" y="32"/>
                  </a:cubicBezTo>
                  <a:cubicBezTo>
                    <a:pt x="261" y="32"/>
                    <a:pt x="261" y="32"/>
                    <a:pt x="261" y="32"/>
                  </a:cubicBezTo>
                  <a:cubicBezTo>
                    <a:pt x="261" y="40"/>
                    <a:pt x="261" y="40"/>
                    <a:pt x="261" y="40"/>
                  </a:cubicBezTo>
                  <a:cubicBezTo>
                    <a:pt x="261" y="47"/>
                    <a:pt x="257" y="53"/>
                    <a:pt x="250" y="55"/>
                  </a:cubicBezTo>
                  <a:cubicBezTo>
                    <a:pt x="120" y="106"/>
                    <a:pt x="32" y="233"/>
                    <a:pt x="32" y="373"/>
                  </a:cubicBezTo>
                  <a:cubicBezTo>
                    <a:pt x="32" y="513"/>
                    <a:pt x="120" y="641"/>
                    <a:pt x="250" y="691"/>
                  </a:cubicBezTo>
                  <a:cubicBezTo>
                    <a:pt x="257" y="694"/>
                    <a:pt x="261" y="700"/>
                    <a:pt x="261" y="706"/>
                  </a:cubicBezTo>
                  <a:cubicBezTo>
                    <a:pt x="261" y="714"/>
                    <a:pt x="261" y="714"/>
                    <a:pt x="261" y="714"/>
                  </a:cubicBezTo>
                  <a:cubicBezTo>
                    <a:pt x="373" y="714"/>
                    <a:pt x="373" y="714"/>
                    <a:pt x="373" y="714"/>
                  </a:cubicBezTo>
                  <a:cubicBezTo>
                    <a:pt x="416" y="714"/>
                    <a:pt x="459" y="706"/>
                    <a:pt x="500" y="690"/>
                  </a:cubicBezTo>
                  <a:cubicBezTo>
                    <a:pt x="506" y="687"/>
                    <a:pt x="513" y="689"/>
                    <a:pt x="517" y="693"/>
                  </a:cubicBezTo>
                  <a:lnTo>
                    <a:pt x="630" y="8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" name="ExtraShape2">
              <a:extLst>
                <a:ext uri="{FF2B5EF4-FFF2-40B4-BE49-F238E27FC236}">
                  <a16:creationId xmlns:a16="http://schemas.microsoft.com/office/drawing/2014/main" id="{B2C7881A-CAE3-42BB-919B-F7BB63EFB158}"/>
                </a:ext>
              </a:extLst>
            </p:cNvPr>
            <p:cNvSpPr/>
            <p:nvPr/>
          </p:nvSpPr>
          <p:spPr bwMode="auto">
            <a:xfrm>
              <a:off x="6175424" y="1512431"/>
              <a:ext cx="1664906" cy="1558302"/>
            </a:xfrm>
            <a:custGeom>
              <a:avLst/>
              <a:gdLst>
                <a:gd name="T0" fmla="*/ 507 w 864"/>
                <a:gd name="T1" fmla="*/ 0 h 810"/>
                <a:gd name="T2" fmla="*/ 379 w 864"/>
                <a:gd name="T3" fmla="*/ 0 h 810"/>
                <a:gd name="T4" fmla="*/ 379 w 864"/>
                <a:gd name="T5" fmla="*/ 24 h 810"/>
                <a:gd name="T6" fmla="*/ 150 w 864"/>
                <a:gd name="T7" fmla="*/ 357 h 810"/>
                <a:gd name="T8" fmla="*/ 228 w 864"/>
                <a:gd name="T9" fmla="*/ 580 h 810"/>
                <a:gd name="T10" fmla="*/ 0 w 864"/>
                <a:gd name="T11" fmla="*/ 810 h 810"/>
                <a:gd name="T12" fmla="*/ 128 w 864"/>
                <a:gd name="T13" fmla="*/ 810 h 810"/>
                <a:gd name="T14" fmla="*/ 374 w 864"/>
                <a:gd name="T15" fmla="*/ 688 h 810"/>
                <a:gd name="T16" fmla="*/ 379 w 864"/>
                <a:gd name="T17" fmla="*/ 690 h 810"/>
                <a:gd name="T18" fmla="*/ 379 w 864"/>
                <a:gd name="T19" fmla="*/ 714 h 810"/>
                <a:gd name="T20" fmla="*/ 507 w 864"/>
                <a:gd name="T21" fmla="*/ 714 h 810"/>
                <a:gd name="T22" fmla="*/ 864 w 864"/>
                <a:gd name="T23" fmla="*/ 357 h 810"/>
                <a:gd name="T24" fmla="*/ 507 w 864"/>
                <a:gd name="T25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4" h="810">
                  <a:moveTo>
                    <a:pt x="507" y="0"/>
                  </a:moveTo>
                  <a:cubicBezTo>
                    <a:pt x="379" y="0"/>
                    <a:pt x="379" y="0"/>
                    <a:pt x="379" y="0"/>
                  </a:cubicBezTo>
                  <a:cubicBezTo>
                    <a:pt x="379" y="24"/>
                    <a:pt x="379" y="24"/>
                    <a:pt x="379" y="24"/>
                  </a:cubicBezTo>
                  <a:cubicBezTo>
                    <a:pt x="245" y="76"/>
                    <a:pt x="150" y="205"/>
                    <a:pt x="150" y="357"/>
                  </a:cubicBezTo>
                  <a:cubicBezTo>
                    <a:pt x="150" y="442"/>
                    <a:pt x="180" y="519"/>
                    <a:pt x="228" y="580"/>
                  </a:cubicBezTo>
                  <a:cubicBezTo>
                    <a:pt x="0" y="810"/>
                    <a:pt x="0" y="810"/>
                    <a:pt x="0" y="810"/>
                  </a:cubicBezTo>
                  <a:cubicBezTo>
                    <a:pt x="128" y="810"/>
                    <a:pt x="128" y="810"/>
                    <a:pt x="128" y="810"/>
                  </a:cubicBezTo>
                  <a:cubicBezTo>
                    <a:pt x="374" y="688"/>
                    <a:pt x="374" y="688"/>
                    <a:pt x="374" y="688"/>
                  </a:cubicBezTo>
                  <a:cubicBezTo>
                    <a:pt x="376" y="689"/>
                    <a:pt x="378" y="690"/>
                    <a:pt x="379" y="690"/>
                  </a:cubicBezTo>
                  <a:cubicBezTo>
                    <a:pt x="379" y="714"/>
                    <a:pt x="379" y="714"/>
                    <a:pt x="379" y="714"/>
                  </a:cubicBezTo>
                  <a:cubicBezTo>
                    <a:pt x="507" y="714"/>
                    <a:pt x="507" y="714"/>
                    <a:pt x="507" y="714"/>
                  </a:cubicBezTo>
                  <a:cubicBezTo>
                    <a:pt x="704" y="714"/>
                    <a:pt x="864" y="554"/>
                    <a:pt x="864" y="357"/>
                  </a:cubicBezTo>
                  <a:cubicBezTo>
                    <a:pt x="864" y="160"/>
                    <a:pt x="704" y="0"/>
                    <a:pt x="507" y="0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" name="ExtraShape3">
              <a:extLst>
                <a:ext uri="{FF2B5EF4-FFF2-40B4-BE49-F238E27FC236}">
                  <a16:creationId xmlns:a16="http://schemas.microsoft.com/office/drawing/2014/main" id="{DF58C49C-3407-4653-BDE5-39744B887A1C}"/>
                </a:ext>
              </a:extLst>
            </p:cNvPr>
            <p:cNvSpPr/>
            <p:nvPr/>
          </p:nvSpPr>
          <p:spPr bwMode="auto">
            <a:xfrm>
              <a:off x="6142978" y="1481840"/>
              <a:ext cx="1727943" cy="1619483"/>
            </a:xfrm>
            <a:custGeom>
              <a:avLst/>
              <a:gdLst>
                <a:gd name="T0" fmla="*/ 145 w 897"/>
                <a:gd name="T1" fmla="*/ 842 h 842"/>
                <a:gd name="T2" fmla="*/ 17 w 897"/>
                <a:gd name="T3" fmla="*/ 842 h 842"/>
                <a:gd name="T4" fmla="*/ 3 w 897"/>
                <a:gd name="T5" fmla="*/ 832 h 842"/>
                <a:gd name="T6" fmla="*/ 6 w 897"/>
                <a:gd name="T7" fmla="*/ 815 h 842"/>
                <a:gd name="T8" fmla="*/ 224 w 897"/>
                <a:gd name="T9" fmla="*/ 595 h 842"/>
                <a:gd name="T10" fmla="*/ 151 w 897"/>
                <a:gd name="T11" fmla="*/ 373 h 842"/>
                <a:gd name="T12" fmla="*/ 380 w 897"/>
                <a:gd name="T13" fmla="*/ 29 h 842"/>
                <a:gd name="T14" fmla="*/ 380 w 897"/>
                <a:gd name="T15" fmla="*/ 16 h 842"/>
                <a:gd name="T16" fmla="*/ 396 w 897"/>
                <a:gd name="T17" fmla="*/ 0 h 842"/>
                <a:gd name="T18" fmla="*/ 524 w 897"/>
                <a:gd name="T19" fmla="*/ 0 h 842"/>
                <a:gd name="T20" fmla="*/ 897 w 897"/>
                <a:gd name="T21" fmla="*/ 373 h 842"/>
                <a:gd name="T22" fmla="*/ 524 w 897"/>
                <a:gd name="T23" fmla="*/ 746 h 842"/>
                <a:gd name="T24" fmla="*/ 396 w 897"/>
                <a:gd name="T25" fmla="*/ 746 h 842"/>
                <a:gd name="T26" fmla="*/ 380 w 897"/>
                <a:gd name="T27" fmla="*/ 730 h 842"/>
                <a:gd name="T28" fmla="*/ 380 w 897"/>
                <a:gd name="T29" fmla="*/ 728 h 842"/>
                <a:gd name="T30" fmla="*/ 152 w 897"/>
                <a:gd name="T31" fmla="*/ 840 h 842"/>
                <a:gd name="T32" fmla="*/ 145 w 897"/>
                <a:gd name="T33" fmla="*/ 842 h 842"/>
                <a:gd name="T34" fmla="*/ 56 w 897"/>
                <a:gd name="T35" fmla="*/ 810 h 842"/>
                <a:gd name="T36" fmla="*/ 142 w 897"/>
                <a:gd name="T37" fmla="*/ 810 h 842"/>
                <a:gd name="T38" fmla="*/ 384 w 897"/>
                <a:gd name="T39" fmla="*/ 690 h 842"/>
                <a:gd name="T40" fmla="*/ 397 w 897"/>
                <a:gd name="T41" fmla="*/ 690 h 842"/>
                <a:gd name="T42" fmla="*/ 402 w 897"/>
                <a:gd name="T43" fmla="*/ 691 h 842"/>
                <a:gd name="T44" fmla="*/ 412 w 897"/>
                <a:gd name="T45" fmla="*/ 706 h 842"/>
                <a:gd name="T46" fmla="*/ 412 w 897"/>
                <a:gd name="T47" fmla="*/ 714 h 842"/>
                <a:gd name="T48" fmla="*/ 524 w 897"/>
                <a:gd name="T49" fmla="*/ 714 h 842"/>
                <a:gd name="T50" fmla="*/ 865 w 897"/>
                <a:gd name="T51" fmla="*/ 373 h 842"/>
                <a:gd name="T52" fmla="*/ 524 w 897"/>
                <a:gd name="T53" fmla="*/ 32 h 842"/>
                <a:gd name="T54" fmla="*/ 412 w 897"/>
                <a:gd name="T55" fmla="*/ 32 h 842"/>
                <a:gd name="T56" fmla="*/ 412 w 897"/>
                <a:gd name="T57" fmla="*/ 40 h 842"/>
                <a:gd name="T58" fmla="*/ 402 w 897"/>
                <a:gd name="T59" fmla="*/ 55 h 842"/>
                <a:gd name="T60" fmla="*/ 183 w 897"/>
                <a:gd name="T61" fmla="*/ 373 h 842"/>
                <a:gd name="T62" fmla="*/ 258 w 897"/>
                <a:gd name="T63" fmla="*/ 586 h 842"/>
                <a:gd name="T64" fmla="*/ 257 w 897"/>
                <a:gd name="T65" fmla="*/ 607 h 842"/>
                <a:gd name="T66" fmla="*/ 56 w 897"/>
                <a:gd name="T67" fmla="*/ 81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7" h="842">
                  <a:moveTo>
                    <a:pt x="145" y="842"/>
                  </a:moveTo>
                  <a:cubicBezTo>
                    <a:pt x="17" y="842"/>
                    <a:pt x="17" y="842"/>
                    <a:pt x="17" y="842"/>
                  </a:cubicBezTo>
                  <a:cubicBezTo>
                    <a:pt x="11" y="842"/>
                    <a:pt x="5" y="838"/>
                    <a:pt x="3" y="832"/>
                  </a:cubicBezTo>
                  <a:cubicBezTo>
                    <a:pt x="0" y="826"/>
                    <a:pt x="1" y="819"/>
                    <a:pt x="6" y="815"/>
                  </a:cubicBezTo>
                  <a:cubicBezTo>
                    <a:pt x="224" y="595"/>
                    <a:pt x="224" y="595"/>
                    <a:pt x="224" y="595"/>
                  </a:cubicBezTo>
                  <a:cubicBezTo>
                    <a:pt x="176" y="530"/>
                    <a:pt x="151" y="454"/>
                    <a:pt x="151" y="373"/>
                  </a:cubicBezTo>
                  <a:cubicBezTo>
                    <a:pt x="151" y="224"/>
                    <a:pt x="243" y="87"/>
                    <a:pt x="380" y="29"/>
                  </a:cubicBezTo>
                  <a:cubicBezTo>
                    <a:pt x="380" y="16"/>
                    <a:pt x="380" y="16"/>
                    <a:pt x="380" y="16"/>
                  </a:cubicBezTo>
                  <a:cubicBezTo>
                    <a:pt x="380" y="7"/>
                    <a:pt x="387" y="0"/>
                    <a:pt x="39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730" y="0"/>
                    <a:pt x="897" y="168"/>
                    <a:pt x="897" y="373"/>
                  </a:cubicBezTo>
                  <a:cubicBezTo>
                    <a:pt x="897" y="579"/>
                    <a:pt x="730" y="746"/>
                    <a:pt x="524" y="746"/>
                  </a:cubicBezTo>
                  <a:cubicBezTo>
                    <a:pt x="396" y="746"/>
                    <a:pt x="396" y="746"/>
                    <a:pt x="396" y="746"/>
                  </a:cubicBezTo>
                  <a:cubicBezTo>
                    <a:pt x="387" y="746"/>
                    <a:pt x="380" y="739"/>
                    <a:pt x="380" y="730"/>
                  </a:cubicBezTo>
                  <a:cubicBezTo>
                    <a:pt x="380" y="728"/>
                    <a:pt x="380" y="728"/>
                    <a:pt x="380" y="728"/>
                  </a:cubicBezTo>
                  <a:cubicBezTo>
                    <a:pt x="152" y="840"/>
                    <a:pt x="152" y="840"/>
                    <a:pt x="152" y="840"/>
                  </a:cubicBezTo>
                  <a:cubicBezTo>
                    <a:pt x="150" y="841"/>
                    <a:pt x="148" y="842"/>
                    <a:pt x="145" y="842"/>
                  </a:cubicBezTo>
                  <a:close/>
                  <a:moveTo>
                    <a:pt x="56" y="810"/>
                  </a:moveTo>
                  <a:cubicBezTo>
                    <a:pt x="142" y="810"/>
                    <a:pt x="142" y="810"/>
                    <a:pt x="142" y="810"/>
                  </a:cubicBezTo>
                  <a:cubicBezTo>
                    <a:pt x="384" y="690"/>
                    <a:pt x="384" y="690"/>
                    <a:pt x="384" y="690"/>
                  </a:cubicBezTo>
                  <a:cubicBezTo>
                    <a:pt x="388" y="688"/>
                    <a:pt x="393" y="688"/>
                    <a:pt x="397" y="690"/>
                  </a:cubicBezTo>
                  <a:cubicBezTo>
                    <a:pt x="402" y="691"/>
                    <a:pt x="402" y="691"/>
                    <a:pt x="402" y="691"/>
                  </a:cubicBezTo>
                  <a:cubicBezTo>
                    <a:pt x="408" y="694"/>
                    <a:pt x="412" y="700"/>
                    <a:pt x="412" y="706"/>
                  </a:cubicBezTo>
                  <a:cubicBezTo>
                    <a:pt x="412" y="714"/>
                    <a:pt x="412" y="714"/>
                    <a:pt x="412" y="714"/>
                  </a:cubicBezTo>
                  <a:cubicBezTo>
                    <a:pt x="524" y="714"/>
                    <a:pt x="524" y="714"/>
                    <a:pt x="524" y="714"/>
                  </a:cubicBezTo>
                  <a:cubicBezTo>
                    <a:pt x="712" y="714"/>
                    <a:pt x="865" y="561"/>
                    <a:pt x="865" y="373"/>
                  </a:cubicBezTo>
                  <a:cubicBezTo>
                    <a:pt x="865" y="185"/>
                    <a:pt x="712" y="32"/>
                    <a:pt x="524" y="32"/>
                  </a:cubicBezTo>
                  <a:cubicBezTo>
                    <a:pt x="412" y="32"/>
                    <a:pt x="412" y="32"/>
                    <a:pt x="412" y="32"/>
                  </a:cubicBezTo>
                  <a:cubicBezTo>
                    <a:pt x="412" y="40"/>
                    <a:pt x="412" y="40"/>
                    <a:pt x="412" y="40"/>
                  </a:cubicBezTo>
                  <a:cubicBezTo>
                    <a:pt x="412" y="47"/>
                    <a:pt x="408" y="53"/>
                    <a:pt x="402" y="55"/>
                  </a:cubicBezTo>
                  <a:cubicBezTo>
                    <a:pt x="271" y="106"/>
                    <a:pt x="183" y="233"/>
                    <a:pt x="183" y="373"/>
                  </a:cubicBezTo>
                  <a:cubicBezTo>
                    <a:pt x="183" y="451"/>
                    <a:pt x="209" y="525"/>
                    <a:pt x="258" y="586"/>
                  </a:cubicBezTo>
                  <a:cubicBezTo>
                    <a:pt x="263" y="592"/>
                    <a:pt x="262" y="601"/>
                    <a:pt x="257" y="607"/>
                  </a:cubicBezTo>
                  <a:lnTo>
                    <a:pt x="56" y="8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" name="CustomText1">
              <a:extLst>
                <a:ext uri="{FF2B5EF4-FFF2-40B4-BE49-F238E27FC236}">
                  <a16:creationId xmlns:a16="http://schemas.microsoft.com/office/drawing/2014/main" id="{2571C6F3-2E5B-4451-A408-0FC3CB168379}"/>
                </a:ext>
              </a:extLst>
            </p:cNvPr>
            <p:cNvSpPr txBox="1"/>
            <p:nvPr/>
          </p:nvSpPr>
          <p:spPr>
            <a:xfrm>
              <a:off x="5208943" y="3129321"/>
              <a:ext cx="1763444" cy="384390"/>
            </a:xfrm>
            <a:prstGeom prst="rect">
              <a:avLst/>
            </a:prstGeom>
            <a:noFill/>
          </p:spPr>
          <p:txBody>
            <a:bodyPr wrap="square" rtlCol="0">
              <a:normAutofit fontScale="70000" lnSpcReduction="20000"/>
            </a:bodyPr>
            <a:lstStyle/>
            <a:p>
              <a:pPr algn="ctr"/>
              <a:r>
                <a:rPr lang="en-US" altLang="zh-CN" sz="2800" b="1" dirty="0">
                  <a:solidFill>
                    <a:schemeClr val="tx2"/>
                  </a:solidFill>
                  <a:latin typeface="+mj-lt"/>
                </a:rPr>
                <a:t>TEXT HERE</a:t>
              </a:r>
            </a:p>
          </p:txBody>
        </p:sp>
        <p:sp>
          <p:nvSpPr>
            <p:cNvPr id="8" name="CustomText2">
              <a:extLst>
                <a:ext uri="{FF2B5EF4-FFF2-40B4-BE49-F238E27FC236}">
                  <a16:creationId xmlns:a16="http://schemas.microsoft.com/office/drawing/2014/main" id="{B40DE81B-7643-4CE7-8A32-99B31E6E583D}"/>
                </a:ext>
              </a:extLst>
            </p:cNvPr>
            <p:cNvSpPr/>
            <p:nvPr/>
          </p:nvSpPr>
          <p:spPr>
            <a:xfrm>
              <a:off x="5208943" y="3451971"/>
              <a:ext cx="1763444" cy="271335"/>
            </a:xfrm>
            <a:prstGeom prst="rect">
              <a:avLst/>
            </a:prstGeom>
          </p:spPr>
          <p:txBody>
            <a:bodyPr wrap="square">
              <a:normAutofit fontScale="77500" lnSpcReduction="20000"/>
            </a:bodyPr>
            <a:lstStyle/>
            <a:p>
              <a:pPr algn="ctr"/>
              <a:r>
                <a:rPr lang="en-US" altLang="zh-CN" dirty="0">
                  <a:solidFill>
                    <a:schemeClr val="tx2"/>
                  </a:solidFill>
                  <a:latin typeface="+mj-lt"/>
                </a:rPr>
                <a:t>OPTION HERE</a:t>
              </a:r>
            </a:p>
          </p:txBody>
        </p:sp>
        <p:sp>
          <p:nvSpPr>
            <p:cNvPr id="9" name="ExtraShape1">
              <a:extLst>
                <a:ext uri="{FF2B5EF4-FFF2-40B4-BE49-F238E27FC236}">
                  <a16:creationId xmlns:a16="http://schemas.microsoft.com/office/drawing/2014/main" id="{D10587E4-DB1D-460F-85FE-2F6217696D8F}"/>
                </a:ext>
              </a:extLst>
            </p:cNvPr>
            <p:cNvSpPr/>
            <p:nvPr/>
          </p:nvSpPr>
          <p:spPr bwMode="auto">
            <a:xfrm>
              <a:off x="4534619" y="3787267"/>
              <a:ext cx="1417397" cy="1558302"/>
            </a:xfrm>
            <a:custGeom>
              <a:avLst/>
              <a:gdLst>
                <a:gd name="T0" fmla="*/ 636 w 736"/>
                <a:gd name="T1" fmla="*/ 230 h 810"/>
                <a:gd name="T2" fmla="*/ 714 w 736"/>
                <a:gd name="T3" fmla="*/ 453 h 810"/>
                <a:gd name="T4" fmla="*/ 357 w 736"/>
                <a:gd name="T5" fmla="*/ 810 h 810"/>
                <a:gd name="T6" fmla="*/ 229 w 736"/>
                <a:gd name="T7" fmla="*/ 810 h 810"/>
                <a:gd name="T8" fmla="*/ 229 w 736"/>
                <a:gd name="T9" fmla="*/ 786 h 810"/>
                <a:gd name="T10" fmla="*/ 0 w 736"/>
                <a:gd name="T11" fmla="*/ 453 h 810"/>
                <a:gd name="T12" fmla="*/ 229 w 736"/>
                <a:gd name="T13" fmla="*/ 120 h 810"/>
                <a:gd name="T14" fmla="*/ 229 w 736"/>
                <a:gd name="T15" fmla="*/ 96 h 810"/>
                <a:gd name="T16" fmla="*/ 357 w 736"/>
                <a:gd name="T17" fmla="*/ 96 h 810"/>
                <a:gd name="T18" fmla="*/ 490 w 736"/>
                <a:gd name="T19" fmla="*/ 122 h 810"/>
                <a:gd name="T20" fmla="*/ 608 w 736"/>
                <a:gd name="T21" fmla="*/ 0 h 810"/>
                <a:gd name="T22" fmla="*/ 736 w 736"/>
                <a:gd name="T23" fmla="*/ 0 h 810"/>
                <a:gd name="T24" fmla="*/ 636 w 736"/>
                <a:gd name="T25" fmla="*/ 23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6" h="810">
                  <a:moveTo>
                    <a:pt x="636" y="230"/>
                  </a:moveTo>
                  <a:cubicBezTo>
                    <a:pt x="684" y="291"/>
                    <a:pt x="714" y="368"/>
                    <a:pt x="714" y="453"/>
                  </a:cubicBezTo>
                  <a:cubicBezTo>
                    <a:pt x="714" y="650"/>
                    <a:pt x="554" y="810"/>
                    <a:pt x="357" y="810"/>
                  </a:cubicBezTo>
                  <a:cubicBezTo>
                    <a:pt x="229" y="810"/>
                    <a:pt x="229" y="810"/>
                    <a:pt x="229" y="810"/>
                  </a:cubicBezTo>
                  <a:cubicBezTo>
                    <a:pt x="229" y="786"/>
                    <a:pt x="229" y="786"/>
                    <a:pt x="229" y="786"/>
                  </a:cubicBezTo>
                  <a:cubicBezTo>
                    <a:pt x="95" y="734"/>
                    <a:pt x="0" y="605"/>
                    <a:pt x="0" y="453"/>
                  </a:cubicBezTo>
                  <a:cubicBezTo>
                    <a:pt x="0" y="301"/>
                    <a:pt x="95" y="171"/>
                    <a:pt x="229" y="120"/>
                  </a:cubicBezTo>
                  <a:cubicBezTo>
                    <a:pt x="229" y="96"/>
                    <a:pt x="229" y="96"/>
                    <a:pt x="229" y="96"/>
                  </a:cubicBezTo>
                  <a:cubicBezTo>
                    <a:pt x="357" y="96"/>
                    <a:pt x="357" y="96"/>
                    <a:pt x="357" y="96"/>
                  </a:cubicBezTo>
                  <a:cubicBezTo>
                    <a:pt x="404" y="96"/>
                    <a:pt x="449" y="105"/>
                    <a:pt x="490" y="122"/>
                  </a:cubicBezTo>
                  <a:cubicBezTo>
                    <a:pt x="608" y="0"/>
                    <a:pt x="608" y="0"/>
                    <a:pt x="608" y="0"/>
                  </a:cubicBezTo>
                  <a:cubicBezTo>
                    <a:pt x="736" y="0"/>
                    <a:pt x="736" y="0"/>
                    <a:pt x="736" y="0"/>
                  </a:cubicBezTo>
                  <a:lnTo>
                    <a:pt x="636" y="230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" name="ExtraShape">
              <a:extLst>
                <a:ext uri="{FF2B5EF4-FFF2-40B4-BE49-F238E27FC236}">
                  <a16:creationId xmlns:a16="http://schemas.microsoft.com/office/drawing/2014/main" id="{9BA0E7C9-96D3-4391-A5F1-408FB2250D1D}"/>
                </a:ext>
              </a:extLst>
            </p:cNvPr>
            <p:cNvSpPr/>
            <p:nvPr/>
          </p:nvSpPr>
          <p:spPr bwMode="auto">
            <a:xfrm>
              <a:off x="4504027" y="3756677"/>
              <a:ext cx="1479505" cy="1619483"/>
            </a:xfrm>
            <a:custGeom>
              <a:avLst/>
              <a:gdLst>
                <a:gd name="T0" fmla="*/ 373 w 768"/>
                <a:gd name="T1" fmla="*/ 842 h 842"/>
                <a:gd name="T2" fmla="*/ 245 w 768"/>
                <a:gd name="T3" fmla="*/ 842 h 842"/>
                <a:gd name="T4" fmla="*/ 229 w 768"/>
                <a:gd name="T5" fmla="*/ 826 h 842"/>
                <a:gd name="T6" fmla="*/ 229 w 768"/>
                <a:gd name="T7" fmla="*/ 813 h 842"/>
                <a:gd name="T8" fmla="*/ 0 w 768"/>
                <a:gd name="T9" fmla="*/ 469 h 842"/>
                <a:gd name="T10" fmla="*/ 229 w 768"/>
                <a:gd name="T11" fmla="*/ 125 h 842"/>
                <a:gd name="T12" fmla="*/ 229 w 768"/>
                <a:gd name="T13" fmla="*/ 112 h 842"/>
                <a:gd name="T14" fmla="*/ 245 w 768"/>
                <a:gd name="T15" fmla="*/ 96 h 842"/>
                <a:gd name="T16" fmla="*/ 373 w 768"/>
                <a:gd name="T17" fmla="*/ 96 h 842"/>
                <a:gd name="T18" fmla="*/ 502 w 768"/>
                <a:gd name="T19" fmla="*/ 119 h 842"/>
                <a:gd name="T20" fmla="*/ 612 w 768"/>
                <a:gd name="T21" fmla="*/ 5 h 842"/>
                <a:gd name="T22" fmla="*/ 624 w 768"/>
                <a:gd name="T23" fmla="*/ 0 h 842"/>
                <a:gd name="T24" fmla="*/ 752 w 768"/>
                <a:gd name="T25" fmla="*/ 0 h 842"/>
                <a:gd name="T26" fmla="*/ 765 w 768"/>
                <a:gd name="T27" fmla="*/ 7 h 842"/>
                <a:gd name="T28" fmla="*/ 766 w 768"/>
                <a:gd name="T29" fmla="*/ 23 h 842"/>
                <a:gd name="T30" fmla="*/ 670 w 768"/>
                <a:gd name="T31" fmla="*/ 244 h 842"/>
                <a:gd name="T32" fmla="*/ 746 w 768"/>
                <a:gd name="T33" fmla="*/ 469 h 842"/>
                <a:gd name="T34" fmla="*/ 373 w 768"/>
                <a:gd name="T35" fmla="*/ 842 h 842"/>
                <a:gd name="T36" fmla="*/ 261 w 768"/>
                <a:gd name="T37" fmla="*/ 810 h 842"/>
                <a:gd name="T38" fmla="*/ 373 w 768"/>
                <a:gd name="T39" fmla="*/ 810 h 842"/>
                <a:gd name="T40" fmla="*/ 714 w 768"/>
                <a:gd name="T41" fmla="*/ 469 h 842"/>
                <a:gd name="T42" fmla="*/ 639 w 768"/>
                <a:gd name="T43" fmla="*/ 256 h 842"/>
                <a:gd name="T44" fmla="*/ 637 w 768"/>
                <a:gd name="T45" fmla="*/ 240 h 842"/>
                <a:gd name="T46" fmla="*/ 727 w 768"/>
                <a:gd name="T47" fmla="*/ 32 h 842"/>
                <a:gd name="T48" fmla="*/ 630 w 768"/>
                <a:gd name="T49" fmla="*/ 32 h 842"/>
                <a:gd name="T50" fmla="*/ 517 w 768"/>
                <a:gd name="T51" fmla="*/ 149 h 842"/>
                <a:gd name="T52" fmla="*/ 500 w 768"/>
                <a:gd name="T53" fmla="*/ 152 h 842"/>
                <a:gd name="T54" fmla="*/ 373 w 768"/>
                <a:gd name="T55" fmla="*/ 128 h 842"/>
                <a:gd name="T56" fmla="*/ 261 w 768"/>
                <a:gd name="T57" fmla="*/ 128 h 842"/>
                <a:gd name="T58" fmla="*/ 261 w 768"/>
                <a:gd name="T59" fmla="*/ 136 h 842"/>
                <a:gd name="T60" fmla="*/ 251 w 768"/>
                <a:gd name="T61" fmla="*/ 151 h 842"/>
                <a:gd name="T62" fmla="*/ 32 w 768"/>
                <a:gd name="T63" fmla="*/ 469 h 842"/>
                <a:gd name="T64" fmla="*/ 251 w 768"/>
                <a:gd name="T65" fmla="*/ 787 h 842"/>
                <a:gd name="T66" fmla="*/ 261 w 768"/>
                <a:gd name="T67" fmla="*/ 802 h 842"/>
                <a:gd name="T68" fmla="*/ 261 w 768"/>
                <a:gd name="T69" fmla="*/ 81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8" h="842">
                  <a:moveTo>
                    <a:pt x="373" y="842"/>
                  </a:moveTo>
                  <a:cubicBezTo>
                    <a:pt x="245" y="842"/>
                    <a:pt x="245" y="842"/>
                    <a:pt x="245" y="842"/>
                  </a:cubicBezTo>
                  <a:cubicBezTo>
                    <a:pt x="236" y="842"/>
                    <a:pt x="229" y="835"/>
                    <a:pt x="229" y="826"/>
                  </a:cubicBezTo>
                  <a:cubicBezTo>
                    <a:pt x="229" y="813"/>
                    <a:pt x="229" y="813"/>
                    <a:pt x="229" y="813"/>
                  </a:cubicBezTo>
                  <a:cubicBezTo>
                    <a:pt x="91" y="755"/>
                    <a:pt x="0" y="618"/>
                    <a:pt x="0" y="469"/>
                  </a:cubicBezTo>
                  <a:cubicBezTo>
                    <a:pt x="0" y="319"/>
                    <a:pt x="91" y="183"/>
                    <a:pt x="229" y="125"/>
                  </a:cubicBezTo>
                  <a:cubicBezTo>
                    <a:pt x="229" y="112"/>
                    <a:pt x="229" y="112"/>
                    <a:pt x="229" y="112"/>
                  </a:cubicBezTo>
                  <a:cubicBezTo>
                    <a:pt x="229" y="103"/>
                    <a:pt x="236" y="96"/>
                    <a:pt x="245" y="96"/>
                  </a:cubicBezTo>
                  <a:cubicBezTo>
                    <a:pt x="373" y="96"/>
                    <a:pt x="373" y="96"/>
                    <a:pt x="373" y="96"/>
                  </a:cubicBezTo>
                  <a:cubicBezTo>
                    <a:pt x="417" y="96"/>
                    <a:pt x="460" y="103"/>
                    <a:pt x="502" y="119"/>
                  </a:cubicBezTo>
                  <a:cubicBezTo>
                    <a:pt x="612" y="5"/>
                    <a:pt x="612" y="5"/>
                    <a:pt x="612" y="5"/>
                  </a:cubicBezTo>
                  <a:cubicBezTo>
                    <a:pt x="615" y="2"/>
                    <a:pt x="619" y="0"/>
                    <a:pt x="624" y="0"/>
                  </a:cubicBezTo>
                  <a:cubicBezTo>
                    <a:pt x="752" y="0"/>
                    <a:pt x="752" y="0"/>
                    <a:pt x="752" y="0"/>
                  </a:cubicBezTo>
                  <a:cubicBezTo>
                    <a:pt x="757" y="0"/>
                    <a:pt x="762" y="3"/>
                    <a:pt x="765" y="7"/>
                  </a:cubicBezTo>
                  <a:cubicBezTo>
                    <a:pt x="768" y="12"/>
                    <a:pt x="768" y="18"/>
                    <a:pt x="766" y="23"/>
                  </a:cubicBezTo>
                  <a:cubicBezTo>
                    <a:pt x="670" y="244"/>
                    <a:pt x="670" y="244"/>
                    <a:pt x="670" y="244"/>
                  </a:cubicBezTo>
                  <a:cubicBezTo>
                    <a:pt x="720" y="309"/>
                    <a:pt x="746" y="387"/>
                    <a:pt x="746" y="469"/>
                  </a:cubicBezTo>
                  <a:cubicBezTo>
                    <a:pt x="746" y="674"/>
                    <a:pt x="578" y="842"/>
                    <a:pt x="373" y="842"/>
                  </a:cubicBezTo>
                  <a:close/>
                  <a:moveTo>
                    <a:pt x="261" y="810"/>
                  </a:moveTo>
                  <a:cubicBezTo>
                    <a:pt x="373" y="810"/>
                    <a:pt x="373" y="810"/>
                    <a:pt x="373" y="810"/>
                  </a:cubicBezTo>
                  <a:cubicBezTo>
                    <a:pt x="561" y="810"/>
                    <a:pt x="714" y="657"/>
                    <a:pt x="714" y="469"/>
                  </a:cubicBezTo>
                  <a:cubicBezTo>
                    <a:pt x="714" y="391"/>
                    <a:pt x="688" y="317"/>
                    <a:pt x="639" y="256"/>
                  </a:cubicBezTo>
                  <a:cubicBezTo>
                    <a:pt x="635" y="251"/>
                    <a:pt x="635" y="245"/>
                    <a:pt x="637" y="240"/>
                  </a:cubicBezTo>
                  <a:cubicBezTo>
                    <a:pt x="727" y="32"/>
                    <a:pt x="727" y="32"/>
                    <a:pt x="727" y="32"/>
                  </a:cubicBezTo>
                  <a:cubicBezTo>
                    <a:pt x="630" y="32"/>
                    <a:pt x="630" y="32"/>
                    <a:pt x="630" y="32"/>
                  </a:cubicBezTo>
                  <a:cubicBezTo>
                    <a:pt x="517" y="149"/>
                    <a:pt x="517" y="149"/>
                    <a:pt x="517" y="149"/>
                  </a:cubicBezTo>
                  <a:cubicBezTo>
                    <a:pt x="513" y="153"/>
                    <a:pt x="506" y="155"/>
                    <a:pt x="500" y="152"/>
                  </a:cubicBezTo>
                  <a:cubicBezTo>
                    <a:pt x="459" y="136"/>
                    <a:pt x="416" y="128"/>
                    <a:pt x="373" y="128"/>
                  </a:cubicBezTo>
                  <a:cubicBezTo>
                    <a:pt x="261" y="128"/>
                    <a:pt x="261" y="128"/>
                    <a:pt x="261" y="128"/>
                  </a:cubicBezTo>
                  <a:cubicBezTo>
                    <a:pt x="261" y="136"/>
                    <a:pt x="261" y="136"/>
                    <a:pt x="261" y="136"/>
                  </a:cubicBezTo>
                  <a:cubicBezTo>
                    <a:pt x="261" y="142"/>
                    <a:pt x="257" y="148"/>
                    <a:pt x="251" y="151"/>
                  </a:cubicBezTo>
                  <a:cubicBezTo>
                    <a:pt x="120" y="201"/>
                    <a:pt x="32" y="329"/>
                    <a:pt x="32" y="469"/>
                  </a:cubicBezTo>
                  <a:cubicBezTo>
                    <a:pt x="32" y="609"/>
                    <a:pt x="120" y="736"/>
                    <a:pt x="251" y="787"/>
                  </a:cubicBezTo>
                  <a:cubicBezTo>
                    <a:pt x="257" y="789"/>
                    <a:pt x="261" y="795"/>
                    <a:pt x="261" y="802"/>
                  </a:cubicBezTo>
                  <a:cubicBezTo>
                    <a:pt x="261" y="810"/>
                    <a:pt x="261" y="810"/>
                    <a:pt x="261" y="8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1" name="ExtraShape1">
              <a:extLst>
                <a:ext uri="{FF2B5EF4-FFF2-40B4-BE49-F238E27FC236}">
                  <a16:creationId xmlns:a16="http://schemas.microsoft.com/office/drawing/2014/main" id="{4EBDD242-8422-41BB-9307-CAE72E0D43D7}"/>
                </a:ext>
              </a:extLst>
            </p:cNvPr>
            <p:cNvSpPr/>
            <p:nvPr/>
          </p:nvSpPr>
          <p:spPr bwMode="auto">
            <a:xfrm>
              <a:off x="6175424" y="3787267"/>
              <a:ext cx="1664906" cy="1558302"/>
            </a:xfrm>
            <a:custGeom>
              <a:avLst/>
              <a:gdLst>
                <a:gd name="T0" fmla="*/ 507 w 864"/>
                <a:gd name="T1" fmla="*/ 810 h 810"/>
                <a:gd name="T2" fmla="*/ 379 w 864"/>
                <a:gd name="T3" fmla="*/ 810 h 810"/>
                <a:gd name="T4" fmla="*/ 379 w 864"/>
                <a:gd name="T5" fmla="*/ 786 h 810"/>
                <a:gd name="T6" fmla="*/ 150 w 864"/>
                <a:gd name="T7" fmla="*/ 453 h 810"/>
                <a:gd name="T8" fmla="*/ 228 w 864"/>
                <a:gd name="T9" fmla="*/ 230 h 810"/>
                <a:gd name="T10" fmla="*/ 0 w 864"/>
                <a:gd name="T11" fmla="*/ 0 h 810"/>
                <a:gd name="T12" fmla="*/ 128 w 864"/>
                <a:gd name="T13" fmla="*/ 0 h 810"/>
                <a:gd name="T14" fmla="*/ 374 w 864"/>
                <a:gd name="T15" fmla="*/ 122 h 810"/>
                <a:gd name="T16" fmla="*/ 379 w 864"/>
                <a:gd name="T17" fmla="*/ 120 h 810"/>
                <a:gd name="T18" fmla="*/ 379 w 864"/>
                <a:gd name="T19" fmla="*/ 96 h 810"/>
                <a:gd name="T20" fmla="*/ 507 w 864"/>
                <a:gd name="T21" fmla="*/ 96 h 810"/>
                <a:gd name="T22" fmla="*/ 864 w 864"/>
                <a:gd name="T23" fmla="*/ 453 h 810"/>
                <a:gd name="T24" fmla="*/ 507 w 864"/>
                <a:gd name="T25" fmla="*/ 81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4" h="810">
                  <a:moveTo>
                    <a:pt x="507" y="810"/>
                  </a:moveTo>
                  <a:cubicBezTo>
                    <a:pt x="379" y="810"/>
                    <a:pt x="379" y="810"/>
                    <a:pt x="379" y="810"/>
                  </a:cubicBezTo>
                  <a:cubicBezTo>
                    <a:pt x="379" y="786"/>
                    <a:pt x="379" y="786"/>
                    <a:pt x="379" y="786"/>
                  </a:cubicBezTo>
                  <a:cubicBezTo>
                    <a:pt x="245" y="734"/>
                    <a:pt x="150" y="605"/>
                    <a:pt x="150" y="453"/>
                  </a:cubicBezTo>
                  <a:cubicBezTo>
                    <a:pt x="150" y="368"/>
                    <a:pt x="180" y="291"/>
                    <a:pt x="228" y="2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374" y="122"/>
                    <a:pt x="374" y="122"/>
                    <a:pt x="374" y="122"/>
                  </a:cubicBezTo>
                  <a:cubicBezTo>
                    <a:pt x="376" y="121"/>
                    <a:pt x="378" y="120"/>
                    <a:pt x="379" y="120"/>
                  </a:cubicBezTo>
                  <a:cubicBezTo>
                    <a:pt x="379" y="96"/>
                    <a:pt x="379" y="96"/>
                    <a:pt x="379" y="96"/>
                  </a:cubicBezTo>
                  <a:cubicBezTo>
                    <a:pt x="507" y="96"/>
                    <a:pt x="507" y="96"/>
                    <a:pt x="507" y="96"/>
                  </a:cubicBezTo>
                  <a:cubicBezTo>
                    <a:pt x="704" y="96"/>
                    <a:pt x="864" y="256"/>
                    <a:pt x="864" y="453"/>
                  </a:cubicBezTo>
                  <a:cubicBezTo>
                    <a:pt x="864" y="650"/>
                    <a:pt x="704" y="810"/>
                    <a:pt x="507" y="810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2" name="ExtraShape">
              <a:extLst>
                <a:ext uri="{FF2B5EF4-FFF2-40B4-BE49-F238E27FC236}">
                  <a16:creationId xmlns:a16="http://schemas.microsoft.com/office/drawing/2014/main" id="{AB284916-B3BB-4E01-9838-A3C467DC00FB}"/>
                </a:ext>
              </a:extLst>
            </p:cNvPr>
            <p:cNvSpPr/>
            <p:nvPr/>
          </p:nvSpPr>
          <p:spPr bwMode="auto">
            <a:xfrm>
              <a:off x="6142978" y="3756677"/>
              <a:ext cx="1727943" cy="1619483"/>
            </a:xfrm>
            <a:custGeom>
              <a:avLst/>
              <a:gdLst>
                <a:gd name="T0" fmla="*/ 524 w 897"/>
                <a:gd name="T1" fmla="*/ 842 h 842"/>
                <a:gd name="T2" fmla="*/ 396 w 897"/>
                <a:gd name="T3" fmla="*/ 842 h 842"/>
                <a:gd name="T4" fmla="*/ 380 w 897"/>
                <a:gd name="T5" fmla="*/ 826 h 842"/>
                <a:gd name="T6" fmla="*/ 380 w 897"/>
                <a:gd name="T7" fmla="*/ 813 h 842"/>
                <a:gd name="T8" fmla="*/ 151 w 897"/>
                <a:gd name="T9" fmla="*/ 469 h 842"/>
                <a:gd name="T10" fmla="*/ 224 w 897"/>
                <a:gd name="T11" fmla="*/ 247 h 842"/>
                <a:gd name="T12" fmla="*/ 6 w 897"/>
                <a:gd name="T13" fmla="*/ 27 h 842"/>
                <a:gd name="T14" fmla="*/ 3 w 897"/>
                <a:gd name="T15" fmla="*/ 10 h 842"/>
                <a:gd name="T16" fmla="*/ 17 w 897"/>
                <a:gd name="T17" fmla="*/ 0 h 842"/>
                <a:gd name="T18" fmla="*/ 145 w 897"/>
                <a:gd name="T19" fmla="*/ 0 h 842"/>
                <a:gd name="T20" fmla="*/ 152 w 897"/>
                <a:gd name="T21" fmla="*/ 2 h 842"/>
                <a:gd name="T22" fmla="*/ 380 w 897"/>
                <a:gd name="T23" fmla="*/ 114 h 842"/>
                <a:gd name="T24" fmla="*/ 380 w 897"/>
                <a:gd name="T25" fmla="*/ 112 h 842"/>
                <a:gd name="T26" fmla="*/ 396 w 897"/>
                <a:gd name="T27" fmla="*/ 96 h 842"/>
                <a:gd name="T28" fmla="*/ 524 w 897"/>
                <a:gd name="T29" fmla="*/ 96 h 842"/>
                <a:gd name="T30" fmla="*/ 897 w 897"/>
                <a:gd name="T31" fmla="*/ 469 h 842"/>
                <a:gd name="T32" fmla="*/ 524 w 897"/>
                <a:gd name="T33" fmla="*/ 842 h 842"/>
                <a:gd name="T34" fmla="*/ 412 w 897"/>
                <a:gd name="T35" fmla="*/ 810 h 842"/>
                <a:gd name="T36" fmla="*/ 524 w 897"/>
                <a:gd name="T37" fmla="*/ 810 h 842"/>
                <a:gd name="T38" fmla="*/ 865 w 897"/>
                <a:gd name="T39" fmla="*/ 469 h 842"/>
                <a:gd name="T40" fmla="*/ 524 w 897"/>
                <a:gd name="T41" fmla="*/ 128 h 842"/>
                <a:gd name="T42" fmla="*/ 412 w 897"/>
                <a:gd name="T43" fmla="*/ 128 h 842"/>
                <a:gd name="T44" fmla="*/ 412 w 897"/>
                <a:gd name="T45" fmla="*/ 136 h 842"/>
                <a:gd name="T46" fmla="*/ 402 w 897"/>
                <a:gd name="T47" fmla="*/ 151 h 842"/>
                <a:gd name="T48" fmla="*/ 399 w 897"/>
                <a:gd name="T49" fmla="*/ 152 h 842"/>
                <a:gd name="T50" fmla="*/ 384 w 897"/>
                <a:gd name="T51" fmla="*/ 152 h 842"/>
                <a:gd name="T52" fmla="*/ 142 w 897"/>
                <a:gd name="T53" fmla="*/ 32 h 842"/>
                <a:gd name="T54" fmla="*/ 56 w 897"/>
                <a:gd name="T55" fmla="*/ 32 h 842"/>
                <a:gd name="T56" fmla="*/ 257 w 897"/>
                <a:gd name="T57" fmla="*/ 235 h 842"/>
                <a:gd name="T58" fmla="*/ 258 w 897"/>
                <a:gd name="T59" fmla="*/ 256 h 842"/>
                <a:gd name="T60" fmla="*/ 183 w 897"/>
                <a:gd name="T61" fmla="*/ 469 h 842"/>
                <a:gd name="T62" fmla="*/ 402 w 897"/>
                <a:gd name="T63" fmla="*/ 787 h 842"/>
                <a:gd name="T64" fmla="*/ 412 w 897"/>
                <a:gd name="T65" fmla="*/ 802 h 842"/>
                <a:gd name="T66" fmla="*/ 412 w 897"/>
                <a:gd name="T67" fmla="*/ 81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7" h="842">
                  <a:moveTo>
                    <a:pt x="524" y="842"/>
                  </a:moveTo>
                  <a:cubicBezTo>
                    <a:pt x="396" y="842"/>
                    <a:pt x="396" y="842"/>
                    <a:pt x="396" y="842"/>
                  </a:cubicBezTo>
                  <a:cubicBezTo>
                    <a:pt x="387" y="842"/>
                    <a:pt x="380" y="835"/>
                    <a:pt x="380" y="826"/>
                  </a:cubicBezTo>
                  <a:cubicBezTo>
                    <a:pt x="380" y="813"/>
                    <a:pt x="380" y="813"/>
                    <a:pt x="380" y="813"/>
                  </a:cubicBezTo>
                  <a:cubicBezTo>
                    <a:pt x="243" y="755"/>
                    <a:pt x="151" y="618"/>
                    <a:pt x="151" y="469"/>
                  </a:cubicBezTo>
                  <a:cubicBezTo>
                    <a:pt x="151" y="388"/>
                    <a:pt x="176" y="312"/>
                    <a:pt x="224" y="24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1" y="23"/>
                    <a:pt x="0" y="16"/>
                    <a:pt x="3" y="10"/>
                  </a:cubicBezTo>
                  <a:cubicBezTo>
                    <a:pt x="5" y="4"/>
                    <a:pt x="11" y="0"/>
                    <a:pt x="17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8" y="0"/>
                    <a:pt x="150" y="1"/>
                    <a:pt x="152" y="2"/>
                  </a:cubicBezTo>
                  <a:cubicBezTo>
                    <a:pt x="380" y="114"/>
                    <a:pt x="380" y="114"/>
                    <a:pt x="380" y="114"/>
                  </a:cubicBezTo>
                  <a:cubicBezTo>
                    <a:pt x="380" y="112"/>
                    <a:pt x="380" y="112"/>
                    <a:pt x="380" y="112"/>
                  </a:cubicBezTo>
                  <a:cubicBezTo>
                    <a:pt x="380" y="103"/>
                    <a:pt x="387" y="96"/>
                    <a:pt x="396" y="96"/>
                  </a:cubicBezTo>
                  <a:cubicBezTo>
                    <a:pt x="524" y="96"/>
                    <a:pt x="524" y="96"/>
                    <a:pt x="524" y="96"/>
                  </a:cubicBezTo>
                  <a:cubicBezTo>
                    <a:pt x="730" y="96"/>
                    <a:pt x="897" y="263"/>
                    <a:pt x="897" y="469"/>
                  </a:cubicBezTo>
                  <a:cubicBezTo>
                    <a:pt x="897" y="674"/>
                    <a:pt x="730" y="842"/>
                    <a:pt x="524" y="842"/>
                  </a:cubicBezTo>
                  <a:close/>
                  <a:moveTo>
                    <a:pt x="412" y="810"/>
                  </a:moveTo>
                  <a:cubicBezTo>
                    <a:pt x="524" y="810"/>
                    <a:pt x="524" y="810"/>
                    <a:pt x="524" y="810"/>
                  </a:cubicBezTo>
                  <a:cubicBezTo>
                    <a:pt x="712" y="810"/>
                    <a:pt x="865" y="657"/>
                    <a:pt x="865" y="469"/>
                  </a:cubicBezTo>
                  <a:cubicBezTo>
                    <a:pt x="865" y="281"/>
                    <a:pt x="712" y="128"/>
                    <a:pt x="524" y="128"/>
                  </a:cubicBezTo>
                  <a:cubicBezTo>
                    <a:pt x="412" y="128"/>
                    <a:pt x="412" y="128"/>
                    <a:pt x="412" y="128"/>
                  </a:cubicBezTo>
                  <a:cubicBezTo>
                    <a:pt x="412" y="136"/>
                    <a:pt x="412" y="136"/>
                    <a:pt x="412" y="136"/>
                  </a:cubicBezTo>
                  <a:cubicBezTo>
                    <a:pt x="412" y="142"/>
                    <a:pt x="408" y="148"/>
                    <a:pt x="402" y="151"/>
                  </a:cubicBezTo>
                  <a:cubicBezTo>
                    <a:pt x="402" y="151"/>
                    <a:pt x="399" y="152"/>
                    <a:pt x="399" y="152"/>
                  </a:cubicBezTo>
                  <a:cubicBezTo>
                    <a:pt x="395" y="153"/>
                    <a:pt x="388" y="154"/>
                    <a:pt x="384" y="15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257" y="235"/>
                    <a:pt x="257" y="235"/>
                    <a:pt x="257" y="235"/>
                  </a:cubicBezTo>
                  <a:cubicBezTo>
                    <a:pt x="262" y="241"/>
                    <a:pt x="263" y="250"/>
                    <a:pt x="258" y="256"/>
                  </a:cubicBezTo>
                  <a:cubicBezTo>
                    <a:pt x="209" y="317"/>
                    <a:pt x="183" y="391"/>
                    <a:pt x="183" y="469"/>
                  </a:cubicBezTo>
                  <a:cubicBezTo>
                    <a:pt x="183" y="609"/>
                    <a:pt x="271" y="736"/>
                    <a:pt x="402" y="787"/>
                  </a:cubicBezTo>
                  <a:cubicBezTo>
                    <a:pt x="408" y="789"/>
                    <a:pt x="412" y="795"/>
                    <a:pt x="412" y="802"/>
                  </a:cubicBezTo>
                  <a:cubicBezTo>
                    <a:pt x="412" y="810"/>
                    <a:pt x="412" y="810"/>
                    <a:pt x="412" y="8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3" name="ValueShape1">
              <a:extLst>
                <a:ext uri="{FF2B5EF4-FFF2-40B4-BE49-F238E27FC236}">
                  <a16:creationId xmlns:a16="http://schemas.microsoft.com/office/drawing/2014/main" id="{A29E6298-E88A-40C3-B2FC-2ACE1F2CAD55}"/>
                </a:ext>
              </a:extLst>
            </p:cNvPr>
            <p:cNvSpPr/>
            <p:nvPr/>
          </p:nvSpPr>
          <p:spPr bwMode="auto">
            <a:xfrm>
              <a:off x="4288035" y="1512431"/>
              <a:ext cx="1417397" cy="1558302"/>
            </a:xfrm>
            <a:custGeom>
              <a:avLst/>
              <a:gdLst>
                <a:gd name="T0" fmla="*/ 636 w 736"/>
                <a:gd name="T1" fmla="*/ 580 h 810"/>
                <a:gd name="T2" fmla="*/ 714 w 736"/>
                <a:gd name="T3" fmla="*/ 357 h 810"/>
                <a:gd name="T4" fmla="*/ 357 w 736"/>
                <a:gd name="T5" fmla="*/ 0 h 810"/>
                <a:gd name="T6" fmla="*/ 0 w 736"/>
                <a:gd name="T7" fmla="*/ 357 h 810"/>
                <a:gd name="T8" fmla="*/ 357 w 736"/>
                <a:gd name="T9" fmla="*/ 714 h 810"/>
                <a:gd name="T10" fmla="*/ 490 w 736"/>
                <a:gd name="T11" fmla="*/ 688 h 810"/>
                <a:gd name="T12" fmla="*/ 736 w 736"/>
                <a:gd name="T13" fmla="*/ 810 h 810"/>
                <a:gd name="T14" fmla="*/ 636 w 736"/>
                <a:gd name="T15" fmla="*/ 58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6" h="810">
                  <a:moveTo>
                    <a:pt x="636" y="580"/>
                  </a:moveTo>
                  <a:cubicBezTo>
                    <a:pt x="684" y="519"/>
                    <a:pt x="714" y="442"/>
                    <a:pt x="714" y="357"/>
                  </a:cubicBezTo>
                  <a:cubicBezTo>
                    <a:pt x="714" y="160"/>
                    <a:pt x="554" y="0"/>
                    <a:pt x="357" y="0"/>
                  </a:cubicBezTo>
                  <a:cubicBezTo>
                    <a:pt x="160" y="0"/>
                    <a:pt x="0" y="160"/>
                    <a:pt x="0" y="357"/>
                  </a:cubicBezTo>
                  <a:cubicBezTo>
                    <a:pt x="0" y="554"/>
                    <a:pt x="160" y="714"/>
                    <a:pt x="357" y="714"/>
                  </a:cubicBezTo>
                  <a:cubicBezTo>
                    <a:pt x="404" y="714"/>
                    <a:pt x="449" y="705"/>
                    <a:pt x="490" y="688"/>
                  </a:cubicBezTo>
                  <a:cubicBezTo>
                    <a:pt x="736" y="810"/>
                    <a:pt x="736" y="810"/>
                    <a:pt x="736" y="810"/>
                  </a:cubicBezTo>
                  <a:lnTo>
                    <a:pt x="636" y="58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9615">
                  <a:schemeClr val="accent1">
                    <a:lumMod val="100000"/>
                  </a:schemeClr>
                </a:gs>
                <a:gs pos="59715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4" name="ValueShape2">
              <a:extLst>
                <a:ext uri="{FF2B5EF4-FFF2-40B4-BE49-F238E27FC236}">
                  <a16:creationId xmlns:a16="http://schemas.microsoft.com/office/drawing/2014/main" id="{F5B4DE84-1E04-4F1F-A412-BF27B0E95FA2}"/>
                </a:ext>
              </a:extLst>
            </p:cNvPr>
            <p:cNvSpPr/>
            <p:nvPr/>
          </p:nvSpPr>
          <p:spPr bwMode="auto">
            <a:xfrm>
              <a:off x="6175424" y="1512431"/>
              <a:ext cx="1418322" cy="1558302"/>
            </a:xfrm>
            <a:custGeom>
              <a:avLst/>
              <a:gdLst>
                <a:gd name="T0" fmla="*/ 100 w 736"/>
                <a:gd name="T1" fmla="*/ 580 h 810"/>
                <a:gd name="T2" fmla="*/ 22 w 736"/>
                <a:gd name="T3" fmla="*/ 357 h 810"/>
                <a:gd name="T4" fmla="*/ 379 w 736"/>
                <a:gd name="T5" fmla="*/ 0 h 810"/>
                <a:gd name="T6" fmla="*/ 736 w 736"/>
                <a:gd name="T7" fmla="*/ 357 h 810"/>
                <a:gd name="T8" fmla="*/ 379 w 736"/>
                <a:gd name="T9" fmla="*/ 714 h 810"/>
                <a:gd name="T10" fmla="*/ 246 w 736"/>
                <a:gd name="T11" fmla="*/ 688 h 810"/>
                <a:gd name="T12" fmla="*/ 0 w 736"/>
                <a:gd name="T13" fmla="*/ 810 h 810"/>
                <a:gd name="T14" fmla="*/ 100 w 736"/>
                <a:gd name="T15" fmla="*/ 58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6" h="810">
                  <a:moveTo>
                    <a:pt x="100" y="580"/>
                  </a:moveTo>
                  <a:cubicBezTo>
                    <a:pt x="52" y="519"/>
                    <a:pt x="22" y="442"/>
                    <a:pt x="22" y="357"/>
                  </a:cubicBezTo>
                  <a:cubicBezTo>
                    <a:pt x="22" y="160"/>
                    <a:pt x="182" y="0"/>
                    <a:pt x="379" y="0"/>
                  </a:cubicBezTo>
                  <a:cubicBezTo>
                    <a:pt x="576" y="0"/>
                    <a:pt x="736" y="160"/>
                    <a:pt x="736" y="357"/>
                  </a:cubicBezTo>
                  <a:cubicBezTo>
                    <a:pt x="736" y="554"/>
                    <a:pt x="576" y="714"/>
                    <a:pt x="379" y="714"/>
                  </a:cubicBezTo>
                  <a:cubicBezTo>
                    <a:pt x="332" y="714"/>
                    <a:pt x="287" y="705"/>
                    <a:pt x="246" y="688"/>
                  </a:cubicBezTo>
                  <a:cubicBezTo>
                    <a:pt x="0" y="810"/>
                    <a:pt x="0" y="810"/>
                    <a:pt x="0" y="810"/>
                  </a:cubicBezTo>
                  <a:lnTo>
                    <a:pt x="100" y="58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50000">
                  <a:schemeClr val="accent2">
                    <a:lumMod val="100000"/>
                  </a:schemeClr>
                </a:gs>
                <a:gs pos="501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5" name="ValueShape3">
              <a:extLst>
                <a:ext uri="{FF2B5EF4-FFF2-40B4-BE49-F238E27FC236}">
                  <a16:creationId xmlns:a16="http://schemas.microsoft.com/office/drawing/2014/main" id="{B422C90B-2543-428D-9A25-170E4680B470}"/>
                </a:ext>
              </a:extLst>
            </p:cNvPr>
            <p:cNvSpPr/>
            <p:nvPr/>
          </p:nvSpPr>
          <p:spPr bwMode="auto">
            <a:xfrm>
              <a:off x="4288035" y="3787267"/>
              <a:ext cx="1417397" cy="1558302"/>
            </a:xfrm>
            <a:custGeom>
              <a:avLst/>
              <a:gdLst>
                <a:gd name="T0" fmla="*/ 636 w 736"/>
                <a:gd name="T1" fmla="*/ 230 h 810"/>
                <a:gd name="T2" fmla="*/ 714 w 736"/>
                <a:gd name="T3" fmla="*/ 453 h 810"/>
                <a:gd name="T4" fmla="*/ 357 w 736"/>
                <a:gd name="T5" fmla="*/ 810 h 810"/>
                <a:gd name="T6" fmla="*/ 0 w 736"/>
                <a:gd name="T7" fmla="*/ 453 h 810"/>
                <a:gd name="T8" fmla="*/ 357 w 736"/>
                <a:gd name="T9" fmla="*/ 96 h 810"/>
                <a:gd name="T10" fmla="*/ 490 w 736"/>
                <a:gd name="T11" fmla="*/ 122 h 810"/>
                <a:gd name="T12" fmla="*/ 736 w 736"/>
                <a:gd name="T13" fmla="*/ 0 h 810"/>
                <a:gd name="T14" fmla="*/ 636 w 736"/>
                <a:gd name="T15" fmla="*/ 23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6" h="810">
                  <a:moveTo>
                    <a:pt x="636" y="230"/>
                  </a:moveTo>
                  <a:cubicBezTo>
                    <a:pt x="684" y="291"/>
                    <a:pt x="714" y="368"/>
                    <a:pt x="714" y="453"/>
                  </a:cubicBezTo>
                  <a:cubicBezTo>
                    <a:pt x="714" y="650"/>
                    <a:pt x="554" y="810"/>
                    <a:pt x="357" y="810"/>
                  </a:cubicBezTo>
                  <a:cubicBezTo>
                    <a:pt x="160" y="810"/>
                    <a:pt x="0" y="650"/>
                    <a:pt x="0" y="453"/>
                  </a:cubicBezTo>
                  <a:cubicBezTo>
                    <a:pt x="0" y="256"/>
                    <a:pt x="160" y="96"/>
                    <a:pt x="357" y="96"/>
                  </a:cubicBezTo>
                  <a:cubicBezTo>
                    <a:pt x="404" y="96"/>
                    <a:pt x="449" y="105"/>
                    <a:pt x="490" y="122"/>
                  </a:cubicBezTo>
                  <a:cubicBezTo>
                    <a:pt x="736" y="0"/>
                    <a:pt x="736" y="0"/>
                    <a:pt x="736" y="0"/>
                  </a:cubicBezTo>
                  <a:lnTo>
                    <a:pt x="636" y="23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59615">
                  <a:schemeClr val="accent3">
                    <a:lumMod val="100000"/>
                  </a:schemeClr>
                </a:gs>
                <a:gs pos="59715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6" name="ValueShape4">
              <a:extLst>
                <a:ext uri="{FF2B5EF4-FFF2-40B4-BE49-F238E27FC236}">
                  <a16:creationId xmlns:a16="http://schemas.microsoft.com/office/drawing/2014/main" id="{06C4AA5D-2956-41F7-ABFE-78CB97677716}"/>
                </a:ext>
              </a:extLst>
            </p:cNvPr>
            <p:cNvSpPr/>
            <p:nvPr/>
          </p:nvSpPr>
          <p:spPr bwMode="auto">
            <a:xfrm>
              <a:off x="6175424" y="3787267"/>
              <a:ext cx="1418322" cy="1558302"/>
            </a:xfrm>
            <a:custGeom>
              <a:avLst/>
              <a:gdLst>
                <a:gd name="T0" fmla="*/ 100 w 736"/>
                <a:gd name="T1" fmla="*/ 230 h 810"/>
                <a:gd name="T2" fmla="*/ 22 w 736"/>
                <a:gd name="T3" fmla="*/ 453 h 810"/>
                <a:gd name="T4" fmla="*/ 379 w 736"/>
                <a:gd name="T5" fmla="*/ 810 h 810"/>
                <a:gd name="T6" fmla="*/ 736 w 736"/>
                <a:gd name="T7" fmla="*/ 453 h 810"/>
                <a:gd name="T8" fmla="*/ 379 w 736"/>
                <a:gd name="T9" fmla="*/ 96 h 810"/>
                <a:gd name="T10" fmla="*/ 246 w 736"/>
                <a:gd name="T11" fmla="*/ 122 h 810"/>
                <a:gd name="T12" fmla="*/ 0 w 736"/>
                <a:gd name="T13" fmla="*/ 0 h 810"/>
                <a:gd name="T14" fmla="*/ 100 w 736"/>
                <a:gd name="T15" fmla="*/ 23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6" h="810">
                  <a:moveTo>
                    <a:pt x="100" y="230"/>
                  </a:moveTo>
                  <a:cubicBezTo>
                    <a:pt x="52" y="291"/>
                    <a:pt x="22" y="368"/>
                    <a:pt x="22" y="453"/>
                  </a:cubicBezTo>
                  <a:cubicBezTo>
                    <a:pt x="22" y="650"/>
                    <a:pt x="182" y="810"/>
                    <a:pt x="379" y="810"/>
                  </a:cubicBezTo>
                  <a:cubicBezTo>
                    <a:pt x="576" y="810"/>
                    <a:pt x="736" y="650"/>
                    <a:pt x="736" y="453"/>
                  </a:cubicBezTo>
                  <a:cubicBezTo>
                    <a:pt x="736" y="256"/>
                    <a:pt x="576" y="96"/>
                    <a:pt x="379" y="96"/>
                  </a:cubicBezTo>
                  <a:cubicBezTo>
                    <a:pt x="332" y="96"/>
                    <a:pt x="287" y="105"/>
                    <a:pt x="246" y="12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00" y="23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100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  <a:gs pos="48077">
                  <a:schemeClr val="accent4">
                    <a:lumMod val="100000"/>
                  </a:schemeClr>
                </a:gs>
                <a:gs pos="48177">
                  <a:schemeClr val="accent4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7" name="ValueText1">
              <a:extLst>
                <a:ext uri="{FF2B5EF4-FFF2-40B4-BE49-F238E27FC236}">
                  <a16:creationId xmlns:a16="http://schemas.microsoft.com/office/drawing/2014/main" id="{4D422788-18F7-4144-AB48-51100F52EA10}"/>
                </a:ext>
              </a:extLst>
            </p:cNvPr>
            <p:cNvSpPr txBox="1"/>
            <p:nvPr/>
          </p:nvSpPr>
          <p:spPr>
            <a:xfrm>
              <a:off x="3474549" y="2080589"/>
              <a:ext cx="634246" cy="40460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+mj-lt"/>
                </a:rPr>
                <a:t>60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8" name="ValueText2">
              <a:extLst>
                <a:ext uri="{FF2B5EF4-FFF2-40B4-BE49-F238E27FC236}">
                  <a16:creationId xmlns:a16="http://schemas.microsoft.com/office/drawing/2014/main" id="{C124E0ED-809E-40BD-BA6E-55E21EA51204}"/>
                </a:ext>
              </a:extLst>
            </p:cNvPr>
            <p:cNvSpPr txBox="1"/>
            <p:nvPr/>
          </p:nvSpPr>
          <p:spPr>
            <a:xfrm>
              <a:off x="8083206" y="2080589"/>
              <a:ext cx="634245" cy="404608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+mj-lt"/>
                </a:rPr>
                <a:t>50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9" name="ValueText3">
              <a:extLst>
                <a:ext uri="{FF2B5EF4-FFF2-40B4-BE49-F238E27FC236}">
                  <a16:creationId xmlns:a16="http://schemas.microsoft.com/office/drawing/2014/main" id="{BB0C1948-7087-4263-A4C5-195D9CC1967E}"/>
                </a:ext>
              </a:extLst>
            </p:cNvPr>
            <p:cNvSpPr txBox="1"/>
            <p:nvPr/>
          </p:nvSpPr>
          <p:spPr>
            <a:xfrm>
              <a:off x="3474549" y="4447297"/>
              <a:ext cx="634246" cy="40460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+mj-lt"/>
                </a:rPr>
                <a:t>60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20" name="ValueText4">
              <a:extLst>
                <a:ext uri="{FF2B5EF4-FFF2-40B4-BE49-F238E27FC236}">
                  <a16:creationId xmlns:a16="http://schemas.microsoft.com/office/drawing/2014/main" id="{B179D8D8-9955-4139-BB71-4C4F5C6EA207}"/>
                </a:ext>
              </a:extLst>
            </p:cNvPr>
            <p:cNvSpPr txBox="1"/>
            <p:nvPr/>
          </p:nvSpPr>
          <p:spPr>
            <a:xfrm>
              <a:off x="8021903" y="4447297"/>
              <a:ext cx="634245" cy="404608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4">
                      <a:lumMod val="100000"/>
                    </a:schemeClr>
                  </a:solidFill>
                  <a:latin typeface="+mj-lt"/>
                </a:rPr>
                <a:t>48%</a:t>
              </a:r>
              <a:endParaRPr lang="en-US" altLang="zh-CN" sz="3600" b="1" dirty="0">
                <a:solidFill>
                  <a:schemeClr val="accent4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21" name="ExtraShape1">
              <a:extLst>
                <a:ext uri="{FF2B5EF4-FFF2-40B4-BE49-F238E27FC236}">
                  <a16:creationId xmlns:a16="http://schemas.microsoft.com/office/drawing/2014/main" id="{D20A88D8-AEF0-41FF-862C-CA91DE95EA0D}"/>
                </a:ext>
              </a:extLst>
            </p:cNvPr>
            <p:cNvSpPr/>
            <p:nvPr/>
          </p:nvSpPr>
          <p:spPr bwMode="auto">
            <a:xfrm>
              <a:off x="4257443" y="1481840"/>
              <a:ext cx="1481358" cy="1619483"/>
            </a:xfrm>
            <a:custGeom>
              <a:avLst/>
              <a:gdLst>
                <a:gd name="T0" fmla="*/ 752 w 769"/>
                <a:gd name="T1" fmla="*/ 842 h 842"/>
                <a:gd name="T2" fmla="*/ 745 w 769"/>
                <a:gd name="T3" fmla="*/ 840 h 842"/>
                <a:gd name="T4" fmla="*/ 505 w 769"/>
                <a:gd name="T5" fmla="*/ 722 h 842"/>
                <a:gd name="T6" fmla="*/ 373 w 769"/>
                <a:gd name="T7" fmla="*/ 746 h 842"/>
                <a:gd name="T8" fmla="*/ 0 w 769"/>
                <a:gd name="T9" fmla="*/ 373 h 842"/>
                <a:gd name="T10" fmla="*/ 373 w 769"/>
                <a:gd name="T11" fmla="*/ 0 h 842"/>
                <a:gd name="T12" fmla="*/ 746 w 769"/>
                <a:gd name="T13" fmla="*/ 373 h 842"/>
                <a:gd name="T14" fmla="*/ 670 w 769"/>
                <a:gd name="T15" fmla="*/ 598 h 842"/>
                <a:gd name="T16" fmla="*/ 766 w 769"/>
                <a:gd name="T17" fmla="*/ 819 h 842"/>
                <a:gd name="T18" fmla="*/ 763 w 769"/>
                <a:gd name="T19" fmla="*/ 837 h 842"/>
                <a:gd name="T20" fmla="*/ 752 w 769"/>
                <a:gd name="T21" fmla="*/ 842 h 842"/>
                <a:gd name="T22" fmla="*/ 506 w 769"/>
                <a:gd name="T23" fmla="*/ 688 h 842"/>
                <a:gd name="T24" fmla="*/ 513 w 769"/>
                <a:gd name="T25" fmla="*/ 690 h 842"/>
                <a:gd name="T26" fmla="*/ 720 w 769"/>
                <a:gd name="T27" fmla="*/ 792 h 842"/>
                <a:gd name="T28" fmla="*/ 637 w 769"/>
                <a:gd name="T29" fmla="*/ 602 h 842"/>
                <a:gd name="T30" fmla="*/ 639 w 769"/>
                <a:gd name="T31" fmla="*/ 586 h 842"/>
                <a:gd name="T32" fmla="*/ 714 w 769"/>
                <a:gd name="T33" fmla="*/ 373 h 842"/>
                <a:gd name="T34" fmla="*/ 373 w 769"/>
                <a:gd name="T35" fmla="*/ 32 h 842"/>
                <a:gd name="T36" fmla="*/ 32 w 769"/>
                <a:gd name="T37" fmla="*/ 373 h 842"/>
                <a:gd name="T38" fmla="*/ 373 w 769"/>
                <a:gd name="T39" fmla="*/ 714 h 842"/>
                <a:gd name="T40" fmla="*/ 500 w 769"/>
                <a:gd name="T41" fmla="*/ 690 h 842"/>
                <a:gd name="T42" fmla="*/ 506 w 769"/>
                <a:gd name="T43" fmla="*/ 688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69" h="842">
                  <a:moveTo>
                    <a:pt x="752" y="842"/>
                  </a:moveTo>
                  <a:cubicBezTo>
                    <a:pt x="749" y="842"/>
                    <a:pt x="747" y="841"/>
                    <a:pt x="745" y="840"/>
                  </a:cubicBezTo>
                  <a:cubicBezTo>
                    <a:pt x="505" y="722"/>
                    <a:pt x="505" y="722"/>
                    <a:pt x="505" y="722"/>
                  </a:cubicBezTo>
                  <a:cubicBezTo>
                    <a:pt x="463" y="738"/>
                    <a:pt x="418" y="746"/>
                    <a:pt x="373" y="746"/>
                  </a:cubicBezTo>
                  <a:cubicBezTo>
                    <a:pt x="167" y="746"/>
                    <a:pt x="0" y="579"/>
                    <a:pt x="0" y="373"/>
                  </a:cubicBezTo>
                  <a:cubicBezTo>
                    <a:pt x="0" y="168"/>
                    <a:pt x="167" y="0"/>
                    <a:pt x="373" y="0"/>
                  </a:cubicBezTo>
                  <a:cubicBezTo>
                    <a:pt x="578" y="0"/>
                    <a:pt x="746" y="168"/>
                    <a:pt x="746" y="373"/>
                  </a:cubicBezTo>
                  <a:cubicBezTo>
                    <a:pt x="746" y="455"/>
                    <a:pt x="720" y="533"/>
                    <a:pt x="670" y="598"/>
                  </a:cubicBezTo>
                  <a:cubicBezTo>
                    <a:pt x="766" y="819"/>
                    <a:pt x="766" y="819"/>
                    <a:pt x="766" y="819"/>
                  </a:cubicBezTo>
                  <a:cubicBezTo>
                    <a:pt x="769" y="826"/>
                    <a:pt x="768" y="833"/>
                    <a:pt x="763" y="837"/>
                  </a:cubicBezTo>
                  <a:cubicBezTo>
                    <a:pt x="760" y="840"/>
                    <a:pt x="756" y="842"/>
                    <a:pt x="752" y="842"/>
                  </a:cubicBezTo>
                  <a:close/>
                  <a:moveTo>
                    <a:pt x="506" y="688"/>
                  </a:moveTo>
                  <a:cubicBezTo>
                    <a:pt x="508" y="688"/>
                    <a:pt x="511" y="689"/>
                    <a:pt x="513" y="690"/>
                  </a:cubicBezTo>
                  <a:cubicBezTo>
                    <a:pt x="720" y="792"/>
                    <a:pt x="720" y="792"/>
                    <a:pt x="720" y="792"/>
                  </a:cubicBezTo>
                  <a:cubicBezTo>
                    <a:pt x="637" y="602"/>
                    <a:pt x="637" y="602"/>
                    <a:pt x="637" y="602"/>
                  </a:cubicBezTo>
                  <a:cubicBezTo>
                    <a:pt x="635" y="597"/>
                    <a:pt x="635" y="591"/>
                    <a:pt x="639" y="586"/>
                  </a:cubicBezTo>
                  <a:cubicBezTo>
                    <a:pt x="688" y="525"/>
                    <a:pt x="714" y="451"/>
                    <a:pt x="714" y="373"/>
                  </a:cubicBezTo>
                  <a:cubicBezTo>
                    <a:pt x="714" y="185"/>
                    <a:pt x="561" y="32"/>
                    <a:pt x="373" y="32"/>
                  </a:cubicBezTo>
                  <a:cubicBezTo>
                    <a:pt x="185" y="32"/>
                    <a:pt x="32" y="185"/>
                    <a:pt x="32" y="373"/>
                  </a:cubicBezTo>
                  <a:cubicBezTo>
                    <a:pt x="32" y="561"/>
                    <a:pt x="185" y="714"/>
                    <a:pt x="373" y="714"/>
                  </a:cubicBezTo>
                  <a:cubicBezTo>
                    <a:pt x="416" y="714"/>
                    <a:pt x="459" y="706"/>
                    <a:pt x="500" y="690"/>
                  </a:cubicBezTo>
                  <a:cubicBezTo>
                    <a:pt x="502" y="689"/>
                    <a:pt x="504" y="688"/>
                    <a:pt x="506" y="68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2" name="ExtraShape2">
              <a:extLst>
                <a:ext uri="{FF2B5EF4-FFF2-40B4-BE49-F238E27FC236}">
                  <a16:creationId xmlns:a16="http://schemas.microsoft.com/office/drawing/2014/main" id="{2281E6AB-1282-49EC-B634-5FAB70A43A83}"/>
                </a:ext>
              </a:extLst>
            </p:cNvPr>
            <p:cNvSpPr/>
            <p:nvPr/>
          </p:nvSpPr>
          <p:spPr bwMode="auto">
            <a:xfrm>
              <a:off x="6142978" y="1481840"/>
              <a:ext cx="1481358" cy="1619483"/>
            </a:xfrm>
            <a:custGeom>
              <a:avLst/>
              <a:gdLst>
                <a:gd name="T0" fmla="*/ 17 w 769"/>
                <a:gd name="T1" fmla="*/ 842 h 842"/>
                <a:gd name="T2" fmla="*/ 6 w 769"/>
                <a:gd name="T3" fmla="*/ 837 h 842"/>
                <a:gd name="T4" fmla="*/ 3 w 769"/>
                <a:gd name="T5" fmla="*/ 819 h 842"/>
                <a:gd name="T6" fmla="*/ 99 w 769"/>
                <a:gd name="T7" fmla="*/ 598 h 842"/>
                <a:gd name="T8" fmla="*/ 23 w 769"/>
                <a:gd name="T9" fmla="*/ 373 h 842"/>
                <a:gd name="T10" fmla="*/ 396 w 769"/>
                <a:gd name="T11" fmla="*/ 0 h 842"/>
                <a:gd name="T12" fmla="*/ 769 w 769"/>
                <a:gd name="T13" fmla="*/ 373 h 842"/>
                <a:gd name="T14" fmla="*/ 396 w 769"/>
                <a:gd name="T15" fmla="*/ 746 h 842"/>
                <a:gd name="T16" fmla="*/ 264 w 769"/>
                <a:gd name="T17" fmla="*/ 722 h 842"/>
                <a:gd name="T18" fmla="*/ 24 w 769"/>
                <a:gd name="T19" fmla="*/ 840 h 842"/>
                <a:gd name="T20" fmla="*/ 17 w 769"/>
                <a:gd name="T21" fmla="*/ 842 h 842"/>
                <a:gd name="T22" fmla="*/ 396 w 769"/>
                <a:gd name="T23" fmla="*/ 32 h 842"/>
                <a:gd name="T24" fmla="*/ 55 w 769"/>
                <a:gd name="T25" fmla="*/ 373 h 842"/>
                <a:gd name="T26" fmla="*/ 130 w 769"/>
                <a:gd name="T27" fmla="*/ 586 h 842"/>
                <a:gd name="T28" fmla="*/ 132 w 769"/>
                <a:gd name="T29" fmla="*/ 602 h 842"/>
                <a:gd name="T30" fmla="*/ 49 w 769"/>
                <a:gd name="T31" fmla="*/ 792 h 842"/>
                <a:gd name="T32" fmla="*/ 256 w 769"/>
                <a:gd name="T33" fmla="*/ 690 h 842"/>
                <a:gd name="T34" fmla="*/ 269 w 769"/>
                <a:gd name="T35" fmla="*/ 690 h 842"/>
                <a:gd name="T36" fmla="*/ 396 w 769"/>
                <a:gd name="T37" fmla="*/ 714 h 842"/>
                <a:gd name="T38" fmla="*/ 737 w 769"/>
                <a:gd name="T39" fmla="*/ 373 h 842"/>
                <a:gd name="T40" fmla="*/ 396 w 769"/>
                <a:gd name="T41" fmla="*/ 32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69" h="842">
                  <a:moveTo>
                    <a:pt x="17" y="842"/>
                  </a:moveTo>
                  <a:cubicBezTo>
                    <a:pt x="13" y="842"/>
                    <a:pt x="9" y="840"/>
                    <a:pt x="6" y="837"/>
                  </a:cubicBezTo>
                  <a:cubicBezTo>
                    <a:pt x="1" y="833"/>
                    <a:pt x="0" y="826"/>
                    <a:pt x="3" y="819"/>
                  </a:cubicBezTo>
                  <a:cubicBezTo>
                    <a:pt x="99" y="598"/>
                    <a:pt x="99" y="598"/>
                    <a:pt x="99" y="598"/>
                  </a:cubicBezTo>
                  <a:cubicBezTo>
                    <a:pt x="49" y="533"/>
                    <a:pt x="23" y="455"/>
                    <a:pt x="23" y="373"/>
                  </a:cubicBezTo>
                  <a:cubicBezTo>
                    <a:pt x="23" y="168"/>
                    <a:pt x="191" y="0"/>
                    <a:pt x="396" y="0"/>
                  </a:cubicBezTo>
                  <a:cubicBezTo>
                    <a:pt x="602" y="0"/>
                    <a:pt x="769" y="168"/>
                    <a:pt x="769" y="373"/>
                  </a:cubicBezTo>
                  <a:cubicBezTo>
                    <a:pt x="769" y="579"/>
                    <a:pt x="602" y="746"/>
                    <a:pt x="396" y="746"/>
                  </a:cubicBezTo>
                  <a:cubicBezTo>
                    <a:pt x="351" y="746"/>
                    <a:pt x="306" y="738"/>
                    <a:pt x="264" y="722"/>
                  </a:cubicBezTo>
                  <a:cubicBezTo>
                    <a:pt x="24" y="840"/>
                    <a:pt x="24" y="840"/>
                    <a:pt x="24" y="840"/>
                  </a:cubicBezTo>
                  <a:cubicBezTo>
                    <a:pt x="22" y="841"/>
                    <a:pt x="20" y="842"/>
                    <a:pt x="17" y="842"/>
                  </a:cubicBezTo>
                  <a:close/>
                  <a:moveTo>
                    <a:pt x="396" y="32"/>
                  </a:moveTo>
                  <a:cubicBezTo>
                    <a:pt x="208" y="32"/>
                    <a:pt x="55" y="185"/>
                    <a:pt x="55" y="373"/>
                  </a:cubicBezTo>
                  <a:cubicBezTo>
                    <a:pt x="55" y="451"/>
                    <a:pt x="81" y="525"/>
                    <a:pt x="130" y="586"/>
                  </a:cubicBezTo>
                  <a:cubicBezTo>
                    <a:pt x="134" y="591"/>
                    <a:pt x="134" y="597"/>
                    <a:pt x="132" y="602"/>
                  </a:cubicBezTo>
                  <a:cubicBezTo>
                    <a:pt x="49" y="792"/>
                    <a:pt x="49" y="792"/>
                    <a:pt x="49" y="792"/>
                  </a:cubicBezTo>
                  <a:cubicBezTo>
                    <a:pt x="256" y="690"/>
                    <a:pt x="256" y="690"/>
                    <a:pt x="256" y="690"/>
                  </a:cubicBezTo>
                  <a:cubicBezTo>
                    <a:pt x="260" y="688"/>
                    <a:pt x="265" y="688"/>
                    <a:pt x="269" y="690"/>
                  </a:cubicBezTo>
                  <a:cubicBezTo>
                    <a:pt x="310" y="706"/>
                    <a:pt x="353" y="714"/>
                    <a:pt x="396" y="714"/>
                  </a:cubicBezTo>
                  <a:cubicBezTo>
                    <a:pt x="584" y="714"/>
                    <a:pt x="737" y="561"/>
                    <a:pt x="737" y="373"/>
                  </a:cubicBezTo>
                  <a:cubicBezTo>
                    <a:pt x="737" y="185"/>
                    <a:pt x="584" y="32"/>
                    <a:pt x="396" y="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3" name="ExtraShape3">
              <a:extLst>
                <a:ext uri="{FF2B5EF4-FFF2-40B4-BE49-F238E27FC236}">
                  <a16:creationId xmlns:a16="http://schemas.microsoft.com/office/drawing/2014/main" id="{C95E27C7-55BB-46AC-9F57-B76EA843784E}"/>
                </a:ext>
              </a:extLst>
            </p:cNvPr>
            <p:cNvSpPr/>
            <p:nvPr/>
          </p:nvSpPr>
          <p:spPr bwMode="auto">
            <a:xfrm>
              <a:off x="4257443" y="3754822"/>
              <a:ext cx="1481358" cy="1621338"/>
            </a:xfrm>
            <a:custGeom>
              <a:avLst/>
              <a:gdLst>
                <a:gd name="T0" fmla="*/ 373 w 769"/>
                <a:gd name="T1" fmla="*/ 843 h 843"/>
                <a:gd name="T2" fmla="*/ 0 w 769"/>
                <a:gd name="T3" fmla="*/ 470 h 843"/>
                <a:gd name="T4" fmla="*/ 373 w 769"/>
                <a:gd name="T5" fmla="*/ 97 h 843"/>
                <a:gd name="T6" fmla="*/ 505 w 769"/>
                <a:gd name="T7" fmla="*/ 121 h 843"/>
                <a:gd name="T8" fmla="*/ 745 w 769"/>
                <a:gd name="T9" fmla="*/ 3 h 843"/>
                <a:gd name="T10" fmla="*/ 763 w 769"/>
                <a:gd name="T11" fmla="*/ 6 h 843"/>
                <a:gd name="T12" fmla="*/ 766 w 769"/>
                <a:gd name="T13" fmla="*/ 24 h 843"/>
                <a:gd name="T14" fmla="*/ 670 w 769"/>
                <a:gd name="T15" fmla="*/ 245 h 843"/>
                <a:gd name="T16" fmla="*/ 746 w 769"/>
                <a:gd name="T17" fmla="*/ 470 h 843"/>
                <a:gd name="T18" fmla="*/ 373 w 769"/>
                <a:gd name="T19" fmla="*/ 843 h 843"/>
                <a:gd name="T20" fmla="*/ 373 w 769"/>
                <a:gd name="T21" fmla="*/ 129 h 843"/>
                <a:gd name="T22" fmla="*/ 32 w 769"/>
                <a:gd name="T23" fmla="*/ 470 h 843"/>
                <a:gd name="T24" fmla="*/ 373 w 769"/>
                <a:gd name="T25" fmla="*/ 811 h 843"/>
                <a:gd name="T26" fmla="*/ 714 w 769"/>
                <a:gd name="T27" fmla="*/ 470 h 843"/>
                <a:gd name="T28" fmla="*/ 639 w 769"/>
                <a:gd name="T29" fmla="*/ 257 h 843"/>
                <a:gd name="T30" fmla="*/ 637 w 769"/>
                <a:gd name="T31" fmla="*/ 241 h 843"/>
                <a:gd name="T32" fmla="*/ 720 w 769"/>
                <a:gd name="T33" fmla="*/ 51 h 843"/>
                <a:gd name="T34" fmla="*/ 513 w 769"/>
                <a:gd name="T35" fmla="*/ 153 h 843"/>
                <a:gd name="T36" fmla="*/ 500 w 769"/>
                <a:gd name="T37" fmla="*/ 153 h 843"/>
                <a:gd name="T38" fmla="*/ 373 w 769"/>
                <a:gd name="T39" fmla="*/ 129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69" h="843">
                  <a:moveTo>
                    <a:pt x="373" y="843"/>
                  </a:moveTo>
                  <a:cubicBezTo>
                    <a:pt x="167" y="843"/>
                    <a:pt x="0" y="675"/>
                    <a:pt x="0" y="470"/>
                  </a:cubicBezTo>
                  <a:cubicBezTo>
                    <a:pt x="0" y="264"/>
                    <a:pt x="167" y="97"/>
                    <a:pt x="373" y="97"/>
                  </a:cubicBezTo>
                  <a:cubicBezTo>
                    <a:pt x="418" y="97"/>
                    <a:pt x="463" y="105"/>
                    <a:pt x="505" y="121"/>
                  </a:cubicBezTo>
                  <a:cubicBezTo>
                    <a:pt x="745" y="3"/>
                    <a:pt x="745" y="3"/>
                    <a:pt x="745" y="3"/>
                  </a:cubicBezTo>
                  <a:cubicBezTo>
                    <a:pt x="751" y="0"/>
                    <a:pt x="758" y="1"/>
                    <a:pt x="763" y="6"/>
                  </a:cubicBezTo>
                  <a:cubicBezTo>
                    <a:pt x="768" y="10"/>
                    <a:pt x="769" y="17"/>
                    <a:pt x="766" y="24"/>
                  </a:cubicBezTo>
                  <a:cubicBezTo>
                    <a:pt x="670" y="245"/>
                    <a:pt x="670" y="245"/>
                    <a:pt x="670" y="245"/>
                  </a:cubicBezTo>
                  <a:cubicBezTo>
                    <a:pt x="720" y="310"/>
                    <a:pt x="746" y="388"/>
                    <a:pt x="746" y="470"/>
                  </a:cubicBezTo>
                  <a:cubicBezTo>
                    <a:pt x="746" y="675"/>
                    <a:pt x="578" y="843"/>
                    <a:pt x="373" y="843"/>
                  </a:cubicBezTo>
                  <a:close/>
                  <a:moveTo>
                    <a:pt x="373" y="129"/>
                  </a:moveTo>
                  <a:cubicBezTo>
                    <a:pt x="185" y="129"/>
                    <a:pt x="32" y="282"/>
                    <a:pt x="32" y="470"/>
                  </a:cubicBezTo>
                  <a:cubicBezTo>
                    <a:pt x="32" y="658"/>
                    <a:pt x="185" y="811"/>
                    <a:pt x="373" y="811"/>
                  </a:cubicBezTo>
                  <a:cubicBezTo>
                    <a:pt x="561" y="811"/>
                    <a:pt x="714" y="658"/>
                    <a:pt x="714" y="470"/>
                  </a:cubicBezTo>
                  <a:cubicBezTo>
                    <a:pt x="714" y="392"/>
                    <a:pt x="688" y="318"/>
                    <a:pt x="639" y="257"/>
                  </a:cubicBezTo>
                  <a:cubicBezTo>
                    <a:pt x="635" y="252"/>
                    <a:pt x="635" y="246"/>
                    <a:pt x="637" y="241"/>
                  </a:cubicBezTo>
                  <a:cubicBezTo>
                    <a:pt x="720" y="51"/>
                    <a:pt x="720" y="51"/>
                    <a:pt x="720" y="51"/>
                  </a:cubicBezTo>
                  <a:cubicBezTo>
                    <a:pt x="513" y="153"/>
                    <a:pt x="513" y="153"/>
                    <a:pt x="513" y="153"/>
                  </a:cubicBezTo>
                  <a:cubicBezTo>
                    <a:pt x="509" y="155"/>
                    <a:pt x="504" y="155"/>
                    <a:pt x="500" y="153"/>
                  </a:cubicBezTo>
                  <a:cubicBezTo>
                    <a:pt x="459" y="137"/>
                    <a:pt x="416" y="129"/>
                    <a:pt x="373" y="1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4" name="ExtraShape4">
              <a:extLst>
                <a:ext uri="{FF2B5EF4-FFF2-40B4-BE49-F238E27FC236}">
                  <a16:creationId xmlns:a16="http://schemas.microsoft.com/office/drawing/2014/main" id="{4AE8BC48-C0C0-49DA-AE9B-B1F0A426E616}"/>
                </a:ext>
              </a:extLst>
            </p:cNvPr>
            <p:cNvSpPr/>
            <p:nvPr/>
          </p:nvSpPr>
          <p:spPr bwMode="auto">
            <a:xfrm>
              <a:off x="6142978" y="3754822"/>
              <a:ext cx="1481358" cy="1621338"/>
            </a:xfrm>
            <a:custGeom>
              <a:avLst/>
              <a:gdLst>
                <a:gd name="T0" fmla="*/ 396 w 769"/>
                <a:gd name="T1" fmla="*/ 843 h 843"/>
                <a:gd name="T2" fmla="*/ 23 w 769"/>
                <a:gd name="T3" fmla="*/ 470 h 843"/>
                <a:gd name="T4" fmla="*/ 99 w 769"/>
                <a:gd name="T5" fmla="*/ 245 h 843"/>
                <a:gd name="T6" fmla="*/ 3 w 769"/>
                <a:gd name="T7" fmla="*/ 24 h 843"/>
                <a:gd name="T8" fmla="*/ 6 w 769"/>
                <a:gd name="T9" fmla="*/ 6 h 843"/>
                <a:gd name="T10" fmla="*/ 24 w 769"/>
                <a:gd name="T11" fmla="*/ 3 h 843"/>
                <a:gd name="T12" fmla="*/ 264 w 769"/>
                <a:gd name="T13" fmla="*/ 121 h 843"/>
                <a:gd name="T14" fmla="*/ 396 w 769"/>
                <a:gd name="T15" fmla="*/ 97 h 843"/>
                <a:gd name="T16" fmla="*/ 769 w 769"/>
                <a:gd name="T17" fmla="*/ 470 h 843"/>
                <a:gd name="T18" fmla="*/ 396 w 769"/>
                <a:gd name="T19" fmla="*/ 843 h 843"/>
                <a:gd name="T20" fmla="*/ 49 w 769"/>
                <a:gd name="T21" fmla="*/ 51 h 843"/>
                <a:gd name="T22" fmla="*/ 132 w 769"/>
                <a:gd name="T23" fmla="*/ 241 h 843"/>
                <a:gd name="T24" fmla="*/ 130 w 769"/>
                <a:gd name="T25" fmla="*/ 257 h 843"/>
                <a:gd name="T26" fmla="*/ 55 w 769"/>
                <a:gd name="T27" fmla="*/ 470 h 843"/>
                <a:gd name="T28" fmla="*/ 396 w 769"/>
                <a:gd name="T29" fmla="*/ 811 h 843"/>
                <a:gd name="T30" fmla="*/ 737 w 769"/>
                <a:gd name="T31" fmla="*/ 470 h 843"/>
                <a:gd name="T32" fmla="*/ 396 w 769"/>
                <a:gd name="T33" fmla="*/ 129 h 843"/>
                <a:gd name="T34" fmla="*/ 269 w 769"/>
                <a:gd name="T35" fmla="*/ 153 h 843"/>
                <a:gd name="T36" fmla="*/ 256 w 769"/>
                <a:gd name="T37" fmla="*/ 153 h 843"/>
                <a:gd name="T38" fmla="*/ 49 w 769"/>
                <a:gd name="T39" fmla="*/ 51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69" h="843">
                  <a:moveTo>
                    <a:pt x="396" y="843"/>
                  </a:moveTo>
                  <a:cubicBezTo>
                    <a:pt x="191" y="843"/>
                    <a:pt x="23" y="675"/>
                    <a:pt x="23" y="470"/>
                  </a:cubicBezTo>
                  <a:cubicBezTo>
                    <a:pt x="23" y="388"/>
                    <a:pt x="49" y="310"/>
                    <a:pt x="99" y="245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0" y="17"/>
                    <a:pt x="1" y="10"/>
                    <a:pt x="6" y="6"/>
                  </a:cubicBezTo>
                  <a:cubicBezTo>
                    <a:pt x="11" y="1"/>
                    <a:pt x="18" y="0"/>
                    <a:pt x="24" y="3"/>
                  </a:cubicBezTo>
                  <a:cubicBezTo>
                    <a:pt x="264" y="121"/>
                    <a:pt x="264" y="121"/>
                    <a:pt x="264" y="121"/>
                  </a:cubicBezTo>
                  <a:cubicBezTo>
                    <a:pt x="306" y="105"/>
                    <a:pt x="351" y="97"/>
                    <a:pt x="396" y="97"/>
                  </a:cubicBezTo>
                  <a:cubicBezTo>
                    <a:pt x="602" y="97"/>
                    <a:pt x="769" y="264"/>
                    <a:pt x="769" y="470"/>
                  </a:cubicBezTo>
                  <a:cubicBezTo>
                    <a:pt x="769" y="675"/>
                    <a:pt x="602" y="843"/>
                    <a:pt x="396" y="843"/>
                  </a:cubicBezTo>
                  <a:close/>
                  <a:moveTo>
                    <a:pt x="49" y="51"/>
                  </a:moveTo>
                  <a:cubicBezTo>
                    <a:pt x="132" y="241"/>
                    <a:pt x="132" y="241"/>
                    <a:pt x="132" y="241"/>
                  </a:cubicBezTo>
                  <a:cubicBezTo>
                    <a:pt x="134" y="246"/>
                    <a:pt x="134" y="252"/>
                    <a:pt x="130" y="257"/>
                  </a:cubicBezTo>
                  <a:cubicBezTo>
                    <a:pt x="81" y="318"/>
                    <a:pt x="55" y="392"/>
                    <a:pt x="55" y="470"/>
                  </a:cubicBezTo>
                  <a:cubicBezTo>
                    <a:pt x="55" y="658"/>
                    <a:pt x="208" y="811"/>
                    <a:pt x="396" y="811"/>
                  </a:cubicBezTo>
                  <a:cubicBezTo>
                    <a:pt x="584" y="811"/>
                    <a:pt x="737" y="658"/>
                    <a:pt x="737" y="470"/>
                  </a:cubicBezTo>
                  <a:cubicBezTo>
                    <a:pt x="737" y="282"/>
                    <a:pt x="584" y="129"/>
                    <a:pt x="396" y="129"/>
                  </a:cubicBezTo>
                  <a:cubicBezTo>
                    <a:pt x="353" y="129"/>
                    <a:pt x="310" y="137"/>
                    <a:pt x="269" y="153"/>
                  </a:cubicBezTo>
                  <a:cubicBezTo>
                    <a:pt x="265" y="155"/>
                    <a:pt x="260" y="155"/>
                    <a:pt x="256" y="153"/>
                  </a:cubicBezTo>
                  <a:lnTo>
                    <a:pt x="49" y="51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5" name="ExtraShape3">
              <a:extLst>
                <a:ext uri="{FF2B5EF4-FFF2-40B4-BE49-F238E27FC236}">
                  <a16:creationId xmlns:a16="http://schemas.microsoft.com/office/drawing/2014/main" id="{D534FB88-AEE3-4858-A70C-15D63C302E2A}"/>
                </a:ext>
              </a:extLst>
            </p:cNvPr>
            <p:cNvSpPr/>
            <p:nvPr/>
          </p:nvSpPr>
          <p:spPr bwMode="auto">
            <a:xfrm>
              <a:off x="4594875" y="2287410"/>
              <a:ext cx="213211" cy="365241"/>
            </a:xfrm>
            <a:custGeom>
              <a:avLst/>
              <a:gdLst>
                <a:gd name="T0" fmla="*/ 230 w 230"/>
                <a:gd name="T1" fmla="*/ 394 h 394"/>
                <a:gd name="T2" fmla="*/ 58 w 230"/>
                <a:gd name="T3" fmla="*/ 394 h 394"/>
                <a:gd name="T4" fmla="*/ 0 w 230"/>
                <a:gd name="T5" fmla="*/ 0 h 394"/>
                <a:gd name="T6" fmla="*/ 172 w 230"/>
                <a:gd name="T7" fmla="*/ 0 h 394"/>
                <a:gd name="T8" fmla="*/ 230 w 230"/>
                <a:gd name="T9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394">
                  <a:moveTo>
                    <a:pt x="230" y="394"/>
                  </a:moveTo>
                  <a:lnTo>
                    <a:pt x="58" y="394"/>
                  </a:lnTo>
                  <a:lnTo>
                    <a:pt x="0" y="0"/>
                  </a:lnTo>
                  <a:lnTo>
                    <a:pt x="172" y="0"/>
                  </a:lnTo>
                  <a:lnTo>
                    <a:pt x="230" y="394"/>
                  </a:lnTo>
                  <a:close/>
                </a:path>
              </a:pathLst>
            </a:custGeom>
            <a:solidFill>
              <a:srgbClr val="F9A2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6" name="ExtraShape4">
              <a:extLst>
                <a:ext uri="{FF2B5EF4-FFF2-40B4-BE49-F238E27FC236}">
                  <a16:creationId xmlns:a16="http://schemas.microsoft.com/office/drawing/2014/main" id="{A7864968-D4C9-489E-9359-71DDF2AAA231}"/>
                </a:ext>
              </a:extLst>
            </p:cNvPr>
            <p:cNvSpPr/>
            <p:nvPr/>
          </p:nvSpPr>
          <p:spPr bwMode="auto">
            <a:xfrm>
              <a:off x="5122342" y="1981498"/>
              <a:ext cx="271614" cy="334650"/>
            </a:xfrm>
            <a:custGeom>
              <a:avLst/>
              <a:gdLst>
                <a:gd name="T0" fmla="*/ 141 w 141"/>
                <a:gd name="T1" fmla="*/ 138 h 174"/>
                <a:gd name="T2" fmla="*/ 105 w 141"/>
                <a:gd name="T3" fmla="*/ 174 h 174"/>
                <a:gd name="T4" fmla="*/ 36 w 141"/>
                <a:gd name="T5" fmla="*/ 174 h 174"/>
                <a:gd name="T6" fmla="*/ 0 w 141"/>
                <a:gd name="T7" fmla="*/ 138 h 174"/>
                <a:gd name="T8" fmla="*/ 0 w 141"/>
                <a:gd name="T9" fmla="*/ 35 h 174"/>
                <a:gd name="T10" fmla="*/ 36 w 141"/>
                <a:gd name="T11" fmla="*/ 0 h 174"/>
                <a:gd name="T12" fmla="*/ 105 w 141"/>
                <a:gd name="T13" fmla="*/ 0 h 174"/>
                <a:gd name="T14" fmla="*/ 141 w 141"/>
                <a:gd name="T15" fmla="*/ 35 h 174"/>
                <a:gd name="T16" fmla="*/ 141 w 141"/>
                <a:gd name="T17" fmla="*/ 13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1" h="174">
                  <a:moveTo>
                    <a:pt x="141" y="138"/>
                  </a:moveTo>
                  <a:cubicBezTo>
                    <a:pt x="141" y="158"/>
                    <a:pt x="125" y="174"/>
                    <a:pt x="105" y="174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16" y="174"/>
                    <a:pt x="0" y="158"/>
                    <a:pt x="0" y="13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25" y="0"/>
                    <a:pt x="141" y="16"/>
                    <a:pt x="141" y="35"/>
                  </a:cubicBezTo>
                  <a:lnTo>
                    <a:pt x="141" y="138"/>
                  </a:lnTo>
                  <a:close/>
                </a:path>
              </a:pathLst>
            </a:custGeom>
            <a:solidFill>
              <a:srgbClr val="82D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7" name="ExtraShape5">
              <a:extLst>
                <a:ext uri="{FF2B5EF4-FFF2-40B4-BE49-F238E27FC236}">
                  <a16:creationId xmlns:a16="http://schemas.microsoft.com/office/drawing/2014/main" id="{9660CD36-990B-4BA9-BFCA-0858347D164E}"/>
                </a:ext>
              </a:extLst>
            </p:cNvPr>
            <p:cNvSpPr/>
            <p:nvPr/>
          </p:nvSpPr>
          <p:spPr bwMode="auto">
            <a:xfrm>
              <a:off x="5091751" y="1950906"/>
              <a:ext cx="332796" cy="396760"/>
            </a:xfrm>
            <a:custGeom>
              <a:avLst/>
              <a:gdLst>
                <a:gd name="T0" fmla="*/ 121 w 173"/>
                <a:gd name="T1" fmla="*/ 206 h 206"/>
                <a:gd name="T2" fmla="*/ 52 w 173"/>
                <a:gd name="T3" fmla="*/ 206 h 206"/>
                <a:gd name="T4" fmla="*/ 0 w 173"/>
                <a:gd name="T5" fmla="*/ 154 h 206"/>
                <a:gd name="T6" fmla="*/ 0 w 173"/>
                <a:gd name="T7" fmla="*/ 51 h 206"/>
                <a:gd name="T8" fmla="*/ 52 w 173"/>
                <a:gd name="T9" fmla="*/ 0 h 206"/>
                <a:gd name="T10" fmla="*/ 121 w 173"/>
                <a:gd name="T11" fmla="*/ 0 h 206"/>
                <a:gd name="T12" fmla="*/ 173 w 173"/>
                <a:gd name="T13" fmla="*/ 51 h 206"/>
                <a:gd name="T14" fmla="*/ 173 w 173"/>
                <a:gd name="T15" fmla="*/ 154 h 206"/>
                <a:gd name="T16" fmla="*/ 121 w 173"/>
                <a:gd name="T17" fmla="*/ 206 h 206"/>
                <a:gd name="T18" fmla="*/ 52 w 173"/>
                <a:gd name="T19" fmla="*/ 32 h 206"/>
                <a:gd name="T20" fmla="*/ 32 w 173"/>
                <a:gd name="T21" fmla="*/ 51 h 206"/>
                <a:gd name="T22" fmla="*/ 32 w 173"/>
                <a:gd name="T23" fmla="*/ 154 h 206"/>
                <a:gd name="T24" fmla="*/ 52 w 173"/>
                <a:gd name="T25" fmla="*/ 174 h 206"/>
                <a:gd name="T26" fmla="*/ 121 w 173"/>
                <a:gd name="T27" fmla="*/ 174 h 206"/>
                <a:gd name="T28" fmla="*/ 141 w 173"/>
                <a:gd name="T29" fmla="*/ 154 h 206"/>
                <a:gd name="T30" fmla="*/ 141 w 173"/>
                <a:gd name="T31" fmla="*/ 51 h 206"/>
                <a:gd name="T32" fmla="*/ 121 w 173"/>
                <a:gd name="T33" fmla="*/ 32 h 206"/>
                <a:gd name="T34" fmla="*/ 52 w 173"/>
                <a:gd name="T35" fmla="*/ 32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3" h="206">
                  <a:moveTo>
                    <a:pt x="121" y="206"/>
                  </a:moveTo>
                  <a:cubicBezTo>
                    <a:pt x="52" y="206"/>
                    <a:pt x="52" y="206"/>
                    <a:pt x="52" y="206"/>
                  </a:cubicBezTo>
                  <a:cubicBezTo>
                    <a:pt x="24" y="206"/>
                    <a:pt x="0" y="183"/>
                    <a:pt x="0" y="15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4" y="0"/>
                    <a:pt x="52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50" y="0"/>
                    <a:pt x="173" y="23"/>
                    <a:pt x="173" y="51"/>
                  </a:cubicBezTo>
                  <a:cubicBezTo>
                    <a:pt x="173" y="154"/>
                    <a:pt x="173" y="154"/>
                    <a:pt x="173" y="154"/>
                  </a:cubicBezTo>
                  <a:cubicBezTo>
                    <a:pt x="173" y="183"/>
                    <a:pt x="150" y="206"/>
                    <a:pt x="121" y="206"/>
                  </a:cubicBezTo>
                  <a:close/>
                  <a:moveTo>
                    <a:pt x="52" y="32"/>
                  </a:moveTo>
                  <a:cubicBezTo>
                    <a:pt x="41" y="32"/>
                    <a:pt x="32" y="40"/>
                    <a:pt x="32" y="51"/>
                  </a:cubicBezTo>
                  <a:cubicBezTo>
                    <a:pt x="32" y="154"/>
                    <a:pt x="32" y="154"/>
                    <a:pt x="32" y="154"/>
                  </a:cubicBezTo>
                  <a:cubicBezTo>
                    <a:pt x="32" y="165"/>
                    <a:pt x="41" y="174"/>
                    <a:pt x="52" y="174"/>
                  </a:cubicBezTo>
                  <a:cubicBezTo>
                    <a:pt x="121" y="174"/>
                    <a:pt x="121" y="174"/>
                    <a:pt x="121" y="174"/>
                  </a:cubicBezTo>
                  <a:cubicBezTo>
                    <a:pt x="132" y="174"/>
                    <a:pt x="141" y="165"/>
                    <a:pt x="141" y="154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41" y="40"/>
                    <a:pt x="132" y="32"/>
                    <a:pt x="121" y="32"/>
                  </a:cubicBezTo>
                  <a:lnTo>
                    <a:pt x="52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8" name="ExtraShape6">
              <a:extLst>
                <a:ext uri="{FF2B5EF4-FFF2-40B4-BE49-F238E27FC236}">
                  <a16:creationId xmlns:a16="http://schemas.microsoft.com/office/drawing/2014/main" id="{C7F4E158-1184-4BD0-B534-7515140105EB}"/>
                </a:ext>
              </a:extLst>
            </p:cNvPr>
            <p:cNvSpPr/>
            <p:nvPr/>
          </p:nvSpPr>
          <p:spPr bwMode="auto">
            <a:xfrm>
              <a:off x="4561502" y="2256819"/>
              <a:ext cx="279956" cy="427352"/>
            </a:xfrm>
            <a:custGeom>
              <a:avLst/>
              <a:gdLst>
                <a:gd name="T0" fmla="*/ 128 w 145"/>
                <a:gd name="T1" fmla="*/ 222 h 222"/>
                <a:gd name="T2" fmla="*/ 45 w 145"/>
                <a:gd name="T3" fmla="*/ 222 h 222"/>
                <a:gd name="T4" fmla="*/ 29 w 145"/>
                <a:gd name="T5" fmla="*/ 209 h 222"/>
                <a:gd name="T6" fmla="*/ 1 w 145"/>
                <a:gd name="T7" fmla="*/ 19 h 222"/>
                <a:gd name="T8" fmla="*/ 5 w 145"/>
                <a:gd name="T9" fmla="*/ 6 h 222"/>
                <a:gd name="T10" fmla="*/ 17 w 145"/>
                <a:gd name="T11" fmla="*/ 0 h 222"/>
                <a:gd name="T12" fmla="*/ 100 w 145"/>
                <a:gd name="T13" fmla="*/ 0 h 222"/>
                <a:gd name="T14" fmla="*/ 116 w 145"/>
                <a:gd name="T15" fmla="*/ 14 h 222"/>
                <a:gd name="T16" fmla="*/ 144 w 145"/>
                <a:gd name="T17" fmla="*/ 204 h 222"/>
                <a:gd name="T18" fmla="*/ 140 w 145"/>
                <a:gd name="T19" fmla="*/ 217 h 222"/>
                <a:gd name="T20" fmla="*/ 128 w 145"/>
                <a:gd name="T21" fmla="*/ 222 h 222"/>
                <a:gd name="T22" fmla="*/ 59 w 145"/>
                <a:gd name="T23" fmla="*/ 190 h 222"/>
                <a:gd name="T24" fmla="*/ 110 w 145"/>
                <a:gd name="T25" fmla="*/ 190 h 222"/>
                <a:gd name="T26" fmla="*/ 86 w 145"/>
                <a:gd name="T27" fmla="*/ 32 h 222"/>
                <a:gd name="T28" fmla="*/ 35 w 145"/>
                <a:gd name="T29" fmla="*/ 32 h 222"/>
                <a:gd name="T30" fmla="*/ 59 w 145"/>
                <a:gd name="T31" fmla="*/ 19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22">
                  <a:moveTo>
                    <a:pt x="128" y="222"/>
                  </a:moveTo>
                  <a:cubicBezTo>
                    <a:pt x="45" y="222"/>
                    <a:pt x="45" y="222"/>
                    <a:pt x="45" y="222"/>
                  </a:cubicBezTo>
                  <a:cubicBezTo>
                    <a:pt x="37" y="222"/>
                    <a:pt x="30" y="217"/>
                    <a:pt x="29" y="20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4"/>
                    <a:pt x="2" y="9"/>
                    <a:pt x="5" y="6"/>
                  </a:cubicBezTo>
                  <a:cubicBezTo>
                    <a:pt x="8" y="2"/>
                    <a:pt x="12" y="0"/>
                    <a:pt x="17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8" y="0"/>
                    <a:pt x="115" y="6"/>
                    <a:pt x="116" y="14"/>
                  </a:cubicBezTo>
                  <a:cubicBezTo>
                    <a:pt x="144" y="204"/>
                    <a:pt x="144" y="204"/>
                    <a:pt x="144" y="204"/>
                  </a:cubicBezTo>
                  <a:cubicBezTo>
                    <a:pt x="145" y="209"/>
                    <a:pt x="143" y="213"/>
                    <a:pt x="140" y="217"/>
                  </a:cubicBezTo>
                  <a:cubicBezTo>
                    <a:pt x="137" y="220"/>
                    <a:pt x="133" y="222"/>
                    <a:pt x="128" y="222"/>
                  </a:cubicBezTo>
                  <a:close/>
                  <a:moveTo>
                    <a:pt x="59" y="190"/>
                  </a:moveTo>
                  <a:cubicBezTo>
                    <a:pt x="110" y="190"/>
                    <a:pt x="110" y="190"/>
                    <a:pt x="110" y="190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35" y="32"/>
                    <a:pt x="35" y="32"/>
                    <a:pt x="35" y="32"/>
                  </a:cubicBezTo>
                  <a:lnTo>
                    <a:pt x="59" y="19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9" name="ExtraShape7">
              <a:extLst>
                <a:ext uri="{FF2B5EF4-FFF2-40B4-BE49-F238E27FC236}">
                  <a16:creationId xmlns:a16="http://schemas.microsoft.com/office/drawing/2014/main" id="{4FCEFC08-EAB9-4CF9-897D-69BD9C2FBCD7}"/>
                </a:ext>
              </a:extLst>
            </p:cNvPr>
            <p:cNvSpPr/>
            <p:nvPr/>
          </p:nvSpPr>
          <p:spPr bwMode="auto">
            <a:xfrm>
              <a:off x="5135321" y="1703395"/>
              <a:ext cx="154811" cy="889928"/>
            </a:xfrm>
            <a:custGeom>
              <a:avLst/>
              <a:gdLst>
                <a:gd name="T0" fmla="*/ 44 w 80"/>
                <a:gd name="T1" fmla="*/ 0 h 463"/>
                <a:gd name="T2" fmla="*/ 36 w 80"/>
                <a:gd name="T3" fmla="*/ 0 h 463"/>
                <a:gd name="T4" fmla="*/ 0 w 80"/>
                <a:gd name="T5" fmla="*/ 36 h 463"/>
                <a:gd name="T6" fmla="*/ 0 w 80"/>
                <a:gd name="T7" fmla="*/ 428 h 463"/>
                <a:gd name="T8" fmla="*/ 36 w 80"/>
                <a:gd name="T9" fmla="*/ 463 h 463"/>
                <a:gd name="T10" fmla="*/ 44 w 80"/>
                <a:gd name="T11" fmla="*/ 463 h 463"/>
                <a:gd name="T12" fmla="*/ 80 w 80"/>
                <a:gd name="T13" fmla="*/ 428 h 463"/>
                <a:gd name="T14" fmla="*/ 80 w 80"/>
                <a:gd name="T15" fmla="*/ 36 h 463"/>
                <a:gd name="T16" fmla="*/ 44 w 80"/>
                <a:gd name="T17" fmla="*/ 0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463">
                  <a:moveTo>
                    <a:pt x="44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16" y="0"/>
                    <a:pt x="0" y="16"/>
                    <a:pt x="0" y="36"/>
                  </a:cubicBezTo>
                  <a:cubicBezTo>
                    <a:pt x="0" y="428"/>
                    <a:pt x="0" y="428"/>
                    <a:pt x="0" y="428"/>
                  </a:cubicBezTo>
                  <a:cubicBezTo>
                    <a:pt x="0" y="447"/>
                    <a:pt x="16" y="463"/>
                    <a:pt x="36" y="463"/>
                  </a:cubicBezTo>
                  <a:cubicBezTo>
                    <a:pt x="44" y="463"/>
                    <a:pt x="44" y="463"/>
                    <a:pt x="44" y="463"/>
                  </a:cubicBezTo>
                  <a:cubicBezTo>
                    <a:pt x="64" y="463"/>
                    <a:pt x="80" y="447"/>
                    <a:pt x="80" y="428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0" y="16"/>
                    <a:pt x="64" y="0"/>
                    <a:pt x="44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0" name="ExtraShape8">
              <a:extLst>
                <a:ext uri="{FF2B5EF4-FFF2-40B4-BE49-F238E27FC236}">
                  <a16:creationId xmlns:a16="http://schemas.microsoft.com/office/drawing/2014/main" id="{11055F0F-0C49-4580-8B0E-D1CB0E79944D}"/>
                </a:ext>
              </a:extLst>
            </p:cNvPr>
            <p:cNvSpPr/>
            <p:nvPr/>
          </p:nvSpPr>
          <p:spPr bwMode="auto">
            <a:xfrm>
              <a:off x="5104728" y="1671877"/>
              <a:ext cx="215993" cy="952037"/>
            </a:xfrm>
            <a:custGeom>
              <a:avLst/>
              <a:gdLst>
                <a:gd name="T0" fmla="*/ 60 w 112"/>
                <a:gd name="T1" fmla="*/ 495 h 495"/>
                <a:gd name="T2" fmla="*/ 52 w 112"/>
                <a:gd name="T3" fmla="*/ 495 h 495"/>
                <a:gd name="T4" fmla="*/ 0 w 112"/>
                <a:gd name="T5" fmla="*/ 444 h 495"/>
                <a:gd name="T6" fmla="*/ 0 w 112"/>
                <a:gd name="T7" fmla="*/ 52 h 495"/>
                <a:gd name="T8" fmla="*/ 52 w 112"/>
                <a:gd name="T9" fmla="*/ 0 h 495"/>
                <a:gd name="T10" fmla="*/ 60 w 112"/>
                <a:gd name="T11" fmla="*/ 0 h 495"/>
                <a:gd name="T12" fmla="*/ 112 w 112"/>
                <a:gd name="T13" fmla="*/ 52 h 495"/>
                <a:gd name="T14" fmla="*/ 112 w 112"/>
                <a:gd name="T15" fmla="*/ 444 h 495"/>
                <a:gd name="T16" fmla="*/ 60 w 112"/>
                <a:gd name="T17" fmla="*/ 495 h 495"/>
                <a:gd name="T18" fmla="*/ 52 w 112"/>
                <a:gd name="T19" fmla="*/ 32 h 495"/>
                <a:gd name="T20" fmla="*/ 32 w 112"/>
                <a:gd name="T21" fmla="*/ 52 h 495"/>
                <a:gd name="T22" fmla="*/ 32 w 112"/>
                <a:gd name="T23" fmla="*/ 444 h 495"/>
                <a:gd name="T24" fmla="*/ 52 w 112"/>
                <a:gd name="T25" fmla="*/ 463 h 495"/>
                <a:gd name="T26" fmla="*/ 60 w 112"/>
                <a:gd name="T27" fmla="*/ 463 h 495"/>
                <a:gd name="T28" fmla="*/ 80 w 112"/>
                <a:gd name="T29" fmla="*/ 444 h 495"/>
                <a:gd name="T30" fmla="*/ 80 w 112"/>
                <a:gd name="T31" fmla="*/ 52 h 495"/>
                <a:gd name="T32" fmla="*/ 60 w 112"/>
                <a:gd name="T33" fmla="*/ 32 h 495"/>
                <a:gd name="T34" fmla="*/ 52 w 112"/>
                <a:gd name="T35" fmla="*/ 3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2" h="495">
                  <a:moveTo>
                    <a:pt x="60" y="495"/>
                  </a:moveTo>
                  <a:cubicBezTo>
                    <a:pt x="52" y="495"/>
                    <a:pt x="52" y="495"/>
                    <a:pt x="52" y="495"/>
                  </a:cubicBezTo>
                  <a:cubicBezTo>
                    <a:pt x="23" y="495"/>
                    <a:pt x="0" y="472"/>
                    <a:pt x="0" y="44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89" y="0"/>
                    <a:pt x="112" y="23"/>
                    <a:pt x="112" y="52"/>
                  </a:cubicBezTo>
                  <a:cubicBezTo>
                    <a:pt x="112" y="444"/>
                    <a:pt x="112" y="444"/>
                    <a:pt x="112" y="444"/>
                  </a:cubicBezTo>
                  <a:cubicBezTo>
                    <a:pt x="112" y="472"/>
                    <a:pt x="89" y="495"/>
                    <a:pt x="60" y="495"/>
                  </a:cubicBezTo>
                  <a:close/>
                  <a:moveTo>
                    <a:pt x="52" y="32"/>
                  </a:moveTo>
                  <a:cubicBezTo>
                    <a:pt x="41" y="32"/>
                    <a:pt x="32" y="41"/>
                    <a:pt x="32" y="52"/>
                  </a:cubicBezTo>
                  <a:cubicBezTo>
                    <a:pt x="32" y="444"/>
                    <a:pt x="32" y="444"/>
                    <a:pt x="32" y="444"/>
                  </a:cubicBezTo>
                  <a:cubicBezTo>
                    <a:pt x="32" y="454"/>
                    <a:pt x="41" y="463"/>
                    <a:pt x="52" y="463"/>
                  </a:cubicBezTo>
                  <a:cubicBezTo>
                    <a:pt x="60" y="463"/>
                    <a:pt x="60" y="463"/>
                    <a:pt x="60" y="463"/>
                  </a:cubicBezTo>
                  <a:cubicBezTo>
                    <a:pt x="71" y="463"/>
                    <a:pt x="80" y="454"/>
                    <a:pt x="80" y="444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41"/>
                    <a:pt x="71" y="32"/>
                    <a:pt x="60" y="32"/>
                  </a:cubicBezTo>
                  <a:lnTo>
                    <a:pt x="52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1" name="ExtraShape9">
              <a:extLst>
                <a:ext uri="{FF2B5EF4-FFF2-40B4-BE49-F238E27FC236}">
                  <a16:creationId xmlns:a16="http://schemas.microsoft.com/office/drawing/2014/main" id="{53322935-1CB7-4AA5-9670-E478EEEFF11A}"/>
                </a:ext>
              </a:extLst>
            </p:cNvPr>
            <p:cNvSpPr/>
            <p:nvPr/>
          </p:nvSpPr>
          <p:spPr bwMode="auto">
            <a:xfrm>
              <a:off x="4825699" y="1768285"/>
              <a:ext cx="309620" cy="762001"/>
            </a:xfrm>
            <a:custGeom>
              <a:avLst/>
              <a:gdLst>
                <a:gd name="T0" fmla="*/ 0 w 334"/>
                <a:gd name="T1" fmla="*/ 575 h 822"/>
                <a:gd name="T2" fmla="*/ 334 w 334"/>
                <a:gd name="T3" fmla="*/ 822 h 822"/>
                <a:gd name="T4" fmla="*/ 334 w 334"/>
                <a:gd name="T5" fmla="*/ 0 h 822"/>
                <a:gd name="T6" fmla="*/ 0 w 334"/>
                <a:gd name="T7" fmla="*/ 245 h 822"/>
                <a:gd name="T8" fmla="*/ 0 w 334"/>
                <a:gd name="T9" fmla="*/ 575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822">
                  <a:moveTo>
                    <a:pt x="0" y="575"/>
                  </a:moveTo>
                  <a:lnTo>
                    <a:pt x="334" y="822"/>
                  </a:lnTo>
                  <a:lnTo>
                    <a:pt x="334" y="0"/>
                  </a:lnTo>
                  <a:lnTo>
                    <a:pt x="0" y="245"/>
                  </a:lnTo>
                  <a:lnTo>
                    <a:pt x="0" y="575"/>
                  </a:lnTo>
                  <a:close/>
                </a:path>
              </a:pathLst>
            </a:custGeom>
            <a:solidFill>
              <a:srgbClr val="F9D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2" name="ExtraShape1">
              <a:extLst>
                <a:ext uri="{FF2B5EF4-FFF2-40B4-BE49-F238E27FC236}">
                  <a16:creationId xmlns:a16="http://schemas.microsoft.com/office/drawing/2014/main" id="{C911A234-59ED-4AEF-8928-E199062EDA66}"/>
                </a:ext>
              </a:extLst>
            </p:cNvPr>
            <p:cNvSpPr/>
            <p:nvPr/>
          </p:nvSpPr>
          <p:spPr bwMode="auto">
            <a:xfrm>
              <a:off x="6497095" y="1848935"/>
              <a:ext cx="292934" cy="805570"/>
            </a:xfrm>
            <a:custGeom>
              <a:avLst/>
              <a:gdLst>
                <a:gd name="T0" fmla="*/ 152 w 152"/>
                <a:gd name="T1" fmla="*/ 0 h 419"/>
                <a:gd name="T2" fmla="*/ 103 w 152"/>
                <a:gd name="T3" fmla="*/ 11 h 419"/>
                <a:gd name="T4" fmla="*/ 103 w 152"/>
                <a:gd name="T5" fmla="*/ 299 h 419"/>
                <a:gd name="T6" fmla="*/ 59 w 152"/>
                <a:gd name="T7" fmla="*/ 308 h 419"/>
                <a:gd name="T8" fmla="*/ 11 w 152"/>
                <a:gd name="T9" fmla="*/ 385 h 419"/>
                <a:gd name="T10" fmla="*/ 101 w 152"/>
                <a:gd name="T11" fmla="*/ 402 h 419"/>
                <a:gd name="T12" fmla="*/ 152 w 152"/>
                <a:gd name="T13" fmla="*/ 339 h 419"/>
                <a:gd name="T14" fmla="*/ 152 w 152"/>
                <a:gd name="T15" fmla="*/ 339 h 419"/>
                <a:gd name="T16" fmla="*/ 152 w 152"/>
                <a:gd name="T17" fmla="*/ 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419">
                  <a:moveTo>
                    <a:pt x="152" y="0"/>
                  </a:moveTo>
                  <a:cubicBezTo>
                    <a:pt x="103" y="11"/>
                    <a:pt x="103" y="11"/>
                    <a:pt x="103" y="11"/>
                  </a:cubicBezTo>
                  <a:cubicBezTo>
                    <a:pt x="103" y="299"/>
                    <a:pt x="103" y="299"/>
                    <a:pt x="103" y="299"/>
                  </a:cubicBezTo>
                  <a:cubicBezTo>
                    <a:pt x="89" y="298"/>
                    <a:pt x="74" y="301"/>
                    <a:pt x="59" y="308"/>
                  </a:cubicBezTo>
                  <a:cubicBezTo>
                    <a:pt x="21" y="325"/>
                    <a:pt x="0" y="359"/>
                    <a:pt x="11" y="385"/>
                  </a:cubicBezTo>
                  <a:cubicBezTo>
                    <a:pt x="23" y="412"/>
                    <a:pt x="63" y="419"/>
                    <a:pt x="101" y="402"/>
                  </a:cubicBezTo>
                  <a:cubicBezTo>
                    <a:pt x="132" y="388"/>
                    <a:pt x="152" y="362"/>
                    <a:pt x="152" y="339"/>
                  </a:cubicBezTo>
                  <a:cubicBezTo>
                    <a:pt x="152" y="339"/>
                    <a:pt x="152" y="339"/>
                    <a:pt x="152" y="339"/>
                  </a:cubicBezTo>
                  <a:cubicBezTo>
                    <a:pt x="152" y="0"/>
                    <a:pt x="152" y="0"/>
                    <a:pt x="152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3" name="ExtraShape2">
              <a:extLst>
                <a:ext uri="{FF2B5EF4-FFF2-40B4-BE49-F238E27FC236}">
                  <a16:creationId xmlns:a16="http://schemas.microsoft.com/office/drawing/2014/main" id="{82DED939-B691-4E97-B858-925019412B3C}"/>
                </a:ext>
              </a:extLst>
            </p:cNvPr>
            <p:cNvSpPr/>
            <p:nvPr/>
          </p:nvSpPr>
          <p:spPr bwMode="auto">
            <a:xfrm>
              <a:off x="6480409" y="1816490"/>
              <a:ext cx="340213" cy="853775"/>
            </a:xfrm>
            <a:custGeom>
              <a:avLst/>
              <a:gdLst>
                <a:gd name="T0" fmla="*/ 69 w 177"/>
                <a:gd name="T1" fmla="*/ 444 h 444"/>
                <a:gd name="T2" fmla="*/ 39 w 177"/>
                <a:gd name="T3" fmla="*/ 439 h 444"/>
                <a:gd name="T4" fmla="*/ 6 w 177"/>
                <a:gd name="T5" fmla="*/ 409 h 444"/>
                <a:gd name="T6" fmla="*/ 6 w 177"/>
                <a:gd name="T7" fmla="*/ 365 h 444"/>
                <a:gd name="T8" fmla="*/ 62 w 177"/>
                <a:gd name="T9" fmla="*/ 310 h 444"/>
                <a:gd name="T10" fmla="*/ 96 w 177"/>
                <a:gd name="T11" fmla="*/ 300 h 444"/>
                <a:gd name="T12" fmla="*/ 96 w 177"/>
                <a:gd name="T13" fmla="*/ 28 h 444"/>
                <a:gd name="T14" fmla="*/ 108 w 177"/>
                <a:gd name="T15" fmla="*/ 12 h 444"/>
                <a:gd name="T16" fmla="*/ 157 w 177"/>
                <a:gd name="T17" fmla="*/ 1 h 444"/>
                <a:gd name="T18" fmla="*/ 171 w 177"/>
                <a:gd name="T19" fmla="*/ 4 h 444"/>
                <a:gd name="T20" fmla="*/ 177 w 177"/>
                <a:gd name="T21" fmla="*/ 17 h 444"/>
                <a:gd name="T22" fmla="*/ 177 w 177"/>
                <a:gd name="T23" fmla="*/ 356 h 444"/>
                <a:gd name="T24" fmla="*/ 177 w 177"/>
                <a:gd name="T25" fmla="*/ 357 h 444"/>
                <a:gd name="T26" fmla="*/ 117 w 177"/>
                <a:gd name="T27" fmla="*/ 434 h 444"/>
                <a:gd name="T28" fmla="*/ 69 w 177"/>
                <a:gd name="T29" fmla="*/ 444 h 444"/>
                <a:gd name="T30" fmla="*/ 109 w 177"/>
                <a:gd name="T31" fmla="*/ 332 h 444"/>
                <a:gd name="T32" fmla="*/ 75 w 177"/>
                <a:gd name="T33" fmla="*/ 339 h 444"/>
                <a:gd name="T34" fmla="*/ 35 w 177"/>
                <a:gd name="T35" fmla="*/ 376 h 444"/>
                <a:gd name="T36" fmla="*/ 35 w 177"/>
                <a:gd name="T37" fmla="*/ 396 h 444"/>
                <a:gd name="T38" fmla="*/ 50 w 177"/>
                <a:gd name="T39" fmla="*/ 409 h 444"/>
                <a:gd name="T40" fmla="*/ 104 w 177"/>
                <a:gd name="T41" fmla="*/ 404 h 444"/>
                <a:gd name="T42" fmla="*/ 145 w 177"/>
                <a:gd name="T43" fmla="*/ 356 h 444"/>
                <a:gd name="T44" fmla="*/ 145 w 177"/>
                <a:gd name="T45" fmla="*/ 354 h 444"/>
                <a:gd name="T46" fmla="*/ 145 w 177"/>
                <a:gd name="T47" fmla="*/ 37 h 444"/>
                <a:gd name="T48" fmla="*/ 128 w 177"/>
                <a:gd name="T49" fmla="*/ 41 h 444"/>
                <a:gd name="T50" fmla="*/ 128 w 177"/>
                <a:gd name="T51" fmla="*/ 316 h 444"/>
                <a:gd name="T52" fmla="*/ 123 w 177"/>
                <a:gd name="T53" fmla="*/ 327 h 444"/>
                <a:gd name="T54" fmla="*/ 111 w 177"/>
                <a:gd name="T55" fmla="*/ 332 h 444"/>
                <a:gd name="T56" fmla="*/ 109 w 177"/>
                <a:gd name="T57" fmla="*/ 332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7" h="444">
                  <a:moveTo>
                    <a:pt x="69" y="444"/>
                  </a:moveTo>
                  <a:cubicBezTo>
                    <a:pt x="58" y="444"/>
                    <a:pt x="48" y="442"/>
                    <a:pt x="39" y="439"/>
                  </a:cubicBezTo>
                  <a:cubicBezTo>
                    <a:pt x="23" y="433"/>
                    <a:pt x="12" y="422"/>
                    <a:pt x="6" y="409"/>
                  </a:cubicBezTo>
                  <a:cubicBezTo>
                    <a:pt x="0" y="396"/>
                    <a:pt x="0" y="380"/>
                    <a:pt x="6" y="365"/>
                  </a:cubicBezTo>
                  <a:cubicBezTo>
                    <a:pt x="14" y="342"/>
                    <a:pt x="35" y="322"/>
                    <a:pt x="62" y="310"/>
                  </a:cubicBezTo>
                  <a:cubicBezTo>
                    <a:pt x="73" y="305"/>
                    <a:pt x="84" y="302"/>
                    <a:pt x="96" y="300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1"/>
                    <a:pt x="101" y="14"/>
                    <a:pt x="108" y="12"/>
                  </a:cubicBezTo>
                  <a:cubicBezTo>
                    <a:pt x="157" y="1"/>
                    <a:pt x="157" y="1"/>
                    <a:pt x="157" y="1"/>
                  </a:cubicBezTo>
                  <a:cubicBezTo>
                    <a:pt x="162" y="0"/>
                    <a:pt x="167" y="1"/>
                    <a:pt x="171" y="4"/>
                  </a:cubicBezTo>
                  <a:cubicBezTo>
                    <a:pt x="175" y="7"/>
                    <a:pt x="177" y="12"/>
                    <a:pt x="177" y="17"/>
                  </a:cubicBezTo>
                  <a:cubicBezTo>
                    <a:pt x="177" y="356"/>
                    <a:pt x="177" y="356"/>
                    <a:pt x="177" y="356"/>
                  </a:cubicBezTo>
                  <a:cubicBezTo>
                    <a:pt x="177" y="356"/>
                    <a:pt x="177" y="357"/>
                    <a:pt x="177" y="357"/>
                  </a:cubicBezTo>
                  <a:cubicBezTo>
                    <a:pt x="177" y="387"/>
                    <a:pt x="153" y="418"/>
                    <a:pt x="117" y="434"/>
                  </a:cubicBezTo>
                  <a:cubicBezTo>
                    <a:pt x="101" y="441"/>
                    <a:pt x="85" y="444"/>
                    <a:pt x="69" y="444"/>
                  </a:cubicBezTo>
                  <a:close/>
                  <a:moveTo>
                    <a:pt x="109" y="332"/>
                  </a:moveTo>
                  <a:cubicBezTo>
                    <a:pt x="98" y="332"/>
                    <a:pt x="86" y="334"/>
                    <a:pt x="75" y="339"/>
                  </a:cubicBezTo>
                  <a:cubicBezTo>
                    <a:pt x="56" y="348"/>
                    <a:pt x="41" y="362"/>
                    <a:pt x="35" y="376"/>
                  </a:cubicBezTo>
                  <a:cubicBezTo>
                    <a:pt x="34" y="381"/>
                    <a:pt x="32" y="389"/>
                    <a:pt x="35" y="396"/>
                  </a:cubicBezTo>
                  <a:cubicBezTo>
                    <a:pt x="38" y="403"/>
                    <a:pt x="45" y="407"/>
                    <a:pt x="50" y="409"/>
                  </a:cubicBezTo>
                  <a:cubicBezTo>
                    <a:pt x="65" y="414"/>
                    <a:pt x="85" y="413"/>
                    <a:pt x="104" y="404"/>
                  </a:cubicBezTo>
                  <a:cubicBezTo>
                    <a:pt x="131" y="392"/>
                    <a:pt x="145" y="371"/>
                    <a:pt x="145" y="356"/>
                  </a:cubicBezTo>
                  <a:cubicBezTo>
                    <a:pt x="145" y="355"/>
                    <a:pt x="145" y="355"/>
                    <a:pt x="145" y="354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8" y="316"/>
                    <a:pt x="128" y="316"/>
                    <a:pt x="128" y="316"/>
                  </a:cubicBezTo>
                  <a:cubicBezTo>
                    <a:pt x="128" y="320"/>
                    <a:pt x="126" y="324"/>
                    <a:pt x="123" y="327"/>
                  </a:cubicBezTo>
                  <a:cubicBezTo>
                    <a:pt x="120" y="330"/>
                    <a:pt x="116" y="332"/>
                    <a:pt x="111" y="332"/>
                  </a:cubicBezTo>
                  <a:cubicBezTo>
                    <a:pt x="110" y="332"/>
                    <a:pt x="109" y="332"/>
                    <a:pt x="109" y="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4" name="ExtraShape3">
              <a:extLst>
                <a:ext uri="{FF2B5EF4-FFF2-40B4-BE49-F238E27FC236}">
                  <a16:creationId xmlns:a16="http://schemas.microsoft.com/office/drawing/2014/main" id="{3C40C848-2B95-4E88-A94F-9334569CE7F2}"/>
                </a:ext>
              </a:extLst>
            </p:cNvPr>
            <p:cNvSpPr/>
            <p:nvPr/>
          </p:nvSpPr>
          <p:spPr bwMode="auto">
            <a:xfrm>
              <a:off x="6896636" y="1755308"/>
              <a:ext cx="293861" cy="820403"/>
            </a:xfrm>
            <a:custGeom>
              <a:avLst/>
              <a:gdLst>
                <a:gd name="T0" fmla="*/ 152 w 153"/>
                <a:gd name="T1" fmla="*/ 0 h 427"/>
                <a:gd name="T2" fmla="*/ 103 w 153"/>
                <a:gd name="T3" fmla="*/ 12 h 427"/>
                <a:gd name="T4" fmla="*/ 103 w 153"/>
                <a:gd name="T5" fmla="*/ 307 h 427"/>
                <a:gd name="T6" fmla="*/ 59 w 153"/>
                <a:gd name="T7" fmla="*/ 316 h 427"/>
                <a:gd name="T8" fmla="*/ 12 w 153"/>
                <a:gd name="T9" fmla="*/ 394 h 427"/>
                <a:gd name="T10" fmla="*/ 101 w 153"/>
                <a:gd name="T11" fmla="*/ 411 h 427"/>
                <a:gd name="T12" fmla="*/ 152 w 153"/>
                <a:gd name="T13" fmla="*/ 347 h 427"/>
                <a:gd name="T14" fmla="*/ 152 w 153"/>
                <a:gd name="T15" fmla="*/ 347 h 427"/>
                <a:gd name="T16" fmla="*/ 152 w 153"/>
                <a:gd name="T17" fmla="*/ 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27">
                  <a:moveTo>
                    <a:pt x="152" y="0"/>
                  </a:moveTo>
                  <a:cubicBezTo>
                    <a:pt x="103" y="12"/>
                    <a:pt x="103" y="12"/>
                    <a:pt x="103" y="12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89" y="307"/>
                    <a:pt x="74" y="310"/>
                    <a:pt x="59" y="316"/>
                  </a:cubicBezTo>
                  <a:cubicBezTo>
                    <a:pt x="21" y="333"/>
                    <a:pt x="0" y="368"/>
                    <a:pt x="12" y="394"/>
                  </a:cubicBezTo>
                  <a:cubicBezTo>
                    <a:pt x="23" y="420"/>
                    <a:pt x="63" y="427"/>
                    <a:pt x="101" y="411"/>
                  </a:cubicBezTo>
                  <a:cubicBezTo>
                    <a:pt x="133" y="397"/>
                    <a:pt x="153" y="370"/>
                    <a:pt x="152" y="347"/>
                  </a:cubicBezTo>
                  <a:cubicBezTo>
                    <a:pt x="152" y="347"/>
                    <a:pt x="152" y="347"/>
                    <a:pt x="152" y="347"/>
                  </a:cubicBezTo>
                  <a:cubicBezTo>
                    <a:pt x="152" y="0"/>
                    <a:pt x="152" y="0"/>
                    <a:pt x="152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5" name="ExtraShape4">
              <a:extLst>
                <a:ext uri="{FF2B5EF4-FFF2-40B4-BE49-F238E27FC236}">
                  <a16:creationId xmlns:a16="http://schemas.microsoft.com/office/drawing/2014/main" id="{4D2DB050-C69F-407B-893D-2E442E5883F5}"/>
                </a:ext>
              </a:extLst>
            </p:cNvPr>
            <p:cNvSpPr/>
            <p:nvPr/>
          </p:nvSpPr>
          <p:spPr bwMode="auto">
            <a:xfrm>
              <a:off x="6879022" y="1723790"/>
              <a:ext cx="342992" cy="869534"/>
            </a:xfrm>
            <a:custGeom>
              <a:avLst/>
              <a:gdLst>
                <a:gd name="T0" fmla="*/ 69 w 178"/>
                <a:gd name="T1" fmla="*/ 452 h 452"/>
                <a:gd name="T2" fmla="*/ 39 w 178"/>
                <a:gd name="T3" fmla="*/ 446 h 452"/>
                <a:gd name="T4" fmla="*/ 6 w 178"/>
                <a:gd name="T5" fmla="*/ 416 h 452"/>
                <a:gd name="T6" fmla="*/ 6 w 178"/>
                <a:gd name="T7" fmla="*/ 372 h 452"/>
                <a:gd name="T8" fmla="*/ 62 w 178"/>
                <a:gd name="T9" fmla="*/ 318 h 452"/>
                <a:gd name="T10" fmla="*/ 96 w 178"/>
                <a:gd name="T11" fmla="*/ 308 h 452"/>
                <a:gd name="T12" fmla="*/ 96 w 178"/>
                <a:gd name="T13" fmla="*/ 28 h 452"/>
                <a:gd name="T14" fmla="*/ 108 w 178"/>
                <a:gd name="T15" fmla="*/ 12 h 452"/>
                <a:gd name="T16" fmla="*/ 158 w 178"/>
                <a:gd name="T17" fmla="*/ 1 h 452"/>
                <a:gd name="T18" fmla="*/ 171 w 178"/>
                <a:gd name="T19" fmla="*/ 4 h 452"/>
                <a:gd name="T20" fmla="*/ 177 w 178"/>
                <a:gd name="T21" fmla="*/ 16 h 452"/>
                <a:gd name="T22" fmla="*/ 177 w 178"/>
                <a:gd name="T23" fmla="*/ 363 h 452"/>
                <a:gd name="T24" fmla="*/ 117 w 178"/>
                <a:gd name="T25" fmla="*/ 441 h 452"/>
                <a:gd name="T26" fmla="*/ 69 w 178"/>
                <a:gd name="T27" fmla="*/ 452 h 452"/>
                <a:gd name="T28" fmla="*/ 109 w 178"/>
                <a:gd name="T29" fmla="*/ 339 h 452"/>
                <a:gd name="T30" fmla="*/ 75 w 178"/>
                <a:gd name="T31" fmla="*/ 347 h 452"/>
                <a:gd name="T32" fmla="*/ 36 w 178"/>
                <a:gd name="T33" fmla="*/ 384 h 452"/>
                <a:gd name="T34" fmla="*/ 35 w 178"/>
                <a:gd name="T35" fmla="*/ 403 h 452"/>
                <a:gd name="T36" fmla="*/ 50 w 178"/>
                <a:gd name="T37" fmla="*/ 416 h 452"/>
                <a:gd name="T38" fmla="*/ 104 w 178"/>
                <a:gd name="T39" fmla="*/ 412 h 452"/>
                <a:gd name="T40" fmla="*/ 145 w 178"/>
                <a:gd name="T41" fmla="*/ 363 h 452"/>
                <a:gd name="T42" fmla="*/ 145 w 178"/>
                <a:gd name="T43" fmla="*/ 36 h 452"/>
                <a:gd name="T44" fmla="*/ 128 w 178"/>
                <a:gd name="T45" fmla="*/ 40 h 452"/>
                <a:gd name="T46" fmla="*/ 128 w 178"/>
                <a:gd name="T47" fmla="*/ 323 h 452"/>
                <a:gd name="T48" fmla="*/ 123 w 178"/>
                <a:gd name="T49" fmla="*/ 335 h 452"/>
                <a:gd name="T50" fmla="*/ 111 w 178"/>
                <a:gd name="T51" fmla="*/ 339 h 452"/>
                <a:gd name="T52" fmla="*/ 109 w 178"/>
                <a:gd name="T53" fmla="*/ 339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8" h="452">
                  <a:moveTo>
                    <a:pt x="69" y="452"/>
                  </a:moveTo>
                  <a:cubicBezTo>
                    <a:pt x="59" y="452"/>
                    <a:pt x="48" y="450"/>
                    <a:pt x="39" y="446"/>
                  </a:cubicBezTo>
                  <a:cubicBezTo>
                    <a:pt x="23" y="440"/>
                    <a:pt x="12" y="430"/>
                    <a:pt x="6" y="416"/>
                  </a:cubicBezTo>
                  <a:cubicBezTo>
                    <a:pt x="0" y="403"/>
                    <a:pt x="0" y="388"/>
                    <a:pt x="6" y="372"/>
                  </a:cubicBezTo>
                  <a:cubicBezTo>
                    <a:pt x="14" y="350"/>
                    <a:pt x="35" y="329"/>
                    <a:pt x="62" y="318"/>
                  </a:cubicBezTo>
                  <a:cubicBezTo>
                    <a:pt x="73" y="313"/>
                    <a:pt x="84" y="309"/>
                    <a:pt x="96" y="30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0"/>
                    <a:pt x="101" y="14"/>
                    <a:pt x="108" y="12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62" y="0"/>
                    <a:pt x="167" y="1"/>
                    <a:pt x="171" y="4"/>
                  </a:cubicBezTo>
                  <a:cubicBezTo>
                    <a:pt x="175" y="7"/>
                    <a:pt x="177" y="11"/>
                    <a:pt x="177" y="16"/>
                  </a:cubicBezTo>
                  <a:cubicBezTo>
                    <a:pt x="177" y="363"/>
                    <a:pt x="177" y="363"/>
                    <a:pt x="177" y="363"/>
                  </a:cubicBezTo>
                  <a:cubicBezTo>
                    <a:pt x="178" y="393"/>
                    <a:pt x="153" y="425"/>
                    <a:pt x="117" y="441"/>
                  </a:cubicBezTo>
                  <a:cubicBezTo>
                    <a:pt x="101" y="448"/>
                    <a:pt x="85" y="452"/>
                    <a:pt x="69" y="452"/>
                  </a:cubicBezTo>
                  <a:close/>
                  <a:moveTo>
                    <a:pt x="109" y="339"/>
                  </a:moveTo>
                  <a:cubicBezTo>
                    <a:pt x="98" y="339"/>
                    <a:pt x="86" y="342"/>
                    <a:pt x="75" y="347"/>
                  </a:cubicBezTo>
                  <a:cubicBezTo>
                    <a:pt x="56" y="355"/>
                    <a:pt x="41" y="369"/>
                    <a:pt x="36" y="384"/>
                  </a:cubicBezTo>
                  <a:cubicBezTo>
                    <a:pt x="34" y="389"/>
                    <a:pt x="32" y="396"/>
                    <a:pt x="35" y="403"/>
                  </a:cubicBezTo>
                  <a:cubicBezTo>
                    <a:pt x="38" y="411"/>
                    <a:pt x="45" y="414"/>
                    <a:pt x="50" y="416"/>
                  </a:cubicBezTo>
                  <a:cubicBezTo>
                    <a:pt x="65" y="422"/>
                    <a:pt x="85" y="420"/>
                    <a:pt x="104" y="412"/>
                  </a:cubicBezTo>
                  <a:cubicBezTo>
                    <a:pt x="131" y="400"/>
                    <a:pt x="145" y="378"/>
                    <a:pt x="145" y="363"/>
                  </a:cubicBezTo>
                  <a:cubicBezTo>
                    <a:pt x="145" y="36"/>
                    <a:pt x="145" y="36"/>
                    <a:pt x="145" y="36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3"/>
                    <a:pt x="128" y="323"/>
                    <a:pt x="128" y="323"/>
                  </a:cubicBezTo>
                  <a:cubicBezTo>
                    <a:pt x="128" y="327"/>
                    <a:pt x="126" y="332"/>
                    <a:pt x="123" y="335"/>
                  </a:cubicBezTo>
                  <a:cubicBezTo>
                    <a:pt x="120" y="338"/>
                    <a:pt x="116" y="339"/>
                    <a:pt x="111" y="339"/>
                  </a:cubicBezTo>
                  <a:cubicBezTo>
                    <a:pt x="110" y="339"/>
                    <a:pt x="110" y="339"/>
                    <a:pt x="109" y="33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6" name="ExtraShape5">
              <a:extLst>
                <a:ext uri="{FF2B5EF4-FFF2-40B4-BE49-F238E27FC236}">
                  <a16:creationId xmlns:a16="http://schemas.microsoft.com/office/drawing/2014/main" id="{E38549A1-60EF-4E47-9874-ECFEA5DBF607}"/>
                </a:ext>
              </a:extLst>
            </p:cNvPr>
            <p:cNvSpPr/>
            <p:nvPr/>
          </p:nvSpPr>
          <p:spPr bwMode="auto">
            <a:xfrm>
              <a:off x="6695476" y="1755308"/>
              <a:ext cx="493168" cy="331869"/>
            </a:xfrm>
            <a:custGeom>
              <a:avLst/>
              <a:gdLst>
                <a:gd name="T0" fmla="*/ 532 w 532"/>
                <a:gd name="T1" fmla="*/ 234 h 358"/>
                <a:gd name="T2" fmla="*/ 0 w 532"/>
                <a:gd name="T3" fmla="*/ 358 h 358"/>
                <a:gd name="T4" fmla="*/ 0 w 532"/>
                <a:gd name="T5" fmla="*/ 124 h 358"/>
                <a:gd name="T6" fmla="*/ 532 w 532"/>
                <a:gd name="T7" fmla="*/ 0 h 358"/>
                <a:gd name="T8" fmla="*/ 532 w 532"/>
                <a:gd name="T9" fmla="*/ 234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2" h="358">
                  <a:moveTo>
                    <a:pt x="532" y="234"/>
                  </a:moveTo>
                  <a:lnTo>
                    <a:pt x="0" y="358"/>
                  </a:lnTo>
                  <a:lnTo>
                    <a:pt x="0" y="124"/>
                  </a:lnTo>
                  <a:lnTo>
                    <a:pt x="532" y="0"/>
                  </a:lnTo>
                  <a:lnTo>
                    <a:pt x="532" y="234"/>
                  </a:lnTo>
                  <a:close/>
                </a:path>
              </a:pathLst>
            </a:custGeom>
            <a:solidFill>
              <a:srgbClr val="F9D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7" name="ExtraShape6">
              <a:extLst>
                <a:ext uri="{FF2B5EF4-FFF2-40B4-BE49-F238E27FC236}">
                  <a16:creationId xmlns:a16="http://schemas.microsoft.com/office/drawing/2014/main" id="{FD0C333D-8076-4835-9430-5FA420EE5A8B}"/>
                </a:ext>
              </a:extLst>
            </p:cNvPr>
            <p:cNvSpPr/>
            <p:nvPr/>
          </p:nvSpPr>
          <p:spPr bwMode="auto">
            <a:xfrm>
              <a:off x="6664884" y="1723790"/>
              <a:ext cx="555279" cy="394906"/>
            </a:xfrm>
            <a:custGeom>
              <a:avLst/>
              <a:gdLst>
                <a:gd name="T0" fmla="*/ 16 w 288"/>
                <a:gd name="T1" fmla="*/ 205 h 205"/>
                <a:gd name="T2" fmla="*/ 6 w 288"/>
                <a:gd name="T3" fmla="*/ 202 h 205"/>
                <a:gd name="T4" fmla="*/ 0 w 288"/>
                <a:gd name="T5" fmla="*/ 189 h 205"/>
                <a:gd name="T6" fmla="*/ 0 w 288"/>
                <a:gd name="T7" fmla="*/ 76 h 205"/>
                <a:gd name="T8" fmla="*/ 12 w 288"/>
                <a:gd name="T9" fmla="*/ 61 h 205"/>
                <a:gd name="T10" fmla="*/ 269 w 288"/>
                <a:gd name="T11" fmla="*/ 1 h 205"/>
                <a:gd name="T12" fmla="*/ 282 w 288"/>
                <a:gd name="T13" fmla="*/ 4 h 205"/>
                <a:gd name="T14" fmla="*/ 288 w 288"/>
                <a:gd name="T15" fmla="*/ 16 h 205"/>
                <a:gd name="T16" fmla="*/ 288 w 288"/>
                <a:gd name="T17" fmla="*/ 129 h 205"/>
                <a:gd name="T18" fmla="*/ 276 w 288"/>
                <a:gd name="T19" fmla="*/ 145 h 205"/>
                <a:gd name="T20" fmla="*/ 19 w 288"/>
                <a:gd name="T21" fmla="*/ 205 h 205"/>
                <a:gd name="T22" fmla="*/ 16 w 288"/>
                <a:gd name="T23" fmla="*/ 205 h 205"/>
                <a:gd name="T24" fmla="*/ 32 w 288"/>
                <a:gd name="T25" fmla="*/ 89 h 205"/>
                <a:gd name="T26" fmla="*/ 32 w 288"/>
                <a:gd name="T27" fmla="*/ 169 h 205"/>
                <a:gd name="T28" fmla="*/ 256 w 288"/>
                <a:gd name="T29" fmla="*/ 117 h 205"/>
                <a:gd name="T30" fmla="*/ 256 w 288"/>
                <a:gd name="T31" fmla="*/ 36 h 205"/>
                <a:gd name="T32" fmla="*/ 32 w 288"/>
                <a:gd name="T33" fmla="*/ 89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8" h="205">
                  <a:moveTo>
                    <a:pt x="16" y="205"/>
                  </a:moveTo>
                  <a:cubicBezTo>
                    <a:pt x="12" y="205"/>
                    <a:pt x="9" y="204"/>
                    <a:pt x="6" y="202"/>
                  </a:cubicBezTo>
                  <a:cubicBezTo>
                    <a:pt x="2" y="199"/>
                    <a:pt x="0" y="194"/>
                    <a:pt x="0" y="189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69"/>
                    <a:pt x="5" y="62"/>
                    <a:pt x="12" y="61"/>
                  </a:cubicBezTo>
                  <a:cubicBezTo>
                    <a:pt x="269" y="1"/>
                    <a:pt x="269" y="1"/>
                    <a:pt x="269" y="1"/>
                  </a:cubicBezTo>
                  <a:cubicBezTo>
                    <a:pt x="273" y="0"/>
                    <a:pt x="278" y="1"/>
                    <a:pt x="282" y="4"/>
                  </a:cubicBezTo>
                  <a:cubicBezTo>
                    <a:pt x="286" y="7"/>
                    <a:pt x="288" y="11"/>
                    <a:pt x="288" y="16"/>
                  </a:cubicBezTo>
                  <a:cubicBezTo>
                    <a:pt x="288" y="129"/>
                    <a:pt x="288" y="129"/>
                    <a:pt x="288" y="129"/>
                  </a:cubicBezTo>
                  <a:cubicBezTo>
                    <a:pt x="288" y="137"/>
                    <a:pt x="283" y="143"/>
                    <a:pt x="276" y="145"/>
                  </a:cubicBezTo>
                  <a:cubicBezTo>
                    <a:pt x="19" y="205"/>
                    <a:pt x="19" y="205"/>
                    <a:pt x="19" y="205"/>
                  </a:cubicBezTo>
                  <a:cubicBezTo>
                    <a:pt x="18" y="205"/>
                    <a:pt x="17" y="205"/>
                    <a:pt x="16" y="205"/>
                  </a:cubicBezTo>
                  <a:close/>
                  <a:moveTo>
                    <a:pt x="32" y="89"/>
                  </a:moveTo>
                  <a:cubicBezTo>
                    <a:pt x="32" y="169"/>
                    <a:pt x="32" y="169"/>
                    <a:pt x="32" y="169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256" y="36"/>
                    <a:pt x="256" y="36"/>
                    <a:pt x="256" y="36"/>
                  </a:cubicBezTo>
                  <a:lnTo>
                    <a:pt x="32" y="8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8" name="ExtraShape2">
              <a:extLst>
                <a:ext uri="{FF2B5EF4-FFF2-40B4-BE49-F238E27FC236}">
                  <a16:creationId xmlns:a16="http://schemas.microsoft.com/office/drawing/2014/main" id="{8B3AE451-5F1E-49F4-872F-8B475CDC1A66}"/>
                </a:ext>
              </a:extLst>
            </p:cNvPr>
            <p:cNvSpPr/>
            <p:nvPr/>
          </p:nvSpPr>
          <p:spPr bwMode="auto">
            <a:xfrm>
              <a:off x="4584677" y="4306392"/>
              <a:ext cx="784249" cy="711942"/>
            </a:xfrm>
            <a:custGeom>
              <a:avLst/>
              <a:gdLst>
                <a:gd name="T0" fmla="*/ 407 w 407"/>
                <a:gd name="T1" fmla="*/ 355 h 370"/>
                <a:gd name="T2" fmla="*/ 392 w 407"/>
                <a:gd name="T3" fmla="*/ 370 h 370"/>
                <a:gd name="T4" fmla="*/ 16 w 407"/>
                <a:gd name="T5" fmla="*/ 370 h 370"/>
                <a:gd name="T6" fmla="*/ 0 w 407"/>
                <a:gd name="T7" fmla="*/ 355 h 370"/>
                <a:gd name="T8" fmla="*/ 0 w 407"/>
                <a:gd name="T9" fmla="*/ 16 h 370"/>
                <a:gd name="T10" fmla="*/ 16 w 407"/>
                <a:gd name="T11" fmla="*/ 0 h 370"/>
                <a:gd name="T12" fmla="*/ 392 w 407"/>
                <a:gd name="T13" fmla="*/ 0 h 370"/>
                <a:gd name="T14" fmla="*/ 407 w 407"/>
                <a:gd name="T15" fmla="*/ 16 h 370"/>
                <a:gd name="T16" fmla="*/ 407 w 407"/>
                <a:gd name="T17" fmla="*/ 35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7" h="370">
                  <a:moveTo>
                    <a:pt x="407" y="355"/>
                  </a:moveTo>
                  <a:cubicBezTo>
                    <a:pt x="407" y="363"/>
                    <a:pt x="400" y="370"/>
                    <a:pt x="392" y="370"/>
                  </a:cubicBezTo>
                  <a:cubicBezTo>
                    <a:pt x="16" y="370"/>
                    <a:pt x="16" y="370"/>
                    <a:pt x="16" y="370"/>
                  </a:cubicBezTo>
                  <a:cubicBezTo>
                    <a:pt x="7" y="370"/>
                    <a:pt x="0" y="363"/>
                    <a:pt x="0" y="35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392" y="0"/>
                    <a:pt x="392" y="0"/>
                    <a:pt x="392" y="0"/>
                  </a:cubicBezTo>
                  <a:cubicBezTo>
                    <a:pt x="400" y="0"/>
                    <a:pt x="407" y="7"/>
                    <a:pt x="407" y="16"/>
                  </a:cubicBezTo>
                  <a:lnTo>
                    <a:pt x="407" y="355"/>
                  </a:ln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9" name="ExtraShape3">
              <a:extLst>
                <a:ext uri="{FF2B5EF4-FFF2-40B4-BE49-F238E27FC236}">
                  <a16:creationId xmlns:a16="http://schemas.microsoft.com/office/drawing/2014/main" id="{8B8A8937-9708-40DD-A91F-5E9016144F91}"/>
                </a:ext>
              </a:extLst>
            </p:cNvPr>
            <p:cNvSpPr/>
            <p:nvPr/>
          </p:nvSpPr>
          <p:spPr bwMode="auto">
            <a:xfrm>
              <a:off x="4584677" y="4527947"/>
              <a:ext cx="784249" cy="343920"/>
            </a:xfrm>
            <a:custGeom>
              <a:avLst/>
              <a:gdLst>
                <a:gd name="T0" fmla="*/ 700 w 846"/>
                <a:gd name="T1" fmla="*/ 95 h 371"/>
                <a:gd name="T2" fmla="*/ 553 w 846"/>
                <a:gd name="T3" fmla="*/ 228 h 371"/>
                <a:gd name="T4" fmla="*/ 312 w 846"/>
                <a:gd name="T5" fmla="*/ 0 h 371"/>
                <a:gd name="T6" fmla="*/ 0 w 846"/>
                <a:gd name="T7" fmla="*/ 199 h 371"/>
                <a:gd name="T8" fmla="*/ 0 w 846"/>
                <a:gd name="T9" fmla="*/ 371 h 371"/>
                <a:gd name="T10" fmla="*/ 846 w 846"/>
                <a:gd name="T11" fmla="*/ 371 h 371"/>
                <a:gd name="T12" fmla="*/ 846 w 846"/>
                <a:gd name="T13" fmla="*/ 197 h 371"/>
                <a:gd name="T14" fmla="*/ 700 w 846"/>
                <a:gd name="T15" fmla="*/ 9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6" h="371">
                  <a:moveTo>
                    <a:pt x="700" y="95"/>
                  </a:moveTo>
                  <a:lnTo>
                    <a:pt x="553" y="228"/>
                  </a:lnTo>
                  <a:lnTo>
                    <a:pt x="312" y="0"/>
                  </a:lnTo>
                  <a:lnTo>
                    <a:pt x="0" y="199"/>
                  </a:lnTo>
                  <a:lnTo>
                    <a:pt x="0" y="371"/>
                  </a:lnTo>
                  <a:lnTo>
                    <a:pt x="846" y="371"/>
                  </a:lnTo>
                  <a:lnTo>
                    <a:pt x="846" y="197"/>
                  </a:lnTo>
                  <a:lnTo>
                    <a:pt x="700" y="95"/>
                  </a:lnTo>
                  <a:close/>
                </a:path>
              </a:pathLst>
            </a:custGeom>
            <a:solidFill>
              <a:srgbClr val="84D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0" name="ExtraShape4">
              <a:extLst>
                <a:ext uri="{FF2B5EF4-FFF2-40B4-BE49-F238E27FC236}">
                  <a16:creationId xmlns:a16="http://schemas.microsoft.com/office/drawing/2014/main" id="{240E5DD8-CD5D-4612-B29F-3C6BEF798CA2}"/>
                </a:ext>
              </a:extLst>
            </p:cNvPr>
            <p:cNvSpPr/>
            <p:nvPr/>
          </p:nvSpPr>
          <p:spPr bwMode="auto">
            <a:xfrm>
              <a:off x="4554086" y="4495501"/>
              <a:ext cx="845432" cy="407883"/>
            </a:xfrm>
            <a:custGeom>
              <a:avLst/>
              <a:gdLst>
                <a:gd name="T0" fmla="*/ 423 w 439"/>
                <a:gd name="T1" fmla="*/ 212 h 212"/>
                <a:gd name="T2" fmla="*/ 16 w 439"/>
                <a:gd name="T3" fmla="*/ 212 h 212"/>
                <a:gd name="T4" fmla="*/ 0 w 439"/>
                <a:gd name="T5" fmla="*/ 196 h 212"/>
                <a:gd name="T6" fmla="*/ 0 w 439"/>
                <a:gd name="T7" fmla="*/ 113 h 212"/>
                <a:gd name="T8" fmla="*/ 8 w 439"/>
                <a:gd name="T9" fmla="*/ 99 h 212"/>
                <a:gd name="T10" fmla="*/ 158 w 439"/>
                <a:gd name="T11" fmla="*/ 4 h 212"/>
                <a:gd name="T12" fmla="*/ 177 w 439"/>
                <a:gd name="T13" fmla="*/ 6 h 212"/>
                <a:gd name="T14" fmla="*/ 282 w 439"/>
                <a:gd name="T15" fmla="*/ 105 h 212"/>
                <a:gd name="T16" fmla="*/ 342 w 439"/>
                <a:gd name="T17" fmla="*/ 51 h 212"/>
                <a:gd name="T18" fmla="*/ 362 w 439"/>
                <a:gd name="T19" fmla="*/ 50 h 212"/>
                <a:gd name="T20" fmla="*/ 432 w 439"/>
                <a:gd name="T21" fmla="*/ 99 h 212"/>
                <a:gd name="T22" fmla="*/ 439 w 439"/>
                <a:gd name="T23" fmla="*/ 112 h 212"/>
                <a:gd name="T24" fmla="*/ 439 w 439"/>
                <a:gd name="T25" fmla="*/ 196 h 212"/>
                <a:gd name="T26" fmla="*/ 423 w 439"/>
                <a:gd name="T27" fmla="*/ 212 h 212"/>
                <a:gd name="T28" fmla="*/ 32 w 439"/>
                <a:gd name="T29" fmla="*/ 180 h 212"/>
                <a:gd name="T30" fmla="*/ 407 w 439"/>
                <a:gd name="T31" fmla="*/ 180 h 212"/>
                <a:gd name="T32" fmla="*/ 407 w 439"/>
                <a:gd name="T33" fmla="*/ 121 h 212"/>
                <a:gd name="T34" fmla="*/ 354 w 439"/>
                <a:gd name="T35" fmla="*/ 83 h 212"/>
                <a:gd name="T36" fmla="*/ 293 w 439"/>
                <a:gd name="T37" fmla="*/ 139 h 212"/>
                <a:gd name="T38" fmla="*/ 271 w 439"/>
                <a:gd name="T39" fmla="*/ 138 h 212"/>
                <a:gd name="T40" fmla="*/ 164 w 439"/>
                <a:gd name="T41" fmla="*/ 37 h 212"/>
                <a:gd name="T42" fmla="*/ 32 w 439"/>
                <a:gd name="T43" fmla="*/ 121 h 212"/>
                <a:gd name="T44" fmla="*/ 32 w 439"/>
                <a:gd name="T45" fmla="*/ 18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9" h="212">
                  <a:moveTo>
                    <a:pt x="423" y="212"/>
                  </a:moveTo>
                  <a:cubicBezTo>
                    <a:pt x="16" y="212"/>
                    <a:pt x="16" y="212"/>
                    <a:pt x="16" y="212"/>
                  </a:cubicBezTo>
                  <a:cubicBezTo>
                    <a:pt x="7" y="212"/>
                    <a:pt x="0" y="205"/>
                    <a:pt x="0" y="196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07"/>
                    <a:pt x="3" y="102"/>
                    <a:pt x="8" y="99"/>
                  </a:cubicBezTo>
                  <a:cubicBezTo>
                    <a:pt x="158" y="4"/>
                    <a:pt x="158" y="4"/>
                    <a:pt x="158" y="4"/>
                  </a:cubicBezTo>
                  <a:cubicBezTo>
                    <a:pt x="164" y="0"/>
                    <a:pt x="172" y="1"/>
                    <a:pt x="177" y="6"/>
                  </a:cubicBezTo>
                  <a:cubicBezTo>
                    <a:pt x="282" y="105"/>
                    <a:pt x="282" y="105"/>
                    <a:pt x="282" y="105"/>
                  </a:cubicBezTo>
                  <a:cubicBezTo>
                    <a:pt x="342" y="51"/>
                    <a:pt x="342" y="51"/>
                    <a:pt x="342" y="51"/>
                  </a:cubicBezTo>
                  <a:cubicBezTo>
                    <a:pt x="347" y="46"/>
                    <a:pt x="356" y="45"/>
                    <a:pt x="362" y="50"/>
                  </a:cubicBezTo>
                  <a:cubicBezTo>
                    <a:pt x="432" y="99"/>
                    <a:pt x="432" y="99"/>
                    <a:pt x="432" y="99"/>
                  </a:cubicBezTo>
                  <a:cubicBezTo>
                    <a:pt x="437" y="102"/>
                    <a:pt x="439" y="107"/>
                    <a:pt x="439" y="112"/>
                  </a:cubicBezTo>
                  <a:cubicBezTo>
                    <a:pt x="439" y="196"/>
                    <a:pt x="439" y="196"/>
                    <a:pt x="439" y="196"/>
                  </a:cubicBezTo>
                  <a:cubicBezTo>
                    <a:pt x="439" y="205"/>
                    <a:pt x="432" y="212"/>
                    <a:pt x="423" y="212"/>
                  </a:cubicBezTo>
                  <a:close/>
                  <a:moveTo>
                    <a:pt x="32" y="180"/>
                  </a:moveTo>
                  <a:cubicBezTo>
                    <a:pt x="407" y="180"/>
                    <a:pt x="407" y="180"/>
                    <a:pt x="407" y="180"/>
                  </a:cubicBezTo>
                  <a:cubicBezTo>
                    <a:pt x="407" y="121"/>
                    <a:pt x="407" y="121"/>
                    <a:pt x="407" y="121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293" y="139"/>
                    <a:pt x="293" y="139"/>
                    <a:pt x="293" y="139"/>
                  </a:cubicBezTo>
                  <a:cubicBezTo>
                    <a:pt x="287" y="144"/>
                    <a:pt x="277" y="144"/>
                    <a:pt x="271" y="138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32" y="121"/>
                    <a:pt x="32" y="121"/>
                    <a:pt x="32" y="121"/>
                  </a:cubicBezTo>
                  <a:cubicBezTo>
                    <a:pt x="32" y="180"/>
                    <a:pt x="32" y="180"/>
                    <a:pt x="32" y="18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1" name="ExtraShape5">
              <a:extLst>
                <a:ext uri="{FF2B5EF4-FFF2-40B4-BE49-F238E27FC236}">
                  <a16:creationId xmlns:a16="http://schemas.microsoft.com/office/drawing/2014/main" id="{3F74B910-946B-4C6B-B77D-5406431EA507}"/>
                </a:ext>
              </a:extLst>
            </p:cNvPr>
            <p:cNvSpPr/>
            <p:nvPr/>
          </p:nvSpPr>
          <p:spPr bwMode="auto">
            <a:xfrm>
              <a:off x="4584677" y="4871867"/>
              <a:ext cx="784249" cy="146468"/>
            </a:xfrm>
            <a:custGeom>
              <a:avLst/>
              <a:gdLst>
                <a:gd name="T0" fmla="*/ 0 w 407"/>
                <a:gd name="T1" fmla="*/ 0 h 76"/>
                <a:gd name="T2" fmla="*/ 0 w 407"/>
                <a:gd name="T3" fmla="*/ 61 h 76"/>
                <a:gd name="T4" fmla="*/ 16 w 407"/>
                <a:gd name="T5" fmla="*/ 76 h 76"/>
                <a:gd name="T6" fmla="*/ 392 w 407"/>
                <a:gd name="T7" fmla="*/ 76 h 76"/>
                <a:gd name="T8" fmla="*/ 407 w 407"/>
                <a:gd name="T9" fmla="*/ 61 h 76"/>
                <a:gd name="T10" fmla="*/ 407 w 407"/>
                <a:gd name="T11" fmla="*/ 0 h 76"/>
                <a:gd name="T12" fmla="*/ 0 w 407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7" h="76">
                  <a:moveTo>
                    <a:pt x="0" y="0"/>
                  </a:moveTo>
                  <a:cubicBezTo>
                    <a:pt x="0" y="61"/>
                    <a:pt x="0" y="61"/>
                    <a:pt x="0" y="61"/>
                  </a:cubicBezTo>
                  <a:cubicBezTo>
                    <a:pt x="0" y="69"/>
                    <a:pt x="7" y="76"/>
                    <a:pt x="16" y="76"/>
                  </a:cubicBezTo>
                  <a:cubicBezTo>
                    <a:pt x="392" y="76"/>
                    <a:pt x="392" y="76"/>
                    <a:pt x="392" y="76"/>
                  </a:cubicBezTo>
                  <a:cubicBezTo>
                    <a:pt x="400" y="76"/>
                    <a:pt x="407" y="69"/>
                    <a:pt x="407" y="61"/>
                  </a:cubicBezTo>
                  <a:cubicBezTo>
                    <a:pt x="407" y="0"/>
                    <a:pt x="407" y="0"/>
                    <a:pt x="40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9D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2" name="ExtraShape6">
              <a:extLst>
                <a:ext uri="{FF2B5EF4-FFF2-40B4-BE49-F238E27FC236}">
                  <a16:creationId xmlns:a16="http://schemas.microsoft.com/office/drawing/2014/main" id="{E7A6352E-A7BC-4ADD-B25E-5E9F585F7031}"/>
                </a:ext>
              </a:extLst>
            </p:cNvPr>
            <p:cNvSpPr/>
            <p:nvPr/>
          </p:nvSpPr>
          <p:spPr bwMode="auto">
            <a:xfrm>
              <a:off x="4554086" y="4275801"/>
              <a:ext cx="845432" cy="773125"/>
            </a:xfrm>
            <a:custGeom>
              <a:avLst/>
              <a:gdLst>
                <a:gd name="T0" fmla="*/ 408 w 439"/>
                <a:gd name="T1" fmla="*/ 402 h 402"/>
                <a:gd name="T2" fmla="*/ 32 w 439"/>
                <a:gd name="T3" fmla="*/ 402 h 402"/>
                <a:gd name="T4" fmla="*/ 0 w 439"/>
                <a:gd name="T5" fmla="*/ 371 h 402"/>
                <a:gd name="T6" fmla="*/ 0 w 439"/>
                <a:gd name="T7" fmla="*/ 32 h 402"/>
                <a:gd name="T8" fmla="*/ 32 w 439"/>
                <a:gd name="T9" fmla="*/ 0 h 402"/>
                <a:gd name="T10" fmla="*/ 408 w 439"/>
                <a:gd name="T11" fmla="*/ 0 h 402"/>
                <a:gd name="T12" fmla="*/ 439 w 439"/>
                <a:gd name="T13" fmla="*/ 32 h 402"/>
                <a:gd name="T14" fmla="*/ 439 w 439"/>
                <a:gd name="T15" fmla="*/ 371 h 402"/>
                <a:gd name="T16" fmla="*/ 408 w 439"/>
                <a:gd name="T17" fmla="*/ 402 h 402"/>
                <a:gd name="T18" fmla="*/ 407 w 439"/>
                <a:gd name="T19" fmla="*/ 32 h 402"/>
                <a:gd name="T20" fmla="*/ 32 w 439"/>
                <a:gd name="T21" fmla="*/ 32 h 402"/>
                <a:gd name="T22" fmla="*/ 32 w 439"/>
                <a:gd name="T23" fmla="*/ 371 h 402"/>
                <a:gd name="T24" fmla="*/ 407 w 439"/>
                <a:gd name="T25" fmla="*/ 370 h 402"/>
                <a:gd name="T26" fmla="*/ 407 w 439"/>
                <a:gd name="T27" fmla="*/ 32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9" h="402">
                  <a:moveTo>
                    <a:pt x="408" y="402"/>
                  </a:moveTo>
                  <a:cubicBezTo>
                    <a:pt x="32" y="402"/>
                    <a:pt x="32" y="402"/>
                    <a:pt x="32" y="402"/>
                  </a:cubicBezTo>
                  <a:cubicBezTo>
                    <a:pt x="14" y="402"/>
                    <a:pt x="0" y="388"/>
                    <a:pt x="0" y="37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08" y="0"/>
                    <a:pt x="408" y="0"/>
                    <a:pt x="408" y="0"/>
                  </a:cubicBezTo>
                  <a:cubicBezTo>
                    <a:pt x="425" y="0"/>
                    <a:pt x="439" y="14"/>
                    <a:pt x="439" y="32"/>
                  </a:cubicBezTo>
                  <a:cubicBezTo>
                    <a:pt x="439" y="371"/>
                    <a:pt x="439" y="371"/>
                    <a:pt x="439" y="371"/>
                  </a:cubicBezTo>
                  <a:cubicBezTo>
                    <a:pt x="439" y="388"/>
                    <a:pt x="425" y="402"/>
                    <a:pt x="408" y="402"/>
                  </a:cubicBezTo>
                  <a:close/>
                  <a:moveTo>
                    <a:pt x="407" y="32"/>
                  </a:moveTo>
                  <a:cubicBezTo>
                    <a:pt x="32" y="32"/>
                    <a:pt x="32" y="32"/>
                    <a:pt x="32" y="32"/>
                  </a:cubicBezTo>
                  <a:cubicBezTo>
                    <a:pt x="32" y="371"/>
                    <a:pt x="32" y="371"/>
                    <a:pt x="32" y="371"/>
                  </a:cubicBezTo>
                  <a:cubicBezTo>
                    <a:pt x="407" y="370"/>
                    <a:pt x="407" y="370"/>
                    <a:pt x="407" y="370"/>
                  </a:cubicBezTo>
                  <a:lnTo>
                    <a:pt x="407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3" name="ExtraShape7">
              <a:extLst>
                <a:ext uri="{FF2B5EF4-FFF2-40B4-BE49-F238E27FC236}">
                  <a16:creationId xmlns:a16="http://schemas.microsoft.com/office/drawing/2014/main" id="{5D6F2C44-B538-4831-BC4A-577D95CD8991}"/>
                </a:ext>
              </a:extLst>
            </p:cNvPr>
            <p:cNvSpPr/>
            <p:nvPr/>
          </p:nvSpPr>
          <p:spPr bwMode="auto">
            <a:xfrm>
              <a:off x="4554086" y="4841276"/>
              <a:ext cx="845432" cy="207649"/>
            </a:xfrm>
            <a:custGeom>
              <a:avLst/>
              <a:gdLst>
                <a:gd name="T0" fmla="*/ 408 w 439"/>
                <a:gd name="T1" fmla="*/ 108 h 108"/>
                <a:gd name="T2" fmla="*/ 32 w 439"/>
                <a:gd name="T3" fmla="*/ 108 h 108"/>
                <a:gd name="T4" fmla="*/ 0 w 439"/>
                <a:gd name="T5" fmla="*/ 77 h 108"/>
                <a:gd name="T6" fmla="*/ 0 w 439"/>
                <a:gd name="T7" fmla="*/ 16 h 108"/>
                <a:gd name="T8" fmla="*/ 16 w 439"/>
                <a:gd name="T9" fmla="*/ 0 h 108"/>
                <a:gd name="T10" fmla="*/ 423 w 439"/>
                <a:gd name="T11" fmla="*/ 0 h 108"/>
                <a:gd name="T12" fmla="*/ 439 w 439"/>
                <a:gd name="T13" fmla="*/ 16 h 108"/>
                <a:gd name="T14" fmla="*/ 439 w 439"/>
                <a:gd name="T15" fmla="*/ 77 h 108"/>
                <a:gd name="T16" fmla="*/ 408 w 439"/>
                <a:gd name="T17" fmla="*/ 108 h 108"/>
                <a:gd name="T18" fmla="*/ 32 w 439"/>
                <a:gd name="T19" fmla="*/ 32 h 108"/>
                <a:gd name="T20" fmla="*/ 32 w 439"/>
                <a:gd name="T21" fmla="*/ 77 h 108"/>
                <a:gd name="T22" fmla="*/ 408 w 439"/>
                <a:gd name="T23" fmla="*/ 76 h 108"/>
                <a:gd name="T24" fmla="*/ 408 w 439"/>
                <a:gd name="T25" fmla="*/ 32 h 108"/>
                <a:gd name="T26" fmla="*/ 32 w 439"/>
                <a:gd name="T27" fmla="*/ 3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9" h="108">
                  <a:moveTo>
                    <a:pt x="408" y="108"/>
                  </a:moveTo>
                  <a:cubicBezTo>
                    <a:pt x="32" y="108"/>
                    <a:pt x="32" y="108"/>
                    <a:pt x="32" y="108"/>
                  </a:cubicBezTo>
                  <a:cubicBezTo>
                    <a:pt x="14" y="108"/>
                    <a:pt x="0" y="94"/>
                    <a:pt x="0" y="7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423" y="0"/>
                    <a:pt x="423" y="0"/>
                    <a:pt x="423" y="0"/>
                  </a:cubicBezTo>
                  <a:cubicBezTo>
                    <a:pt x="432" y="0"/>
                    <a:pt x="439" y="7"/>
                    <a:pt x="439" y="16"/>
                  </a:cubicBezTo>
                  <a:cubicBezTo>
                    <a:pt x="439" y="77"/>
                    <a:pt x="439" y="77"/>
                    <a:pt x="439" y="77"/>
                  </a:cubicBezTo>
                  <a:cubicBezTo>
                    <a:pt x="439" y="94"/>
                    <a:pt x="425" y="108"/>
                    <a:pt x="408" y="108"/>
                  </a:cubicBezTo>
                  <a:close/>
                  <a:moveTo>
                    <a:pt x="32" y="32"/>
                  </a:moveTo>
                  <a:cubicBezTo>
                    <a:pt x="32" y="77"/>
                    <a:pt x="32" y="77"/>
                    <a:pt x="32" y="77"/>
                  </a:cubicBezTo>
                  <a:cubicBezTo>
                    <a:pt x="408" y="76"/>
                    <a:pt x="408" y="76"/>
                    <a:pt x="408" y="76"/>
                  </a:cubicBezTo>
                  <a:cubicBezTo>
                    <a:pt x="408" y="32"/>
                    <a:pt x="408" y="32"/>
                    <a:pt x="408" y="32"/>
                  </a:cubicBezTo>
                  <a:lnTo>
                    <a:pt x="32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4" name="ExtraShape8">
              <a:extLst>
                <a:ext uri="{FF2B5EF4-FFF2-40B4-BE49-F238E27FC236}">
                  <a16:creationId xmlns:a16="http://schemas.microsoft.com/office/drawing/2014/main" id="{350A78A1-35AC-467D-A66A-7F860C9BFA0F}"/>
                </a:ext>
              </a:extLst>
            </p:cNvPr>
            <p:cNvSpPr/>
            <p:nvPr/>
          </p:nvSpPr>
          <p:spPr bwMode="auto">
            <a:xfrm>
              <a:off x="4999050" y="4377772"/>
              <a:ext cx="211358" cy="209504"/>
            </a:xfrm>
            <a:custGeom>
              <a:avLst/>
              <a:gdLst>
                <a:gd name="T0" fmla="*/ 55 w 110"/>
                <a:gd name="T1" fmla="*/ 109 h 109"/>
                <a:gd name="T2" fmla="*/ 0 w 110"/>
                <a:gd name="T3" fmla="*/ 55 h 109"/>
                <a:gd name="T4" fmla="*/ 55 w 110"/>
                <a:gd name="T5" fmla="*/ 0 h 109"/>
                <a:gd name="T6" fmla="*/ 110 w 110"/>
                <a:gd name="T7" fmla="*/ 55 h 109"/>
                <a:gd name="T8" fmla="*/ 55 w 110"/>
                <a:gd name="T9" fmla="*/ 109 h 109"/>
                <a:gd name="T10" fmla="*/ 55 w 110"/>
                <a:gd name="T11" fmla="*/ 32 h 109"/>
                <a:gd name="T12" fmla="*/ 32 w 110"/>
                <a:gd name="T13" fmla="*/ 55 h 109"/>
                <a:gd name="T14" fmla="*/ 55 w 110"/>
                <a:gd name="T15" fmla="*/ 77 h 109"/>
                <a:gd name="T16" fmla="*/ 78 w 110"/>
                <a:gd name="T17" fmla="*/ 55 h 109"/>
                <a:gd name="T18" fmla="*/ 55 w 110"/>
                <a:gd name="T19" fmla="*/ 3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09">
                  <a:moveTo>
                    <a:pt x="55" y="109"/>
                  </a:moveTo>
                  <a:cubicBezTo>
                    <a:pt x="25" y="109"/>
                    <a:pt x="0" y="85"/>
                    <a:pt x="0" y="55"/>
                  </a:cubicBezTo>
                  <a:cubicBezTo>
                    <a:pt x="0" y="24"/>
                    <a:pt x="25" y="0"/>
                    <a:pt x="55" y="0"/>
                  </a:cubicBezTo>
                  <a:cubicBezTo>
                    <a:pt x="85" y="0"/>
                    <a:pt x="110" y="24"/>
                    <a:pt x="110" y="55"/>
                  </a:cubicBezTo>
                  <a:cubicBezTo>
                    <a:pt x="110" y="85"/>
                    <a:pt x="85" y="109"/>
                    <a:pt x="55" y="109"/>
                  </a:cubicBezTo>
                  <a:close/>
                  <a:moveTo>
                    <a:pt x="55" y="32"/>
                  </a:moveTo>
                  <a:cubicBezTo>
                    <a:pt x="43" y="32"/>
                    <a:pt x="32" y="42"/>
                    <a:pt x="32" y="55"/>
                  </a:cubicBezTo>
                  <a:cubicBezTo>
                    <a:pt x="32" y="67"/>
                    <a:pt x="43" y="77"/>
                    <a:pt x="55" y="77"/>
                  </a:cubicBezTo>
                  <a:cubicBezTo>
                    <a:pt x="68" y="77"/>
                    <a:pt x="78" y="67"/>
                    <a:pt x="78" y="55"/>
                  </a:cubicBezTo>
                  <a:cubicBezTo>
                    <a:pt x="78" y="42"/>
                    <a:pt x="68" y="32"/>
                    <a:pt x="55" y="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5" name="ExtraShape1">
              <a:extLst>
                <a:ext uri="{FF2B5EF4-FFF2-40B4-BE49-F238E27FC236}">
                  <a16:creationId xmlns:a16="http://schemas.microsoft.com/office/drawing/2014/main" id="{FD02C862-FC52-47CC-BD2B-22C1231B1444}"/>
                </a:ext>
              </a:extLst>
            </p:cNvPr>
            <p:cNvSpPr/>
            <p:nvPr/>
          </p:nvSpPr>
          <p:spPr bwMode="auto">
            <a:xfrm>
              <a:off x="4795108" y="1735840"/>
              <a:ext cx="371731" cy="825038"/>
            </a:xfrm>
            <a:custGeom>
              <a:avLst/>
              <a:gdLst>
                <a:gd name="T0" fmla="*/ 177 w 193"/>
                <a:gd name="T1" fmla="*/ 429 h 429"/>
                <a:gd name="T2" fmla="*/ 168 w 193"/>
                <a:gd name="T3" fmla="*/ 425 h 429"/>
                <a:gd name="T4" fmla="*/ 6 w 193"/>
                <a:gd name="T5" fmla="*/ 307 h 429"/>
                <a:gd name="T6" fmla="*/ 0 w 193"/>
                <a:gd name="T7" fmla="*/ 294 h 429"/>
                <a:gd name="T8" fmla="*/ 0 w 193"/>
                <a:gd name="T9" fmla="*/ 135 h 429"/>
                <a:gd name="T10" fmla="*/ 6 w 193"/>
                <a:gd name="T11" fmla="*/ 122 h 429"/>
                <a:gd name="T12" fmla="*/ 168 w 193"/>
                <a:gd name="T13" fmla="*/ 4 h 429"/>
                <a:gd name="T14" fmla="*/ 185 w 193"/>
                <a:gd name="T15" fmla="*/ 3 h 429"/>
                <a:gd name="T16" fmla="*/ 193 w 193"/>
                <a:gd name="T17" fmla="*/ 17 h 429"/>
                <a:gd name="T18" fmla="*/ 193 w 193"/>
                <a:gd name="T19" fmla="*/ 413 h 429"/>
                <a:gd name="T20" fmla="*/ 185 w 193"/>
                <a:gd name="T21" fmla="*/ 427 h 429"/>
                <a:gd name="T22" fmla="*/ 177 w 193"/>
                <a:gd name="T23" fmla="*/ 429 h 429"/>
                <a:gd name="T24" fmla="*/ 32 w 193"/>
                <a:gd name="T25" fmla="*/ 286 h 429"/>
                <a:gd name="T26" fmla="*/ 161 w 193"/>
                <a:gd name="T27" fmla="*/ 381 h 429"/>
                <a:gd name="T28" fmla="*/ 161 w 193"/>
                <a:gd name="T29" fmla="*/ 48 h 429"/>
                <a:gd name="T30" fmla="*/ 32 w 193"/>
                <a:gd name="T31" fmla="*/ 143 h 429"/>
                <a:gd name="T32" fmla="*/ 32 w 193"/>
                <a:gd name="T33" fmla="*/ 286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3" h="429">
                  <a:moveTo>
                    <a:pt x="177" y="429"/>
                  </a:moveTo>
                  <a:cubicBezTo>
                    <a:pt x="174" y="429"/>
                    <a:pt x="171" y="428"/>
                    <a:pt x="168" y="425"/>
                  </a:cubicBezTo>
                  <a:cubicBezTo>
                    <a:pt x="6" y="307"/>
                    <a:pt x="6" y="307"/>
                    <a:pt x="6" y="307"/>
                  </a:cubicBezTo>
                  <a:cubicBezTo>
                    <a:pt x="2" y="304"/>
                    <a:pt x="0" y="300"/>
                    <a:pt x="0" y="294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0"/>
                    <a:pt x="2" y="125"/>
                    <a:pt x="6" y="122"/>
                  </a:cubicBezTo>
                  <a:cubicBezTo>
                    <a:pt x="168" y="4"/>
                    <a:pt x="168" y="4"/>
                    <a:pt x="168" y="4"/>
                  </a:cubicBezTo>
                  <a:cubicBezTo>
                    <a:pt x="173" y="0"/>
                    <a:pt x="179" y="0"/>
                    <a:pt x="185" y="3"/>
                  </a:cubicBezTo>
                  <a:cubicBezTo>
                    <a:pt x="190" y="5"/>
                    <a:pt x="193" y="11"/>
                    <a:pt x="193" y="17"/>
                  </a:cubicBezTo>
                  <a:cubicBezTo>
                    <a:pt x="193" y="413"/>
                    <a:pt x="193" y="413"/>
                    <a:pt x="193" y="413"/>
                  </a:cubicBezTo>
                  <a:cubicBezTo>
                    <a:pt x="193" y="419"/>
                    <a:pt x="190" y="424"/>
                    <a:pt x="185" y="427"/>
                  </a:cubicBezTo>
                  <a:cubicBezTo>
                    <a:pt x="182" y="428"/>
                    <a:pt x="180" y="429"/>
                    <a:pt x="177" y="429"/>
                  </a:cubicBezTo>
                  <a:close/>
                  <a:moveTo>
                    <a:pt x="32" y="286"/>
                  </a:moveTo>
                  <a:cubicBezTo>
                    <a:pt x="161" y="381"/>
                    <a:pt x="161" y="381"/>
                    <a:pt x="161" y="381"/>
                  </a:cubicBezTo>
                  <a:cubicBezTo>
                    <a:pt x="161" y="48"/>
                    <a:pt x="161" y="48"/>
                    <a:pt x="161" y="48"/>
                  </a:cubicBezTo>
                  <a:cubicBezTo>
                    <a:pt x="32" y="143"/>
                    <a:pt x="32" y="143"/>
                    <a:pt x="32" y="143"/>
                  </a:cubicBezTo>
                  <a:lnTo>
                    <a:pt x="32" y="28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6" name="ExtraShape2">
              <a:extLst>
                <a:ext uri="{FF2B5EF4-FFF2-40B4-BE49-F238E27FC236}">
                  <a16:creationId xmlns:a16="http://schemas.microsoft.com/office/drawing/2014/main" id="{446B1BBE-6DE5-480F-9ADF-7ABD04733330}"/>
                </a:ext>
              </a:extLst>
            </p:cNvPr>
            <p:cNvSpPr/>
            <p:nvPr/>
          </p:nvSpPr>
          <p:spPr bwMode="auto">
            <a:xfrm>
              <a:off x="4515152" y="1995403"/>
              <a:ext cx="310547" cy="305913"/>
            </a:xfrm>
            <a:custGeom>
              <a:avLst/>
              <a:gdLst>
                <a:gd name="T0" fmla="*/ 36 w 161"/>
                <a:gd name="T1" fmla="*/ 0 h 159"/>
                <a:gd name="T2" fmla="*/ 0 w 161"/>
                <a:gd name="T3" fmla="*/ 35 h 159"/>
                <a:gd name="T4" fmla="*/ 0 w 161"/>
                <a:gd name="T5" fmla="*/ 124 h 159"/>
                <a:gd name="T6" fmla="*/ 36 w 161"/>
                <a:gd name="T7" fmla="*/ 159 h 159"/>
                <a:gd name="T8" fmla="*/ 161 w 161"/>
                <a:gd name="T9" fmla="*/ 159 h 159"/>
                <a:gd name="T10" fmla="*/ 161 w 161"/>
                <a:gd name="T11" fmla="*/ 124 h 159"/>
                <a:gd name="T12" fmla="*/ 161 w 161"/>
                <a:gd name="T13" fmla="*/ 35 h 159"/>
                <a:gd name="T14" fmla="*/ 161 w 161"/>
                <a:gd name="T15" fmla="*/ 0 h 159"/>
                <a:gd name="T16" fmla="*/ 36 w 161"/>
                <a:gd name="T17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1" h="159">
                  <a:moveTo>
                    <a:pt x="36" y="0"/>
                  </a:moveTo>
                  <a:cubicBezTo>
                    <a:pt x="16" y="0"/>
                    <a:pt x="0" y="16"/>
                    <a:pt x="0" y="35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43"/>
                    <a:pt x="16" y="159"/>
                    <a:pt x="36" y="159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61" y="124"/>
                    <a:pt x="161" y="124"/>
                    <a:pt x="161" y="124"/>
                  </a:cubicBezTo>
                  <a:cubicBezTo>
                    <a:pt x="161" y="35"/>
                    <a:pt x="161" y="35"/>
                    <a:pt x="161" y="35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rgbClr val="82D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7" name="ExtraShape3">
              <a:extLst>
                <a:ext uri="{FF2B5EF4-FFF2-40B4-BE49-F238E27FC236}">
                  <a16:creationId xmlns:a16="http://schemas.microsoft.com/office/drawing/2014/main" id="{420BFDC6-D8DA-40AE-88B8-5B1708FB97D5}"/>
                </a:ext>
              </a:extLst>
            </p:cNvPr>
            <p:cNvSpPr/>
            <p:nvPr/>
          </p:nvSpPr>
          <p:spPr bwMode="auto">
            <a:xfrm>
              <a:off x="4484561" y="1964812"/>
              <a:ext cx="371731" cy="367095"/>
            </a:xfrm>
            <a:custGeom>
              <a:avLst/>
              <a:gdLst>
                <a:gd name="T0" fmla="*/ 177 w 193"/>
                <a:gd name="T1" fmla="*/ 191 h 191"/>
                <a:gd name="T2" fmla="*/ 52 w 193"/>
                <a:gd name="T3" fmla="*/ 191 h 191"/>
                <a:gd name="T4" fmla="*/ 0 w 193"/>
                <a:gd name="T5" fmla="*/ 140 h 191"/>
                <a:gd name="T6" fmla="*/ 0 w 193"/>
                <a:gd name="T7" fmla="*/ 51 h 191"/>
                <a:gd name="T8" fmla="*/ 52 w 193"/>
                <a:gd name="T9" fmla="*/ 0 h 191"/>
                <a:gd name="T10" fmla="*/ 177 w 193"/>
                <a:gd name="T11" fmla="*/ 0 h 191"/>
                <a:gd name="T12" fmla="*/ 193 w 193"/>
                <a:gd name="T13" fmla="*/ 16 h 191"/>
                <a:gd name="T14" fmla="*/ 193 w 193"/>
                <a:gd name="T15" fmla="*/ 175 h 191"/>
                <a:gd name="T16" fmla="*/ 177 w 193"/>
                <a:gd name="T17" fmla="*/ 191 h 191"/>
                <a:gd name="T18" fmla="*/ 52 w 193"/>
                <a:gd name="T19" fmla="*/ 32 h 191"/>
                <a:gd name="T20" fmla="*/ 32 w 193"/>
                <a:gd name="T21" fmla="*/ 51 h 191"/>
                <a:gd name="T22" fmla="*/ 32 w 193"/>
                <a:gd name="T23" fmla="*/ 140 h 191"/>
                <a:gd name="T24" fmla="*/ 52 w 193"/>
                <a:gd name="T25" fmla="*/ 159 h 191"/>
                <a:gd name="T26" fmla="*/ 161 w 193"/>
                <a:gd name="T27" fmla="*/ 159 h 191"/>
                <a:gd name="T28" fmla="*/ 161 w 193"/>
                <a:gd name="T29" fmla="*/ 32 h 191"/>
                <a:gd name="T30" fmla="*/ 52 w 193"/>
                <a:gd name="T31" fmla="*/ 32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1">
                  <a:moveTo>
                    <a:pt x="177" y="191"/>
                  </a:moveTo>
                  <a:cubicBezTo>
                    <a:pt x="52" y="191"/>
                    <a:pt x="52" y="191"/>
                    <a:pt x="52" y="191"/>
                  </a:cubicBezTo>
                  <a:cubicBezTo>
                    <a:pt x="23" y="191"/>
                    <a:pt x="0" y="168"/>
                    <a:pt x="0" y="14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86" y="0"/>
                    <a:pt x="193" y="7"/>
                    <a:pt x="193" y="16"/>
                  </a:cubicBezTo>
                  <a:cubicBezTo>
                    <a:pt x="193" y="175"/>
                    <a:pt x="193" y="175"/>
                    <a:pt x="193" y="175"/>
                  </a:cubicBezTo>
                  <a:cubicBezTo>
                    <a:pt x="193" y="184"/>
                    <a:pt x="186" y="191"/>
                    <a:pt x="177" y="191"/>
                  </a:cubicBezTo>
                  <a:close/>
                  <a:moveTo>
                    <a:pt x="52" y="32"/>
                  </a:moveTo>
                  <a:cubicBezTo>
                    <a:pt x="41" y="32"/>
                    <a:pt x="32" y="41"/>
                    <a:pt x="32" y="51"/>
                  </a:cubicBezTo>
                  <a:cubicBezTo>
                    <a:pt x="32" y="140"/>
                    <a:pt x="32" y="140"/>
                    <a:pt x="32" y="140"/>
                  </a:cubicBezTo>
                  <a:cubicBezTo>
                    <a:pt x="32" y="151"/>
                    <a:pt x="41" y="159"/>
                    <a:pt x="52" y="159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61" y="32"/>
                    <a:pt x="161" y="32"/>
                    <a:pt x="161" y="32"/>
                  </a:cubicBezTo>
                  <a:lnTo>
                    <a:pt x="52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8" name="ExtraShape2">
              <a:extLst>
                <a:ext uri="{FF2B5EF4-FFF2-40B4-BE49-F238E27FC236}">
                  <a16:creationId xmlns:a16="http://schemas.microsoft.com/office/drawing/2014/main" id="{EA61368C-2D5A-4B64-A6AA-346791217EAF}"/>
                </a:ext>
              </a:extLst>
            </p:cNvPr>
            <p:cNvSpPr/>
            <p:nvPr/>
          </p:nvSpPr>
          <p:spPr bwMode="auto">
            <a:xfrm>
              <a:off x="6518417" y="4306392"/>
              <a:ext cx="786104" cy="711942"/>
            </a:xfrm>
            <a:custGeom>
              <a:avLst/>
              <a:gdLst>
                <a:gd name="T0" fmla="*/ 408 w 408"/>
                <a:gd name="T1" fmla="*/ 355 h 370"/>
                <a:gd name="T2" fmla="*/ 392 w 408"/>
                <a:gd name="T3" fmla="*/ 370 h 370"/>
                <a:gd name="T4" fmla="*/ 16 w 408"/>
                <a:gd name="T5" fmla="*/ 370 h 370"/>
                <a:gd name="T6" fmla="*/ 0 w 408"/>
                <a:gd name="T7" fmla="*/ 355 h 370"/>
                <a:gd name="T8" fmla="*/ 0 w 408"/>
                <a:gd name="T9" fmla="*/ 16 h 370"/>
                <a:gd name="T10" fmla="*/ 16 w 408"/>
                <a:gd name="T11" fmla="*/ 0 h 370"/>
                <a:gd name="T12" fmla="*/ 392 w 408"/>
                <a:gd name="T13" fmla="*/ 0 h 370"/>
                <a:gd name="T14" fmla="*/ 408 w 408"/>
                <a:gd name="T15" fmla="*/ 16 h 370"/>
                <a:gd name="T16" fmla="*/ 408 w 408"/>
                <a:gd name="T17" fmla="*/ 35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8" h="370">
                  <a:moveTo>
                    <a:pt x="408" y="355"/>
                  </a:moveTo>
                  <a:cubicBezTo>
                    <a:pt x="408" y="363"/>
                    <a:pt x="401" y="370"/>
                    <a:pt x="392" y="370"/>
                  </a:cubicBezTo>
                  <a:cubicBezTo>
                    <a:pt x="16" y="370"/>
                    <a:pt x="16" y="370"/>
                    <a:pt x="16" y="370"/>
                  </a:cubicBezTo>
                  <a:cubicBezTo>
                    <a:pt x="7" y="370"/>
                    <a:pt x="0" y="363"/>
                    <a:pt x="0" y="35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392" y="0"/>
                    <a:pt x="392" y="0"/>
                    <a:pt x="392" y="0"/>
                  </a:cubicBezTo>
                  <a:cubicBezTo>
                    <a:pt x="401" y="0"/>
                    <a:pt x="408" y="7"/>
                    <a:pt x="408" y="16"/>
                  </a:cubicBezTo>
                  <a:lnTo>
                    <a:pt x="408" y="355"/>
                  </a:lnTo>
                  <a:close/>
                </a:path>
              </a:pathLst>
            </a:custGeom>
            <a:solidFill>
              <a:srgbClr val="F9A2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9" name="ExtraShape3">
              <a:extLst>
                <a:ext uri="{FF2B5EF4-FFF2-40B4-BE49-F238E27FC236}">
                  <a16:creationId xmlns:a16="http://schemas.microsoft.com/office/drawing/2014/main" id="{4E70A97D-922D-4466-9451-F61BBBA659C2}"/>
                </a:ext>
              </a:extLst>
            </p:cNvPr>
            <p:cNvSpPr/>
            <p:nvPr/>
          </p:nvSpPr>
          <p:spPr bwMode="auto">
            <a:xfrm>
              <a:off x="6803936" y="4479743"/>
              <a:ext cx="292934" cy="365241"/>
            </a:xfrm>
            <a:custGeom>
              <a:avLst/>
              <a:gdLst>
                <a:gd name="T0" fmla="*/ 0 w 316"/>
                <a:gd name="T1" fmla="*/ 0 h 394"/>
                <a:gd name="T2" fmla="*/ 316 w 316"/>
                <a:gd name="T3" fmla="*/ 197 h 394"/>
                <a:gd name="T4" fmla="*/ 0 w 316"/>
                <a:gd name="T5" fmla="*/ 394 h 394"/>
                <a:gd name="T6" fmla="*/ 0 w 316"/>
                <a:gd name="T7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6" h="394">
                  <a:moveTo>
                    <a:pt x="0" y="0"/>
                  </a:moveTo>
                  <a:lnTo>
                    <a:pt x="316" y="197"/>
                  </a:lnTo>
                  <a:lnTo>
                    <a:pt x="0" y="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0" name="ExtraShape4">
              <a:extLst>
                <a:ext uri="{FF2B5EF4-FFF2-40B4-BE49-F238E27FC236}">
                  <a16:creationId xmlns:a16="http://schemas.microsoft.com/office/drawing/2014/main" id="{75402FD8-ED9F-4A57-A2AB-44A4C52A38B2}"/>
                </a:ext>
              </a:extLst>
            </p:cNvPr>
            <p:cNvSpPr/>
            <p:nvPr/>
          </p:nvSpPr>
          <p:spPr bwMode="auto">
            <a:xfrm>
              <a:off x="6773344" y="4447297"/>
              <a:ext cx="354117" cy="428278"/>
            </a:xfrm>
            <a:custGeom>
              <a:avLst/>
              <a:gdLst>
                <a:gd name="T0" fmla="*/ 16 w 184"/>
                <a:gd name="T1" fmla="*/ 223 h 223"/>
                <a:gd name="T2" fmla="*/ 8 w 184"/>
                <a:gd name="T3" fmla="*/ 221 h 223"/>
                <a:gd name="T4" fmla="*/ 0 w 184"/>
                <a:gd name="T5" fmla="*/ 207 h 223"/>
                <a:gd name="T6" fmla="*/ 0 w 184"/>
                <a:gd name="T7" fmla="*/ 17 h 223"/>
                <a:gd name="T8" fmla="*/ 8 w 184"/>
                <a:gd name="T9" fmla="*/ 3 h 223"/>
                <a:gd name="T10" fmla="*/ 24 w 184"/>
                <a:gd name="T11" fmla="*/ 4 h 223"/>
                <a:gd name="T12" fmla="*/ 176 w 184"/>
                <a:gd name="T13" fmla="*/ 99 h 223"/>
                <a:gd name="T14" fmla="*/ 184 w 184"/>
                <a:gd name="T15" fmla="*/ 112 h 223"/>
                <a:gd name="T16" fmla="*/ 176 w 184"/>
                <a:gd name="T17" fmla="*/ 126 h 223"/>
                <a:gd name="T18" fmla="*/ 24 w 184"/>
                <a:gd name="T19" fmla="*/ 221 h 223"/>
                <a:gd name="T20" fmla="*/ 16 w 184"/>
                <a:gd name="T21" fmla="*/ 223 h 223"/>
                <a:gd name="T22" fmla="*/ 32 w 184"/>
                <a:gd name="T23" fmla="*/ 46 h 223"/>
                <a:gd name="T24" fmla="*/ 32 w 184"/>
                <a:gd name="T25" fmla="*/ 179 h 223"/>
                <a:gd name="T26" fmla="*/ 138 w 184"/>
                <a:gd name="T27" fmla="*/ 112 h 223"/>
                <a:gd name="T28" fmla="*/ 32 w 184"/>
                <a:gd name="T29" fmla="*/ 4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4" h="223">
                  <a:moveTo>
                    <a:pt x="16" y="223"/>
                  </a:moveTo>
                  <a:cubicBezTo>
                    <a:pt x="13" y="223"/>
                    <a:pt x="10" y="223"/>
                    <a:pt x="8" y="221"/>
                  </a:cubicBezTo>
                  <a:cubicBezTo>
                    <a:pt x="3" y="219"/>
                    <a:pt x="0" y="213"/>
                    <a:pt x="0" y="20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1"/>
                    <a:pt x="3" y="6"/>
                    <a:pt x="8" y="3"/>
                  </a:cubicBezTo>
                  <a:cubicBezTo>
                    <a:pt x="13" y="0"/>
                    <a:pt x="19" y="0"/>
                    <a:pt x="24" y="4"/>
                  </a:cubicBezTo>
                  <a:cubicBezTo>
                    <a:pt x="176" y="99"/>
                    <a:pt x="176" y="99"/>
                    <a:pt x="176" y="99"/>
                  </a:cubicBezTo>
                  <a:cubicBezTo>
                    <a:pt x="181" y="102"/>
                    <a:pt x="184" y="107"/>
                    <a:pt x="184" y="112"/>
                  </a:cubicBezTo>
                  <a:cubicBezTo>
                    <a:pt x="184" y="118"/>
                    <a:pt x="181" y="123"/>
                    <a:pt x="176" y="126"/>
                  </a:cubicBezTo>
                  <a:cubicBezTo>
                    <a:pt x="24" y="221"/>
                    <a:pt x="24" y="221"/>
                    <a:pt x="24" y="221"/>
                  </a:cubicBezTo>
                  <a:cubicBezTo>
                    <a:pt x="21" y="223"/>
                    <a:pt x="18" y="223"/>
                    <a:pt x="16" y="223"/>
                  </a:cubicBezTo>
                  <a:close/>
                  <a:moveTo>
                    <a:pt x="32" y="46"/>
                  </a:moveTo>
                  <a:cubicBezTo>
                    <a:pt x="32" y="179"/>
                    <a:pt x="32" y="179"/>
                    <a:pt x="32" y="179"/>
                  </a:cubicBezTo>
                  <a:cubicBezTo>
                    <a:pt x="138" y="112"/>
                    <a:pt x="138" y="112"/>
                    <a:pt x="138" y="112"/>
                  </a:cubicBezTo>
                  <a:lnTo>
                    <a:pt x="32" y="4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1" name="ExtraShape5">
              <a:extLst>
                <a:ext uri="{FF2B5EF4-FFF2-40B4-BE49-F238E27FC236}">
                  <a16:creationId xmlns:a16="http://schemas.microsoft.com/office/drawing/2014/main" id="{41AEF2F8-BF44-4448-9FAA-6C637A9D886F}"/>
                </a:ext>
              </a:extLst>
            </p:cNvPr>
            <p:cNvSpPr/>
            <p:nvPr/>
          </p:nvSpPr>
          <p:spPr bwMode="auto">
            <a:xfrm>
              <a:off x="6484117" y="4275801"/>
              <a:ext cx="845432" cy="773125"/>
            </a:xfrm>
            <a:custGeom>
              <a:avLst/>
              <a:gdLst>
                <a:gd name="T0" fmla="*/ 407 w 439"/>
                <a:gd name="T1" fmla="*/ 402 h 402"/>
                <a:gd name="T2" fmla="*/ 31 w 439"/>
                <a:gd name="T3" fmla="*/ 402 h 402"/>
                <a:gd name="T4" fmla="*/ 0 w 439"/>
                <a:gd name="T5" fmla="*/ 371 h 402"/>
                <a:gd name="T6" fmla="*/ 0 w 439"/>
                <a:gd name="T7" fmla="*/ 32 h 402"/>
                <a:gd name="T8" fmla="*/ 31 w 439"/>
                <a:gd name="T9" fmla="*/ 0 h 402"/>
                <a:gd name="T10" fmla="*/ 407 w 439"/>
                <a:gd name="T11" fmla="*/ 0 h 402"/>
                <a:gd name="T12" fmla="*/ 439 w 439"/>
                <a:gd name="T13" fmla="*/ 32 h 402"/>
                <a:gd name="T14" fmla="*/ 439 w 439"/>
                <a:gd name="T15" fmla="*/ 371 h 402"/>
                <a:gd name="T16" fmla="*/ 407 w 439"/>
                <a:gd name="T17" fmla="*/ 402 h 402"/>
                <a:gd name="T18" fmla="*/ 407 w 439"/>
                <a:gd name="T19" fmla="*/ 32 h 402"/>
                <a:gd name="T20" fmla="*/ 31 w 439"/>
                <a:gd name="T21" fmla="*/ 32 h 402"/>
                <a:gd name="T22" fmla="*/ 32 w 439"/>
                <a:gd name="T23" fmla="*/ 371 h 402"/>
                <a:gd name="T24" fmla="*/ 407 w 439"/>
                <a:gd name="T25" fmla="*/ 370 h 402"/>
                <a:gd name="T26" fmla="*/ 407 w 439"/>
                <a:gd name="T27" fmla="*/ 32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9" h="402">
                  <a:moveTo>
                    <a:pt x="407" y="402"/>
                  </a:moveTo>
                  <a:cubicBezTo>
                    <a:pt x="31" y="402"/>
                    <a:pt x="31" y="402"/>
                    <a:pt x="31" y="402"/>
                  </a:cubicBezTo>
                  <a:cubicBezTo>
                    <a:pt x="14" y="402"/>
                    <a:pt x="0" y="388"/>
                    <a:pt x="0" y="37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07" y="0"/>
                    <a:pt x="407" y="0"/>
                    <a:pt x="407" y="0"/>
                  </a:cubicBezTo>
                  <a:cubicBezTo>
                    <a:pt x="425" y="0"/>
                    <a:pt x="439" y="14"/>
                    <a:pt x="439" y="32"/>
                  </a:cubicBezTo>
                  <a:cubicBezTo>
                    <a:pt x="439" y="371"/>
                    <a:pt x="439" y="371"/>
                    <a:pt x="439" y="371"/>
                  </a:cubicBezTo>
                  <a:cubicBezTo>
                    <a:pt x="439" y="388"/>
                    <a:pt x="425" y="402"/>
                    <a:pt x="407" y="402"/>
                  </a:cubicBezTo>
                  <a:close/>
                  <a:moveTo>
                    <a:pt x="407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2" y="371"/>
                    <a:pt x="32" y="371"/>
                    <a:pt x="32" y="371"/>
                  </a:cubicBezTo>
                  <a:cubicBezTo>
                    <a:pt x="407" y="370"/>
                    <a:pt x="407" y="370"/>
                    <a:pt x="407" y="370"/>
                  </a:cubicBezTo>
                  <a:lnTo>
                    <a:pt x="407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</p:grpSp>
      <p:sp>
        <p:nvSpPr>
          <p:cNvPr id="52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54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3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26805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639cf76c-07be-46b7-90ce-58a25aff4b85" descr="iA4AAB+LCAAAAAAABADNV01v2kAQ/S/b9IYq28SAuYUaoh7SRAL1UnHY2gNs6w+0XqSgiP/e8WI34w8cO4GknNjZGfvNmzeP5IldCZ+Nmcl67Ertt4Df5yGXyhV8LXl4F/sQ4N2DjLcglYCEjX8+ZUUWKfrBgx1kWXuM34lIhLtQh9nY+GJgiD+SkGnooAueCHngirVQ+GyMfEseQHoQqSxRyR30WHYYOGnRrYx3W4360MvB9AmYr3EQSwImK85Tr0nq/WolPFhsIARdhVcLEambyJ9vuJ9Dn0ix3qgIkiQL3P/6DZ4iZWMbC/Ujdfou2eDDP83w4ziGgThrQdvtQQ/eCHrUCfR06g5OgR5SrSgponUVNTM+s/rqEamexHEAPKqWH2deV+68v+Zsg2rOImBMo/38TPMSqhvUD9CaTtzZjA6wANvqALt/Cd2dgO0OZlYD7OvOwiuU292Vh/VLRCgiH19Grc+k63gruS9QPFmetksUmNwXuU05lbDSXoUtzsGLI78hy06zauKWjnN0Z1AgE31TQkJuc6bZTASpk99E6wCP1lDPCue2he+YmzZ35ECHTLY8VF3/+f2FVgqIPyJtSaZM3WkBj2QoJck8EzrsTrQmKSnQXENl+v7WTDYeaIej8vZS3dVrrb6Jo/BqpJLiTqXipZaIS5+AylY13+x/wVRE1AMKF6+gpH9yzuUDpcS5OCX59lyAkgn3/pydEst4i0GZRiuHMq0Tm+O8g0VZDZQ5lBjdTBHzxyXSEZndrQp/Azsz3t6rWlPaeKAtVv7SaFzMo+z+L7Nq4qQ03hdOlJfKfyvn5+XCjnVOXpaHvyD7gqaIDgAA">
            <a:extLst>
              <a:ext uri="{FF2B5EF4-FFF2-40B4-BE49-F238E27FC236}">
                <a16:creationId xmlns:a16="http://schemas.microsoft.com/office/drawing/2014/main" id="{46738CE2-1A17-49DE-BEAD-BFE49DC66F5B}"/>
              </a:ext>
            </a:extLst>
          </p:cNvPr>
          <p:cNvGrpSpPr>
            <a:grpSpLocks noChangeAspect="1"/>
          </p:cNvGrpSpPr>
          <p:nvPr/>
        </p:nvGrpSpPr>
        <p:grpSpPr>
          <a:xfrm>
            <a:off x="2104400" y="1129097"/>
            <a:ext cx="7983201" cy="4599807"/>
            <a:chOff x="2862599" y="1219965"/>
            <a:chExt cx="7983201" cy="4599807"/>
          </a:xfrm>
        </p:grpSpPr>
        <p:sp>
          <p:nvSpPr>
            <p:cNvPr id="3" name="ExtraShape1">
              <a:extLst>
                <a:ext uri="{FF2B5EF4-FFF2-40B4-BE49-F238E27FC236}">
                  <a16:creationId xmlns:a16="http://schemas.microsoft.com/office/drawing/2014/main" id="{18EED352-E005-4A61-AA2D-884A3E43D777}"/>
                </a:ext>
              </a:extLst>
            </p:cNvPr>
            <p:cNvSpPr/>
            <p:nvPr/>
          </p:nvSpPr>
          <p:spPr bwMode="auto">
            <a:xfrm>
              <a:off x="5966352" y="3856038"/>
              <a:ext cx="1313208" cy="1963734"/>
            </a:xfrm>
            <a:custGeom>
              <a:avLst/>
              <a:gdLst>
                <a:gd name="T0" fmla="*/ 130 w 520"/>
                <a:gd name="T1" fmla="*/ 0 h 778"/>
                <a:gd name="T2" fmla="*/ 0 w 520"/>
                <a:gd name="T3" fmla="*/ 0 h 778"/>
                <a:gd name="T4" fmla="*/ 0 w 520"/>
                <a:gd name="T5" fmla="*/ 778 h 778"/>
                <a:gd name="T6" fmla="*/ 130 w 520"/>
                <a:gd name="T7" fmla="*/ 778 h 778"/>
                <a:gd name="T8" fmla="*/ 520 w 520"/>
                <a:gd name="T9" fmla="*/ 389 h 778"/>
                <a:gd name="T10" fmla="*/ 130 w 520"/>
                <a:gd name="T11" fmla="*/ 0 h 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0" h="778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78"/>
                    <a:pt x="0" y="778"/>
                    <a:pt x="0" y="778"/>
                  </a:cubicBezTo>
                  <a:cubicBezTo>
                    <a:pt x="130" y="778"/>
                    <a:pt x="130" y="778"/>
                    <a:pt x="130" y="778"/>
                  </a:cubicBezTo>
                  <a:cubicBezTo>
                    <a:pt x="345" y="778"/>
                    <a:pt x="520" y="604"/>
                    <a:pt x="520" y="389"/>
                  </a:cubicBezTo>
                  <a:cubicBezTo>
                    <a:pt x="520" y="174"/>
                    <a:pt x="345" y="0"/>
                    <a:pt x="130" y="0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" name="ExtraShape2">
              <a:extLst>
                <a:ext uri="{FF2B5EF4-FFF2-40B4-BE49-F238E27FC236}">
                  <a16:creationId xmlns:a16="http://schemas.microsoft.com/office/drawing/2014/main" id="{77B5AA3C-7E10-4537-A949-DEDAE3F46249}"/>
                </a:ext>
              </a:extLst>
            </p:cNvPr>
            <p:cNvSpPr/>
            <p:nvPr/>
          </p:nvSpPr>
          <p:spPr bwMode="auto">
            <a:xfrm>
              <a:off x="4983878" y="3856038"/>
              <a:ext cx="1967380" cy="1963734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" name="ExtraShape3">
              <a:extLst>
                <a:ext uri="{FF2B5EF4-FFF2-40B4-BE49-F238E27FC236}">
                  <a16:creationId xmlns:a16="http://schemas.microsoft.com/office/drawing/2014/main" id="{661B3BD2-C94F-406F-873C-6258F41C1BF5}"/>
                </a:ext>
              </a:extLst>
            </p:cNvPr>
            <p:cNvSpPr/>
            <p:nvPr/>
          </p:nvSpPr>
          <p:spPr bwMode="auto">
            <a:xfrm>
              <a:off x="5596708" y="4186772"/>
              <a:ext cx="738072" cy="1302266"/>
            </a:xfrm>
            <a:custGeom>
              <a:avLst/>
              <a:gdLst>
                <a:gd name="T0" fmla="*/ 292 w 292"/>
                <a:gd name="T1" fmla="*/ 332 h 516"/>
                <a:gd name="T2" fmla="*/ 82 w 292"/>
                <a:gd name="T3" fmla="*/ 168 h 516"/>
                <a:gd name="T4" fmla="*/ 144 w 292"/>
                <a:gd name="T5" fmla="*/ 127 h 516"/>
                <a:gd name="T6" fmla="*/ 212 w 292"/>
                <a:gd name="T7" fmla="*/ 180 h 516"/>
                <a:gd name="T8" fmla="*/ 287 w 292"/>
                <a:gd name="T9" fmla="*/ 180 h 516"/>
                <a:gd name="T10" fmla="*/ 177 w 292"/>
                <a:gd name="T11" fmla="*/ 65 h 516"/>
                <a:gd name="T12" fmla="*/ 177 w 292"/>
                <a:gd name="T13" fmla="*/ 0 h 516"/>
                <a:gd name="T14" fmla="*/ 117 w 292"/>
                <a:gd name="T15" fmla="*/ 0 h 516"/>
                <a:gd name="T16" fmla="*/ 117 w 292"/>
                <a:gd name="T17" fmla="*/ 65 h 516"/>
                <a:gd name="T18" fmla="*/ 6 w 292"/>
                <a:gd name="T19" fmla="*/ 168 h 516"/>
                <a:gd name="T20" fmla="*/ 218 w 292"/>
                <a:gd name="T21" fmla="*/ 333 h 516"/>
                <a:gd name="T22" fmla="*/ 151 w 292"/>
                <a:gd name="T23" fmla="*/ 376 h 516"/>
                <a:gd name="T24" fmla="*/ 78 w 292"/>
                <a:gd name="T25" fmla="*/ 322 h 516"/>
                <a:gd name="T26" fmla="*/ 0 w 292"/>
                <a:gd name="T27" fmla="*/ 322 h 516"/>
                <a:gd name="T28" fmla="*/ 117 w 292"/>
                <a:gd name="T29" fmla="*/ 437 h 516"/>
                <a:gd name="T30" fmla="*/ 117 w 292"/>
                <a:gd name="T31" fmla="*/ 516 h 516"/>
                <a:gd name="T32" fmla="*/ 177 w 292"/>
                <a:gd name="T33" fmla="*/ 516 h 516"/>
                <a:gd name="T34" fmla="*/ 177 w 292"/>
                <a:gd name="T35" fmla="*/ 439 h 516"/>
                <a:gd name="T36" fmla="*/ 292 w 292"/>
                <a:gd name="T37" fmla="*/ 332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2" h="516">
                  <a:moveTo>
                    <a:pt x="292" y="332"/>
                  </a:moveTo>
                  <a:cubicBezTo>
                    <a:pt x="288" y="200"/>
                    <a:pt x="82" y="241"/>
                    <a:pt x="82" y="168"/>
                  </a:cubicBezTo>
                  <a:cubicBezTo>
                    <a:pt x="82" y="143"/>
                    <a:pt x="103" y="127"/>
                    <a:pt x="144" y="127"/>
                  </a:cubicBezTo>
                  <a:cubicBezTo>
                    <a:pt x="185" y="127"/>
                    <a:pt x="209" y="149"/>
                    <a:pt x="212" y="180"/>
                  </a:cubicBezTo>
                  <a:cubicBezTo>
                    <a:pt x="287" y="180"/>
                    <a:pt x="287" y="180"/>
                    <a:pt x="287" y="180"/>
                  </a:cubicBezTo>
                  <a:cubicBezTo>
                    <a:pt x="284" y="117"/>
                    <a:pt x="242" y="75"/>
                    <a:pt x="177" y="65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48" y="74"/>
                    <a:pt x="6" y="117"/>
                    <a:pt x="6" y="168"/>
                  </a:cubicBezTo>
                  <a:cubicBezTo>
                    <a:pt x="6" y="302"/>
                    <a:pt x="218" y="261"/>
                    <a:pt x="218" y="333"/>
                  </a:cubicBezTo>
                  <a:cubicBezTo>
                    <a:pt x="218" y="358"/>
                    <a:pt x="195" y="376"/>
                    <a:pt x="151" y="376"/>
                  </a:cubicBezTo>
                  <a:cubicBezTo>
                    <a:pt x="109" y="376"/>
                    <a:pt x="81" y="352"/>
                    <a:pt x="78" y="322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3" y="379"/>
                    <a:pt x="49" y="425"/>
                    <a:pt x="117" y="437"/>
                  </a:cubicBezTo>
                  <a:cubicBezTo>
                    <a:pt x="117" y="516"/>
                    <a:pt x="117" y="516"/>
                    <a:pt x="117" y="516"/>
                  </a:cubicBezTo>
                  <a:cubicBezTo>
                    <a:pt x="177" y="516"/>
                    <a:pt x="177" y="516"/>
                    <a:pt x="177" y="516"/>
                  </a:cubicBezTo>
                  <a:cubicBezTo>
                    <a:pt x="177" y="439"/>
                    <a:pt x="177" y="439"/>
                    <a:pt x="177" y="439"/>
                  </a:cubicBezTo>
                  <a:cubicBezTo>
                    <a:pt x="248" y="431"/>
                    <a:pt x="292" y="387"/>
                    <a:pt x="292" y="332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" name="ValueShape1">
              <a:extLst>
                <a:ext uri="{FF2B5EF4-FFF2-40B4-BE49-F238E27FC236}">
                  <a16:creationId xmlns:a16="http://schemas.microsoft.com/office/drawing/2014/main" id="{788DD903-C1EA-4F2F-8ED7-50AD06CC65EF}"/>
                </a:ext>
              </a:extLst>
            </p:cNvPr>
            <p:cNvSpPr/>
            <p:nvPr/>
          </p:nvSpPr>
          <p:spPr bwMode="auto">
            <a:xfrm>
              <a:off x="3094038" y="1219965"/>
              <a:ext cx="2270125" cy="226695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69000">
                  <a:schemeClr val="accent1">
                    <a:lumMod val="100000"/>
                  </a:schemeClr>
                </a:gs>
                <a:gs pos="691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" name="ValueShape2">
              <a:extLst>
                <a:ext uri="{FF2B5EF4-FFF2-40B4-BE49-F238E27FC236}">
                  <a16:creationId xmlns:a16="http://schemas.microsoft.com/office/drawing/2014/main" id="{40754A1A-F523-48DC-8BF2-324669AF2125}"/>
                </a:ext>
              </a:extLst>
            </p:cNvPr>
            <p:cNvSpPr/>
            <p:nvPr/>
          </p:nvSpPr>
          <p:spPr bwMode="auto">
            <a:xfrm>
              <a:off x="6900863" y="1219965"/>
              <a:ext cx="2270125" cy="2266950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50000">
                  <a:schemeClr val="accent2">
                    <a:lumMod val="100000"/>
                  </a:schemeClr>
                </a:gs>
                <a:gs pos="501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" name="ValueBack1">
              <a:extLst>
                <a:ext uri="{FF2B5EF4-FFF2-40B4-BE49-F238E27FC236}">
                  <a16:creationId xmlns:a16="http://schemas.microsoft.com/office/drawing/2014/main" id="{611F0B84-A572-4B07-B8BF-B892A49004B6}"/>
                </a:ext>
              </a:extLst>
            </p:cNvPr>
            <p:cNvSpPr/>
            <p:nvPr/>
          </p:nvSpPr>
          <p:spPr bwMode="auto">
            <a:xfrm>
              <a:off x="5643563" y="1608902"/>
              <a:ext cx="976313" cy="631825"/>
            </a:xfrm>
            <a:custGeom>
              <a:avLst/>
              <a:gdLst>
                <a:gd name="T0" fmla="*/ 615 w 615"/>
                <a:gd name="T1" fmla="*/ 199 h 398"/>
                <a:gd name="T2" fmla="*/ 404 w 615"/>
                <a:gd name="T3" fmla="*/ 0 h 398"/>
                <a:gd name="T4" fmla="*/ 404 w 615"/>
                <a:gd name="T5" fmla="*/ 133 h 398"/>
                <a:gd name="T6" fmla="*/ 0 w 615"/>
                <a:gd name="T7" fmla="*/ 133 h 398"/>
                <a:gd name="T8" fmla="*/ 0 w 615"/>
                <a:gd name="T9" fmla="*/ 266 h 398"/>
                <a:gd name="T10" fmla="*/ 404 w 615"/>
                <a:gd name="T11" fmla="*/ 266 h 398"/>
                <a:gd name="T12" fmla="*/ 404 w 615"/>
                <a:gd name="T13" fmla="*/ 398 h 398"/>
                <a:gd name="T14" fmla="*/ 615 w 615"/>
                <a:gd name="T15" fmla="*/ 199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5" h="398">
                  <a:moveTo>
                    <a:pt x="615" y="199"/>
                  </a:moveTo>
                  <a:lnTo>
                    <a:pt x="404" y="0"/>
                  </a:lnTo>
                  <a:lnTo>
                    <a:pt x="404" y="133"/>
                  </a:lnTo>
                  <a:lnTo>
                    <a:pt x="0" y="133"/>
                  </a:lnTo>
                  <a:lnTo>
                    <a:pt x="0" y="266"/>
                  </a:lnTo>
                  <a:lnTo>
                    <a:pt x="404" y="266"/>
                  </a:lnTo>
                  <a:lnTo>
                    <a:pt x="404" y="398"/>
                  </a:lnTo>
                  <a:lnTo>
                    <a:pt x="615" y="199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" name="ValueBack2">
              <a:extLst>
                <a:ext uri="{FF2B5EF4-FFF2-40B4-BE49-F238E27FC236}">
                  <a16:creationId xmlns:a16="http://schemas.microsoft.com/office/drawing/2014/main" id="{5167FB4F-B66B-49BF-AF6C-28FF5EEF086B}"/>
                </a:ext>
              </a:extLst>
            </p:cNvPr>
            <p:cNvSpPr/>
            <p:nvPr/>
          </p:nvSpPr>
          <p:spPr bwMode="auto">
            <a:xfrm>
              <a:off x="5643563" y="2466152"/>
              <a:ext cx="976313" cy="631825"/>
            </a:xfrm>
            <a:custGeom>
              <a:avLst/>
              <a:gdLst>
                <a:gd name="T0" fmla="*/ 0 w 615"/>
                <a:gd name="T1" fmla="*/ 199 h 398"/>
                <a:gd name="T2" fmla="*/ 212 w 615"/>
                <a:gd name="T3" fmla="*/ 398 h 398"/>
                <a:gd name="T4" fmla="*/ 212 w 615"/>
                <a:gd name="T5" fmla="*/ 265 h 398"/>
                <a:gd name="T6" fmla="*/ 615 w 615"/>
                <a:gd name="T7" fmla="*/ 265 h 398"/>
                <a:gd name="T8" fmla="*/ 615 w 615"/>
                <a:gd name="T9" fmla="*/ 132 h 398"/>
                <a:gd name="T10" fmla="*/ 212 w 615"/>
                <a:gd name="T11" fmla="*/ 132 h 398"/>
                <a:gd name="T12" fmla="*/ 212 w 615"/>
                <a:gd name="T13" fmla="*/ 0 h 398"/>
                <a:gd name="T14" fmla="*/ 0 w 615"/>
                <a:gd name="T15" fmla="*/ 199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5" h="398">
                  <a:moveTo>
                    <a:pt x="0" y="199"/>
                  </a:moveTo>
                  <a:lnTo>
                    <a:pt x="212" y="398"/>
                  </a:lnTo>
                  <a:lnTo>
                    <a:pt x="212" y="265"/>
                  </a:lnTo>
                  <a:lnTo>
                    <a:pt x="615" y="265"/>
                  </a:lnTo>
                  <a:lnTo>
                    <a:pt x="615" y="132"/>
                  </a:lnTo>
                  <a:lnTo>
                    <a:pt x="212" y="132"/>
                  </a:lnTo>
                  <a:lnTo>
                    <a:pt x="212" y="0"/>
                  </a:lnTo>
                  <a:lnTo>
                    <a:pt x="0" y="199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" name="ValueText1">
              <a:extLst>
                <a:ext uri="{FF2B5EF4-FFF2-40B4-BE49-F238E27FC236}">
                  <a16:creationId xmlns:a16="http://schemas.microsoft.com/office/drawing/2014/main" id="{ADD65CE2-DA07-4506-8E60-031AA17C3A61}"/>
                </a:ext>
              </a:extLst>
            </p:cNvPr>
            <p:cNvSpPr txBox="1"/>
            <p:nvPr/>
          </p:nvSpPr>
          <p:spPr>
            <a:xfrm>
              <a:off x="3887963" y="3667274"/>
              <a:ext cx="682274" cy="435248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+mj-lt"/>
                </a:rPr>
                <a:t>69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1" name="ValueText2">
              <a:extLst>
                <a:ext uri="{FF2B5EF4-FFF2-40B4-BE49-F238E27FC236}">
                  <a16:creationId xmlns:a16="http://schemas.microsoft.com/office/drawing/2014/main" id="{CC26F4EF-4E79-480A-8ECC-406496DE62F7}"/>
                </a:ext>
              </a:extLst>
            </p:cNvPr>
            <p:cNvSpPr txBox="1"/>
            <p:nvPr/>
          </p:nvSpPr>
          <p:spPr>
            <a:xfrm>
              <a:off x="7694788" y="3667274"/>
              <a:ext cx="682274" cy="435248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+mj-lt"/>
                </a:rPr>
                <a:t>50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2" name="ExtraShape1">
              <a:extLst>
                <a:ext uri="{FF2B5EF4-FFF2-40B4-BE49-F238E27FC236}">
                  <a16:creationId xmlns:a16="http://schemas.microsoft.com/office/drawing/2014/main" id="{310B57F5-AA2B-46A3-9F7E-71ED3CAF774A}"/>
                </a:ext>
              </a:extLst>
            </p:cNvPr>
            <p:cNvSpPr/>
            <p:nvPr/>
          </p:nvSpPr>
          <p:spPr bwMode="auto">
            <a:xfrm>
              <a:off x="7475538" y="1691452"/>
              <a:ext cx="1120775" cy="1268413"/>
            </a:xfrm>
            <a:custGeom>
              <a:avLst/>
              <a:gdLst>
                <a:gd name="connsiteX0" fmla="*/ 560388 w 1120775"/>
                <a:gd name="connsiteY0" fmla="*/ 0 h 1268413"/>
                <a:gd name="connsiteX1" fmla="*/ 933451 w 1120775"/>
                <a:gd name="connsiteY1" fmla="*/ 370682 h 1268413"/>
                <a:gd name="connsiteX2" fmla="*/ 635573 w 1120775"/>
                <a:gd name="connsiteY2" fmla="*/ 733833 h 1268413"/>
                <a:gd name="connsiteX3" fmla="*/ 560393 w 1120775"/>
                <a:gd name="connsiteY3" fmla="*/ 741364 h 1268413"/>
                <a:gd name="connsiteX4" fmla="*/ 668834 w 1120775"/>
                <a:gd name="connsiteY4" fmla="*/ 751985 h 1268413"/>
                <a:gd name="connsiteX5" fmla="*/ 1120775 w 1120775"/>
                <a:gd name="connsiteY5" fmla="*/ 1268413 h 1268413"/>
                <a:gd name="connsiteX6" fmla="*/ 0 w 1120775"/>
                <a:gd name="connsiteY6" fmla="*/ 1268413 h 1268413"/>
                <a:gd name="connsiteX7" fmla="*/ 451942 w 1120775"/>
                <a:gd name="connsiteY7" fmla="*/ 751985 h 1268413"/>
                <a:gd name="connsiteX8" fmla="*/ 560383 w 1120775"/>
                <a:gd name="connsiteY8" fmla="*/ 741364 h 1268413"/>
                <a:gd name="connsiteX9" fmla="*/ 485203 w 1120775"/>
                <a:gd name="connsiteY9" fmla="*/ 733833 h 1268413"/>
                <a:gd name="connsiteX10" fmla="*/ 187325 w 1120775"/>
                <a:gd name="connsiteY10" fmla="*/ 370682 h 1268413"/>
                <a:gd name="connsiteX11" fmla="*/ 560388 w 1120775"/>
                <a:gd name="connsiteY11" fmla="*/ 0 h 1268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0775" h="1268413">
                  <a:moveTo>
                    <a:pt x="560388" y="0"/>
                  </a:moveTo>
                  <a:cubicBezTo>
                    <a:pt x="766425" y="0"/>
                    <a:pt x="933451" y="165960"/>
                    <a:pt x="933451" y="370682"/>
                  </a:cubicBezTo>
                  <a:cubicBezTo>
                    <a:pt x="933451" y="549814"/>
                    <a:pt x="805572" y="699268"/>
                    <a:pt x="635573" y="733833"/>
                  </a:cubicBezTo>
                  <a:lnTo>
                    <a:pt x="560393" y="741364"/>
                  </a:lnTo>
                  <a:lnTo>
                    <a:pt x="668834" y="751985"/>
                  </a:lnTo>
                  <a:cubicBezTo>
                    <a:pt x="914544" y="800759"/>
                    <a:pt x="1103469" y="1011888"/>
                    <a:pt x="1120775" y="1268413"/>
                  </a:cubicBezTo>
                  <a:lnTo>
                    <a:pt x="0" y="1268413"/>
                  </a:lnTo>
                  <a:cubicBezTo>
                    <a:pt x="17306" y="1011888"/>
                    <a:pt x="206231" y="800759"/>
                    <a:pt x="451942" y="751985"/>
                  </a:cubicBezTo>
                  <a:lnTo>
                    <a:pt x="560383" y="741364"/>
                  </a:lnTo>
                  <a:lnTo>
                    <a:pt x="485203" y="733833"/>
                  </a:lnTo>
                  <a:cubicBezTo>
                    <a:pt x="315205" y="699268"/>
                    <a:pt x="187325" y="549814"/>
                    <a:pt x="187325" y="370682"/>
                  </a:cubicBezTo>
                  <a:cubicBezTo>
                    <a:pt x="187325" y="165960"/>
                    <a:pt x="354351" y="0"/>
                    <a:pt x="560388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3" name="ExtraShape2">
              <a:extLst>
                <a:ext uri="{FF2B5EF4-FFF2-40B4-BE49-F238E27FC236}">
                  <a16:creationId xmlns:a16="http://schemas.microsoft.com/office/drawing/2014/main" id="{C0AAC79F-AE62-42E5-8707-D18F6DA510FF}"/>
                </a:ext>
              </a:extLst>
            </p:cNvPr>
            <p:cNvSpPr/>
            <p:nvPr/>
          </p:nvSpPr>
          <p:spPr bwMode="auto">
            <a:xfrm>
              <a:off x="3668713" y="1691452"/>
              <a:ext cx="1120775" cy="1268413"/>
            </a:xfrm>
            <a:custGeom>
              <a:avLst/>
              <a:gdLst>
                <a:gd name="connsiteX0" fmla="*/ 560388 w 1120775"/>
                <a:gd name="connsiteY0" fmla="*/ 0 h 1268413"/>
                <a:gd name="connsiteX1" fmla="*/ 933451 w 1120775"/>
                <a:gd name="connsiteY1" fmla="*/ 370682 h 1268413"/>
                <a:gd name="connsiteX2" fmla="*/ 635573 w 1120775"/>
                <a:gd name="connsiteY2" fmla="*/ 733833 h 1268413"/>
                <a:gd name="connsiteX3" fmla="*/ 560393 w 1120775"/>
                <a:gd name="connsiteY3" fmla="*/ 741364 h 1268413"/>
                <a:gd name="connsiteX4" fmla="*/ 668834 w 1120775"/>
                <a:gd name="connsiteY4" fmla="*/ 751985 h 1268413"/>
                <a:gd name="connsiteX5" fmla="*/ 1120775 w 1120775"/>
                <a:gd name="connsiteY5" fmla="*/ 1268413 h 1268413"/>
                <a:gd name="connsiteX6" fmla="*/ 0 w 1120775"/>
                <a:gd name="connsiteY6" fmla="*/ 1268413 h 1268413"/>
                <a:gd name="connsiteX7" fmla="*/ 451941 w 1120775"/>
                <a:gd name="connsiteY7" fmla="*/ 751985 h 1268413"/>
                <a:gd name="connsiteX8" fmla="*/ 560383 w 1120775"/>
                <a:gd name="connsiteY8" fmla="*/ 741364 h 1268413"/>
                <a:gd name="connsiteX9" fmla="*/ 485203 w 1120775"/>
                <a:gd name="connsiteY9" fmla="*/ 733833 h 1268413"/>
                <a:gd name="connsiteX10" fmla="*/ 187325 w 1120775"/>
                <a:gd name="connsiteY10" fmla="*/ 370682 h 1268413"/>
                <a:gd name="connsiteX11" fmla="*/ 560388 w 1120775"/>
                <a:gd name="connsiteY11" fmla="*/ 0 h 1268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0775" h="1268413">
                  <a:moveTo>
                    <a:pt x="560388" y="0"/>
                  </a:moveTo>
                  <a:cubicBezTo>
                    <a:pt x="766425" y="0"/>
                    <a:pt x="933451" y="165960"/>
                    <a:pt x="933451" y="370682"/>
                  </a:cubicBezTo>
                  <a:cubicBezTo>
                    <a:pt x="933451" y="549814"/>
                    <a:pt x="805572" y="699268"/>
                    <a:pt x="635573" y="733833"/>
                  </a:cubicBezTo>
                  <a:lnTo>
                    <a:pt x="560393" y="741364"/>
                  </a:lnTo>
                  <a:lnTo>
                    <a:pt x="668834" y="751985"/>
                  </a:lnTo>
                  <a:cubicBezTo>
                    <a:pt x="914544" y="800759"/>
                    <a:pt x="1103469" y="1011888"/>
                    <a:pt x="1120775" y="1268413"/>
                  </a:cubicBezTo>
                  <a:lnTo>
                    <a:pt x="0" y="1268413"/>
                  </a:lnTo>
                  <a:cubicBezTo>
                    <a:pt x="17306" y="1011888"/>
                    <a:pt x="206231" y="800759"/>
                    <a:pt x="451941" y="751985"/>
                  </a:cubicBezTo>
                  <a:lnTo>
                    <a:pt x="560383" y="741364"/>
                  </a:lnTo>
                  <a:lnTo>
                    <a:pt x="485203" y="733833"/>
                  </a:lnTo>
                  <a:cubicBezTo>
                    <a:pt x="315204" y="699268"/>
                    <a:pt x="187325" y="549814"/>
                    <a:pt x="187325" y="370682"/>
                  </a:cubicBezTo>
                  <a:cubicBezTo>
                    <a:pt x="187325" y="165960"/>
                    <a:pt x="354351" y="0"/>
                    <a:pt x="560388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4" name="CustomText1">
              <a:extLst>
                <a:ext uri="{FF2B5EF4-FFF2-40B4-BE49-F238E27FC236}">
                  <a16:creationId xmlns:a16="http://schemas.microsoft.com/office/drawing/2014/main" id="{7C88EE97-F8F1-4EE8-A2A3-09E8AFC8482A}"/>
                </a:ext>
              </a:extLst>
            </p:cNvPr>
            <p:cNvSpPr txBox="1"/>
            <p:nvPr/>
          </p:nvSpPr>
          <p:spPr>
            <a:xfrm>
              <a:off x="2862599" y="4542700"/>
              <a:ext cx="2117631" cy="523220"/>
            </a:xfrm>
            <a:prstGeom prst="rect">
              <a:avLst/>
            </a:prstGeom>
            <a:noFill/>
          </p:spPr>
          <p:txBody>
            <a:bodyPr wrap="square" rtlCol="0">
              <a:normAutofit fontScale="85000" lnSpcReduction="10000"/>
            </a:bodyPr>
            <a:lstStyle/>
            <a:p>
              <a:r>
                <a:rPr lang="en-US" altLang="zh-CN" sz="2800" b="1" dirty="0">
                  <a:solidFill>
                    <a:schemeClr val="tx2"/>
                  </a:solidFill>
                  <a:latin typeface="+mj-lt"/>
                </a:rPr>
                <a:t>TEXT HERE</a:t>
              </a:r>
            </a:p>
          </p:txBody>
        </p:sp>
        <p:sp>
          <p:nvSpPr>
            <p:cNvPr id="15" name="CustomText2">
              <a:extLst>
                <a:ext uri="{FF2B5EF4-FFF2-40B4-BE49-F238E27FC236}">
                  <a16:creationId xmlns:a16="http://schemas.microsoft.com/office/drawing/2014/main" id="{6D3BB34C-57E5-4D05-96D8-5350C00C85CB}"/>
                </a:ext>
              </a:extLst>
            </p:cNvPr>
            <p:cNvSpPr/>
            <p:nvPr/>
          </p:nvSpPr>
          <p:spPr>
            <a:xfrm>
              <a:off x="2862599" y="4981882"/>
              <a:ext cx="2117631" cy="369332"/>
            </a:xfrm>
            <a:prstGeom prst="rect">
              <a:avLst/>
            </a:prstGeom>
          </p:spPr>
          <p:txBody>
            <a:bodyPr wrap="square">
              <a:norm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  <a:latin typeface="+mj-lt"/>
                </a:rPr>
                <a:t>OPTION HERE</a:t>
              </a:r>
            </a:p>
          </p:txBody>
        </p:sp>
        <p:sp>
          <p:nvSpPr>
            <p:cNvPr id="16" name="CustomText1">
              <a:extLst>
                <a:ext uri="{FF2B5EF4-FFF2-40B4-BE49-F238E27FC236}">
                  <a16:creationId xmlns:a16="http://schemas.microsoft.com/office/drawing/2014/main" id="{F9158AA0-FDDB-4A37-B9AC-7CC9D2DFBD78}"/>
                </a:ext>
              </a:extLst>
            </p:cNvPr>
            <p:cNvSpPr/>
            <p:nvPr/>
          </p:nvSpPr>
          <p:spPr>
            <a:xfrm>
              <a:off x="7475538" y="4637468"/>
              <a:ext cx="3370262" cy="529080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Go ahead and replace it with your own text.</a:t>
              </a:r>
              <a:endParaRPr lang="tr-TR" altLang="zh-CN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Go ahead and replace it with your own text.</a:t>
              </a:r>
            </a:p>
          </p:txBody>
        </p:sp>
      </p:grpSp>
      <p:sp>
        <p:nvSpPr>
          <p:cNvPr id="19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21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3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32555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1b1b9901-973b-481d-84d9-c2102d051cd9" descr="YgcAAB+LCAAAAAAABADFVE1v4jAQ/S9ue2NREr4Kt9I0aA/dVgLtpeLgJkPwbuIgx5GKKv77ToyzTCBQUFX1gvD4zfjNmzd5Z9ciYiPmsha71usV4P9pypX2BY8VTx+zCBK8e1bZCpQWkLPRy7tN8kjSb54UYFFrjD8KKdIiNWE2ctoOhvgbCbmOCfoQipQnvoiFxtoY+Zk/gwpBagvUqoAWs4dut+11nEF/aH/dYYtNVFaskILDNq2KWodQu8+STBFqtlQF7RLo02IhQpgtIQWThVczIfWdjKZLHlWNjJWIl1pCntvA0+sfCDVJG/Ux0ZQ08CJfYvGrIPAexn4QIM9G0r3zSfc/Sfr2AtJ+P/COkx5Q52glZHzImjk3rDn7lmSPsywBLg/Ttw4g6XPkJ2SEb1E7DkmtieKRQA9ZmHEw+kyt67qWeipYGMNgf1MIMxmdQPVKVEPcM3GOCwMaVG5u9piQ20pmFoikXK47GSd49AZmUDi0FfxCbNnbVgITYvPN4R7unq91UiP8HbD5bsSuQ+Yygzcykz2/7PQcXK6z0SivqdygZPn+uUKePNAG3f29pa5rdlpzD1vbnTBKWH4Xcd9z0HZLq6Wugj+cdqe+///hR8w15uHfE5J0jo55/0Al8b5cEjPJsyQxjV+iyAcmuUSR+eYfcYc1L2IHAAA=">
            <a:extLst>
              <a:ext uri="{FF2B5EF4-FFF2-40B4-BE49-F238E27FC236}">
                <a16:creationId xmlns:a16="http://schemas.microsoft.com/office/drawing/2014/main" id="{1A16316A-E6F6-42E5-9323-BACFD128EA9F}"/>
              </a:ext>
            </a:extLst>
          </p:cNvPr>
          <p:cNvGrpSpPr>
            <a:grpSpLocks noChangeAspect="1"/>
          </p:cNvGrpSpPr>
          <p:nvPr/>
        </p:nvGrpSpPr>
        <p:grpSpPr>
          <a:xfrm>
            <a:off x="4407232" y="1319629"/>
            <a:ext cx="3377536" cy="4218742"/>
            <a:chOff x="4349147" y="1303620"/>
            <a:chExt cx="3377536" cy="4218742"/>
          </a:xfrm>
        </p:grpSpPr>
        <p:sp>
          <p:nvSpPr>
            <p:cNvPr id="3" name="ValueBack">
              <a:extLst>
                <a:ext uri="{FF2B5EF4-FFF2-40B4-BE49-F238E27FC236}">
                  <a16:creationId xmlns:a16="http://schemas.microsoft.com/office/drawing/2014/main" id="{CE008D3C-0EF9-44A7-B66E-A239EF4C86D3}"/>
                </a:ext>
              </a:extLst>
            </p:cNvPr>
            <p:cNvSpPr/>
            <p:nvPr/>
          </p:nvSpPr>
          <p:spPr bwMode="auto">
            <a:xfrm>
              <a:off x="4349147" y="1303620"/>
              <a:ext cx="3219264" cy="3346382"/>
            </a:xfrm>
            <a:custGeom>
              <a:avLst/>
              <a:gdLst>
                <a:gd name="T0" fmla="*/ 1868 w 1877"/>
                <a:gd name="T1" fmla="*/ 675 h 1954"/>
                <a:gd name="T2" fmla="*/ 1602 w 1877"/>
                <a:gd name="T3" fmla="*/ 507 h 1954"/>
                <a:gd name="T4" fmla="*/ 1553 w 1877"/>
                <a:gd name="T5" fmla="*/ 252 h 1954"/>
                <a:gd name="T6" fmla="*/ 1438 w 1877"/>
                <a:gd name="T7" fmla="*/ 169 h 1954"/>
                <a:gd name="T8" fmla="*/ 1180 w 1877"/>
                <a:gd name="T9" fmla="*/ 201 h 1954"/>
                <a:gd name="T10" fmla="*/ 938 w 1877"/>
                <a:gd name="T11" fmla="*/ 0 h 1954"/>
                <a:gd name="T12" fmla="*/ 696 w 1877"/>
                <a:gd name="T13" fmla="*/ 200 h 1954"/>
                <a:gd name="T14" fmla="*/ 677 w 1877"/>
                <a:gd name="T15" fmla="*/ 206 h 1954"/>
                <a:gd name="T16" fmla="*/ 422 w 1877"/>
                <a:gd name="T17" fmla="*/ 167 h 1954"/>
                <a:gd name="T18" fmla="*/ 285 w 1877"/>
                <a:gd name="T19" fmla="*/ 491 h 1954"/>
                <a:gd name="T20" fmla="*/ 58 w 1877"/>
                <a:gd name="T21" fmla="*/ 616 h 1954"/>
                <a:gd name="T22" fmla="*/ 14 w 1877"/>
                <a:gd name="T23" fmla="*/ 752 h 1954"/>
                <a:gd name="T24" fmla="*/ 124 w 1877"/>
                <a:gd name="T25" fmla="*/ 986 h 1954"/>
                <a:gd name="T26" fmla="*/ 8 w 1877"/>
                <a:gd name="T27" fmla="*/ 1279 h 1954"/>
                <a:gd name="T28" fmla="*/ 274 w 1877"/>
                <a:gd name="T29" fmla="*/ 1447 h 1954"/>
                <a:gd name="T30" fmla="*/ 323 w 1877"/>
                <a:gd name="T31" fmla="*/ 1702 h 1954"/>
                <a:gd name="T32" fmla="*/ 438 w 1877"/>
                <a:gd name="T33" fmla="*/ 1785 h 1954"/>
                <a:gd name="T34" fmla="*/ 696 w 1877"/>
                <a:gd name="T35" fmla="*/ 1753 h 1954"/>
                <a:gd name="T36" fmla="*/ 938 w 1877"/>
                <a:gd name="T37" fmla="*/ 1954 h 1954"/>
                <a:gd name="T38" fmla="*/ 1181 w 1877"/>
                <a:gd name="T39" fmla="*/ 1753 h 1954"/>
                <a:gd name="T40" fmla="*/ 1438 w 1877"/>
                <a:gd name="T41" fmla="*/ 1785 h 1954"/>
                <a:gd name="T42" fmla="*/ 1553 w 1877"/>
                <a:gd name="T43" fmla="*/ 1702 h 1954"/>
                <a:gd name="T44" fmla="*/ 1602 w 1877"/>
                <a:gd name="T45" fmla="*/ 1447 h 1954"/>
                <a:gd name="T46" fmla="*/ 1868 w 1877"/>
                <a:gd name="T47" fmla="*/ 1279 h 1954"/>
                <a:gd name="T48" fmla="*/ 1752 w 1877"/>
                <a:gd name="T49" fmla="*/ 986 h 1954"/>
                <a:gd name="T50" fmla="*/ 1862 w 1877"/>
                <a:gd name="T51" fmla="*/ 752 h 1954"/>
                <a:gd name="T52" fmla="*/ 1791 w 1877"/>
                <a:gd name="T53" fmla="*/ 1238 h 1954"/>
                <a:gd name="T54" fmla="*/ 1781 w 1877"/>
                <a:gd name="T55" fmla="*/ 1267 h 1954"/>
                <a:gd name="T56" fmla="*/ 1512 w 1877"/>
                <a:gd name="T57" fmla="*/ 1451 h 1954"/>
                <a:gd name="T58" fmla="*/ 1450 w 1877"/>
                <a:gd name="T59" fmla="*/ 1708 h 1954"/>
                <a:gd name="T60" fmla="*/ 1195 w 1877"/>
                <a:gd name="T61" fmla="*/ 1668 h 1954"/>
                <a:gd name="T62" fmla="*/ 953 w 1877"/>
                <a:gd name="T63" fmla="*/ 1869 h 1954"/>
                <a:gd name="T64" fmla="*/ 752 w 1877"/>
                <a:gd name="T65" fmla="*/ 1698 h 1954"/>
                <a:gd name="T66" fmla="*/ 665 w 1877"/>
                <a:gd name="T67" fmla="*/ 1670 h 1954"/>
                <a:gd name="T68" fmla="*/ 401 w 1877"/>
                <a:gd name="T69" fmla="*/ 1690 h 1954"/>
                <a:gd name="T70" fmla="*/ 310 w 1877"/>
                <a:gd name="T71" fmla="*/ 1377 h 1954"/>
                <a:gd name="T72" fmla="*/ 83 w 1877"/>
                <a:gd name="T73" fmla="*/ 1255 h 1954"/>
                <a:gd name="T74" fmla="*/ 195 w 1877"/>
                <a:gd name="T75" fmla="*/ 1023 h 1954"/>
                <a:gd name="T76" fmla="*/ 85 w 1877"/>
                <a:gd name="T77" fmla="*/ 716 h 1954"/>
                <a:gd name="T78" fmla="*/ 94 w 1877"/>
                <a:gd name="T79" fmla="*/ 687 h 1954"/>
                <a:gd name="T80" fmla="*/ 364 w 1877"/>
                <a:gd name="T81" fmla="*/ 503 h 1954"/>
                <a:gd name="T82" fmla="*/ 426 w 1877"/>
                <a:gd name="T83" fmla="*/ 246 h 1954"/>
                <a:gd name="T84" fmla="*/ 681 w 1877"/>
                <a:gd name="T85" fmla="*/ 286 h 1954"/>
                <a:gd name="T86" fmla="*/ 752 w 1877"/>
                <a:gd name="T87" fmla="*/ 256 h 1954"/>
                <a:gd name="T88" fmla="*/ 953 w 1877"/>
                <a:gd name="T89" fmla="*/ 85 h 1954"/>
                <a:gd name="T90" fmla="*/ 1195 w 1877"/>
                <a:gd name="T91" fmla="*/ 286 h 1954"/>
                <a:gd name="T92" fmla="*/ 1451 w 1877"/>
                <a:gd name="T93" fmla="*/ 247 h 1954"/>
                <a:gd name="T94" fmla="*/ 1513 w 1877"/>
                <a:gd name="T95" fmla="*/ 504 h 1954"/>
                <a:gd name="T96" fmla="*/ 1782 w 1877"/>
                <a:gd name="T97" fmla="*/ 687 h 1954"/>
                <a:gd name="T98" fmla="*/ 1792 w 1877"/>
                <a:gd name="T99" fmla="*/ 716 h 1954"/>
                <a:gd name="T100" fmla="*/ 1681 w 1877"/>
                <a:gd name="T101" fmla="*/ 1023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77" h="1954">
                  <a:moveTo>
                    <a:pt x="1862" y="752"/>
                  </a:moveTo>
                  <a:cubicBezTo>
                    <a:pt x="1874" y="728"/>
                    <a:pt x="1876" y="701"/>
                    <a:pt x="1868" y="675"/>
                  </a:cubicBezTo>
                  <a:cubicBezTo>
                    <a:pt x="1859" y="650"/>
                    <a:pt x="1842" y="629"/>
                    <a:pt x="1818" y="617"/>
                  </a:cubicBezTo>
                  <a:cubicBezTo>
                    <a:pt x="1602" y="507"/>
                    <a:pt x="1602" y="507"/>
                    <a:pt x="1602" y="507"/>
                  </a:cubicBezTo>
                  <a:cubicBezTo>
                    <a:pt x="1596" y="504"/>
                    <a:pt x="1591" y="498"/>
                    <a:pt x="1591" y="492"/>
                  </a:cubicBezTo>
                  <a:cubicBezTo>
                    <a:pt x="1553" y="252"/>
                    <a:pt x="1553" y="252"/>
                    <a:pt x="1553" y="252"/>
                  </a:cubicBezTo>
                  <a:cubicBezTo>
                    <a:pt x="1545" y="203"/>
                    <a:pt x="1503" y="168"/>
                    <a:pt x="1454" y="168"/>
                  </a:cubicBezTo>
                  <a:cubicBezTo>
                    <a:pt x="1449" y="168"/>
                    <a:pt x="1443" y="168"/>
                    <a:pt x="1438" y="169"/>
                  </a:cubicBezTo>
                  <a:cubicBezTo>
                    <a:pt x="1199" y="207"/>
                    <a:pt x="1199" y="207"/>
                    <a:pt x="1199" y="207"/>
                  </a:cubicBezTo>
                  <a:cubicBezTo>
                    <a:pt x="1192" y="208"/>
                    <a:pt x="1185" y="206"/>
                    <a:pt x="1180" y="201"/>
                  </a:cubicBezTo>
                  <a:cubicBezTo>
                    <a:pt x="1009" y="29"/>
                    <a:pt x="1009" y="29"/>
                    <a:pt x="1009" y="29"/>
                  </a:cubicBezTo>
                  <a:cubicBezTo>
                    <a:pt x="991" y="10"/>
                    <a:pt x="965" y="0"/>
                    <a:pt x="938" y="0"/>
                  </a:cubicBezTo>
                  <a:cubicBezTo>
                    <a:pt x="911" y="0"/>
                    <a:pt x="886" y="10"/>
                    <a:pt x="867" y="29"/>
                  </a:cubicBezTo>
                  <a:cubicBezTo>
                    <a:pt x="696" y="200"/>
                    <a:pt x="696" y="200"/>
                    <a:pt x="696" y="200"/>
                  </a:cubicBezTo>
                  <a:cubicBezTo>
                    <a:pt x="692" y="204"/>
                    <a:pt x="686" y="207"/>
                    <a:pt x="681" y="207"/>
                  </a:cubicBezTo>
                  <a:cubicBezTo>
                    <a:pt x="679" y="207"/>
                    <a:pt x="678" y="207"/>
                    <a:pt x="677" y="206"/>
                  </a:cubicBezTo>
                  <a:cubicBezTo>
                    <a:pt x="438" y="168"/>
                    <a:pt x="438" y="168"/>
                    <a:pt x="438" y="168"/>
                  </a:cubicBezTo>
                  <a:cubicBezTo>
                    <a:pt x="433" y="168"/>
                    <a:pt x="427" y="167"/>
                    <a:pt x="422" y="167"/>
                  </a:cubicBezTo>
                  <a:cubicBezTo>
                    <a:pt x="373" y="167"/>
                    <a:pt x="331" y="203"/>
                    <a:pt x="323" y="252"/>
                  </a:cubicBezTo>
                  <a:cubicBezTo>
                    <a:pt x="285" y="491"/>
                    <a:pt x="285" y="491"/>
                    <a:pt x="285" y="491"/>
                  </a:cubicBezTo>
                  <a:cubicBezTo>
                    <a:pt x="284" y="498"/>
                    <a:pt x="280" y="504"/>
                    <a:pt x="274" y="507"/>
                  </a:cubicBezTo>
                  <a:cubicBezTo>
                    <a:pt x="58" y="616"/>
                    <a:pt x="58" y="616"/>
                    <a:pt x="58" y="616"/>
                  </a:cubicBezTo>
                  <a:cubicBezTo>
                    <a:pt x="34" y="628"/>
                    <a:pt x="17" y="649"/>
                    <a:pt x="8" y="675"/>
                  </a:cubicBezTo>
                  <a:cubicBezTo>
                    <a:pt x="0" y="700"/>
                    <a:pt x="2" y="728"/>
                    <a:pt x="14" y="752"/>
                  </a:cubicBezTo>
                  <a:cubicBezTo>
                    <a:pt x="124" y="967"/>
                    <a:pt x="124" y="967"/>
                    <a:pt x="124" y="967"/>
                  </a:cubicBezTo>
                  <a:cubicBezTo>
                    <a:pt x="127" y="973"/>
                    <a:pt x="127" y="980"/>
                    <a:pt x="124" y="986"/>
                  </a:cubicBezTo>
                  <a:cubicBezTo>
                    <a:pt x="14" y="1202"/>
                    <a:pt x="14" y="1202"/>
                    <a:pt x="14" y="1202"/>
                  </a:cubicBezTo>
                  <a:cubicBezTo>
                    <a:pt x="2" y="1226"/>
                    <a:pt x="0" y="1253"/>
                    <a:pt x="8" y="1279"/>
                  </a:cubicBezTo>
                  <a:cubicBezTo>
                    <a:pt x="17" y="1304"/>
                    <a:pt x="34" y="1325"/>
                    <a:pt x="58" y="1337"/>
                  </a:cubicBezTo>
                  <a:cubicBezTo>
                    <a:pt x="274" y="1447"/>
                    <a:pt x="274" y="1447"/>
                    <a:pt x="274" y="1447"/>
                  </a:cubicBezTo>
                  <a:cubicBezTo>
                    <a:pt x="280" y="1450"/>
                    <a:pt x="285" y="1456"/>
                    <a:pt x="285" y="1462"/>
                  </a:cubicBezTo>
                  <a:cubicBezTo>
                    <a:pt x="323" y="1702"/>
                    <a:pt x="323" y="1702"/>
                    <a:pt x="323" y="1702"/>
                  </a:cubicBezTo>
                  <a:cubicBezTo>
                    <a:pt x="331" y="1751"/>
                    <a:pt x="373" y="1786"/>
                    <a:pt x="422" y="1786"/>
                  </a:cubicBezTo>
                  <a:cubicBezTo>
                    <a:pt x="427" y="1786"/>
                    <a:pt x="433" y="1786"/>
                    <a:pt x="438" y="1785"/>
                  </a:cubicBezTo>
                  <a:cubicBezTo>
                    <a:pt x="677" y="1747"/>
                    <a:pt x="677" y="1747"/>
                    <a:pt x="677" y="1747"/>
                  </a:cubicBezTo>
                  <a:cubicBezTo>
                    <a:pt x="684" y="1746"/>
                    <a:pt x="691" y="1748"/>
                    <a:pt x="696" y="1753"/>
                  </a:cubicBezTo>
                  <a:cubicBezTo>
                    <a:pt x="867" y="1924"/>
                    <a:pt x="867" y="1924"/>
                    <a:pt x="867" y="1924"/>
                  </a:cubicBezTo>
                  <a:cubicBezTo>
                    <a:pt x="886" y="1944"/>
                    <a:pt x="911" y="1954"/>
                    <a:pt x="938" y="1954"/>
                  </a:cubicBezTo>
                  <a:cubicBezTo>
                    <a:pt x="965" y="1954"/>
                    <a:pt x="990" y="1944"/>
                    <a:pt x="1009" y="1924"/>
                  </a:cubicBezTo>
                  <a:cubicBezTo>
                    <a:pt x="1181" y="1753"/>
                    <a:pt x="1181" y="1753"/>
                    <a:pt x="1181" y="1753"/>
                  </a:cubicBezTo>
                  <a:cubicBezTo>
                    <a:pt x="1185" y="1748"/>
                    <a:pt x="1192" y="1746"/>
                    <a:pt x="1199" y="1747"/>
                  </a:cubicBezTo>
                  <a:cubicBezTo>
                    <a:pt x="1438" y="1785"/>
                    <a:pt x="1438" y="1785"/>
                    <a:pt x="1438" y="1785"/>
                  </a:cubicBezTo>
                  <a:cubicBezTo>
                    <a:pt x="1443" y="1786"/>
                    <a:pt x="1449" y="1786"/>
                    <a:pt x="1454" y="1786"/>
                  </a:cubicBezTo>
                  <a:cubicBezTo>
                    <a:pt x="1504" y="1786"/>
                    <a:pt x="1546" y="1751"/>
                    <a:pt x="1553" y="1702"/>
                  </a:cubicBezTo>
                  <a:cubicBezTo>
                    <a:pt x="1591" y="1462"/>
                    <a:pt x="1591" y="1462"/>
                    <a:pt x="1591" y="1462"/>
                  </a:cubicBezTo>
                  <a:cubicBezTo>
                    <a:pt x="1592" y="1456"/>
                    <a:pt x="1596" y="1450"/>
                    <a:pt x="1602" y="1447"/>
                  </a:cubicBezTo>
                  <a:cubicBezTo>
                    <a:pt x="1818" y="1337"/>
                    <a:pt x="1818" y="1337"/>
                    <a:pt x="1818" y="1337"/>
                  </a:cubicBezTo>
                  <a:cubicBezTo>
                    <a:pt x="1842" y="1325"/>
                    <a:pt x="1860" y="1304"/>
                    <a:pt x="1868" y="1279"/>
                  </a:cubicBezTo>
                  <a:cubicBezTo>
                    <a:pt x="1877" y="1253"/>
                    <a:pt x="1874" y="1226"/>
                    <a:pt x="1862" y="1202"/>
                  </a:cubicBezTo>
                  <a:cubicBezTo>
                    <a:pt x="1752" y="986"/>
                    <a:pt x="1752" y="986"/>
                    <a:pt x="1752" y="986"/>
                  </a:cubicBezTo>
                  <a:cubicBezTo>
                    <a:pt x="1749" y="980"/>
                    <a:pt x="1749" y="973"/>
                    <a:pt x="1752" y="967"/>
                  </a:cubicBezTo>
                  <a:lnTo>
                    <a:pt x="1862" y="752"/>
                  </a:lnTo>
                  <a:close/>
                  <a:moveTo>
                    <a:pt x="1681" y="1023"/>
                  </a:moveTo>
                  <a:cubicBezTo>
                    <a:pt x="1791" y="1238"/>
                    <a:pt x="1791" y="1238"/>
                    <a:pt x="1791" y="1238"/>
                  </a:cubicBezTo>
                  <a:cubicBezTo>
                    <a:pt x="1793" y="1244"/>
                    <a:pt x="1794" y="1249"/>
                    <a:pt x="1792" y="1255"/>
                  </a:cubicBezTo>
                  <a:cubicBezTo>
                    <a:pt x="1791" y="1260"/>
                    <a:pt x="1787" y="1265"/>
                    <a:pt x="1781" y="1267"/>
                  </a:cubicBezTo>
                  <a:cubicBezTo>
                    <a:pt x="1565" y="1377"/>
                    <a:pt x="1565" y="1377"/>
                    <a:pt x="1565" y="1377"/>
                  </a:cubicBezTo>
                  <a:cubicBezTo>
                    <a:pt x="1537" y="1391"/>
                    <a:pt x="1517" y="1419"/>
                    <a:pt x="1512" y="1451"/>
                  </a:cubicBezTo>
                  <a:cubicBezTo>
                    <a:pt x="1474" y="1690"/>
                    <a:pt x="1474" y="1690"/>
                    <a:pt x="1474" y="1690"/>
                  </a:cubicBezTo>
                  <a:cubicBezTo>
                    <a:pt x="1473" y="1701"/>
                    <a:pt x="1461" y="1710"/>
                    <a:pt x="1450" y="1708"/>
                  </a:cubicBezTo>
                  <a:cubicBezTo>
                    <a:pt x="1211" y="1670"/>
                    <a:pt x="1211" y="1670"/>
                    <a:pt x="1211" y="1670"/>
                  </a:cubicBezTo>
                  <a:cubicBezTo>
                    <a:pt x="1205" y="1669"/>
                    <a:pt x="1200" y="1668"/>
                    <a:pt x="1195" y="1668"/>
                  </a:cubicBezTo>
                  <a:cubicBezTo>
                    <a:pt x="1168" y="1668"/>
                    <a:pt x="1143" y="1679"/>
                    <a:pt x="1123" y="1698"/>
                  </a:cubicBezTo>
                  <a:cubicBezTo>
                    <a:pt x="953" y="1869"/>
                    <a:pt x="953" y="1869"/>
                    <a:pt x="953" y="1869"/>
                  </a:cubicBezTo>
                  <a:cubicBezTo>
                    <a:pt x="945" y="1877"/>
                    <a:pt x="931" y="1877"/>
                    <a:pt x="923" y="1869"/>
                  </a:cubicBezTo>
                  <a:cubicBezTo>
                    <a:pt x="752" y="1698"/>
                    <a:pt x="752" y="1698"/>
                    <a:pt x="752" y="1698"/>
                  </a:cubicBezTo>
                  <a:cubicBezTo>
                    <a:pt x="733" y="1679"/>
                    <a:pt x="707" y="1668"/>
                    <a:pt x="681" y="1668"/>
                  </a:cubicBezTo>
                  <a:cubicBezTo>
                    <a:pt x="676" y="1668"/>
                    <a:pt x="670" y="1669"/>
                    <a:pt x="665" y="1670"/>
                  </a:cubicBezTo>
                  <a:cubicBezTo>
                    <a:pt x="426" y="1708"/>
                    <a:pt x="426" y="1708"/>
                    <a:pt x="426" y="1708"/>
                  </a:cubicBezTo>
                  <a:cubicBezTo>
                    <a:pt x="414" y="1710"/>
                    <a:pt x="403" y="1701"/>
                    <a:pt x="401" y="1690"/>
                  </a:cubicBezTo>
                  <a:cubicBezTo>
                    <a:pt x="364" y="1451"/>
                    <a:pt x="364" y="1451"/>
                    <a:pt x="364" y="1451"/>
                  </a:cubicBezTo>
                  <a:cubicBezTo>
                    <a:pt x="359" y="1419"/>
                    <a:pt x="339" y="1391"/>
                    <a:pt x="310" y="1377"/>
                  </a:cubicBezTo>
                  <a:cubicBezTo>
                    <a:pt x="94" y="1267"/>
                    <a:pt x="94" y="1267"/>
                    <a:pt x="94" y="1267"/>
                  </a:cubicBezTo>
                  <a:cubicBezTo>
                    <a:pt x="89" y="1265"/>
                    <a:pt x="85" y="1260"/>
                    <a:pt x="83" y="1255"/>
                  </a:cubicBezTo>
                  <a:cubicBezTo>
                    <a:pt x="82" y="1249"/>
                    <a:pt x="82" y="1244"/>
                    <a:pt x="85" y="1238"/>
                  </a:cubicBezTo>
                  <a:cubicBezTo>
                    <a:pt x="195" y="1023"/>
                    <a:pt x="195" y="1023"/>
                    <a:pt x="195" y="1023"/>
                  </a:cubicBezTo>
                  <a:cubicBezTo>
                    <a:pt x="209" y="994"/>
                    <a:pt x="209" y="960"/>
                    <a:pt x="195" y="931"/>
                  </a:cubicBezTo>
                  <a:cubicBezTo>
                    <a:pt x="85" y="716"/>
                    <a:pt x="85" y="716"/>
                    <a:pt x="85" y="716"/>
                  </a:cubicBezTo>
                  <a:cubicBezTo>
                    <a:pt x="82" y="710"/>
                    <a:pt x="81" y="705"/>
                    <a:pt x="83" y="699"/>
                  </a:cubicBezTo>
                  <a:cubicBezTo>
                    <a:pt x="85" y="694"/>
                    <a:pt x="89" y="689"/>
                    <a:pt x="94" y="687"/>
                  </a:cubicBezTo>
                  <a:cubicBezTo>
                    <a:pt x="310" y="577"/>
                    <a:pt x="310" y="577"/>
                    <a:pt x="310" y="577"/>
                  </a:cubicBezTo>
                  <a:cubicBezTo>
                    <a:pt x="339" y="563"/>
                    <a:pt x="359" y="535"/>
                    <a:pt x="364" y="503"/>
                  </a:cubicBezTo>
                  <a:cubicBezTo>
                    <a:pt x="401" y="264"/>
                    <a:pt x="401" y="264"/>
                    <a:pt x="401" y="264"/>
                  </a:cubicBezTo>
                  <a:cubicBezTo>
                    <a:pt x="403" y="253"/>
                    <a:pt x="414" y="244"/>
                    <a:pt x="426" y="246"/>
                  </a:cubicBezTo>
                  <a:cubicBezTo>
                    <a:pt x="665" y="284"/>
                    <a:pt x="665" y="284"/>
                    <a:pt x="665" y="284"/>
                  </a:cubicBezTo>
                  <a:cubicBezTo>
                    <a:pt x="670" y="285"/>
                    <a:pt x="675" y="286"/>
                    <a:pt x="681" y="286"/>
                  </a:cubicBezTo>
                  <a:cubicBezTo>
                    <a:pt x="681" y="286"/>
                    <a:pt x="681" y="286"/>
                    <a:pt x="681" y="286"/>
                  </a:cubicBezTo>
                  <a:cubicBezTo>
                    <a:pt x="708" y="286"/>
                    <a:pt x="733" y="275"/>
                    <a:pt x="752" y="256"/>
                  </a:cubicBezTo>
                  <a:cubicBezTo>
                    <a:pt x="923" y="85"/>
                    <a:pt x="923" y="85"/>
                    <a:pt x="923" y="85"/>
                  </a:cubicBezTo>
                  <a:cubicBezTo>
                    <a:pt x="931" y="77"/>
                    <a:pt x="945" y="77"/>
                    <a:pt x="953" y="85"/>
                  </a:cubicBezTo>
                  <a:cubicBezTo>
                    <a:pt x="1124" y="256"/>
                    <a:pt x="1124" y="256"/>
                    <a:pt x="1124" y="256"/>
                  </a:cubicBezTo>
                  <a:cubicBezTo>
                    <a:pt x="1143" y="276"/>
                    <a:pt x="1169" y="286"/>
                    <a:pt x="1195" y="286"/>
                  </a:cubicBezTo>
                  <a:cubicBezTo>
                    <a:pt x="1201" y="286"/>
                    <a:pt x="1206" y="286"/>
                    <a:pt x="1211" y="285"/>
                  </a:cubicBezTo>
                  <a:cubicBezTo>
                    <a:pt x="1451" y="247"/>
                    <a:pt x="1451" y="247"/>
                    <a:pt x="1451" y="247"/>
                  </a:cubicBezTo>
                  <a:cubicBezTo>
                    <a:pt x="1462" y="245"/>
                    <a:pt x="1473" y="253"/>
                    <a:pt x="1475" y="264"/>
                  </a:cubicBezTo>
                  <a:cubicBezTo>
                    <a:pt x="1513" y="504"/>
                    <a:pt x="1513" y="504"/>
                    <a:pt x="1513" y="504"/>
                  </a:cubicBezTo>
                  <a:cubicBezTo>
                    <a:pt x="1517" y="535"/>
                    <a:pt x="1538" y="563"/>
                    <a:pt x="1566" y="578"/>
                  </a:cubicBezTo>
                  <a:cubicBezTo>
                    <a:pt x="1782" y="687"/>
                    <a:pt x="1782" y="687"/>
                    <a:pt x="1782" y="687"/>
                  </a:cubicBezTo>
                  <a:cubicBezTo>
                    <a:pt x="1787" y="690"/>
                    <a:pt x="1791" y="694"/>
                    <a:pt x="1793" y="700"/>
                  </a:cubicBezTo>
                  <a:cubicBezTo>
                    <a:pt x="1795" y="705"/>
                    <a:pt x="1794" y="711"/>
                    <a:pt x="1792" y="716"/>
                  </a:cubicBezTo>
                  <a:cubicBezTo>
                    <a:pt x="1682" y="932"/>
                    <a:pt x="1682" y="932"/>
                    <a:pt x="1682" y="932"/>
                  </a:cubicBezTo>
                  <a:cubicBezTo>
                    <a:pt x="1667" y="960"/>
                    <a:pt x="1667" y="994"/>
                    <a:pt x="1681" y="1023"/>
                  </a:cubicBezTo>
                  <a:close/>
                </a:path>
              </a:pathLst>
            </a:custGeom>
            <a:solidFill>
              <a:schemeClr val="accent2">
                <a:lumMod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" name="ValueBack">
              <a:extLst>
                <a:ext uri="{FF2B5EF4-FFF2-40B4-BE49-F238E27FC236}">
                  <a16:creationId xmlns:a16="http://schemas.microsoft.com/office/drawing/2014/main" id="{26F24C55-EA43-4172-A11F-D8B568DFC2D7}"/>
                </a:ext>
              </a:extLst>
            </p:cNvPr>
            <p:cNvSpPr/>
            <p:nvPr/>
          </p:nvSpPr>
          <p:spPr bwMode="auto">
            <a:xfrm>
              <a:off x="5138279" y="2043224"/>
              <a:ext cx="1600552" cy="1572487"/>
            </a:xfrm>
            <a:custGeom>
              <a:avLst/>
              <a:gdLst>
                <a:gd name="T0" fmla="*/ 791 w 933"/>
                <a:gd name="T1" fmla="*/ 306 h 918"/>
                <a:gd name="T2" fmla="*/ 615 w 933"/>
                <a:gd name="T3" fmla="*/ 306 h 918"/>
                <a:gd name="T4" fmla="*/ 615 w 933"/>
                <a:gd name="T5" fmla="*/ 184 h 918"/>
                <a:gd name="T6" fmla="*/ 556 w 933"/>
                <a:gd name="T7" fmla="*/ 44 h 918"/>
                <a:gd name="T8" fmla="*/ 410 w 933"/>
                <a:gd name="T9" fmla="*/ 25 h 918"/>
                <a:gd name="T10" fmla="*/ 382 w 933"/>
                <a:gd name="T11" fmla="*/ 63 h 918"/>
                <a:gd name="T12" fmla="*/ 382 w 933"/>
                <a:gd name="T13" fmla="*/ 219 h 918"/>
                <a:gd name="T14" fmla="*/ 246 w 933"/>
                <a:gd name="T15" fmla="*/ 370 h 918"/>
                <a:gd name="T16" fmla="*/ 238 w 933"/>
                <a:gd name="T17" fmla="*/ 373 h 918"/>
                <a:gd name="T18" fmla="*/ 191 w 933"/>
                <a:gd name="T19" fmla="*/ 357 h 918"/>
                <a:gd name="T20" fmla="*/ 78 w 933"/>
                <a:gd name="T21" fmla="*/ 357 h 918"/>
                <a:gd name="T22" fmla="*/ 0 w 933"/>
                <a:gd name="T23" fmla="*/ 435 h 918"/>
                <a:gd name="T24" fmla="*/ 0 w 933"/>
                <a:gd name="T25" fmla="*/ 826 h 918"/>
                <a:gd name="T26" fmla="*/ 78 w 933"/>
                <a:gd name="T27" fmla="*/ 904 h 918"/>
                <a:gd name="T28" fmla="*/ 191 w 933"/>
                <a:gd name="T29" fmla="*/ 904 h 918"/>
                <a:gd name="T30" fmla="*/ 242 w 933"/>
                <a:gd name="T31" fmla="*/ 885 h 918"/>
                <a:gd name="T32" fmla="*/ 332 w 933"/>
                <a:gd name="T33" fmla="*/ 918 h 918"/>
                <a:gd name="T34" fmla="*/ 715 w 933"/>
                <a:gd name="T35" fmla="*/ 918 h 918"/>
                <a:gd name="T36" fmla="*/ 881 w 933"/>
                <a:gd name="T37" fmla="*/ 781 h 918"/>
                <a:gd name="T38" fmla="*/ 933 w 933"/>
                <a:gd name="T39" fmla="*/ 454 h 918"/>
                <a:gd name="T40" fmla="*/ 933 w 933"/>
                <a:gd name="T41" fmla="*/ 448 h 918"/>
                <a:gd name="T42" fmla="*/ 791 w 933"/>
                <a:gd name="T43" fmla="*/ 306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3" h="918">
                  <a:moveTo>
                    <a:pt x="791" y="306"/>
                  </a:moveTo>
                  <a:cubicBezTo>
                    <a:pt x="615" y="306"/>
                    <a:pt x="615" y="306"/>
                    <a:pt x="615" y="306"/>
                  </a:cubicBezTo>
                  <a:cubicBezTo>
                    <a:pt x="615" y="184"/>
                    <a:pt x="615" y="184"/>
                    <a:pt x="615" y="184"/>
                  </a:cubicBezTo>
                  <a:cubicBezTo>
                    <a:pt x="615" y="119"/>
                    <a:pt x="595" y="72"/>
                    <a:pt x="556" y="44"/>
                  </a:cubicBezTo>
                  <a:cubicBezTo>
                    <a:pt x="497" y="0"/>
                    <a:pt x="419" y="22"/>
                    <a:pt x="410" y="25"/>
                  </a:cubicBezTo>
                  <a:cubicBezTo>
                    <a:pt x="393" y="30"/>
                    <a:pt x="382" y="46"/>
                    <a:pt x="382" y="63"/>
                  </a:cubicBezTo>
                  <a:cubicBezTo>
                    <a:pt x="382" y="219"/>
                    <a:pt x="382" y="219"/>
                    <a:pt x="382" y="219"/>
                  </a:cubicBezTo>
                  <a:cubicBezTo>
                    <a:pt x="382" y="329"/>
                    <a:pt x="251" y="368"/>
                    <a:pt x="246" y="370"/>
                  </a:cubicBezTo>
                  <a:cubicBezTo>
                    <a:pt x="243" y="370"/>
                    <a:pt x="240" y="372"/>
                    <a:pt x="238" y="373"/>
                  </a:cubicBezTo>
                  <a:cubicBezTo>
                    <a:pt x="225" y="363"/>
                    <a:pt x="209" y="357"/>
                    <a:pt x="191" y="357"/>
                  </a:cubicBezTo>
                  <a:cubicBezTo>
                    <a:pt x="78" y="357"/>
                    <a:pt x="78" y="357"/>
                    <a:pt x="78" y="357"/>
                  </a:cubicBezTo>
                  <a:cubicBezTo>
                    <a:pt x="35" y="357"/>
                    <a:pt x="0" y="392"/>
                    <a:pt x="0" y="435"/>
                  </a:cubicBezTo>
                  <a:cubicBezTo>
                    <a:pt x="0" y="826"/>
                    <a:pt x="0" y="826"/>
                    <a:pt x="0" y="826"/>
                  </a:cubicBezTo>
                  <a:cubicBezTo>
                    <a:pt x="0" y="869"/>
                    <a:pt x="35" y="904"/>
                    <a:pt x="78" y="904"/>
                  </a:cubicBezTo>
                  <a:cubicBezTo>
                    <a:pt x="191" y="904"/>
                    <a:pt x="191" y="904"/>
                    <a:pt x="191" y="904"/>
                  </a:cubicBezTo>
                  <a:cubicBezTo>
                    <a:pt x="210" y="904"/>
                    <a:pt x="228" y="897"/>
                    <a:pt x="242" y="885"/>
                  </a:cubicBezTo>
                  <a:cubicBezTo>
                    <a:pt x="267" y="906"/>
                    <a:pt x="298" y="918"/>
                    <a:pt x="332" y="918"/>
                  </a:cubicBezTo>
                  <a:cubicBezTo>
                    <a:pt x="715" y="918"/>
                    <a:pt x="715" y="918"/>
                    <a:pt x="715" y="918"/>
                  </a:cubicBezTo>
                  <a:cubicBezTo>
                    <a:pt x="808" y="918"/>
                    <a:pt x="870" y="867"/>
                    <a:pt x="881" y="781"/>
                  </a:cubicBezTo>
                  <a:cubicBezTo>
                    <a:pt x="933" y="454"/>
                    <a:pt x="933" y="454"/>
                    <a:pt x="933" y="454"/>
                  </a:cubicBezTo>
                  <a:cubicBezTo>
                    <a:pt x="933" y="452"/>
                    <a:pt x="933" y="450"/>
                    <a:pt x="933" y="448"/>
                  </a:cubicBezTo>
                  <a:cubicBezTo>
                    <a:pt x="933" y="370"/>
                    <a:pt x="869" y="306"/>
                    <a:pt x="791" y="306"/>
                  </a:cubicBezTo>
                  <a:close/>
                </a:path>
              </a:pathLst>
            </a:custGeom>
            <a:solidFill>
              <a:schemeClr val="accent2">
                <a:lumMod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+mj-lt"/>
              </a:endParaRPr>
            </a:p>
          </p:txBody>
        </p:sp>
        <p:sp>
          <p:nvSpPr>
            <p:cNvPr id="5" name="ValueShape">
              <a:extLst>
                <a:ext uri="{FF2B5EF4-FFF2-40B4-BE49-F238E27FC236}">
                  <a16:creationId xmlns:a16="http://schemas.microsoft.com/office/drawing/2014/main" id="{BF47C43F-B55B-4174-A9B2-10E0B1ADDEC7}"/>
                </a:ext>
              </a:extLst>
            </p:cNvPr>
            <p:cNvSpPr/>
            <p:nvPr/>
          </p:nvSpPr>
          <p:spPr bwMode="auto">
            <a:xfrm>
              <a:off x="5273653" y="2207489"/>
              <a:ext cx="1327329" cy="1274497"/>
            </a:xfrm>
            <a:custGeom>
              <a:avLst/>
              <a:gdLst>
                <a:gd name="connsiteX0" fmla="*/ 0 w 1327329"/>
                <a:gd name="connsiteY0" fmla="*/ 584420 h 1274497"/>
                <a:gd name="connsiteX1" fmla="*/ 190679 w 1327329"/>
                <a:gd name="connsiteY1" fmla="*/ 584420 h 1274497"/>
                <a:gd name="connsiteX2" fmla="*/ 190679 w 1327329"/>
                <a:gd name="connsiteY2" fmla="*/ 1250560 h 1274497"/>
                <a:gd name="connsiteX3" fmla="*/ 0 w 1327329"/>
                <a:gd name="connsiteY3" fmla="*/ 1250560 h 1274497"/>
                <a:gd name="connsiteX4" fmla="*/ 655242 w 1327329"/>
                <a:gd name="connsiteY4" fmla="*/ 0 h 1274497"/>
                <a:gd name="connsiteX5" fmla="*/ 737538 w 1327329"/>
                <a:gd name="connsiteY5" fmla="*/ 20556 h 1274497"/>
                <a:gd name="connsiteX6" fmla="*/ 782116 w 1327329"/>
                <a:gd name="connsiteY6" fmla="*/ 150747 h 1274497"/>
                <a:gd name="connsiteX7" fmla="*/ 782116 w 1327329"/>
                <a:gd name="connsiteY7" fmla="*/ 428258 h 1274497"/>
                <a:gd name="connsiteX8" fmla="*/ 850696 w 1327329"/>
                <a:gd name="connsiteY8" fmla="*/ 496780 h 1274497"/>
                <a:gd name="connsiteX9" fmla="*/ 1221030 w 1327329"/>
                <a:gd name="connsiteY9" fmla="*/ 496780 h 1274497"/>
                <a:gd name="connsiteX10" fmla="*/ 1327329 w 1327329"/>
                <a:gd name="connsiteY10" fmla="*/ 599562 h 1274497"/>
                <a:gd name="connsiteX11" fmla="*/ 1241604 w 1327329"/>
                <a:gd name="connsiteY11" fmla="*/ 1154585 h 1274497"/>
                <a:gd name="connsiteX12" fmla="*/ 1241604 w 1327329"/>
                <a:gd name="connsiteY12" fmla="*/ 1158011 h 1274497"/>
                <a:gd name="connsiteX13" fmla="*/ 1092442 w 1327329"/>
                <a:gd name="connsiteY13" fmla="*/ 1274497 h 1274497"/>
                <a:gd name="connsiteX14" fmla="*/ 435785 w 1327329"/>
                <a:gd name="connsiteY14" fmla="*/ 1274497 h 1274497"/>
                <a:gd name="connsiteX15" fmla="*/ 326056 w 1327329"/>
                <a:gd name="connsiteY15" fmla="*/ 1164863 h 1274497"/>
                <a:gd name="connsiteX16" fmla="*/ 326056 w 1327329"/>
                <a:gd name="connsiteY16" fmla="*/ 599562 h 1274497"/>
                <a:gd name="connsiteX17" fmla="*/ 655242 w 1327329"/>
                <a:gd name="connsiteY17" fmla="*/ 212416 h 1274497"/>
                <a:gd name="connsiteX18" fmla="*/ 655242 w 1327329"/>
                <a:gd name="connsiteY18" fmla="*/ 0 h 1274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27329" h="1274497">
                  <a:moveTo>
                    <a:pt x="0" y="584420"/>
                  </a:moveTo>
                  <a:lnTo>
                    <a:pt x="190679" y="584420"/>
                  </a:lnTo>
                  <a:lnTo>
                    <a:pt x="190679" y="1250560"/>
                  </a:lnTo>
                  <a:lnTo>
                    <a:pt x="0" y="1250560"/>
                  </a:lnTo>
                  <a:close/>
                  <a:moveTo>
                    <a:pt x="655242" y="0"/>
                  </a:moveTo>
                  <a:cubicBezTo>
                    <a:pt x="682674" y="0"/>
                    <a:pt x="715250" y="3426"/>
                    <a:pt x="737538" y="20556"/>
                  </a:cubicBezTo>
                  <a:cubicBezTo>
                    <a:pt x="768399" y="41113"/>
                    <a:pt x="782116" y="85652"/>
                    <a:pt x="782116" y="150747"/>
                  </a:cubicBezTo>
                  <a:cubicBezTo>
                    <a:pt x="782116" y="428258"/>
                    <a:pt x="782116" y="428258"/>
                    <a:pt x="782116" y="428258"/>
                  </a:cubicBezTo>
                  <a:cubicBezTo>
                    <a:pt x="782116" y="465945"/>
                    <a:pt x="812977" y="496780"/>
                    <a:pt x="850696" y="496780"/>
                  </a:cubicBezTo>
                  <a:cubicBezTo>
                    <a:pt x="1221030" y="496780"/>
                    <a:pt x="1221030" y="496780"/>
                    <a:pt x="1221030" y="496780"/>
                  </a:cubicBezTo>
                  <a:cubicBezTo>
                    <a:pt x="1279323" y="496780"/>
                    <a:pt x="1325615" y="541318"/>
                    <a:pt x="1327329" y="599562"/>
                  </a:cubicBezTo>
                  <a:lnTo>
                    <a:pt x="1241604" y="1154585"/>
                  </a:lnTo>
                  <a:cubicBezTo>
                    <a:pt x="1241604" y="1156298"/>
                    <a:pt x="1241604" y="1156298"/>
                    <a:pt x="1241604" y="1158011"/>
                  </a:cubicBezTo>
                  <a:cubicBezTo>
                    <a:pt x="1238175" y="1188846"/>
                    <a:pt x="1227888" y="1274497"/>
                    <a:pt x="1092442" y="1274497"/>
                  </a:cubicBezTo>
                  <a:cubicBezTo>
                    <a:pt x="435785" y="1274497"/>
                    <a:pt x="435785" y="1274497"/>
                    <a:pt x="435785" y="1274497"/>
                  </a:cubicBezTo>
                  <a:cubicBezTo>
                    <a:pt x="375777" y="1274497"/>
                    <a:pt x="326056" y="1224819"/>
                    <a:pt x="326056" y="1164863"/>
                  </a:cubicBezTo>
                  <a:cubicBezTo>
                    <a:pt x="326056" y="599562"/>
                    <a:pt x="326056" y="599562"/>
                    <a:pt x="326056" y="599562"/>
                  </a:cubicBezTo>
                  <a:cubicBezTo>
                    <a:pt x="365490" y="587571"/>
                    <a:pt x="655242" y="489927"/>
                    <a:pt x="655242" y="212416"/>
                  </a:cubicBezTo>
                  <a:cubicBezTo>
                    <a:pt x="655242" y="0"/>
                    <a:pt x="655242" y="0"/>
                    <a:pt x="655242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44231">
                  <a:schemeClr val="accent2">
                    <a:lumMod val="100000"/>
                  </a:schemeClr>
                </a:gs>
                <a:gs pos="44331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" name="ValueText">
              <a:extLst>
                <a:ext uri="{FF2B5EF4-FFF2-40B4-BE49-F238E27FC236}">
                  <a16:creationId xmlns:a16="http://schemas.microsoft.com/office/drawing/2014/main" id="{CC4BC394-D923-499F-AC92-2FABCEE81260}"/>
                </a:ext>
              </a:extLst>
            </p:cNvPr>
            <p:cNvSpPr txBox="1"/>
            <p:nvPr/>
          </p:nvSpPr>
          <p:spPr>
            <a:xfrm>
              <a:off x="4454944" y="4843950"/>
              <a:ext cx="766521" cy="574891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+mj-lt"/>
                </a:rPr>
                <a:t>44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7" name="CustomText">
              <a:extLst>
                <a:ext uri="{FF2B5EF4-FFF2-40B4-BE49-F238E27FC236}">
                  <a16:creationId xmlns:a16="http://schemas.microsoft.com/office/drawing/2014/main" id="{A3366DFD-B238-4244-8C51-750E63F77CAC}"/>
                </a:ext>
              </a:extLst>
            </p:cNvPr>
            <p:cNvSpPr/>
            <p:nvPr/>
          </p:nvSpPr>
          <p:spPr>
            <a:xfrm flipH="1">
              <a:off x="5395468" y="4776788"/>
              <a:ext cx="2331212" cy="405790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75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200" b="1" strike="noStrike" kern="1200" cap="none" spc="0" normalizeH="0" baseline="0" noProof="0" dirty="0"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8" name="CustomText1">
              <a:extLst>
                <a:ext uri="{FF2B5EF4-FFF2-40B4-BE49-F238E27FC236}">
                  <a16:creationId xmlns:a16="http://schemas.microsoft.com/office/drawing/2014/main" id="{AAFB4CF7-471F-4232-B1B4-177B3365616E}"/>
                </a:ext>
              </a:extLst>
            </p:cNvPr>
            <p:cNvSpPr/>
            <p:nvPr/>
          </p:nvSpPr>
          <p:spPr>
            <a:xfrm flipH="1">
              <a:off x="5395470" y="5193028"/>
              <a:ext cx="2331213" cy="329334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 fontScale="92500" lnSpcReduction="10000"/>
            </a:bodyPr>
            <a:lstStyle/>
            <a:p>
              <a:pPr lvl="0">
                <a:defRPr/>
              </a:pPr>
              <a:r>
                <a:rPr lang="en-US" altLang="zh-CN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+mj-lt"/>
                </a:rPr>
                <a:t>NOTE HERE</a:t>
              </a:r>
              <a:endParaRPr kumimoji="0" lang="en-US" altLang="zh-CN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11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13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3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56875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3d6e7165-b942-41d5-9499-59a73dfd6d51" descr="3RQAAB+LCAAAAAAABADNWE1v4jAQ/S/e7g1ViQMO4QYNVHvothJVLysO2cSAd/OBnCAVVfz3dUyyjMmHkpKgcqjwZCZ5fvPmxfQD3TEPTZCOBuguOeyo+L4MHJ7YzNlwJ3iKPOqLay882lGeMBqjya+PrAiDojfH39Ms6yDiTyxkwT6QYTTR7jURct5BSNdk0KYuCxzfZhuWiHuLyI/4hXKXhkmWmPA9HaBsMcJp0SOP9juJ+jjIwRgAzEPkRxyAyYrz1CFIfV6vmUtftzSgskpcemVhMg295dbxcugzzjbbJKRxnAWef/+hbgLKJiNRKG8p0/fxVtz820J8LEvTBM5S0KPmoMmVoMetQM/nNqkCbUKtJJyFmyJqpH1H5dVjUD2LIp86YbH81POycuv2mhtrUHMYgNG15v3T9T5UR8obiOcze7GADVRg4xawjT50VwHbJgtcA3vYWnhK+ai98pR6cnvpEXJvaCax8OkvJsMzNgNiM1t0dNyHEM0qJ3mYqvanwLaaw8ZaH0KshL0gqgFC2FhvLUSlHLcXoqhfCYQs9MTDlHcwnM9H7nhMSCnLk+9tITd+ULlNOeV0ncFCS+pGoVeTNUqzSuJYxh1xTKAJ5bG8coEEXM2ZRgvmp0eKabjxxRKbsleibzv6U+SmmztxIEM6Wh2Lx4/z85WtKIg7TVuB9kEbeqXvgO0LLZyZMtszKHcfK/yVcJQ+vzFFlwu4qcJJBGqoXDfluE8iKml7CjVtu5uanRjgmCbZ2OVT+j+YCgLOs3LhEywYla01VBZI7yzk4u+BhZnj/u2EBfMaS9G1Rp6i44qRsG5gKriGJQsSIzejYu48ETI/bm8t4lTUmsjm3tKYqcsF3FXhLV87VScBfS1zqaPhoqOFFWDCKPxe6J6Jng2mKyb0qzzGbOYxVsVo6OQGJmPUMUUUbkxlpfpFZ5mQfdzeZ7D+CTKbG00LtgoruLPCv4HqJ8z8el5Ty4RZ02NTZWLYPxM9e811TKyO/wAi9fCx3RQAAA==">
            <a:extLst>
              <a:ext uri="{FF2B5EF4-FFF2-40B4-BE49-F238E27FC236}">
                <a16:creationId xmlns:a16="http://schemas.microsoft.com/office/drawing/2014/main" id="{93BA2708-3A40-4C53-B056-BD154D8863E2}"/>
              </a:ext>
            </a:extLst>
          </p:cNvPr>
          <p:cNvGrpSpPr>
            <a:grpSpLocks noChangeAspect="1"/>
          </p:cNvGrpSpPr>
          <p:nvPr/>
        </p:nvGrpSpPr>
        <p:grpSpPr>
          <a:xfrm>
            <a:off x="3378972" y="1356834"/>
            <a:ext cx="5434057" cy="4144332"/>
            <a:chOff x="3242820" y="1356834"/>
            <a:chExt cx="5434057" cy="4144332"/>
          </a:xfrm>
        </p:grpSpPr>
        <p:sp>
          <p:nvSpPr>
            <p:cNvPr id="3" name="ValueText1">
              <a:extLst>
                <a:ext uri="{FF2B5EF4-FFF2-40B4-BE49-F238E27FC236}">
                  <a16:creationId xmlns:a16="http://schemas.microsoft.com/office/drawing/2014/main" id="{E8BC8F7C-F1A7-432A-9EEA-BF234AB6EF85}"/>
                </a:ext>
              </a:extLst>
            </p:cNvPr>
            <p:cNvSpPr txBox="1"/>
            <p:nvPr/>
          </p:nvSpPr>
          <p:spPr>
            <a:xfrm>
              <a:off x="6527719" y="5093774"/>
              <a:ext cx="622491" cy="397110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+mj-lt"/>
                </a:rPr>
                <a:t>52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4" name="ValueText2">
              <a:extLst>
                <a:ext uri="{FF2B5EF4-FFF2-40B4-BE49-F238E27FC236}">
                  <a16:creationId xmlns:a16="http://schemas.microsoft.com/office/drawing/2014/main" id="{82F67592-D461-4649-A310-A0BB9A999548}"/>
                </a:ext>
              </a:extLst>
            </p:cNvPr>
            <p:cNvSpPr txBox="1"/>
            <p:nvPr/>
          </p:nvSpPr>
          <p:spPr>
            <a:xfrm>
              <a:off x="7291053" y="5104056"/>
              <a:ext cx="622491" cy="397110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+mj-lt"/>
                </a:rPr>
                <a:t>80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5" name="ValueText3">
              <a:extLst>
                <a:ext uri="{FF2B5EF4-FFF2-40B4-BE49-F238E27FC236}">
                  <a16:creationId xmlns:a16="http://schemas.microsoft.com/office/drawing/2014/main" id="{C9CFABE8-373A-4030-91CC-37CB31F579EE}"/>
                </a:ext>
              </a:extLst>
            </p:cNvPr>
            <p:cNvSpPr txBox="1"/>
            <p:nvPr/>
          </p:nvSpPr>
          <p:spPr>
            <a:xfrm>
              <a:off x="8054386" y="5104056"/>
              <a:ext cx="622491" cy="397110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+mj-lt"/>
                </a:rPr>
                <a:t>66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6" name="ValueShape1">
              <a:extLst>
                <a:ext uri="{FF2B5EF4-FFF2-40B4-BE49-F238E27FC236}">
                  <a16:creationId xmlns:a16="http://schemas.microsoft.com/office/drawing/2014/main" id="{26636B3C-1AF1-4BE9-86CE-EC173759F99C}"/>
                </a:ext>
              </a:extLst>
            </p:cNvPr>
            <p:cNvSpPr/>
            <p:nvPr/>
          </p:nvSpPr>
          <p:spPr>
            <a:xfrm>
              <a:off x="6591267" y="1356834"/>
              <a:ext cx="370883" cy="3580189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2000">
                  <a:schemeClr val="accent1">
                    <a:lumMod val="100000"/>
                  </a:schemeClr>
                </a:gs>
                <a:gs pos="521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7" name="ValueShape2">
              <a:extLst>
                <a:ext uri="{FF2B5EF4-FFF2-40B4-BE49-F238E27FC236}">
                  <a16:creationId xmlns:a16="http://schemas.microsoft.com/office/drawing/2014/main" id="{5C9ABF61-0C82-4D0E-82A7-BB166C85078B}"/>
                </a:ext>
              </a:extLst>
            </p:cNvPr>
            <p:cNvSpPr/>
            <p:nvPr/>
          </p:nvSpPr>
          <p:spPr>
            <a:xfrm>
              <a:off x="7374299" y="1356835"/>
              <a:ext cx="370883" cy="358018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80000">
                  <a:schemeClr val="accent2">
                    <a:lumMod val="100000"/>
                  </a:schemeClr>
                </a:gs>
                <a:gs pos="801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8" name="ValueShape3">
              <a:extLst>
                <a:ext uri="{FF2B5EF4-FFF2-40B4-BE49-F238E27FC236}">
                  <a16:creationId xmlns:a16="http://schemas.microsoft.com/office/drawing/2014/main" id="{643FE2E7-1ACE-4220-8AE6-BB313DF263AF}"/>
                </a:ext>
              </a:extLst>
            </p:cNvPr>
            <p:cNvSpPr/>
            <p:nvPr/>
          </p:nvSpPr>
          <p:spPr>
            <a:xfrm>
              <a:off x="8157330" y="1356834"/>
              <a:ext cx="370883" cy="3580189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66308">
                  <a:schemeClr val="accent3">
                    <a:lumMod val="100000"/>
                  </a:schemeClr>
                </a:gs>
                <a:gs pos="66408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9" name="ExtraShape1">
              <a:extLst>
                <a:ext uri="{FF2B5EF4-FFF2-40B4-BE49-F238E27FC236}">
                  <a16:creationId xmlns:a16="http://schemas.microsoft.com/office/drawing/2014/main" id="{1948E51A-2EB2-4636-9811-8035BFD40F1F}"/>
                </a:ext>
              </a:extLst>
            </p:cNvPr>
            <p:cNvSpPr/>
            <p:nvPr/>
          </p:nvSpPr>
          <p:spPr bwMode="auto">
            <a:xfrm>
              <a:off x="3275637" y="1742611"/>
              <a:ext cx="2869973" cy="2862017"/>
            </a:xfrm>
            <a:prstGeom prst="ellipse">
              <a:avLst/>
            </a:prstGeom>
            <a:solidFill>
              <a:srgbClr val="4671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" name="ExtraShape1">
              <a:extLst>
                <a:ext uri="{FF2B5EF4-FFF2-40B4-BE49-F238E27FC236}">
                  <a16:creationId xmlns:a16="http://schemas.microsoft.com/office/drawing/2014/main" id="{94A5F14C-B841-499E-99CB-1D9DACFE5583}"/>
                </a:ext>
              </a:extLst>
            </p:cNvPr>
            <p:cNvSpPr/>
            <p:nvPr/>
          </p:nvSpPr>
          <p:spPr bwMode="auto">
            <a:xfrm>
              <a:off x="3538171" y="2561040"/>
              <a:ext cx="2344906" cy="1783043"/>
            </a:xfrm>
            <a:custGeom>
              <a:avLst/>
              <a:gdLst>
                <a:gd name="T0" fmla="*/ 864 w 1134"/>
                <a:gd name="T1" fmla="*/ 297 h 864"/>
                <a:gd name="T2" fmla="*/ 729 w 1134"/>
                <a:gd name="T3" fmla="*/ 48 h 864"/>
                <a:gd name="T4" fmla="*/ 567 w 1134"/>
                <a:gd name="T5" fmla="*/ 0 h 864"/>
                <a:gd name="T6" fmla="*/ 405 w 1134"/>
                <a:gd name="T7" fmla="*/ 48 h 864"/>
                <a:gd name="T8" fmla="*/ 270 w 1134"/>
                <a:gd name="T9" fmla="*/ 297 h 864"/>
                <a:gd name="T10" fmla="*/ 0 w 1134"/>
                <a:gd name="T11" fmla="*/ 297 h 864"/>
                <a:gd name="T12" fmla="*/ 258 w 1134"/>
                <a:gd name="T13" fmla="*/ 772 h 864"/>
                <a:gd name="T14" fmla="*/ 567 w 1134"/>
                <a:gd name="T15" fmla="*/ 864 h 864"/>
                <a:gd name="T16" fmla="*/ 876 w 1134"/>
                <a:gd name="T17" fmla="*/ 772 h 864"/>
                <a:gd name="T18" fmla="*/ 1134 w 1134"/>
                <a:gd name="T19" fmla="*/ 297 h 864"/>
                <a:gd name="T20" fmla="*/ 864 w 1134"/>
                <a:gd name="T21" fmla="*/ 297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4" h="864">
                  <a:moveTo>
                    <a:pt x="864" y="297"/>
                  </a:moveTo>
                  <a:cubicBezTo>
                    <a:pt x="864" y="193"/>
                    <a:pt x="810" y="101"/>
                    <a:pt x="729" y="48"/>
                  </a:cubicBezTo>
                  <a:cubicBezTo>
                    <a:pt x="682" y="18"/>
                    <a:pt x="627" y="0"/>
                    <a:pt x="567" y="0"/>
                  </a:cubicBezTo>
                  <a:cubicBezTo>
                    <a:pt x="507" y="0"/>
                    <a:pt x="452" y="18"/>
                    <a:pt x="405" y="48"/>
                  </a:cubicBezTo>
                  <a:cubicBezTo>
                    <a:pt x="324" y="101"/>
                    <a:pt x="270" y="193"/>
                    <a:pt x="270" y="297"/>
                  </a:cubicBezTo>
                  <a:cubicBezTo>
                    <a:pt x="0" y="297"/>
                    <a:pt x="0" y="297"/>
                    <a:pt x="0" y="297"/>
                  </a:cubicBezTo>
                  <a:cubicBezTo>
                    <a:pt x="0" y="495"/>
                    <a:pt x="103" y="670"/>
                    <a:pt x="258" y="772"/>
                  </a:cubicBezTo>
                  <a:cubicBezTo>
                    <a:pt x="347" y="830"/>
                    <a:pt x="453" y="864"/>
                    <a:pt x="567" y="864"/>
                  </a:cubicBezTo>
                  <a:cubicBezTo>
                    <a:pt x="681" y="864"/>
                    <a:pt x="787" y="830"/>
                    <a:pt x="876" y="772"/>
                  </a:cubicBezTo>
                  <a:cubicBezTo>
                    <a:pt x="1031" y="670"/>
                    <a:pt x="1134" y="495"/>
                    <a:pt x="1134" y="297"/>
                  </a:cubicBezTo>
                  <a:lnTo>
                    <a:pt x="864" y="297"/>
                  </a:lnTo>
                  <a:close/>
                </a:path>
              </a:pathLst>
            </a:custGeom>
            <a:solidFill>
              <a:srgbClr val="A4C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1" name="ExtraShape2">
              <a:extLst>
                <a:ext uri="{FF2B5EF4-FFF2-40B4-BE49-F238E27FC236}">
                  <a16:creationId xmlns:a16="http://schemas.microsoft.com/office/drawing/2014/main" id="{A66BB1D9-CE26-432C-AC79-ECB0BC045BDD}"/>
                </a:ext>
              </a:extLst>
            </p:cNvPr>
            <p:cNvSpPr/>
            <p:nvPr/>
          </p:nvSpPr>
          <p:spPr bwMode="auto">
            <a:xfrm>
              <a:off x="4317818" y="2781807"/>
              <a:ext cx="785613" cy="784619"/>
            </a:xfrm>
            <a:prstGeom prst="ellipse">
              <a:avLst/>
            </a:prstGeom>
            <a:solidFill>
              <a:srgbClr val="F9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2" name="ValueBack1">
              <a:extLst>
                <a:ext uri="{FF2B5EF4-FFF2-40B4-BE49-F238E27FC236}">
                  <a16:creationId xmlns:a16="http://schemas.microsoft.com/office/drawing/2014/main" id="{BB023831-3A08-47CD-A854-4C9A5304800F}"/>
                </a:ext>
              </a:extLst>
            </p:cNvPr>
            <p:cNvSpPr/>
            <p:nvPr/>
          </p:nvSpPr>
          <p:spPr bwMode="auto">
            <a:xfrm>
              <a:off x="3538171" y="2194090"/>
              <a:ext cx="837324" cy="980524"/>
            </a:xfrm>
            <a:custGeom>
              <a:avLst/>
              <a:gdLst>
                <a:gd name="T0" fmla="*/ 405 w 405"/>
                <a:gd name="T1" fmla="*/ 226 h 475"/>
                <a:gd name="T2" fmla="*/ 258 w 405"/>
                <a:gd name="T3" fmla="*/ 0 h 475"/>
                <a:gd name="T4" fmla="*/ 0 w 405"/>
                <a:gd name="T5" fmla="*/ 475 h 475"/>
                <a:gd name="T6" fmla="*/ 270 w 405"/>
                <a:gd name="T7" fmla="*/ 475 h 475"/>
                <a:gd name="T8" fmla="*/ 405 w 405"/>
                <a:gd name="T9" fmla="*/ 226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475">
                  <a:moveTo>
                    <a:pt x="405" y="226"/>
                  </a:moveTo>
                  <a:cubicBezTo>
                    <a:pt x="258" y="0"/>
                    <a:pt x="258" y="0"/>
                    <a:pt x="258" y="0"/>
                  </a:cubicBezTo>
                  <a:cubicBezTo>
                    <a:pt x="103" y="101"/>
                    <a:pt x="0" y="276"/>
                    <a:pt x="0" y="475"/>
                  </a:cubicBezTo>
                  <a:cubicBezTo>
                    <a:pt x="270" y="475"/>
                    <a:pt x="270" y="475"/>
                    <a:pt x="270" y="475"/>
                  </a:cubicBezTo>
                  <a:cubicBezTo>
                    <a:pt x="270" y="371"/>
                    <a:pt x="324" y="279"/>
                    <a:pt x="405" y="226"/>
                  </a:cubicBez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3" name="ValueBack2">
              <a:extLst>
                <a:ext uri="{FF2B5EF4-FFF2-40B4-BE49-F238E27FC236}">
                  <a16:creationId xmlns:a16="http://schemas.microsoft.com/office/drawing/2014/main" id="{B3E47D9D-7C48-4BB2-8A5F-1EAE4CDB3BAD}"/>
                </a:ext>
              </a:extLst>
            </p:cNvPr>
            <p:cNvSpPr/>
            <p:nvPr/>
          </p:nvSpPr>
          <p:spPr bwMode="auto">
            <a:xfrm>
              <a:off x="4072188" y="2004150"/>
              <a:ext cx="1276870" cy="656334"/>
            </a:xfrm>
            <a:custGeom>
              <a:avLst/>
              <a:gdLst>
                <a:gd name="T0" fmla="*/ 309 w 618"/>
                <a:gd name="T1" fmla="*/ 0 h 318"/>
                <a:gd name="T2" fmla="*/ 0 w 618"/>
                <a:gd name="T3" fmla="*/ 92 h 318"/>
                <a:gd name="T4" fmla="*/ 147 w 618"/>
                <a:gd name="T5" fmla="*/ 318 h 318"/>
                <a:gd name="T6" fmla="*/ 309 w 618"/>
                <a:gd name="T7" fmla="*/ 270 h 318"/>
                <a:gd name="T8" fmla="*/ 471 w 618"/>
                <a:gd name="T9" fmla="*/ 318 h 318"/>
                <a:gd name="T10" fmla="*/ 618 w 618"/>
                <a:gd name="T11" fmla="*/ 92 h 318"/>
                <a:gd name="T12" fmla="*/ 309 w 618"/>
                <a:gd name="T13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8" h="318">
                  <a:moveTo>
                    <a:pt x="309" y="0"/>
                  </a:moveTo>
                  <a:cubicBezTo>
                    <a:pt x="195" y="0"/>
                    <a:pt x="89" y="34"/>
                    <a:pt x="0" y="92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94" y="288"/>
                    <a:pt x="249" y="270"/>
                    <a:pt x="309" y="270"/>
                  </a:cubicBezTo>
                  <a:cubicBezTo>
                    <a:pt x="369" y="270"/>
                    <a:pt x="424" y="288"/>
                    <a:pt x="471" y="318"/>
                  </a:cubicBezTo>
                  <a:cubicBezTo>
                    <a:pt x="618" y="92"/>
                    <a:pt x="618" y="92"/>
                    <a:pt x="618" y="92"/>
                  </a:cubicBezTo>
                  <a:cubicBezTo>
                    <a:pt x="529" y="34"/>
                    <a:pt x="423" y="0"/>
                    <a:pt x="309" y="0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4" name="ValueBack3">
              <a:extLst>
                <a:ext uri="{FF2B5EF4-FFF2-40B4-BE49-F238E27FC236}">
                  <a16:creationId xmlns:a16="http://schemas.microsoft.com/office/drawing/2014/main" id="{B3B48E36-FB30-40FC-8AC6-357C2BABCDBB}"/>
                </a:ext>
              </a:extLst>
            </p:cNvPr>
            <p:cNvSpPr/>
            <p:nvPr/>
          </p:nvSpPr>
          <p:spPr bwMode="auto">
            <a:xfrm>
              <a:off x="5045752" y="2194090"/>
              <a:ext cx="837324" cy="980524"/>
            </a:xfrm>
            <a:custGeom>
              <a:avLst/>
              <a:gdLst>
                <a:gd name="T0" fmla="*/ 147 w 405"/>
                <a:gd name="T1" fmla="*/ 0 h 475"/>
                <a:gd name="T2" fmla="*/ 0 w 405"/>
                <a:gd name="T3" fmla="*/ 226 h 475"/>
                <a:gd name="T4" fmla="*/ 135 w 405"/>
                <a:gd name="T5" fmla="*/ 475 h 475"/>
                <a:gd name="T6" fmla="*/ 405 w 405"/>
                <a:gd name="T7" fmla="*/ 475 h 475"/>
                <a:gd name="T8" fmla="*/ 147 w 405"/>
                <a:gd name="T9" fmla="*/ 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475">
                  <a:moveTo>
                    <a:pt x="147" y="0"/>
                  </a:moveTo>
                  <a:cubicBezTo>
                    <a:pt x="0" y="226"/>
                    <a:pt x="0" y="226"/>
                    <a:pt x="0" y="226"/>
                  </a:cubicBezTo>
                  <a:cubicBezTo>
                    <a:pt x="81" y="279"/>
                    <a:pt x="135" y="371"/>
                    <a:pt x="135" y="475"/>
                  </a:cubicBezTo>
                  <a:cubicBezTo>
                    <a:pt x="405" y="475"/>
                    <a:pt x="405" y="475"/>
                    <a:pt x="405" y="475"/>
                  </a:cubicBezTo>
                  <a:cubicBezTo>
                    <a:pt x="405" y="276"/>
                    <a:pt x="302" y="101"/>
                    <a:pt x="147" y="0"/>
                  </a:cubicBez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5" name="ExtraShape3">
              <a:extLst>
                <a:ext uri="{FF2B5EF4-FFF2-40B4-BE49-F238E27FC236}">
                  <a16:creationId xmlns:a16="http://schemas.microsoft.com/office/drawing/2014/main" id="{DC856DF7-6745-49C3-9AEA-AC4B12816F34}"/>
                </a:ext>
              </a:extLst>
            </p:cNvPr>
            <p:cNvSpPr/>
            <p:nvPr/>
          </p:nvSpPr>
          <p:spPr bwMode="auto">
            <a:xfrm>
              <a:off x="3242820" y="1708800"/>
              <a:ext cx="2935607" cy="2928646"/>
            </a:xfrm>
            <a:custGeom>
              <a:avLst/>
              <a:gdLst>
                <a:gd name="T0" fmla="*/ 710 w 1420"/>
                <a:gd name="T1" fmla="*/ 1419 h 1419"/>
                <a:gd name="T2" fmla="*/ 0 w 1420"/>
                <a:gd name="T3" fmla="*/ 710 h 1419"/>
                <a:gd name="T4" fmla="*/ 710 w 1420"/>
                <a:gd name="T5" fmla="*/ 0 h 1419"/>
                <a:gd name="T6" fmla="*/ 1420 w 1420"/>
                <a:gd name="T7" fmla="*/ 710 h 1419"/>
                <a:gd name="T8" fmla="*/ 710 w 1420"/>
                <a:gd name="T9" fmla="*/ 1419 h 1419"/>
                <a:gd name="T10" fmla="*/ 710 w 1420"/>
                <a:gd name="T11" fmla="*/ 32 h 1419"/>
                <a:gd name="T12" fmla="*/ 32 w 1420"/>
                <a:gd name="T13" fmla="*/ 710 h 1419"/>
                <a:gd name="T14" fmla="*/ 710 w 1420"/>
                <a:gd name="T15" fmla="*/ 1387 h 1419"/>
                <a:gd name="T16" fmla="*/ 1388 w 1420"/>
                <a:gd name="T17" fmla="*/ 710 h 1419"/>
                <a:gd name="T18" fmla="*/ 710 w 1420"/>
                <a:gd name="T19" fmla="*/ 32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0" h="1419">
                  <a:moveTo>
                    <a:pt x="710" y="1419"/>
                  </a:moveTo>
                  <a:cubicBezTo>
                    <a:pt x="319" y="1419"/>
                    <a:pt x="0" y="1101"/>
                    <a:pt x="0" y="710"/>
                  </a:cubicBezTo>
                  <a:cubicBezTo>
                    <a:pt x="0" y="319"/>
                    <a:pt x="319" y="0"/>
                    <a:pt x="710" y="0"/>
                  </a:cubicBezTo>
                  <a:cubicBezTo>
                    <a:pt x="1101" y="0"/>
                    <a:pt x="1420" y="319"/>
                    <a:pt x="1420" y="710"/>
                  </a:cubicBezTo>
                  <a:cubicBezTo>
                    <a:pt x="1420" y="1101"/>
                    <a:pt x="1101" y="1419"/>
                    <a:pt x="710" y="1419"/>
                  </a:cubicBezTo>
                  <a:close/>
                  <a:moveTo>
                    <a:pt x="710" y="32"/>
                  </a:moveTo>
                  <a:cubicBezTo>
                    <a:pt x="336" y="32"/>
                    <a:pt x="32" y="336"/>
                    <a:pt x="32" y="710"/>
                  </a:cubicBezTo>
                  <a:cubicBezTo>
                    <a:pt x="32" y="1083"/>
                    <a:pt x="336" y="1387"/>
                    <a:pt x="710" y="1387"/>
                  </a:cubicBezTo>
                  <a:cubicBezTo>
                    <a:pt x="1084" y="1387"/>
                    <a:pt x="1388" y="1083"/>
                    <a:pt x="1388" y="710"/>
                  </a:cubicBezTo>
                  <a:cubicBezTo>
                    <a:pt x="1388" y="336"/>
                    <a:pt x="1084" y="32"/>
                    <a:pt x="710" y="32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6" name="ExtraShape3">
              <a:extLst>
                <a:ext uri="{FF2B5EF4-FFF2-40B4-BE49-F238E27FC236}">
                  <a16:creationId xmlns:a16="http://schemas.microsoft.com/office/drawing/2014/main" id="{02392DB2-8340-4BFC-8763-40E5D82C2806}"/>
                </a:ext>
              </a:extLst>
            </p:cNvPr>
            <p:cNvSpPr/>
            <p:nvPr/>
          </p:nvSpPr>
          <p:spPr bwMode="auto">
            <a:xfrm>
              <a:off x="4034400" y="1971333"/>
              <a:ext cx="1352448" cy="723958"/>
            </a:xfrm>
            <a:custGeom>
              <a:avLst/>
              <a:gdLst>
                <a:gd name="T0" fmla="*/ 489 w 654"/>
                <a:gd name="T1" fmla="*/ 350 h 351"/>
                <a:gd name="T2" fmla="*/ 480 w 654"/>
                <a:gd name="T3" fmla="*/ 347 h 351"/>
                <a:gd name="T4" fmla="*/ 327 w 654"/>
                <a:gd name="T5" fmla="*/ 302 h 351"/>
                <a:gd name="T6" fmla="*/ 174 w 654"/>
                <a:gd name="T7" fmla="*/ 347 h 351"/>
                <a:gd name="T8" fmla="*/ 162 w 654"/>
                <a:gd name="T9" fmla="*/ 350 h 351"/>
                <a:gd name="T10" fmla="*/ 152 w 654"/>
                <a:gd name="T11" fmla="*/ 343 h 351"/>
                <a:gd name="T12" fmla="*/ 5 w 654"/>
                <a:gd name="T13" fmla="*/ 117 h 351"/>
                <a:gd name="T14" fmla="*/ 9 w 654"/>
                <a:gd name="T15" fmla="*/ 95 h 351"/>
                <a:gd name="T16" fmla="*/ 327 w 654"/>
                <a:gd name="T17" fmla="*/ 0 h 351"/>
                <a:gd name="T18" fmla="*/ 645 w 654"/>
                <a:gd name="T19" fmla="*/ 95 h 351"/>
                <a:gd name="T20" fmla="*/ 649 w 654"/>
                <a:gd name="T21" fmla="*/ 117 h 351"/>
                <a:gd name="T22" fmla="*/ 502 w 654"/>
                <a:gd name="T23" fmla="*/ 343 h 351"/>
                <a:gd name="T24" fmla="*/ 492 w 654"/>
                <a:gd name="T25" fmla="*/ 350 h 351"/>
                <a:gd name="T26" fmla="*/ 489 w 654"/>
                <a:gd name="T27" fmla="*/ 350 h 351"/>
                <a:gd name="T28" fmla="*/ 327 w 654"/>
                <a:gd name="T29" fmla="*/ 270 h 351"/>
                <a:gd name="T30" fmla="*/ 484 w 654"/>
                <a:gd name="T31" fmla="*/ 312 h 351"/>
                <a:gd name="T32" fmla="*/ 614 w 654"/>
                <a:gd name="T33" fmla="*/ 113 h 351"/>
                <a:gd name="T34" fmla="*/ 327 w 654"/>
                <a:gd name="T35" fmla="*/ 32 h 351"/>
                <a:gd name="T36" fmla="*/ 40 w 654"/>
                <a:gd name="T37" fmla="*/ 113 h 351"/>
                <a:gd name="T38" fmla="*/ 170 w 654"/>
                <a:gd name="T39" fmla="*/ 312 h 351"/>
                <a:gd name="T40" fmla="*/ 327 w 654"/>
                <a:gd name="T41" fmla="*/ 27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54" h="351">
                  <a:moveTo>
                    <a:pt x="489" y="350"/>
                  </a:moveTo>
                  <a:cubicBezTo>
                    <a:pt x="486" y="350"/>
                    <a:pt x="483" y="349"/>
                    <a:pt x="480" y="347"/>
                  </a:cubicBezTo>
                  <a:cubicBezTo>
                    <a:pt x="434" y="318"/>
                    <a:pt x="381" y="302"/>
                    <a:pt x="327" y="302"/>
                  </a:cubicBezTo>
                  <a:cubicBezTo>
                    <a:pt x="273" y="302"/>
                    <a:pt x="220" y="318"/>
                    <a:pt x="174" y="347"/>
                  </a:cubicBezTo>
                  <a:cubicBezTo>
                    <a:pt x="170" y="350"/>
                    <a:pt x="166" y="351"/>
                    <a:pt x="162" y="350"/>
                  </a:cubicBezTo>
                  <a:cubicBezTo>
                    <a:pt x="158" y="349"/>
                    <a:pt x="154" y="346"/>
                    <a:pt x="152" y="343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0" y="109"/>
                    <a:pt x="2" y="99"/>
                    <a:pt x="9" y="95"/>
                  </a:cubicBezTo>
                  <a:cubicBezTo>
                    <a:pt x="104" y="33"/>
                    <a:pt x="214" y="0"/>
                    <a:pt x="327" y="0"/>
                  </a:cubicBezTo>
                  <a:cubicBezTo>
                    <a:pt x="440" y="0"/>
                    <a:pt x="550" y="33"/>
                    <a:pt x="645" y="95"/>
                  </a:cubicBezTo>
                  <a:cubicBezTo>
                    <a:pt x="652" y="99"/>
                    <a:pt x="654" y="109"/>
                    <a:pt x="649" y="117"/>
                  </a:cubicBezTo>
                  <a:cubicBezTo>
                    <a:pt x="502" y="343"/>
                    <a:pt x="502" y="343"/>
                    <a:pt x="502" y="343"/>
                  </a:cubicBezTo>
                  <a:cubicBezTo>
                    <a:pt x="500" y="346"/>
                    <a:pt x="496" y="349"/>
                    <a:pt x="492" y="350"/>
                  </a:cubicBezTo>
                  <a:cubicBezTo>
                    <a:pt x="491" y="350"/>
                    <a:pt x="490" y="350"/>
                    <a:pt x="489" y="350"/>
                  </a:cubicBezTo>
                  <a:close/>
                  <a:moveTo>
                    <a:pt x="327" y="270"/>
                  </a:moveTo>
                  <a:cubicBezTo>
                    <a:pt x="382" y="270"/>
                    <a:pt x="436" y="284"/>
                    <a:pt x="484" y="312"/>
                  </a:cubicBezTo>
                  <a:cubicBezTo>
                    <a:pt x="614" y="113"/>
                    <a:pt x="614" y="113"/>
                    <a:pt x="614" y="113"/>
                  </a:cubicBezTo>
                  <a:cubicBezTo>
                    <a:pt x="527" y="60"/>
                    <a:pt x="428" y="32"/>
                    <a:pt x="327" y="32"/>
                  </a:cubicBezTo>
                  <a:cubicBezTo>
                    <a:pt x="226" y="32"/>
                    <a:pt x="127" y="60"/>
                    <a:pt x="40" y="113"/>
                  </a:cubicBezTo>
                  <a:cubicBezTo>
                    <a:pt x="170" y="312"/>
                    <a:pt x="170" y="312"/>
                    <a:pt x="170" y="312"/>
                  </a:cubicBezTo>
                  <a:cubicBezTo>
                    <a:pt x="218" y="284"/>
                    <a:pt x="272" y="270"/>
                    <a:pt x="327" y="270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7" name="ExtraShape4">
              <a:extLst>
                <a:ext uri="{FF2B5EF4-FFF2-40B4-BE49-F238E27FC236}">
                  <a16:creationId xmlns:a16="http://schemas.microsoft.com/office/drawing/2014/main" id="{16EF03CD-215F-4DE8-A76B-C5803E157EB2}"/>
                </a:ext>
              </a:extLst>
            </p:cNvPr>
            <p:cNvSpPr/>
            <p:nvPr/>
          </p:nvSpPr>
          <p:spPr bwMode="auto">
            <a:xfrm>
              <a:off x="3505354" y="2159284"/>
              <a:ext cx="907931" cy="1048146"/>
            </a:xfrm>
            <a:custGeom>
              <a:avLst/>
              <a:gdLst>
                <a:gd name="T0" fmla="*/ 286 w 439"/>
                <a:gd name="T1" fmla="*/ 508 h 508"/>
                <a:gd name="T2" fmla="*/ 16 w 439"/>
                <a:gd name="T3" fmla="*/ 508 h 508"/>
                <a:gd name="T4" fmla="*/ 0 w 439"/>
                <a:gd name="T5" fmla="*/ 492 h 508"/>
                <a:gd name="T6" fmla="*/ 265 w 439"/>
                <a:gd name="T7" fmla="*/ 4 h 508"/>
                <a:gd name="T8" fmla="*/ 277 w 439"/>
                <a:gd name="T9" fmla="*/ 1 h 508"/>
                <a:gd name="T10" fmla="*/ 288 w 439"/>
                <a:gd name="T11" fmla="*/ 8 h 508"/>
                <a:gd name="T12" fmla="*/ 435 w 439"/>
                <a:gd name="T13" fmla="*/ 234 h 508"/>
                <a:gd name="T14" fmla="*/ 430 w 439"/>
                <a:gd name="T15" fmla="*/ 256 h 508"/>
                <a:gd name="T16" fmla="*/ 302 w 439"/>
                <a:gd name="T17" fmla="*/ 492 h 508"/>
                <a:gd name="T18" fmla="*/ 286 w 439"/>
                <a:gd name="T19" fmla="*/ 508 h 508"/>
                <a:gd name="T20" fmla="*/ 32 w 439"/>
                <a:gd name="T21" fmla="*/ 476 h 508"/>
                <a:gd name="T22" fmla="*/ 270 w 439"/>
                <a:gd name="T23" fmla="*/ 476 h 508"/>
                <a:gd name="T24" fmla="*/ 399 w 439"/>
                <a:gd name="T25" fmla="*/ 239 h 508"/>
                <a:gd name="T26" fmla="*/ 270 w 439"/>
                <a:gd name="T27" fmla="*/ 39 h 508"/>
                <a:gd name="T28" fmla="*/ 32 w 439"/>
                <a:gd name="T29" fmla="*/ 476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9" h="508">
                  <a:moveTo>
                    <a:pt x="286" y="508"/>
                  </a:moveTo>
                  <a:cubicBezTo>
                    <a:pt x="16" y="508"/>
                    <a:pt x="16" y="508"/>
                    <a:pt x="16" y="508"/>
                  </a:cubicBezTo>
                  <a:cubicBezTo>
                    <a:pt x="7" y="508"/>
                    <a:pt x="0" y="501"/>
                    <a:pt x="0" y="492"/>
                  </a:cubicBezTo>
                  <a:cubicBezTo>
                    <a:pt x="0" y="294"/>
                    <a:pt x="99" y="112"/>
                    <a:pt x="265" y="4"/>
                  </a:cubicBezTo>
                  <a:cubicBezTo>
                    <a:pt x="269" y="1"/>
                    <a:pt x="273" y="0"/>
                    <a:pt x="277" y="1"/>
                  </a:cubicBezTo>
                  <a:cubicBezTo>
                    <a:pt x="282" y="2"/>
                    <a:pt x="285" y="5"/>
                    <a:pt x="288" y="8"/>
                  </a:cubicBezTo>
                  <a:cubicBezTo>
                    <a:pt x="435" y="234"/>
                    <a:pt x="435" y="234"/>
                    <a:pt x="435" y="234"/>
                  </a:cubicBezTo>
                  <a:cubicBezTo>
                    <a:pt x="439" y="242"/>
                    <a:pt x="437" y="252"/>
                    <a:pt x="430" y="256"/>
                  </a:cubicBezTo>
                  <a:cubicBezTo>
                    <a:pt x="350" y="309"/>
                    <a:pt x="302" y="397"/>
                    <a:pt x="302" y="492"/>
                  </a:cubicBezTo>
                  <a:cubicBezTo>
                    <a:pt x="302" y="501"/>
                    <a:pt x="295" y="508"/>
                    <a:pt x="286" y="508"/>
                  </a:cubicBezTo>
                  <a:close/>
                  <a:moveTo>
                    <a:pt x="32" y="476"/>
                  </a:moveTo>
                  <a:cubicBezTo>
                    <a:pt x="270" y="476"/>
                    <a:pt x="270" y="476"/>
                    <a:pt x="270" y="476"/>
                  </a:cubicBezTo>
                  <a:cubicBezTo>
                    <a:pt x="275" y="381"/>
                    <a:pt x="322" y="295"/>
                    <a:pt x="399" y="239"/>
                  </a:cubicBezTo>
                  <a:cubicBezTo>
                    <a:pt x="270" y="39"/>
                    <a:pt x="270" y="39"/>
                    <a:pt x="270" y="39"/>
                  </a:cubicBezTo>
                  <a:cubicBezTo>
                    <a:pt x="125" y="140"/>
                    <a:pt x="37" y="301"/>
                    <a:pt x="32" y="476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8" name="ExtraShape5">
              <a:extLst>
                <a:ext uri="{FF2B5EF4-FFF2-40B4-BE49-F238E27FC236}">
                  <a16:creationId xmlns:a16="http://schemas.microsoft.com/office/drawing/2014/main" id="{FE0C4DDC-6E97-4061-A16E-75DA22A25A3E}"/>
                </a:ext>
              </a:extLst>
            </p:cNvPr>
            <p:cNvSpPr/>
            <p:nvPr/>
          </p:nvSpPr>
          <p:spPr bwMode="auto">
            <a:xfrm>
              <a:off x="5007964" y="2159284"/>
              <a:ext cx="907931" cy="1048146"/>
            </a:xfrm>
            <a:custGeom>
              <a:avLst/>
              <a:gdLst>
                <a:gd name="T0" fmla="*/ 423 w 439"/>
                <a:gd name="T1" fmla="*/ 508 h 508"/>
                <a:gd name="T2" fmla="*/ 153 w 439"/>
                <a:gd name="T3" fmla="*/ 508 h 508"/>
                <a:gd name="T4" fmla="*/ 137 w 439"/>
                <a:gd name="T5" fmla="*/ 492 h 508"/>
                <a:gd name="T6" fmla="*/ 9 w 439"/>
                <a:gd name="T7" fmla="*/ 256 h 508"/>
                <a:gd name="T8" fmla="*/ 4 w 439"/>
                <a:gd name="T9" fmla="*/ 234 h 508"/>
                <a:gd name="T10" fmla="*/ 151 w 439"/>
                <a:gd name="T11" fmla="*/ 8 h 508"/>
                <a:gd name="T12" fmla="*/ 162 w 439"/>
                <a:gd name="T13" fmla="*/ 1 h 508"/>
                <a:gd name="T14" fmla="*/ 174 w 439"/>
                <a:gd name="T15" fmla="*/ 4 h 508"/>
                <a:gd name="T16" fmla="*/ 439 w 439"/>
                <a:gd name="T17" fmla="*/ 492 h 508"/>
                <a:gd name="T18" fmla="*/ 423 w 439"/>
                <a:gd name="T19" fmla="*/ 508 h 508"/>
                <a:gd name="T20" fmla="*/ 169 w 439"/>
                <a:gd name="T21" fmla="*/ 476 h 508"/>
                <a:gd name="T22" fmla="*/ 407 w 439"/>
                <a:gd name="T23" fmla="*/ 476 h 508"/>
                <a:gd name="T24" fmla="*/ 169 w 439"/>
                <a:gd name="T25" fmla="*/ 39 h 508"/>
                <a:gd name="T26" fmla="*/ 40 w 439"/>
                <a:gd name="T27" fmla="*/ 239 h 508"/>
                <a:gd name="T28" fmla="*/ 169 w 439"/>
                <a:gd name="T29" fmla="*/ 476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9" h="508">
                  <a:moveTo>
                    <a:pt x="423" y="508"/>
                  </a:moveTo>
                  <a:cubicBezTo>
                    <a:pt x="153" y="508"/>
                    <a:pt x="153" y="508"/>
                    <a:pt x="153" y="508"/>
                  </a:cubicBezTo>
                  <a:cubicBezTo>
                    <a:pt x="144" y="508"/>
                    <a:pt x="137" y="501"/>
                    <a:pt x="137" y="492"/>
                  </a:cubicBezTo>
                  <a:cubicBezTo>
                    <a:pt x="137" y="397"/>
                    <a:pt x="89" y="309"/>
                    <a:pt x="9" y="256"/>
                  </a:cubicBezTo>
                  <a:cubicBezTo>
                    <a:pt x="2" y="252"/>
                    <a:pt x="0" y="242"/>
                    <a:pt x="4" y="234"/>
                  </a:cubicBezTo>
                  <a:cubicBezTo>
                    <a:pt x="151" y="8"/>
                    <a:pt x="151" y="8"/>
                    <a:pt x="151" y="8"/>
                  </a:cubicBezTo>
                  <a:cubicBezTo>
                    <a:pt x="154" y="5"/>
                    <a:pt x="157" y="2"/>
                    <a:pt x="162" y="1"/>
                  </a:cubicBezTo>
                  <a:cubicBezTo>
                    <a:pt x="166" y="0"/>
                    <a:pt x="170" y="1"/>
                    <a:pt x="174" y="4"/>
                  </a:cubicBezTo>
                  <a:cubicBezTo>
                    <a:pt x="340" y="112"/>
                    <a:pt x="439" y="294"/>
                    <a:pt x="439" y="492"/>
                  </a:cubicBezTo>
                  <a:cubicBezTo>
                    <a:pt x="439" y="501"/>
                    <a:pt x="432" y="508"/>
                    <a:pt x="423" y="508"/>
                  </a:cubicBezTo>
                  <a:close/>
                  <a:moveTo>
                    <a:pt x="169" y="476"/>
                  </a:moveTo>
                  <a:cubicBezTo>
                    <a:pt x="407" y="476"/>
                    <a:pt x="407" y="476"/>
                    <a:pt x="407" y="476"/>
                  </a:cubicBezTo>
                  <a:cubicBezTo>
                    <a:pt x="402" y="301"/>
                    <a:pt x="314" y="140"/>
                    <a:pt x="169" y="39"/>
                  </a:cubicBezTo>
                  <a:cubicBezTo>
                    <a:pt x="40" y="239"/>
                    <a:pt x="40" y="239"/>
                    <a:pt x="40" y="239"/>
                  </a:cubicBezTo>
                  <a:cubicBezTo>
                    <a:pt x="117" y="295"/>
                    <a:pt x="164" y="381"/>
                    <a:pt x="169" y="476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9" name="ExtraShape6">
              <a:extLst>
                <a:ext uri="{FF2B5EF4-FFF2-40B4-BE49-F238E27FC236}">
                  <a16:creationId xmlns:a16="http://schemas.microsoft.com/office/drawing/2014/main" id="{76D09056-08C5-4749-834F-A5AEA2CFF438}"/>
                </a:ext>
              </a:extLst>
            </p:cNvPr>
            <p:cNvSpPr/>
            <p:nvPr/>
          </p:nvSpPr>
          <p:spPr bwMode="auto">
            <a:xfrm>
              <a:off x="3505354" y="2528224"/>
              <a:ext cx="2410539" cy="1849671"/>
            </a:xfrm>
            <a:custGeom>
              <a:avLst/>
              <a:gdLst>
                <a:gd name="T0" fmla="*/ 583 w 1166"/>
                <a:gd name="T1" fmla="*/ 896 h 896"/>
                <a:gd name="T2" fmla="*/ 265 w 1166"/>
                <a:gd name="T3" fmla="*/ 801 h 896"/>
                <a:gd name="T4" fmla="*/ 0 w 1166"/>
                <a:gd name="T5" fmla="*/ 313 h 896"/>
                <a:gd name="T6" fmla="*/ 16 w 1166"/>
                <a:gd name="T7" fmla="*/ 297 h 896"/>
                <a:gd name="T8" fmla="*/ 270 w 1166"/>
                <a:gd name="T9" fmla="*/ 297 h 896"/>
                <a:gd name="T10" fmla="*/ 412 w 1166"/>
                <a:gd name="T11" fmla="*/ 51 h 896"/>
                <a:gd name="T12" fmla="*/ 583 w 1166"/>
                <a:gd name="T13" fmla="*/ 0 h 896"/>
                <a:gd name="T14" fmla="*/ 754 w 1166"/>
                <a:gd name="T15" fmla="*/ 51 h 896"/>
                <a:gd name="T16" fmla="*/ 896 w 1166"/>
                <a:gd name="T17" fmla="*/ 297 h 896"/>
                <a:gd name="T18" fmla="*/ 1150 w 1166"/>
                <a:gd name="T19" fmla="*/ 297 h 896"/>
                <a:gd name="T20" fmla="*/ 1166 w 1166"/>
                <a:gd name="T21" fmla="*/ 313 h 896"/>
                <a:gd name="T22" fmla="*/ 901 w 1166"/>
                <a:gd name="T23" fmla="*/ 801 h 896"/>
                <a:gd name="T24" fmla="*/ 583 w 1166"/>
                <a:gd name="T25" fmla="*/ 896 h 896"/>
                <a:gd name="T26" fmla="*/ 32 w 1166"/>
                <a:gd name="T27" fmla="*/ 329 h 896"/>
                <a:gd name="T28" fmla="*/ 283 w 1166"/>
                <a:gd name="T29" fmla="*/ 774 h 896"/>
                <a:gd name="T30" fmla="*/ 583 w 1166"/>
                <a:gd name="T31" fmla="*/ 864 h 896"/>
                <a:gd name="T32" fmla="*/ 883 w 1166"/>
                <a:gd name="T33" fmla="*/ 774 h 896"/>
                <a:gd name="T34" fmla="*/ 1134 w 1166"/>
                <a:gd name="T35" fmla="*/ 329 h 896"/>
                <a:gd name="T36" fmla="*/ 880 w 1166"/>
                <a:gd name="T37" fmla="*/ 329 h 896"/>
                <a:gd name="T38" fmla="*/ 864 w 1166"/>
                <a:gd name="T39" fmla="*/ 313 h 896"/>
                <a:gd name="T40" fmla="*/ 736 w 1166"/>
                <a:gd name="T41" fmla="*/ 77 h 896"/>
                <a:gd name="T42" fmla="*/ 583 w 1166"/>
                <a:gd name="T43" fmla="*/ 32 h 896"/>
                <a:gd name="T44" fmla="*/ 430 w 1166"/>
                <a:gd name="T45" fmla="*/ 77 h 896"/>
                <a:gd name="T46" fmla="*/ 302 w 1166"/>
                <a:gd name="T47" fmla="*/ 313 h 896"/>
                <a:gd name="T48" fmla="*/ 286 w 1166"/>
                <a:gd name="T49" fmla="*/ 329 h 896"/>
                <a:gd name="T50" fmla="*/ 32 w 1166"/>
                <a:gd name="T51" fmla="*/ 329 h 896"/>
                <a:gd name="T52" fmla="*/ 896 w 1166"/>
                <a:gd name="T53" fmla="*/ 313 h 896"/>
                <a:gd name="T54" fmla="*/ 896 w 1166"/>
                <a:gd name="T55" fmla="*/ 313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66" h="896">
                  <a:moveTo>
                    <a:pt x="583" y="896"/>
                  </a:moveTo>
                  <a:cubicBezTo>
                    <a:pt x="470" y="896"/>
                    <a:pt x="360" y="863"/>
                    <a:pt x="265" y="801"/>
                  </a:cubicBezTo>
                  <a:cubicBezTo>
                    <a:pt x="99" y="693"/>
                    <a:pt x="0" y="510"/>
                    <a:pt x="0" y="313"/>
                  </a:cubicBezTo>
                  <a:cubicBezTo>
                    <a:pt x="0" y="304"/>
                    <a:pt x="7" y="297"/>
                    <a:pt x="16" y="297"/>
                  </a:cubicBezTo>
                  <a:cubicBezTo>
                    <a:pt x="270" y="297"/>
                    <a:pt x="270" y="297"/>
                    <a:pt x="270" y="297"/>
                  </a:cubicBezTo>
                  <a:cubicBezTo>
                    <a:pt x="276" y="197"/>
                    <a:pt x="328" y="106"/>
                    <a:pt x="412" y="51"/>
                  </a:cubicBezTo>
                  <a:cubicBezTo>
                    <a:pt x="463" y="17"/>
                    <a:pt x="522" y="0"/>
                    <a:pt x="583" y="0"/>
                  </a:cubicBezTo>
                  <a:cubicBezTo>
                    <a:pt x="644" y="0"/>
                    <a:pt x="703" y="17"/>
                    <a:pt x="754" y="51"/>
                  </a:cubicBezTo>
                  <a:cubicBezTo>
                    <a:pt x="838" y="106"/>
                    <a:pt x="890" y="197"/>
                    <a:pt x="896" y="297"/>
                  </a:cubicBezTo>
                  <a:cubicBezTo>
                    <a:pt x="1150" y="297"/>
                    <a:pt x="1150" y="297"/>
                    <a:pt x="1150" y="297"/>
                  </a:cubicBezTo>
                  <a:cubicBezTo>
                    <a:pt x="1159" y="297"/>
                    <a:pt x="1166" y="304"/>
                    <a:pt x="1166" y="313"/>
                  </a:cubicBezTo>
                  <a:cubicBezTo>
                    <a:pt x="1166" y="510"/>
                    <a:pt x="1067" y="693"/>
                    <a:pt x="901" y="801"/>
                  </a:cubicBezTo>
                  <a:cubicBezTo>
                    <a:pt x="806" y="863"/>
                    <a:pt x="696" y="896"/>
                    <a:pt x="583" y="896"/>
                  </a:cubicBezTo>
                  <a:close/>
                  <a:moveTo>
                    <a:pt x="32" y="329"/>
                  </a:moveTo>
                  <a:cubicBezTo>
                    <a:pt x="38" y="509"/>
                    <a:pt x="130" y="675"/>
                    <a:pt x="283" y="774"/>
                  </a:cubicBezTo>
                  <a:cubicBezTo>
                    <a:pt x="372" y="833"/>
                    <a:pt x="476" y="864"/>
                    <a:pt x="583" y="864"/>
                  </a:cubicBezTo>
                  <a:cubicBezTo>
                    <a:pt x="690" y="864"/>
                    <a:pt x="794" y="833"/>
                    <a:pt x="883" y="774"/>
                  </a:cubicBezTo>
                  <a:cubicBezTo>
                    <a:pt x="1036" y="675"/>
                    <a:pt x="1128" y="509"/>
                    <a:pt x="1134" y="329"/>
                  </a:cubicBezTo>
                  <a:cubicBezTo>
                    <a:pt x="880" y="329"/>
                    <a:pt x="880" y="329"/>
                    <a:pt x="880" y="329"/>
                  </a:cubicBezTo>
                  <a:cubicBezTo>
                    <a:pt x="871" y="329"/>
                    <a:pt x="864" y="322"/>
                    <a:pt x="864" y="313"/>
                  </a:cubicBezTo>
                  <a:cubicBezTo>
                    <a:pt x="864" y="218"/>
                    <a:pt x="816" y="130"/>
                    <a:pt x="736" y="77"/>
                  </a:cubicBezTo>
                  <a:cubicBezTo>
                    <a:pt x="690" y="48"/>
                    <a:pt x="637" y="32"/>
                    <a:pt x="583" y="32"/>
                  </a:cubicBezTo>
                  <a:cubicBezTo>
                    <a:pt x="529" y="32"/>
                    <a:pt x="476" y="48"/>
                    <a:pt x="430" y="77"/>
                  </a:cubicBezTo>
                  <a:cubicBezTo>
                    <a:pt x="350" y="130"/>
                    <a:pt x="302" y="218"/>
                    <a:pt x="302" y="313"/>
                  </a:cubicBezTo>
                  <a:cubicBezTo>
                    <a:pt x="302" y="322"/>
                    <a:pt x="295" y="329"/>
                    <a:pt x="286" y="329"/>
                  </a:cubicBezTo>
                  <a:lnTo>
                    <a:pt x="32" y="329"/>
                  </a:lnTo>
                  <a:close/>
                  <a:moveTo>
                    <a:pt x="896" y="313"/>
                  </a:moveTo>
                  <a:cubicBezTo>
                    <a:pt x="896" y="313"/>
                    <a:pt x="896" y="313"/>
                    <a:pt x="896" y="313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0" name="ExtraShape7">
              <a:extLst>
                <a:ext uri="{FF2B5EF4-FFF2-40B4-BE49-F238E27FC236}">
                  <a16:creationId xmlns:a16="http://schemas.microsoft.com/office/drawing/2014/main" id="{341CA5B1-A483-43C7-8A38-F684B5D9B686}"/>
                </a:ext>
              </a:extLst>
            </p:cNvPr>
            <p:cNvSpPr/>
            <p:nvPr/>
          </p:nvSpPr>
          <p:spPr bwMode="auto">
            <a:xfrm>
              <a:off x="4285000" y="2748991"/>
              <a:ext cx="851246" cy="850253"/>
            </a:xfrm>
            <a:custGeom>
              <a:avLst/>
              <a:gdLst>
                <a:gd name="T0" fmla="*/ 206 w 412"/>
                <a:gd name="T1" fmla="*/ 412 h 412"/>
                <a:gd name="T2" fmla="*/ 0 w 412"/>
                <a:gd name="T3" fmla="*/ 206 h 412"/>
                <a:gd name="T4" fmla="*/ 206 w 412"/>
                <a:gd name="T5" fmla="*/ 0 h 412"/>
                <a:gd name="T6" fmla="*/ 412 w 412"/>
                <a:gd name="T7" fmla="*/ 206 h 412"/>
                <a:gd name="T8" fmla="*/ 206 w 412"/>
                <a:gd name="T9" fmla="*/ 412 h 412"/>
                <a:gd name="T10" fmla="*/ 206 w 412"/>
                <a:gd name="T11" fmla="*/ 32 h 412"/>
                <a:gd name="T12" fmla="*/ 32 w 412"/>
                <a:gd name="T13" fmla="*/ 206 h 412"/>
                <a:gd name="T14" fmla="*/ 206 w 412"/>
                <a:gd name="T15" fmla="*/ 380 h 412"/>
                <a:gd name="T16" fmla="*/ 380 w 412"/>
                <a:gd name="T17" fmla="*/ 206 h 412"/>
                <a:gd name="T18" fmla="*/ 206 w 412"/>
                <a:gd name="T19" fmla="*/ 3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2" h="412">
                  <a:moveTo>
                    <a:pt x="206" y="412"/>
                  </a:moveTo>
                  <a:cubicBezTo>
                    <a:pt x="92" y="412"/>
                    <a:pt x="0" y="320"/>
                    <a:pt x="0" y="206"/>
                  </a:cubicBezTo>
                  <a:cubicBezTo>
                    <a:pt x="0" y="92"/>
                    <a:pt x="92" y="0"/>
                    <a:pt x="206" y="0"/>
                  </a:cubicBezTo>
                  <a:cubicBezTo>
                    <a:pt x="320" y="0"/>
                    <a:pt x="412" y="92"/>
                    <a:pt x="412" y="206"/>
                  </a:cubicBezTo>
                  <a:cubicBezTo>
                    <a:pt x="412" y="320"/>
                    <a:pt x="320" y="412"/>
                    <a:pt x="206" y="412"/>
                  </a:cubicBezTo>
                  <a:close/>
                  <a:moveTo>
                    <a:pt x="206" y="32"/>
                  </a:moveTo>
                  <a:cubicBezTo>
                    <a:pt x="110" y="32"/>
                    <a:pt x="32" y="110"/>
                    <a:pt x="32" y="206"/>
                  </a:cubicBezTo>
                  <a:cubicBezTo>
                    <a:pt x="32" y="302"/>
                    <a:pt x="110" y="380"/>
                    <a:pt x="206" y="380"/>
                  </a:cubicBezTo>
                  <a:cubicBezTo>
                    <a:pt x="302" y="380"/>
                    <a:pt x="380" y="302"/>
                    <a:pt x="380" y="206"/>
                  </a:cubicBezTo>
                  <a:cubicBezTo>
                    <a:pt x="380" y="110"/>
                    <a:pt x="302" y="32"/>
                    <a:pt x="206" y="32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1" name="ExtraShape8">
              <a:extLst>
                <a:ext uri="{FF2B5EF4-FFF2-40B4-BE49-F238E27FC236}">
                  <a16:creationId xmlns:a16="http://schemas.microsoft.com/office/drawing/2014/main" id="{AA90355E-B6BC-482E-A25C-6705A19E054A}"/>
                </a:ext>
              </a:extLst>
            </p:cNvPr>
            <p:cNvSpPr/>
            <p:nvPr/>
          </p:nvSpPr>
          <p:spPr bwMode="auto">
            <a:xfrm>
              <a:off x="4493834" y="2186134"/>
              <a:ext cx="421646" cy="1161514"/>
            </a:xfrm>
            <a:custGeom>
              <a:avLst/>
              <a:gdLst>
                <a:gd name="T0" fmla="*/ 9 w 204"/>
                <a:gd name="T1" fmla="*/ 443 h 563"/>
                <a:gd name="T2" fmla="*/ 68 w 204"/>
                <a:gd name="T3" fmla="*/ 556 h 563"/>
                <a:gd name="T4" fmla="*/ 105 w 204"/>
                <a:gd name="T5" fmla="*/ 562 h 563"/>
                <a:gd name="T6" fmla="*/ 198 w 204"/>
                <a:gd name="T7" fmla="*/ 497 h 563"/>
                <a:gd name="T8" fmla="*/ 201 w 204"/>
                <a:gd name="T9" fmla="*/ 446 h 563"/>
                <a:gd name="T10" fmla="*/ 118 w 204"/>
                <a:gd name="T11" fmla="*/ 16 h 563"/>
                <a:gd name="T12" fmla="*/ 89 w 204"/>
                <a:gd name="T13" fmla="*/ 16 h 563"/>
                <a:gd name="T14" fmla="*/ 9 w 204"/>
                <a:gd name="T15" fmla="*/ 443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4" h="563">
                  <a:moveTo>
                    <a:pt x="9" y="443"/>
                  </a:moveTo>
                  <a:cubicBezTo>
                    <a:pt x="0" y="490"/>
                    <a:pt x="24" y="539"/>
                    <a:pt x="68" y="556"/>
                  </a:cubicBezTo>
                  <a:cubicBezTo>
                    <a:pt x="80" y="560"/>
                    <a:pt x="92" y="563"/>
                    <a:pt x="105" y="562"/>
                  </a:cubicBezTo>
                  <a:cubicBezTo>
                    <a:pt x="148" y="562"/>
                    <a:pt x="184" y="535"/>
                    <a:pt x="198" y="497"/>
                  </a:cubicBezTo>
                  <a:cubicBezTo>
                    <a:pt x="204" y="481"/>
                    <a:pt x="204" y="463"/>
                    <a:pt x="201" y="446"/>
                  </a:cubicBezTo>
                  <a:cubicBezTo>
                    <a:pt x="118" y="16"/>
                    <a:pt x="118" y="16"/>
                    <a:pt x="118" y="16"/>
                  </a:cubicBezTo>
                  <a:cubicBezTo>
                    <a:pt x="115" y="0"/>
                    <a:pt x="92" y="0"/>
                    <a:pt x="89" y="16"/>
                  </a:cubicBezTo>
                  <a:lnTo>
                    <a:pt x="9" y="443"/>
                  </a:lnTo>
                  <a:close/>
                </a:path>
              </a:pathLst>
            </a:custGeom>
            <a:solidFill>
              <a:srgbClr val="E0E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2" name="ExtraShape9">
              <a:extLst>
                <a:ext uri="{FF2B5EF4-FFF2-40B4-BE49-F238E27FC236}">
                  <a16:creationId xmlns:a16="http://schemas.microsoft.com/office/drawing/2014/main" id="{22A30B16-70BA-41B3-9C43-357279C5579A}"/>
                </a:ext>
              </a:extLst>
            </p:cNvPr>
            <p:cNvSpPr/>
            <p:nvPr/>
          </p:nvSpPr>
          <p:spPr bwMode="auto">
            <a:xfrm>
              <a:off x="4458034" y="2161272"/>
              <a:ext cx="492252" cy="1217203"/>
            </a:xfrm>
            <a:custGeom>
              <a:avLst/>
              <a:gdLst>
                <a:gd name="T0" fmla="*/ 121 w 238"/>
                <a:gd name="T1" fmla="*/ 590 h 590"/>
                <a:gd name="T2" fmla="*/ 79 w 238"/>
                <a:gd name="T3" fmla="*/ 583 h 590"/>
                <a:gd name="T4" fmla="*/ 10 w 238"/>
                <a:gd name="T5" fmla="*/ 452 h 590"/>
                <a:gd name="T6" fmla="*/ 90 w 238"/>
                <a:gd name="T7" fmla="*/ 25 h 590"/>
                <a:gd name="T8" fmla="*/ 120 w 238"/>
                <a:gd name="T9" fmla="*/ 0 h 590"/>
                <a:gd name="T10" fmla="*/ 120 w 238"/>
                <a:gd name="T11" fmla="*/ 0 h 590"/>
                <a:gd name="T12" fmla="*/ 151 w 238"/>
                <a:gd name="T13" fmla="*/ 25 h 590"/>
                <a:gd name="T14" fmla="*/ 233 w 238"/>
                <a:gd name="T15" fmla="*/ 455 h 590"/>
                <a:gd name="T16" fmla="*/ 230 w 238"/>
                <a:gd name="T17" fmla="*/ 514 h 590"/>
                <a:gd name="T18" fmla="*/ 122 w 238"/>
                <a:gd name="T19" fmla="*/ 590 h 590"/>
                <a:gd name="T20" fmla="*/ 121 w 238"/>
                <a:gd name="T21" fmla="*/ 590 h 590"/>
                <a:gd name="T22" fmla="*/ 120 w 238"/>
                <a:gd name="T23" fmla="*/ 38 h 590"/>
                <a:gd name="T24" fmla="*/ 42 w 238"/>
                <a:gd name="T25" fmla="*/ 458 h 590"/>
                <a:gd name="T26" fmla="*/ 91 w 238"/>
                <a:gd name="T27" fmla="*/ 553 h 590"/>
                <a:gd name="T28" fmla="*/ 122 w 238"/>
                <a:gd name="T29" fmla="*/ 558 h 590"/>
                <a:gd name="T30" fmla="*/ 200 w 238"/>
                <a:gd name="T31" fmla="*/ 503 h 590"/>
                <a:gd name="T32" fmla="*/ 202 w 238"/>
                <a:gd name="T33" fmla="*/ 461 h 590"/>
                <a:gd name="T34" fmla="*/ 120 w 238"/>
                <a:gd name="T35" fmla="*/ 38 h 590"/>
                <a:gd name="T36" fmla="*/ 26 w 238"/>
                <a:gd name="T37" fmla="*/ 455 h 590"/>
                <a:gd name="T38" fmla="*/ 26 w 238"/>
                <a:gd name="T39" fmla="*/ 455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8" h="590">
                  <a:moveTo>
                    <a:pt x="121" y="590"/>
                  </a:moveTo>
                  <a:cubicBezTo>
                    <a:pt x="107" y="590"/>
                    <a:pt x="93" y="588"/>
                    <a:pt x="79" y="583"/>
                  </a:cubicBezTo>
                  <a:cubicBezTo>
                    <a:pt x="29" y="563"/>
                    <a:pt x="0" y="508"/>
                    <a:pt x="10" y="452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3" y="10"/>
                    <a:pt x="106" y="0"/>
                    <a:pt x="120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35" y="0"/>
                    <a:pt x="148" y="10"/>
                    <a:pt x="151" y="25"/>
                  </a:cubicBezTo>
                  <a:cubicBezTo>
                    <a:pt x="233" y="455"/>
                    <a:pt x="233" y="455"/>
                    <a:pt x="233" y="455"/>
                  </a:cubicBezTo>
                  <a:cubicBezTo>
                    <a:pt x="238" y="476"/>
                    <a:pt x="236" y="496"/>
                    <a:pt x="230" y="514"/>
                  </a:cubicBezTo>
                  <a:cubicBezTo>
                    <a:pt x="213" y="559"/>
                    <a:pt x="170" y="590"/>
                    <a:pt x="122" y="590"/>
                  </a:cubicBezTo>
                  <a:cubicBezTo>
                    <a:pt x="122" y="590"/>
                    <a:pt x="121" y="590"/>
                    <a:pt x="121" y="590"/>
                  </a:cubicBezTo>
                  <a:close/>
                  <a:moveTo>
                    <a:pt x="120" y="38"/>
                  </a:moveTo>
                  <a:cubicBezTo>
                    <a:pt x="42" y="458"/>
                    <a:pt x="42" y="458"/>
                    <a:pt x="42" y="458"/>
                  </a:cubicBezTo>
                  <a:cubicBezTo>
                    <a:pt x="34" y="499"/>
                    <a:pt x="55" y="539"/>
                    <a:pt x="91" y="553"/>
                  </a:cubicBezTo>
                  <a:cubicBezTo>
                    <a:pt x="101" y="557"/>
                    <a:pt x="111" y="559"/>
                    <a:pt x="122" y="558"/>
                  </a:cubicBezTo>
                  <a:cubicBezTo>
                    <a:pt x="156" y="558"/>
                    <a:pt x="188" y="536"/>
                    <a:pt x="200" y="503"/>
                  </a:cubicBezTo>
                  <a:cubicBezTo>
                    <a:pt x="204" y="491"/>
                    <a:pt x="205" y="476"/>
                    <a:pt x="202" y="461"/>
                  </a:cubicBezTo>
                  <a:lnTo>
                    <a:pt x="120" y="38"/>
                  </a:lnTo>
                  <a:close/>
                  <a:moveTo>
                    <a:pt x="26" y="455"/>
                  </a:moveTo>
                  <a:cubicBezTo>
                    <a:pt x="26" y="455"/>
                    <a:pt x="26" y="455"/>
                    <a:pt x="26" y="455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3" name="ExtraShape10">
              <a:extLst>
                <a:ext uri="{FF2B5EF4-FFF2-40B4-BE49-F238E27FC236}">
                  <a16:creationId xmlns:a16="http://schemas.microsoft.com/office/drawing/2014/main" id="{02D76571-8275-43FB-95CA-59E011BD31CE}"/>
                </a:ext>
              </a:extLst>
            </p:cNvPr>
            <p:cNvSpPr/>
            <p:nvPr/>
          </p:nvSpPr>
          <p:spPr bwMode="auto">
            <a:xfrm>
              <a:off x="4611179" y="3042353"/>
              <a:ext cx="198890" cy="199884"/>
            </a:xfrm>
            <a:prstGeom prst="ellipse">
              <a:avLst/>
            </a:prstGeom>
            <a:solidFill>
              <a:srgbClr val="F9A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4" name="ExtraShape">
              <a:extLst>
                <a:ext uri="{FF2B5EF4-FFF2-40B4-BE49-F238E27FC236}">
                  <a16:creationId xmlns:a16="http://schemas.microsoft.com/office/drawing/2014/main" id="{C247F16A-5A9C-4C55-871B-99ED4CE7C259}"/>
                </a:ext>
              </a:extLst>
            </p:cNvPr>
            <p:cNvSpPr/>
            <p:nvPr/>
          </p:nvSpPr>
          <p:spPr bwMode="auto">
            <a:xfrm>
              <a:off x="4578362" y="3009536"/>
              <a:ext cx="264523" cy="265518"/>
            </a:xfrm>
            <a:custGeom>
              <a:avLst/>
              <a:gdLst>
                <a:gd name="T0" fmla="*/ 64 w 128"/>
                <a:gd name="T1" fmla="*/ 129 h 129"/>
                <a:gd name="T2" fmla="*/ 0 w 128"/>
                <a:gd name="T3" fmla="*/ 64 h 129"/>
                <a:gd name="T4" fmla="*/ 64 w 128"/>
                <a:gd name="T5" fmla="*/ 0 h 129"/>
                <a:gd name="T6" fmla="*/ 128 w 128"/>
                <a:gd name="T7" fmla="*/ 64 h 129"/>
                <a:gd name="T8" fmla="*/ 64 w 128"/>
                <a:gd name="T9" fmla="*/ 129 h 129"/>
                <a:gd name="T10" fmla="*/ 64 w 128"/>
                <a:gd name="T11" fmla="*/ 32 h 129"/>
                <a:gd name="T12" fmla="*/ 32 w 128"/>
                <a:gd name="T13" fmla="*/ 64 h 129"/>
                <a:gd name="T14" fmla="*/ 64 w 128"/>
                <a:gd name="T15" fmla="*/ 97 h 129"/>
                <a:gd name="T16" fmla="*/ 96 w 128"/>
                <a:gd name="T17" fmla="*/ 64 h 129"/>
                <a:gd name="T18" fmla="*/ 64 w 128"/>
                <a:gd name="T19" fmla="*/ 32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9">
                  <a:moveTo>
                    <a:pt x="64" y="129"/>
                  </a:moveTo>
                  <a:cubicBezTo>
                    <a:pt x="28" y="129"/>
                    <a:pt x="0" y="100"/>
                    <a:pt x="0" y="64"/>
                  </a:cubicBezTo>
                  <a:cubicBezTo>
                    <a:pt x="0" y="29"/>
                    <a:pt x="28" y="0"/>
                    <a:pt x="64" y="0"/>
                  </a:cubicBezTo>
                  <a:cubicBezTo>
                    <a:pt x="100" y="0"/>
                    <a:pt x="128" y="29"/>
                    <a:pt x="128" y="64"/>
                  </a:cubicBezTo>
                  <a:cubicBezTo>
                    <a:pt x="128" y="100"/>
                    <a:pt x="100" y="129"/>
                    <a:pt x="64" y="129"/>
                  </a:cubicBezTo>
                  <a:close/>
                  <a:moveTo>
                    <a:pt x="64" y="32"/>
                  </a:moveTo>
                  <a:cubicBezTo>
                    <a:pt x="46" y="32"/>
                    <a:pt x="32" y="46"/>
                    <a:pt x="32" y="64"/>
                  </a:cubicBezTo>
                  <a:cubicBezTo>
                    <a:pt x="32" y="82"/>
                    <a:pt x="46" y="97"/>
                    <a:pt x="64" y="97"/>
                  </a:cubicBezTo>
                  <a:cubicBezTo>
                    <a:pt x="82" y="97"/>
                    <a:pt x="96" y="82"/>
                    <a:pt x="96" y="64"/>
                  </a:cubicBezTo>
                  <a:cubicBezTo>
                    <a:pt x="96" y="46"/>
                    <a:pt x="82" y="32"/>
                    <a:pt x="64" y="32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5" name="CustomText">
              <a:extLst>
                <a:ext uri="{FF2B5EF4-FFF2-40B4-BE49-F238E27FC236}">
                  <a16:creationId xmlns:a16="http://schemas.microsoft.com/office/drawing/2014/main" id="{184FDC44-EAB4-4969-99FF-E1012E821E2E}"/>
                </a:ext>
              </a:extLst>
            </p:cNvPr>
            <p:cNvSpPr/>
            <p:nvPr/>
          </p:nvSpPr>
          <p:spPr>
            <a:xfrm flipH="1">
              <a:off x="3511067" y="4670262"/>
              <a:ext cx="2399113" cy="468656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85000" lnSpcReduction="1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2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26" name="CustomText1">
              <a:extLst>
                <a:ext uri="{FF2B5EF4-FFF2-40B4-BE49-F238E27FC236}">
                  <a16:creationId xmlns:a16="http://schemas.microsoft.com/office/drawing/2014/main" id="{35DC09B3-9F93-45AD-9FC8-B04DD0556044}"/>
                </a:ext>
              </a:extLst>
            </p:cNvPr>
            <p:cNvSpPr/>
            <p:nvPr/>
          </p:nvSpPr>
          <p:spPr>
            <a:xfrm flipH="1">
              <a:off x="3511067" y="5138918"/>
              <a:ext cx="2399114" cy="359583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 lnSpcReduction="10000"/>
            </a:bodyPr>
            <a:lstStyle/>
            <a:p>
              <a:pPr lvl="0" algn="ctr">
                <a:defRPr/>
              </a:pPr>
              <a:r>
                <a:rPr lang="en-US" altLang="zh-CN" dirty="0">
                  <a:solidFill>
                    <a:schemeClr val="tx2"/>
                  </a:solidFill>
                  <a:latin typeface="+mj-lt"/>
                </a:rPr>
                <a:t>DESCRIPTION HERE</a:t>
              </a:r>
              <a:endPara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29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31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3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53169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îšliḑê"/>
          <p:cNvSpPr txBox="1">
            <a:spLocks/>
          </p:cNvSpPr>
          <p:nvPr/>
        </p:nvSpPr>
        <p:spPr>
          <a:xfrm>
            <a:off x="675698" y="4185069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4800" dirty="0"/>
              <a:t>OUR</a:t>
            </a:r>
            <a:endParaRPr lang="zh-CN" altLang="en-US" sz="4800" dirty="0"/>
          </a:p>
        </p:txBody>
      </p:sp>
      <p:sp>
        <p:nvSpPr>
          <p:cNvPr id="8" name="íślíd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/0</a:t>
            </a:r>
            <a:r>
              <a:rPr lang="tr-TR" altLang="zh-CN" spc="1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4</a:t>
            </a:r>
            <a:endParaRPr lang="zh-CN" altLang="en-US" spc="1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54425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ļ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 5"/>
          <p:cNvSpPr>
            <a:spLocks/>
          </p:cNvSpPr>
          <p:nvPr/>
        </p:nvSpPr>
        <p:spPr bwMode="auto">
          <a:xfrm flipH="1">
            <a:off x="6361297" y="4518115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  <a:latin typeface="+mj-lt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1369485" y="1493812"/>
            <a:ext cx="4052452" cy="2291439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67" name="文本框 74"/>
          <p:cNvSpPr txBox="1"/>
          <p:nvPr/>
        </p:nvSpPr>
        <p:spPr>
          <a:xfrm>
            <a:off x="2211623" y="2420320"/>
            <a:ext cx="295946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b="1" dirty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ONTENTS</a:t>
            </a:r>
            <a:endParaRPr lang="zh-CN" altLang="en-US" sz="3600" b="1" dirty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68" name="Freeform 5"/>
          <p:cNvSpPr>
            <a:spLocks/>
          </p:cNvSpPr>
          <p:nvPr/>
        </p:nvSpPr>
        <p:spPr bwMode="auto">
          <a:xfrm flipH="1">
            <a:off x="6361297" y="11073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  <a:latin typeface="+mj-lt"/>
            </a:endParaRPr>
          </a:p>
        </p:txBody>
      </p:sp>
      <p:sp>
        <p:nvSpPr>
          <p:cNvPr id="69" name="Freeform 5"/>
          <p:cNvSpPr>
            <a:spLocks/>
          </p:cNvSpPr>
          <p:nvPr/>
        </p:nvSpPr>
        <p:spPr bwMode="auto">
          <a:xfrm flipH="1">
            <a:off x="6361297" y="2244292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  <a:latin typeface="+mj-lt"/>
            </a:endParaRPr>
          </a:p>
        </p:txBody>
      </p:sp>
      <p:sp>
        <p:nvSpPr>
          <p:cNvPr id="70" name="Freeform 5"/>
          <p:cNvSpPr>
            <a:spLocks/>
          </p:cNvSpPr>
          <p:nvPr/>
        </p:nvSpPr>
        <p:spPr bwMode="auto">
          <a:xfrm flipH="1">
            <a:off x="6361297" y="3381204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  <a:latin typeface="+mj-lt"/>
            </a:endParaRPr>
          </a:p>
        </p:txBody>
      </p:sp>
      <p:sp>
        <p:nvSpPr>
          <p:cNvPr id="71" name="MH_Number_1"/>
          <p:cNvSpPr/>
          <p:nvPr>
            <p:custDataLst>
              <p:tags r:id="rId2"/>
            </p:custDataLst>
          </p:nvPr>
        </p:nvSpPr>
        <p:spPr>
          <a:xfrm>
            <a:off x="6789097" y="1287016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109" b="1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+mj-lt"/>
                <a:cs typeface="Times New Roman" panose="02020603050405020304" pitchFamily="18" charset="0"/>
                <a:sym typeface="Arial" panose="020B0604020202020204" pitchFamily="34" charset="0"/>
              </a:rPr>
              <a:t>1</a:t>
            </a:r>
            <a:endParaRPr kumimoji="0" lang="zh-CN" altLang="en-US" sz="2109" b="1" i="0" u="none" strike="noStrike" kern="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2" name="MH_Entry_1"/>
          <p:cNvSpPr/>
          <p:nvPr>
            <p:custDataLst>
              <p:tags r:id="rId3"/>
            </p:custDataLst>
          </p:nvPr>
        </p:nvSpPr>
        <p:spPr>
          <a:xfrm>
            <a:off x="7811896" y="1278368"/>
            <a:ext cx="2602582" cy="430887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34255 w 2520280"/>
              <a:gd name="connsiteY4" fmla="*/ 0 h 1872208"/>
              <a:gd name="connsiteX5" fmla="*/ 0 w 2520280"/>
              <a:gd name="connsiteY5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917 w 2520280"/>
              <a:gd name="connsiteY4" fmla="*/ 6036 h 1872208"/>
              <a:gd name="connsiteX5" fmla="*/ 0 w 2520280"/>
              <a:gd name="connsiteY5" fmla="*/ 0 h 1872208"/>
              <a:gd name="connsiteX0" fmla="*/ 0 w 2520280"/>
              <a:gd name="connsiteY0" fmla="*/ 1890314 h 1890314"/>
              <a:gd name="connsiteX1" fmla="*/ 2520280 w 2520280"/>
              <a:gd name="connsiteY1" fmla="*/ 1890314 h 1890314"/>
              <a:gd name="connsiteX2" fmla="*/ 0 w 2520280"/>
              <a:gd name="connsiteY2" fmla="*/ 1890314 h 1890314"/>
              <a:gd name="connsiteX3" fmla="*/ 0 w 2520280"/>
              <a:gd name="connsiteY3" fmla="*/ 18106 h 1890314"/>
              <a:gd name="connsiteX4" fmla="*/ 53304 w 2520280"/>
              <a:gd name="connsiteY4" fmla="*/ 0 h 1890314"/>
              <a:gd name="connsiteX5" fmla="*/ 0 w 2520280"/>
              <a:gd name="connsiteY5" fmla="*/ 18106 h 1890314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916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tr-TR" altLang="zh-CN" sz="2800" kern="0" dirty="0" err="1">
                <a:solidFill>
                  <a:prstClr val="white"/>
                </a:solidFill>
                <a:latin typeface="+mj-lt"/>
                <a:sym typeface="Arial" panose="020B0604020202020204" pitchFamily="34" charset="0"/>
              </a:rPr>
              <a:t>Partnerships</a:t>
            </a: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sym typeface="Arial" panose="020B0604020202020204" pitchFamily="34" charset="0"/>
            </a:endParaRPr>
          </a:p>
        </p:txBody>
      </p:sp>
      <p:sp>
        <p:nvSpPr>
          <p:cNvPr id="73" name="MH_Number_2"/>
          <p:cNvSpPr/>
          <p:nvPr>
            <p:custDataLst>
              <p:tags r:id="rId4"/>
            </p:custDataLst>
          </p:nvPr>
        </p:nvSpPr>
        <p:spPr>
          <a:xfrm>
            <a:off x="6789097" y="2429582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109" b="1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+mj-lt"/>
                <a:cs typeface="Times New Roman" panose="02020603050405020304" pitchFamily="18" charset="0"/>
                <a:sym typeface="Arial" panose="020B0604020202020204" pitchFamily="34" charset="0"/>
              </a:rPr>
              <a:t>2</a:t>
            </a:r>
            <a:endParaRPr kumimoji="0" lang="zh-CN" altLang="en-US" sz="2109" b="1" i="0" u="none" strike="noStrike" kern="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4" name="MH_Entry_2"/>
          <p:cNvSpPr/>
          <p:nvPr>
            <p:custDataLst>
              <p:tags r:id="rId5"/>
            </p:custDataLst>
          </p:nvPr>
        </p:nvSpPr>
        <p:spPr>
          <a:xfrm>
            <a:off x="7811896" y="2420934"/>
            <a:ext cx="2602582" cy="430887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34255 w 2520280"/>
              <a:gd name="connsiteY4" fmla="*/ 0 h 1872208"/>
              <a:gd name="connsiteX5" fmla="*/ 0 w 2520280"/>
              <a:gd name="connsiteY5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917 w 2520280"/>
              <a:gd name="connsiteY4" fmla="*/ 6036 h 1872208"/>
              <a:gd name="connsiteX5" fmla="*/ 0 w 2520280"/>
              <a:gd name="connsiteY5" fmla="*/ 0 h 1872208"/>
              <a:gd name="connsiteX0" fmla="*/ 0 w 2520280"/>
              <a:gd name="connsiteY0" fmla="*/ 1890314 h 1890314"/>
              <a:gd name="connsiteX1" fmla="*/ 2520280 w 2520280"/>
              <a:gd name="connsiteY1" fmla="*/ 1890314 h 1890314"/>
              <a:gd name="connsiteX2" fmla="*/ 0 w 2520280"/>
              <a:gd name="connsiteY2" fmla="*/ 1890314 h 1890314"/>
              <a:gd name="connsiteX3" fmla="*/ 0 w 2520280"/>
              <a:gd name="connsiteY3" fmla="*/ 18106 h 1890314"/>
              <a:gd name="connsiteX4" fmla="*/ 53304 w 2520280"/>
              <a:gd name="connsiteY4" fmla="*/ 0 h 1890314"/>
              <a:gd name="connsiteX5" fmla="*/ 0 w 2520280"/>
              <a:gd name="connsiteY5" fmla="*/ 18106 h 1890314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916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tr-TR" altLang="zh-CN" sz="2800" kern="0" dirty="0" err="1">
                <a:solidFill>
                  <a:prstClr val="white"/>
                </a:solidFill>
                <a:latin typeface="+mj-lt"/>
                <a:sym typeface="Arial" panose="020B0604020202020204" pitchFamily="34" charset="0"/>
              </a:rPr>
              <a:t>Conferences</a:t>
            </a: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sym typeface="Arial" panose="020B0604020202020204" pitchFamily="34" charset="0"/>
            </a:endParaRPr>
          </a:p>
        </p:txBody>
      </p:sp>
      <p:sp>
        <p:nvSpPr>
          <p:cNvPr id="75" name="MH_Number_3"/>
          <p:cNvSpPr/>
          <p:nvPr>
            <p:custDataLst>
              <p:tags r:id="rId6"/>
            </p:custDataLst>
          </p:nvPr>
        </p:nvSpPr>
        <p:spPr>
          <a:xfrm>
            <a:off x="6789097" y="3572148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109" b="1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+mj-lt"/>
                <a:cs typeface="Times New Roman" panose="02020603050405020304" pitchFamily="18" charset="0"/>
                <a:sym typeface="Arial" panose="020B0604020202020204" pitchFamily="34" charset="0"/>
              </a:rPr>
              <a:t>3</a:t>
            </a:r>
            <a:endParaRPr kumimoji="0" lang="zh-CN" altLang="en-US" sz="2109" b="1" i="0" u="none" strike="noStrike" kern="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6" name="MH_Entry_3"/>
          <p:cNvSpPr/>
          <p:nvPr>
            <p:custDataLst>
              <p:tags r:id="rId7"/>
            </p:custDataLst>
          </p:nvPr>
        </p:nvSpPr>
        <p:spPr>
          <a:xfrm>
            <a:off x="7811896" y="3563500"/>
            <a:ext cx="2602582" cy="430887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34255 w 2520280"/>
              <a:gd name="connsiteY4" fmla="*/ 0 h 1872208"/>
              <a:gd name="connsiteX5" fmla="*/ 0 w 2520280"/>
              <a:gd name="connsiteY5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917 w 2520280"/>
              <a:gd name="connsiteY4" fmla="*/ 6036 h 1872208"/>
              <a:gd name="connsiteX5" fmla="*/ 0 w 2520280"/>
              <a:gd name="connsiteY5" fmla="*/ 0 h 1872208"/>
              <a:gd name="connsiteX0" fmla="*/ 0 w 2520280"/>
              <a:gd name="connsiteY0" fmla="*/ 1890314 h 1890314"/>
              <a:gd name="connsiteX1" fmla="*/ 2520280 w 2520280"/>
              <a:gd name="connsiteY1" fmla="*/ 1890314 h 1890314"/>
              <a:gd name="connsiteX2" fmla="*/ 0 w 2520280"/>
              <a:gd name="connsiteY2" fmla="*/ 1890314 h 1890314"/>
              <a:gd name="connsiteX3" fmla="*/ 0 w 2520280"/>
              <a:gd name="connsiteY3" fmla="*/ 18106 h 1890314"/>
              <a:gd name="connsiteX4" fmla="*/ 53304 w 2520280"/>
              <a:gd name="connsiteY4" fmla="*/ 0 h 1890314"/>
              <a:gd name="connsiteX5" fmla="*/ 0 w 2520280"/>
              <a:gd name="connsiteY5" fmla="*/ 18106 h 1890314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916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tr-TR" altLang="zh-CN" sz="2800" kern="0" dirty="0" err="1">
                <a:solidFill>
                  <a:prstClr val="white"/>
                </a:solidFill>
                <a:latin typeface="+mj-lt"/>
                <a:sym typeface="Arial" panose="020B0604020202020204" pitchFamily="34" charset="0"/>
              </a:rPr>
              <a:t>Events</a:t>
            </a: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sym typeface="Arial" panose="020B0604020202020204" pitchFamily="34" charset="0"/>
            </a:endParaRPr>
          </a:p>
        </p:txBody>
      </p:sp>
      <p:sp>
        <p:nvSpPr>
          <p:cNvPr id="77" name="MH_Number_4"/>
          <p:cNvSpPr/>
          <p:nvPr>
            <p:custDataLst>
              <p:tags r:id="rId8"/>
            </p:custDataLst>
          </p:nvPr>
        </p:nvSpPr>
        <p:spPr>
          <a:xfrm>
            <a:off x="6789097" y="4714714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109" b="1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+mj-lt"/>
                <a:cs typeface="Times New Roman" panose="02020603050405020304" pitchFamily="18" charset="0"/>
                <a:sym typeface="Arial" panose="020B0604020202020204" pitchFamily="34" charset="0"/>
              </a:rPr>
              <a:t>4</a:t>
            </a:r>
            <a:endParaRPr kumimoji="0" lang="zh-CN" altLang="en-US" sz="2109" b="1" i="0" u="none" strike="noStrike" kern="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8" name="MH_Entry_4"/>
          <p:cNvSpPr/>
          <p:nvPr>
            <p:custDataLst>
              <p:tags r:id="rId9"/>
            </p:custDataLst>
          </p:nvPr>
        </p:nvSpPr>
        <p:spPr>
          <a:xfrm>
            <a:off x="7811896" y="4706066"/>
            <a:ext cx="2602582" cy="430887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34255 w 2520280"/>
              <a:gd name="connsiteY4" fmla="*/ 0 h 1872208"/>
              <a:gd name="connsiteX5" fmla="*/ 0 w 2520280"/>
              <a:gd name="connsiteY5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917 w 2520280"/>
              <a:gd name="connsiteY4" fmla="*/ 6036 h 1872208"/>
              <a:gd name="connsiteX5" fmla="*/ 0 w 2520280"/>
              <a:gd name="connsiteY5" fmla="*/ 0 h 1872208"/>
              <a:gd name="connsiteX0" fmla="*/ 0 w 2520280"/>
              <a:gd name="connsiteY0" fmla="*/ 1890314 h 1890314"/>
              <a:gd name="connsiteX1" fmla="*/ 2520280 w 2520280"/>
              <a:gd name="connsiteY1" fmla="*/ 1890314 h 1890314"/>
              <a:gd name="connsiteX2" fmla="*/ 0 w 2520280"/>
              <a:gd name="connsiteY2" fmla="*/ 1890314 h 1890314"/>
              <a:gd name="connsiteX3" fmla="*/ 0 w 2520280"/>
              <a:gd name="connsiteY3" fmla="*/ 18106 h 1890314"/>
              <a:gd name="connsiteX4" fmla="*/ 53304 w 2520280"/>
              <a:gd name="connsiteY4" fmla="*/ 0 h 1890314"/>
              <a:gd name="connsiteX5" fmla="*/ 0 w 2520280"/>
              <a:gd name="connsiteY5" fmla="*/ 18106 h 1890314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916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tr-TR" altLang="zh-CN" sz="2800" kern="0" dirty="0" err="1">
                <a:solidFill>
                  <a:prstClr val="white"/>
                </a:solidFill>
                <a:latin typeface="+mj-lt"/>
                <a:sym typeface="Arial" panose="020B0604020202020204" pitchFamily="34" charset="0"/>
              </a:rPr>
              <a:t>Our</a:t>
            </a: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sym typeface="Arial" panose="020B0604020202020204" pitchFamily="34" charset="0"/>
            </a:endParaRPr>
          </a:p>
        </p:txBody>
      </p:sp>
      <p:grpSp>
        <p:nvGrpSpPr>
          <p:cNvPr id="79" name="组合 78">
            <a:extLst>
              <a:ext uri="{FF2B5EF4-FFF2-40B4-BE49-F238E27FC236}">
                <a16:creationId xmlns:a16="http://schemas.microsoft.com/office/drawing/2014/main" id="{2BCF0012-CFD2-4F43-9303-197588224407}"/>
              </a:ext>
            </a:extLst>
          </p:cNvPr>
          <p:cNvGrpSpPr/>
          <p:nvPr/>
        </p:nvGrpSpPr>
        <p:grpSpPr>
          <a:xfrm rot="1634608">
            <a:off x="970108" y="2895678"/>
            <a:ext cx="1257730" cy="3170470"/>
            <a:chOff x="8160109" y="891695"/>
            <a:chExt cx="1257730" cy="3170470"/>
          </a:xfrm>
        </p:grpSpPr>
        <p:sp>
          <p:nvSpPr>
            <p:cNvPr id="80" name="íṩḷîḓè">
              <a:extLst>
                <a:ext uri="{FF2B5EF4-FFF2-40B4-BE49-F238E27FC236}">
                  <a16:creationId xmlns:a16="http://schemas.microsoft.com/office/drawing/2014/main" id="{605CF221-A7BA-4697-B406-E9F07DD8D962}"/>
                </a:ext>
              </a:extLst>
            </p:cNvPr>
            <p:cNvSpPr/>
            <p:nvPr userDrawn="1"/>
          </p:nvSpPr>
          <p:spPr>
            <a:xfrm>
              <a:off x="8603205" y="3236522"/>
              <a:ext cx="385300" cy="825643"/>
            </a:xfrm>
            <a:custGeom>
              <a:avLst/>
              <a:gdLst>
                <a:gd name="connsiteX0" fmla="*/ 385300 w 385300"/>
                <a:gd name="connsiteY0" fmla="*/ 192650 h 825643"/>
                <a:gd name="connsiteX1" fmla="*/ 192650 w 385300"/>
                <a:gd name="connsiteY1" fmla="*/ 850413 h 825643"/>
                <a:gd name="connsiteX2" fmla="*/ 0 w 385300"/>
                <a:gd name="connsiteY2" fmla="*/ 192650 h 825643"/>
                <a:gd name="connsiteX3" fmla="*/ 192650 w 385300"/>
                <a:gd name="connsiteY3" fmla="*/ 0 h 825643"/>
                <a:gd name="connsiteX4" fmla="*/ 385300 w 385300"/>
                <a:gd name="connsiteY4" fmla="*/ 19265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25643">
                  <a:moveTo>
                    <a:pt x="385300" y="192650"/>
                  </a:moveTo>
                  <a:cubicBezTo>
                    <a:pt x="385300" y="299984"/>
                    <a:pt x="192650" y="850413"/>
                    <a:pt x="192650" y="850413"/>
                  </a:cubicBezTo>
                  <a:cubicBezTo>
                    <a:pt x="192650" y="850413"/>
                    <a:pt x="0" y="297232"/>
                    <a:pt x="0" y="192650"/>
                  </a:cubicBezTo>
                  <a:cubicBezTo>
                    <a:pt x="0" y="85316"/>
                    <a:pt x="85317" y="0"/>
                    <a:pt x="192650" y="0"/>
                  </a:cubicBezTo>
                  <a:cubicBezTo>
                    <a:pt x="299984" y="0"/>
                    <a:pt x="385300" y="85316"/>
                    <a:pt x="385300" y="192650"/>
                  </a:cubicBezTo>
                  <a:close/>
                </a:path>
              </a:pathLst>
            </a:custGeom>
            <a:solidFill>
              <a:srgbClr val="FFC72B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1" name="iṡļíḍe">
              <a:extLst>
                <a:ext uri="{FF2B5EF4-FFF2-40B4-BE49-F238E27FC236}">
                  <a16:creationId xmlns:a16="http://schemas.microsoft.com/office/drawing/2014/main" id="{C6CF470B-8E0D-46B9-B7E6-2DDA2963AF9D}"/>
                </a:ext>
              </a:extLst>
            </p:cNvPr>
            <p:cNvSpPr/>
            <p:nvPr userDrawn="1"/>
          </p:nvSpPr>
          <p:spPr>
            <a:xfrm>
              <a:off x="8578436" y="3123684"/>
              <a:ext cx="412822" cy="247693"/>
            </a:xfrm>
            <a:custGeom>
              <a:avLst/>
              <a:gdLst>
                <a:gd name="connsiteX0" fmla="*/ 434839 w 412821"/>
                <a:gd name="connsiteY0" fmla="*/ 247693 h 247693"/>
                <a:gd name="connsiteX1" fmla="*/ 0 w 412821"/>
                <a:gd name="connsiteY1" fmla="*/ 247693 h 247693"/>
                <a:gd name="connsiteX2" fmla="*/ 35778 w 412821"/>
                <a:gd name="connsiteY2" fmla="*/ 0 h 247693"/>
                <a:gd name="connsiteX3" fmla="*/ 399061 w 412821"/>
                <a:gd name="connsiteY3" fmla="*/ 0 h 247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821" h="247693">
                  <a:moveTo>
                    <a:pt x="434839" y="247693"/>
                  </a:moveTo>
                  <a:lnTo>
                    <a:pt x="0" y="247693"/>
                  </a:lnTo>
                  <a:lnTo>
                    <a:pt x="35778" y="0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2" name="íšḻïḓé">
              <a:extLst>
                <a:ext uri="{FF2B5EF4-FFF2-40B4-BE49-F238E27FC236}">
                  <a16:creationId xmlns:a16="http://schemas.microsoft.com/office/drawing/2014/main" id="{2C49BD33-6302-4780-903B-519E908189A8}"/>
                </a:ext>
              </a:extLst>
            </p:cNvPr>
            <p:cNvSpPr/>
            <p:nvPr userDrawn="1"/>
          </p:nvSpPr>
          <p:spPr>
            <a:xfrm>
              <a:off x="8160109" y="2765905"/>
              <a:ext cx="385300" cy="880686"/>
            </a:xfrm>
            <a:custGeom>
              <a:avLst/>
              <a:gdLst>
                <a:gd name="connsiteX0" fmla="*/ 322001 w 385300"/>
                <a:gd name="connsiteY0" fmla="*/ 0 h 880686"/>
                <a:gd name="connsiteX1" fmla="*/ 0 w 385300"/>
                <a:gd name="connsiteY1" fmla="*/ 330257 h 880686"/>
                <a:gd name="connsiteX2" fmla="*/ 283471 w 385300"/>
                <a:gd name="connsiteY2" fmla="*/ 880686 h 880686"/>
                <a:gd name="connsiteX3" fmla="*/ 399061 w 385300"/>
                <a:gd name="connsiteY3" fmla="*/ 880686 h 880686"/>
                <a:gd name="connsiteX4" fmla="*/ 399061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322001" y="0"/>
                  </a:moveTo>
                  <a:lnTo>
                    <a:pt x="0" y="330257"/>
                  </a:lnTo>
                  <a:lnTo>
                    <a:pt x="283471" y="880686"/>
                  </a:lnTo>
                  <a:lnTo>
                    <a:pt x="399061" y="880686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3" name="îṥļïďe">
              <a:extLst>
                <a:ext uri="{FF2B5EF4-FFF2-40B4-BE49-F238E27FC236}">
                  <a16:creationId xmlns:a16="http://schemas.microsoft.com/office/drawing/2014/main" id="{8B6F07AB-51F3-424B-BE3E-87012450D058}"/>
                </a:ext>
              </a:extLst>
            </p:cNvPr>
            <p:cNvSpPr/>
            <p:nvPr userDrawn="1"/>
          </p:nvSpPr>
          <p:spPr>
            <a:xfrm>
              <a:off x="9032539" y="2765905"/>
              <a:ext cx="385300" cy="880686"/>
            </a:xfrm>
            <a:custGeom>
              <a:avLst/>
              <a:gdLst>
                <a:gd name="connsiteX0" fmla="*/ 74307 w 385300"/>
                <a:gd name="connsiteY0" fmla="*/ 0 h 880686"/>
                <a:gd name="connsiteX1" fmla="*/ 399061 w 385300"/>
                <a:gd name="connsiteY1" fmla="*/ 330257 h 880686"/>
                <a:gd name="connsiteX2" fmla="*/ 115590 w 385300"/>
                <a:gd name="connsiteY2" fmla="*/ 880686 h 880686"/>
                <a:gd name="connsiteX3" fmla="*/ 0 w 385300"/>
                <a:gd name="connsiteY3" fmla="*/ 880686 h 880686"/>
                <a:gd name="connsiteX4" fmla="*/ 0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74307" y="0"/>
                  </a:moveTo>
                  <a:lnTo>
                    <a:pt x="399061" y="330257"/>
                  </a:lnTo>
                  <a:lnTo>
                    <a:pt x="115590" y="880686"/>
                  </a:lnTo>
                  <a:lnTo>
                    <a:pt x="0" y="8806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4" name="iṧlîḍê">
              <a:extLst>
                <a:ext uri="{FF2B5EF4-FFF2-40B4-BE49-F238E27FC236}">
                  <a16:creationId xmlns:a16="http://schemas.microsoft.com/office/drawing/2014/main" id="{1FB5861E-709D-4101-9C10-E8C552D9387F}"/>
                </a:ext>
              </a:extLst>
            </p:cNvPr>
            <p:cNvSpPr/>
            <p:nvPr userDrawn="1"/>
          </p:nvSpPr>
          <p:spPr>
            <a:xfrm>
              <a:off x="8290252" y="1629270"/>
              <a:ext cx="990772" cy="1596244"/>
            </a:xfrm>
            <a:custGeom>
              <a:avLst/>
              <a:gdLst>
                <a:gd name="connsiteX0" fmla="*/ 978972 w 990772"/>
                <a:gd name="connsiteY0" fmla="*/ 0 h 1596243"/>
                <a:gd name="connsiteX1" fmla="*/ 505603 w 990772"/>
                <a:gd name="connsiteY1" fmla="*/ 85316 h 1596243"/>
                <a:gd name="connsiteX2" fmla="*/ 32234 w 990772"/>
                <a:gd name="connsiteY2" fmla="*/ 0 h 1596243"/>
                <a:gd name="connsiteX3" fmla="*/ 268919 w 990772"/>
                <a:gd name="connsiteY3" fmla="*/ 1604500 h 1596243"/>
                <a:gd name="connsiteX4" fmla="*/ 505603 w 990772"/>
                <a:gd name="connsiteY4" fmla="*/ 1604500 h 1596243"/>
                <a:gd name="connsiteX5" fmla="*/ 742288 w 990772"/>
                <a:gd name="connsiteY5" fmla="*/ 1604500 h 1596243"/>
                <a:gd name="connsiteX6" fmla="*/ 978972 w 990772"/>
                <a:gd name="connsiteY6" fmla="*/ 0 h 159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0772" h="1596243">
                  <a:moveTo>
                    <a:pt x="978972" y="0"/>
                  </a:moveTo>
                  <a:lnTo>
                    <a:pt x="505603" y="85316"/>
                  </a:lnTo>
                  <a:lnTo>
                    <a:pt x="32234" y="0"/>
                  </a:lnTo>
                  <a:cubicBezTo>
                    <a:pt x="-110877" y="935729"/>
                    <a:pt x="268919" y="1604500"/>
                    <a:pt x="268919" y="1604500"/>
                  </a:cubicBezTo>
                  <a:lnTo>
                    <a:pt x="505603" y="1604500"/>
                  </a:lnTo>
                  <a:lnTo>
                    <a:pt x="742288" y="1604500"/>
                  </a:lnTo>
                  <a:cubicBezTo>
                    <a:pt x="742288" y="1607252"/>
                    <a:pt x="1119331" y="935729"/>
                    <a:pt x="978972" y="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5" name="íSļíḑè">
              <a:extLst>
                <a:ext uri="{FF2B5EF4-FFF2-40B4-BE49-F238E27FC236}">
                  <a16:creationId xmlns:a16="http://schemas.microsoft.com/office/drawing/2014/main" id="{FAFF69C2-B3A5-40E1-A057-2633B8525A70}"/>
                </a:ext>
              </a:extLst>
            </p:cNvPr>
            <p:cNvSpPr/>
            <p:nvPr userDrawn="1"/>
          </p:nvSpPr>
          <p:spPr>
            <a:xfrm>
              <a:off x="8322486" y="891695"/>
              <a:ext cx="935729" cy="825643"/>
            </a:xfrm>
            <a:custGeom>
              <a:avLst/>
              <a:gdLst>
                <a:gd name="connsiteX0" fmla="*/ 473369 w 935729"/>
                <a:gd name="connsiteY0" fmla="*/ 0 h 825643"/>
                <a:gd name="connsiteX1" fmla="*/ 0 w 935729"/>
                <a:gd name="connsiteY1" fmla="*/ 737575 h 825643"/>
                <a:gd name="connsiteX2" fmla="*/ 473369 w 935729"/>
                <a:gd name="connsiteY2" fmla="*/ 842156 h 825643"/>
                <a:gd name="connsiteX3" fmla="*/ 946738 w 935729"/>
                <a:gd name="connsiteY3" fmla="*/ 737575 h 825643"/>
                <a:gd name="connsiteX4" fmla="*/ 473369 w 935729"/>
                <a:gd name="connsiteY4" fmla="*/ 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5729" h="825643">
                  <a:moveTo>
                    <a:pt x="473369" y="0"/>
                  </a:moveTo>
                  <a:cubicBezTo>
                    <a:pt x="88069" y="288975"/>
                    <a:pt x="0" y="737575"/>
                    <a:pt x="0" y="737575"/>
                  </a:cubicBezTo>
                  <a:cubicBezTo>
                    <a:pt x="0" y="737575"/>
                    <a:pt x="211915" y="842156"/>
                    <a:pt x="473369" y="842156"/>
                  </a:cubicBezTo>
                  <a:cubicBezTo>
                    <a:pt x="734823" y="842156"/>
                    <a:pt x="946738" y="737575"/>
                    <a:pt x="946738" y="737575"/>
                  </a:cubicBezTo>
                  <a:cubicBezTo>
                    <a:pt x="946738" y="737575"/>
                    <a:pt x="858669" y="288975"/>
                    <a:pt x="473369" y="0"/>
                  </a:cubicBez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6" name="ísḻïdê">
              <a:extLst>
                <a:ext uri="{FF2B5EF4-FFF2-40B4-BE49-F238E27FC236}">
                  <a16:creationId xmlns:a16="http://schemas.microsoft.com/office/drawing/2014/main" id="{6F1912D6-CF2D-49A4-AB60-16A031225408}"/>
                </a:ext>
              </a:extLst>
            </p:cNvPr>
            <p:cNvSpPr/>
            <p:nvPr userDrawn="1"/>
          </p:nvSpPr>
          <p:spPr>
            <a:xfrm>
              <a:off x="8526145" y="1821920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7" name="ïšļíďe">
              <a:extLst>
                <a:ext uri="{FF2B5EF4-FFF2-40B4-BE49-F238E27FC236}">
                  <a16:creationId xmlns:a16="http://schemas.microsoft.com/office/drawing/2014/main" id="{D7FE3920-756A-4B51-8E62-16CB025C1C40}"/>
                </a:ext>
              </a:extLst>
            </p:cNvPr>
            <p:cNvSpPr/>
            <p:nvPr userDrawn="1"/>
          </p:nvSpPr>
          <p:spPr>
            <a:xfrm>
              <a:off x="8526145" y="1794398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8" name="ïṣļíḋè">
              <a:extLst>
                <a:ext uri="{FF2B5EF4-FFF2-40B4-BE49-F238E27FC236}">
                  <a16:creationId xmlns:a16="http://schemas.microsoft.com/office/drawing/2014/main" id="{2439F7ED-2FC2-4B5A-B436-B25D3EF5E2F2}"/>
                </a:ext>
              </a:extLst>
            </p:cNvPr>
            <p:cNvSpPr/>
            <p:nvPr userDrawn="1"/>
          </p:nvSpPr>
          <p:spPr>
            <a:xfrm>
              <a:off x="8570179" y="1838433"/>
              <a:ext cx="440343" cy="440343"/>
            </a:xfrm>
            <a:custGeom>
              <a:avLst/>
              <a:gdLst>
                <a:gd name="connsiteX0" fmla="*/ 451351 w 440343"/>
                <a:gd name="connsiteY0" fmla="*/ 225676 h 440343"/>
                <a:gd name="connsiteX1" fmla="*/ 225675 w 440343"/>
                <a:gd name="connsiteY1" fmla="*/ 451352 h 440343"/>
                <a:gd name="connsiteX2" fmla="*/ -1 w 440343"/>
                <a:gd name="connsiteY2" fmla="*/ 225676 h 440343"/>
                <a:gd name="connsiteX3" fmla="*/ 225675 w 440343"/>
                <a:gd name="connsiteY3" fmla="*/ 0 h 440343"/>
                <a:gd name="connsiteX4" fmla="*/ 451351 w 440343"/>
                <a:gd name="connsiteY4" fmla="*/ 225676 h 44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40343">
                  <a:moveTo>
                    <a:pt x="451351" y="225676"/>
                  </a:moveTo>
                  <a:cubicBezTo>
                    <a:pt x="451351" y="350313"/>
                    <a:pt x="350313" y="451352"/>
                    <a:pt x="225675" y="451352"/>
                  </a:cubicBezTo>
                  <a:cubicBezTo>
                    <a:pt x="101038" y="451352"/>
                    <a:pt x="-1" y="350313"/>
                    <a:pt x="-1" y="225676"/>
                  </a:cubicBezTo>
                  <a:cubicBezTo>
                    <a:pt x="-1" y="101039"/>
                    <a:pt x="101038" y="0"/>
                    <a:pt x="225675" y="0"/>
                  </a:cubicBezTo>
                  <a:cubicBezTo>
                    <a:pt x="350313" y="0"/>
                    <a:pt x="451351" y="101039"/>
                    <a:pt x="451351" y="225676"/>
                  </a:cubicBezTo>
                  <a:close/>
                </a:path>
              </a:pathLst>
            </a:custGeom>
            <a:solidFill>
              <a:srgbClr val="364459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9" name="íṩļîḍê">
              <a:extLst>
                <a:ext uri="{FF2B5EF4-FFF2-40B4-BE49-F238E27FC236}">
                  <a16:creationId xmlns:a16="http://schemas.microsoft.com/office/drawing/2014/main" id="{F1F30093-C2C4-489D-8C52-899C0D8F0660}"/>
                </a:ext>
              </a:extLst>
            </p:cNvPr>
            <p:cNvSpPr/>
            <p:nvPr userDrawn="1"/>
          </p:nvSpPr>
          <p:spPr>
            <a:xfrm>
              <a:off x="8572931" y="1863202"/>
              <a:ext cx="440343" cy="412822"/>
            </a:xfrm>
            <a:custGeom>
              <a:avLst/>
              <a:gdLst>
                <a:gd name="connsiteX0" fmla="*/ 222924 w 440343"/>
                <a:gd name="connsiteY0" fmla="*/ 0 h 412821"/>
                <a:gd name="connsiteX1" fmla="*/ 0 w 440343"/>
                <a:gd name="connsiteY1" fmla="*/ 211915 h 412821"/>
                <a:gd name="connsiteX2" fmla="*/ 222924 w 440343"/>
                <a:gd name="connsiteY2" fmla="*/ 423830 h 412821"/>
                <a:gd name="connsiteX3" fmla="*/ 445848 w 440343"/>
                <a:gd name="connsiteY3" fmla="*/ 211915 h 412821"/>
                <a:gd name="connsiteX4" fmla="*/ 222924 w 440343"/>
                <a:gd name="connsiteY4" fmla="*/ 0 h 412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12821">
                  <a:moveTo>
                    <a:pt x="222924" y="0"/>
                  </a:moveTo>
                  <a:cubicBezTo>
                    <a:pt x="101830" y="0"/>
                    <a:pt x="5505" y="93573"/>
                    <a:pt x="0" y="211915"/>
                  </a:cubicBezTo>
                  <a:cubicBezTo>
                    <a:pt x="5505" y="330257"/>
                    <a:pt x="104581" y="423830"/>
                    <a:pt x="222924" y="423830"/>
                  </a:cubicBezTo>
                  <a:cubicBezTo>
                    <a:pt x="344018" y="423830"/>
                    <a:pt x="440343" y="330257"/>
                    <a:pt x="445848" y="211915"/>
                  </a:cubicBezTo>
                  <a:cubicBezTo>
                    <a:pt x="440343" y="93573"/>
                    <a:pt x="344018" y="0"/>
                    <a:pt x="222924" y="0"/>
                  </a:cubicBez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0" name="iṩḻîdè">
              <a:extLst>
                <a:ext uri="{FF2B5EF4-FFF2-40B4-BE49-F238E27FC236}">
                  <a16:creationId xmlns:a16="http://schemas.microsoft.com/office/drawing/2014/main" id="{98BC3FD7-3225-473C-B8B4-DEE63496164D}"/>
                </a:ext>
              </a:extLst>
            </p:cNvPr>
            <p:cNvSpPr/>
            <p:nvPr userDrawn="1"/>
          </p:nvSpPr>
          <p:spPr>
            <a:xfrm>
              <a:off x="8570179" y="1841185"/>
              <a:ext cx="412822" cy="330257"/>
            </a:xfrm>
            <a:custGeom>
              <a:avLst/>
              <a:gdLst>
                <a:gd name="connsiteX0" fmla="*/ 225676 w 412821"/>
                <a:gd name="connsiteY0" fmla="*/ 0 h 330257"/>
                <a:gd name="connsiteX1" fmla="*/ 0 w 412821"/>
                <a:gd name="connsiteY1" fmla="*/ 225676 h 330257"/>
                <a:gd name="connsiteX2" fmla="*/ 38530 w 412821"/>
                <a:gd name="connsiteY2" fmla="*/ 349522 h 330257"/>
                <a:gd name="connsiteX3" fmla="*/ 421079 w 412821"/>
                <a:gd name="connsiteY3" fmla="*/ 115590 h 330257"/>
                <a:gd name="connsiteX4" fmla="*/ 225676 w 412821"/>
                <a:gd name="connsiteY4" fmla="*/ 0 h 33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821" h="330257">
                  <a:moveTo>
                    <a:pt x="225676" y="0"/>
                  </a:moveTo>
                  <a:cubicBezTo>
                    <a:pt x="101830" y="0"/>
                    <a:pt x="0" y="101829"/>
                    <a:pt x="0" y="225676"/>
                  </a:cubicBezTo>
                  <a:cubicBezTo>
                    <a:pt x="0" y="272462"/>
                    <a:pt x="13761" y="313745"/>
                    <a:pt x="38530" y="349522"/>
                  </a:cubicBezTo>
                  <a:lnTo>
                    <a:pt x="421079" y="115590"/>
                  </a:lnTo>
                  <a:cubicBezTo>
                    <a:pt x="382548" y="44034"/>
                    <a:pt x="308241" y="0"/>
                    <a:pt x="225676" y="0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1" name="îSlîḍé">
              <a:extLst>
                <a:ext uri="{FF2B5EF4-FFF2-40B4-BE49-F238E27FC236}">
                  <a16:creationId xmlns:a16="http://schemas.microsoft.com/office/drawing/2014/main" id="{3FFBE7FD-E35A-4454-9494-F3C8BE2C456D}"/>
                </a:ext>
              </a:extLst>
            </p:cNvPr>
            <p:cNvSpPr/>
            <p:nvPr userDrawn="1"/>
          </p:nvSpPr>
          <p:spPr>
            <a:xfrm>
              <a:off x="8476606" y="3054881"/>
              <a:ext cx="632993" cy="27521"/>
            </a:xfrm>
            <a:custGeom>
              <a:avLst/>
              <a:gdLst>
                <a:gd name="connsiteX0" fmla="*/ 638498 w 632993"/>
                <a:gd name="connsiteY0" fmla="*/ 0 h 27521"/>
                <a:gd name="connsiteX1" fmla="*/ 0 w 632993"/>
                <a:gd name="connsiteY1" fmla="*/ 0 h 27521"/>
                <a:gd name="connsiteX2" fmla="*/ 11008 w 632993"/>
                <a:gd name="connsiteY2" fmla="*/ 27521 h 27521"/>
                <a:gd name="connsiteX3" fmla="*/ 624737 w 632993"/>
                <a:gd name="connsiteY3" fmla="*/ 27521 h 27521"/>
                <a:gd name="connsiteX4" fmla="*/ 638498 w 632993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993" h="27521">
                  <a:moveTo>
                    <a:pt x="638498" y="0"/>
                  </a:moveTo>
                  <a:lnTo>
                    <a:pt x="0" y="0"/>
                  </a:lnTo>
                  <a:cubicBezTo>
                    <a:pt x="2752" y="8257"/>
                    <a:pt x="8256" y="19265"/>
                    <a:pt x="11008" y="27521"/>
                  </a:cubicBezTo>
                  <a:lnTo>
                    <a:pt x="624737" y="27521"/>
                  </a:lnTo>
                  <a:cubicBezTo>
                    <a:pt x="630241" y="19265"/>
                    <a:pt x="632993" y="8257"/>
                    <a:pt x="638498" y="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2" name="îšľîḋe">
              <a:extLst>
                <a:ext uri="{FF2B5EF4-FFF2-40B4-BE49-F238E27FC236}">
                  <a16:creationId xmlns:a16="http://schemas.microsoft.com/office/drawing/2014/main" id="{C081E5E1-FAF5-489F-8FE3-037A72D9E024}"/>
                </a:ext>
              </a:extLst>
            </p:cNvPr>
            <p:cNvSpPr/>
            <p:nvPr userDrawn="1"/>
          </p:nvSpPr>
          <p:spPr>
            <a:xfrm>
              <a:off x="8416058" y="2878743"/>
              <a:ext cx="743079" cy="27521"/>
            </a:xfrm>
            <a:custGeom>
              <a:avLst/>
              <a:gdLst>
                <a:gd name="connsiteX0" fmla="*/ 0 w 743079"/>
                <a:gd name="connsiteY0" fmla="*/ 0 h 27521"/>
                <a:gd name="connsiteX1" fmla="*/ 8257 w 743079"/>
                <a:gd name="connsiteY1" fmla="*/ 27521 h 27521"/>
                <a:gd name="connsiteX2" fmla="*/ 751336 w 743079"/>
                <a:gd name="connsiteY2" fmla="*/ 27521 h 27521"/>
                <a:gd name="connsiteX3" fmla="*/ 759592 w 743079"/>
                <a:gd name="connsiteY3" fmla="*/ 0 h 27521"/>
                <a:gd name="connsiteX4" fmla="*/ 0 w 743079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079" h="27521">
                  <a:moveTo>
                    <a:pt x="0" y="0"/>
                  </a:moveTo>
                  <a:cubicBezTo>
                    <a:pt x="2752" y="8257"/>
                    <a:pt x="5505" y="19265"/>
                    <a:pt x="8257" y="27521"/>
                  </a:cubicBezTo>
                  <a:lnTo>
                    <a:pt x="751336" y="27521"/>
                  </a:lnTo>
                  <a:cubicBezTo>
                    <a:pt x="754088" y="19265"/>
                    <a:pt x="756840" y="8257"/>
                    <a:pt x="75959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68" grpId="0" animBg="1"/>
      <p:bldP spid="69" grpId="0" animBg="1"/>
      <p:bldP spid="70" grpId="0" animBg="1"/>
      <p:bldP spid="71" grpId="0" animBg="1"/>
      <p:bldP spid="72" grpId="0"/>
      <p:bldP spid="73" grpId="0" animBg="1"/>
      <p:bldP spid="74" grpId="0"/>
      <p:bldP spid="75" grpId="0" animBg="1"/>
      <p:bldP spid="76" grpId="0"/>
      <p:bldP spid="77" grpId="0" animBg="1"/>
      <p:bldP spid="7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83c0bcfb-e15b-4feb-a6c7-3fd9487a86a3" descr="GhkAAB+LCAAAAAAABADNWF1v2jAU/S9e91ZNsfPNGzSl2kPXSq32MvGQJS54CwlygtSq6n+fE5L1mnwQA1bLE9z4Juf4nGMuvKILFqMJwugSXRQvGyreP6xDXgQsXPJwfZvFNBHX7nm2obxgNEeTX691EwFNP8NkS+tVL6J+y1K23q6rMpoY3wxRCp9BCRtVMaARW4dJwJasEPcWle/5PeURTYt6YcG39BLBG93wbLupQL9dNlhMgOUqSzIOsNS9zVILLL17emIRfVzRNa26xKVHlhbTNH5YhXHzwBlny1WR0jyvC3e//9CoAG0TWzRWt6yWb/OVuPmXuXj5vmEInJ2g7fGgnRNBe0qgr68Dpw+0C61ScJYu26iR8RV1d3uge5ZlCQ3TdvtO8q52/4MtRwAWbIyXD2MdpnO69SPXs2A+h/pJsIkCbFOH7XpgB86cDMC2lH0ntdvqxpP6nQ92ngnBuAoSejqc5/adHFdT+biTYPvjYRNDh/N6Yc8d+cCDsAlWdp7UTtSdJ/WbH+w8C4KxFCS0dTjP65PQntlTKKEE21GA7epwXi/sYM95EmxP2XlSu6/uPNG/EAhZGouHwWHPhIG84WHMhHfqddWAKPzFX+S9LfeU06fa0OiBRlkaD6yyy1UddVLVQzGP0oLyvLqyhwRcbXYazVlSzq7TdJk0SgnVNvSHWFlS2+1AVcJo8daect+fLhGBeBdgBIXnxCN9Bruzp907M1edcYU3l/h2sCqff4AUhN6aCaCy3Wp2o9tJ2yFGCagUIyrPHBGrnBZ1GJrs/C+WQsGUSReO4GrKXFs/Fc7OtTGeBq6zMPqrwNU6JbTYGJVaTHpM7GuPLRnYCR8mtaIiIYa7ZKsHF1vqpMcn9wAviL31zTbo5p2knyu6Q2RLvJBta/A9P1vN4VVh652UXndcev0eI2NHe3zNob1wpMS60qe9DPjq+SX4CNrjA3yIGUBvtf5GGPa0+/kSPMjWldli/Ww1J1iFLTklwcQalWDi9A2RA7PLmRJsDY2Y0qxMLOnTXgbMIxLsHUF7fIIPMYPoWz+KBz29k/VzJXiQrSWzbf1rfX62mhN8mO3i7R9e0V+/GhkAAA==">
            <a:extLst>
              <a:ext uri="{FF2B5EF4-FFF2-40B4-BE49-F238E27FC236}">
                <a16:creationId xmlns:a16="http://schemas.microsoft.com/office/drawing/2014/main" id="{0AED59FD-6A25-4A68-95DD-BB9D453DE74D}"/>
              </a:ext>
            </a:extLst>
          </p:cNvPr>
          <p:cNvGrpSpPr>
            <a:grpSpLocks noChangeAspect="1"/>
          </p:cNvGrpSpPr>
          <p:nvPr/>
        </p:nvGrpSpPr>
        <p:grpSpPr>
          <a:xfrm>
            <a:off x="2780848" y="1272183"/>
            <a:ext cx="6630304" cy="4313634"/>
            <a:chOff x="2780848" y="1344903"/>
            <a:chExt cx="6630304" cy="4313634"/>
          </a:xfrm>
        </p:grpSpPr>
        <p:sp>
          <p:nvSpPr>
            <p:cNvPr id="3" name="ValueShape1">
              <a:extLst>
                <a:ext uri="{FF2B5EF4-FFF2-40B4-BE49-F238E27FC236}">
                  <a16:creationId xmlns:a16="http://schemas.microsoft.com/office/drawing/2014/main" id="{49787BB1-08F6-4505-A4A1-EE2C143715B4}"/>
                </a:ext>
              </a:extLst>
            </p:cNvPr>
            <p:cNvSpPr/>
            <p:nvPr/>
          </p:nvSpPr>
          <p:spPr>
            <a:xfrm>
              <a:off x="5313122" y="2054049"/>
              <a:ext cx="3711616" cy="21790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5000">
                  <a:schemeClr val="accent1">
                    <a:lumMod val="100000"/>
                  </a:schemeClr>
                </a:gs>
                <a:gs pos="55100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4" name="ValueShape2">
              <a:extLst>
                <a:ext uri="{FF2B5EF4-FFF2-40B4-BE49-F238E27FC236}">
                  <a16:creationId xmlns:a16="http://schemas.microsoft.com/office/drawing/2014/main" id="{818DB27C-92E1-4F90-850A-FF4906723BE7}"/>
                </a:ext>
              </a:extLst>
            </p:cNvPr>
            <p:cNvSpPr/>
            <p:nvPr/>
          </p:nvSpPr>
          <p:spPr>
            <a:xfrm>
              <a:off x="5699536" y="2548634"/>
              <a:ext cx="3711616" cy="21790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71154">
                  <a:schemeClr val="accent2">
                    <a:lumMod val="100000"/>
                  </a:schemeClr>
                </a:gs>
                <a:gs pos="71254">
                  <a:schemeClr val="accent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5" name="ValueShape3">
              <a:extLst>
                <a:ext uri="{FF2B5EF4-FFF2-40B4-BE49-F238E27FC236}">
                  <a16:creationId xmlns:a16="http://schemas.microsoft.com/office/drawing/2014/main" id="{562567C3-0D9E-4C7D-BFBE-BCFD9A33D23B}"/>
                </a:ext>
              </a:extLst>
            </p:cNvPr>
            <p:cNvSpPr/>
            <p:nvPr/>
          </p:nvSpPr>
          <p:spPr>
            <a:xfrm>
              <a:off x="5499783" y="3314166"/>
              <a:ext cx="3711616" cy="21790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61538">
                  <a:schemeClr val="accent3">
                    <a:lumMod val="100000"/>
                  </a:schemeClr>
                </a:gs>
                <a:gs pos="61638">
                  <a:schemeClr val="accent3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6" name="ValueShape4">
              <a:extLst>
                <a:ext uri="{FF2B5EF4-FFF2-40B4-BE49-F238E27FC236}">
                  <a16:creationId xmlns:a16="http://schemas.microsoft.com/office/drawing/2014/main" id="{004EC44F-45F2-498E-99B1-C18861956598}"/>
                </a:ext>
              </a:extLst>
            </p:cNvPr>
            <p:cNvSpPr/>
            <p:nvPr/>
          </p:nvSpPr>
          <p:spPr>
            <a:xfrm>
              <a:off x="5254904" y="4019435"/>
              <a:ext cx="3711616" cy="21790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100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  <a:gs pos="78846">
                  <a:schemeClr val="accent4">
                    <a:lumMod val="100000"/>
                  </a:schemeClr>
                </a:gs>
                <a:gs pos="78946">
                  <a:schemeClr val="accent4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7" name="ValueBack1">
              <a:extLst>
                <a:ext uri="{FF2B5EF4-FFF2-40B4-BE49-F238E27FC236}">
                  <a16:creationId xmlns:a16="http://schemas.microsoft.com/office/drawing/2014/main" id="{AA5C89A8-1918-4116-B87E-82EAC916477D}"/>
                </a:ext>
              </a:extLst>
            </p:cNvPr>
            <p:cNvSpPr/>
            <p:nvPr/>
          </p:nvSpPr>
          <p:spPr bwMode="auto">
            <a:xfrm>
              <a:off x="5206469" y="1998617"/>
              <a:ext cx="327813" cy="329724"/>
            </a:xfrm>
            <a:prstGeom prst="ellipse">
              <a:avLst/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" name="ValueBack2">
              <a:extLst>
                <a:ext uri="{FF2B5EF4-FFF2-40B4-BE49-F238E27FC236}">
                  <a16:creationId xmlns:a16="http://schemas.microsoft.com/office/drawing/2014/main" id="{81AA1FFE-F635-4B0D-8A04-D2E79B7F1955}"/>
                </a:ext>
              </a:extLst>
            </p:cNvPr>
            <p:cNvSpPr/>
            <p:nvPr/>
          </p:nvSpPr>
          <p:spPr bwMode="auto">
            <a:xfrm>
              <a:off x="5646101" y="2492725"/>
              <a:ext cx="327813" cy="329724"/>
            </a:xfrm>
            <a:prstGeom prst="ellipse">
              <a:avLst/>
            </a:pr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" name="ValueBack3">
              <a:extLst>
                <a:ext uri="{FF2B5EF4-FFF2-40B4-BE49-F238E27FC236}">
                  <a16:creationId xmlns:a16="http://schemas.microsoft.com/office/drawing/2014/main" id="{0624040C-1E64-4EB0-AFC9-EC8EE7615877}"/>
                </a:ext>
              </a:extLst>
            </p:cNvPr>
            <p:cNvSpPr/>
            <p:nvPr/>
          </p:nvSpPr>
          <p:spPr bwMode="auto">
            <a:xfrm>
              <a:off x="5423481" y="3257779"/>
              <a:ext cx="327813" cy="329724"/>
            </a:xfrm>
            <a:prstGeom prst="ellipse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" name="ValueBack4">
              <a:extLst>
                <a:ext uri="{FF2B5EF4-FFF2-40B4-BE49-F238E27FC236}">
                  <a16:creationId xmlns:a16="http://schemas.microsoft.com/office/drawing/2014/main" id="{E5CEF6B4-86C3-45E7-9A4D-F141642FF288}"/>
                </a:ext>
              </a:extLst>
            </p:cNvPr>
            <p:cNvSpPr/>
            <p:nvPr/>
          </p:nvSpPr>
          <p:spPr bwMode="auto">
            <a:xfrm>
              <a:off x="5206469" y="3970270"/>
              <a:ext cx="329724" cy="326857"/>
            </a:xfrm>
            <a:prstGeom prst="ellipse">
              <a:avLst/>
            </a:prstGeom>
            <a:solidFill>
              <a:schemeClr val="accent4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1" name="ValueText1">
              <a:extLst>
                <a:ext uri="{FF2B5EF4-FFF2-40B4-BE49-F238E27FC236}">
                  <a16:creationId xmlns:a16="http://schemas.microsoft.com/office/drawing/2014/main" id="{565B53EC-CF4A-4C49-95BB-8B1215F5C29B}"/>
                </a:ext>
              </a:extLst>
            </p:cNvPr>
            <p:cNvSpPr txBox="1"/>
            <p:nvPr/>
          </p:nvSpPr>
          <p:spPr>
            <a:xfrm>
              <a:off x="5499783" y="4561946"/>
              <a:ext cx="451576" cy="2880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+mj-lt"/>
                </a:rPr>
                <a:t>55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2" name="ValueText2">
              <a:extLst>
                <a:ext uri="{FF2B5EF4-FFF2-40B4-BE49-F238E27FC236}">
                  <a16:creationId xmlns:a16="http://schemas.microsoft.com/office/drawing/2014/main" id="{00029F1E-C079-404C-BB74-93D7479A2392}"/>
                </a:ext>
              </a:extLst>
            </p:cNvPr>
            <p:cNvSpPr txBox="1"/>
            <p:nvPr/>
          </p:nvSpPr>
          <p:spPr>
            <a:xfrm>
              <a:off x="6181155" y="4561946"/>
              <a:ext cx="451576" cy="2880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+mj-lt"/>
                </a:rPr>
                <a:t>71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3" name="ValueText3">
              <a:extLst>
                <a:ext uri="{FF2B5EF4-FFF2-40B4-BE49-F238E27FC236}">
                  <a16:creationId xmlns:a16="http://schemas.microsoft.com/office/drawing/2014/main" id="{C230D72E-AE8B-4E73-8B55-B28302994C37}"/>
                </a:ext>
              </a:extLst>
            </p:cNvPr>
            <p:cNvSpPr txBox="1"/>
            <p:nvPr/>
          </p:nvSpPr>
          <p:spPr>
            <a:xfrm>
              <a:off x="6845876" y="4561946"/>
              <a:ext cx="451576" cy="2880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+mj-lt"/>
                </a:rPr>
                <a:t>62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4" name="ValueText4">
              <a:extLst>
                <a:ext uri="{FF2B5EF4-FFF2-40B4-BE49-F238E27FC236}">
                  <a16:creationId xmlns:a16="http://schemas.microsoft.com/office/drawing/2014/main" id="{539F10F9-958B-48CC-B6F6-16AC96385A41}"/>
                </a:ext>
              </a:extLst>
            </p:cNvPr>
            <p:cNvSpPr txBox="1"/>
            <p:nvPr/>
          </p:nvSpPr>
          <p:spPr>
            <a:xfrm>
              <a:off x="7527248" y="4561946"/>
              <a:ext cx="451576" cy="2880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4">
                      <a:lumMod val="100000"/>
                    </a:schemeClr>
                  </a:solidFill>
                  <a:latin typeface="+mj-lt"/>
                </a:rPr>
                <a:t>79%</a:t>
              </a:r>
              <a:endParaRPr lang="en-US" altLang="zh-CN" sz="3600" b="1" dirty="0">
                <a:solidFill>
                  <a:schemeClr val="accent4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5" name="ExtraShape1">
              <a:extLst>
                <a:ext uri="{FF2B5EF4-FFF2-40B4-BE49-F238E27FC236}">
                  <a16:creationId xmlns:a16="http://schemas.microsoft.com/office/drawing/2014/main" id="{6A15ED76-FD05-4D4A-8A7A-31C94CAD2A13}"/>
                </a:ext>
              </a:extLst>
            </p:cNvPr>
            <p:cNvSpPr/>
            <p:nvPr/>
          </p:nvSpPr>
          <p:spPr bwMode="auto">
            <a:xfrm>
              <a:off x="2846793" y="1398424"/>
              <a:ext cx="1702140" cy="3283859"/>
            </a:xfrm>
            <a:custGeom>
              <a:avLst/>
              <a:gdLst>
                <a:gd name="T0" fmla="*/ 857 w 857"/>
                <a:gd name="T1" fmla="*/ 35 h 1656"/>
                <a:gd name="T2" fmla="*/ 857 w 857"/>
                <a:gd name="T3" fmla="*/ 1621 h 1656"/>
                <a:gd name="T4" fmla="*/ 747 w 857"/>
                <a:gd name="T5" fmla="*/ 1656 h 1656"/>
                <a:gd name="T6" fmla="*/ 561 w 857"/>
                <a:gd name="T7" fmla="*/ 1513 h 1656"/>
                <a:gd name="T8" fmla="*/ 526 w 857"/>
                <a:gd name="T9" fmla="*/ 1518 h 1656"/>
                <a:gd name="T10" fmla="*/ 388 w 857"/>
                <a:gd name="T11" fmla="*/ 1380 h 1656"/>
                <a:gd name="T12" fmla="*/ 391 w 857"/>
                <a:gd name="T13" fmla="*/ 1352 h 1656"/>
                <a:gd name="T14" fmla="*/ 58 w 857"/>
                <a:gd name="T15" fmla="*/ 1241 h 1656"/>
                <a:gd name="T16" fmla="*/ 151 w 857"/>
                <a:gd name="T17" fmla="*/ 918 h 1656"/>
                <a:gd name="T18" fmla="*/ 132 w 857"/>
                <a:gd name="T19" fmla="*/ 646 h 1656"/>
                <a:gd name="T20" fmla="*/ 196 w 857"/>
                <a:gd name="T21" fmla="*/ 598 h 1656"/>
                <a:gd name="T22" fmla="*/ 168 w 857"/>
                <a:gd name="T23" fmla="*/ 497 h 1656"/>
                <a:gd name="T24" fmla="*/ 278 w 857"/>
                <a:gd name="T25" fmla="*/ 323 h 1656"/>
                <a:gd name="T26" fmla="*/ 361 w 857"/>
                <a:gd name="T27" fmla="*/ 304 h 1656"/>
                <a:gd name="T28" fmla="*/ 392 w 857"/>
                <a:gd name="T29" fmla="*/ 307 h 1656"/>
                <a:gd name="T30" fmla="*/ 496 w 857"/>
                <a:gd name="T31" fmla="*/ 142 h 1656"/>
                <a:gd name="T32" fmla="*/ 526 w 857"/>
                <a:gd name="T33" fmla="*/ 138 h 1656"/>
                <a:gd name="T34" fmla="*/ 561 w 857"/>
                <a:gd name="T35" fmla="*/ 143 h 1656"/>
                <a:gd name="T36" fmla="*/ 747 w 857"/>
                <a:gd name="T37" fmla="*/ 0 h 1656"/>
                <a:gd name="T38" fmla="*/ 857 w 857"/>
                <a:gd name="T39" fmla="*/ 35 h 1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57" h="1656">
                  <a:moveTo>
                    <a:pt x="857" y="35"/>
                  </a:moveTo>
                  <a:cubicBezTo>
                    <a:pt x="857" y="1621"/>
                    <a:pt x="857" y="1621"/>
                    <a:pt x="857" y="1621"/>
                  </a:cubicBezTo>
                  <a:cubicBezTo>
                    <a:pt x="825" y="1644"/>
                    <a:pt x="786" y="1656"/>
                    <a:pt x="747" y="1656"/>
                  </a:cubicBezTo>
                  <a:cubicBezTo>
                    <a:pt x="660" y="1656"/>
                    <a:pt x="583" y="1597"/>
                    <a:pt x="561" y="1513"/>
                  </a:cubicBezTo>
                  <a:cubicBezTo>
                    <a:pt x="549" y="1516"/>
                    <a:pt x="538" y="1518"/>
                    <a:pt x="526" y="1518"/>
                  </a:cubicBezTo>
                  <a:cubicBezTo>
                    <a:pt x="450" y="1518"/>
                    <a:pt x="388" y="1456"/>
                    <a:pt x="388" y="1380"/>
                  </a:cubicBezTo>
                  <a:cubicBezTo>
                    <a:pt x="388" y="1371"/>
                    <a:pt x="389" y="1361"/>
                    <a:pt x="391" y="1352"/>
                  </a:cubicBezTo>
                  <a:cubicBezTo>
                    <a:pt x="268" y="1414"/>
                    <a:pt x="119" y="1364"/>
                    <a:pt x="58" y="1241"/>
                  </a:cubicBezTo>
                  <a:cubicBezTo>
                    <a:pt x="0" y="1126"/>
                    <a:pt x="41" y="985"/>
                    <a:pt x="151" y="918"/>
                  </a:cubicBezTo>
                  <a:cubicBezTo>
                    <a:pt x="71" y="848"/>
                    <a:pt x="62" y="726"/>
                    <a:pt x="132" y="646"/>
                  </a:cubicBezTo>
                  <a:cubicBezTo>
                    <a:pt x="150" y="626"/>
                    <a:pt x="172" y="609"/>
                    <a:pt x="196" y="598"/>
                  </a:cubicBezTo>
                  <a:cubicBezTo>
                    <a:pt x="177" y="568"/>
                    <a:pt x="167" y="533"/>
                    <a:pt x="168" y="497"/>
                  </a:cubicBezTo>
                  <a:cubicBezTo>
                    <a:pt x="167" y="422"/>
                    <a:pt x="210" y="354"/>
                    <a:pt x="278" y="323"/>
                  </a:cubicBezTo>
                  <a:cubicBezTo>
                    <a:pt x="304" y="310"/>
                    <a:pt x="332" y="304"/>
                    <a:pt x="361" y="304"/>
                  </a:cubicBezTo>
                  <a:cubicBezTo>
                    <a:pt x="371" y="304"/>
                    <a:pt x="381" y="305"/>
                    <a:pt x="392" y="307"/>
                  </a:cubicBezTo>
                  <a:cubicBezTo>
                    <a:pt x="375" y="232"/>
                    <a:pt x="422" y="158"/>
                    <a:pt x="496" y="142"/>
                  </a:cubicBezTo>
                  <a:cubicBezTo>
                    <a:pt x="506" y="139"/>
                    <a:pt x="516" y="138"/>
                    <a:pt x="526" y="138"/>
                  </a:cubicBezTo>
                  <a:cubicBezTo>
                    <a:pt x="538" y="138"/>
                    <a:pt x="549" y="140"/>
                    <a:pt x="561" y="143"/>
                  </a:cubicBezTo>
                  <a:cubicBezTo>
                    <a:pt x="583" y="59"/>
                    <a:pt x="660" y="0"/>
                    <a:pt x="747" y="0"/>
                  </a:cubicBezTo>
                  <a:cubicBezTo>
                    <a:pt x="786" y="0"/>
                    <a:pt x="825" y="12"/>
                    <a:pt x="857" y="35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6" name="ExtraShape">
              <a:extLst>
                <a:ext uri="{FF2B5EF4-FFF2-40B4-BE49-F238E27FC236}">
                  <a16:creationId xmlns:a16="http://schemas.microsoft.com/office/drawing/2014/main" id="{99DD178A-6CCA-4210-8C92-85D6C1F1D198}"/>
                </a:ext>
              </a:extLst>
            </p:cNvPr>
            <p:cNvSpPr/>
            <p:nvPr/>
          </p:nvSpPr>
          <p:spPr bwMode="auto">
            <a:xfrm>
              <a:off x="3289291" y="1562807"/>
              <a:ext cx="1150689" cy="2789752"/>
            </a:xfrm>
            <a:custGeom>
              <a:avLst/>
              <a:gdLst>
                <a:gd name="connsiteX0" fmla="*/ 931870 w 1150689"/>
                <a:gd name="connsiteY0" fmla="*/ 2462895 h 2789752"/>
                <a:gd name="connsiteX1" fmla="*/ 985349 w 1150689"/>
                <a:gd name="connsiteY1" fmla="*/ 2516381 h 2789752"/>
                <a:gd name="connsiteX2" fmla="*/ 931870 w 1150689"/>
                <a:gd name="connsiteY2" fmla="*/ 2571847 h 2789752"/>
                <a:gd name="connsiteX3" fmla="*/ 820951 w 1150689"/>
                <a:gd name="connsiteY3" fmla="*/ 2734286 h 2789752"/>
                <a:gd name="connsiteX4" fmla="*/ 767473 w 1150689"/>
                <a:gd name="connsiteY4" fmla="*/ 2789752 h 2789752"/>
                <a:gd name="connsiteX5" fmla="*/ 712013 w 1150689"/>
                <a:gd name="connsiteY5" fmla="*/ 2734286 h 2789752"/>
                <a:gd name="connsiteX6" fmla="*/ 931870 w 1150689"/>
                <a:gd name="connsiteY6" fmla="*/ 2462895 h 2789752"/>
                <a:gd name="connsiteX7" fmla="*/ 602078 w 1150689"/>
                <a:gd name="connsiteY7" fmla="*/ 2189558 h 2789752"/>
                <a:gd name="connsiteX8" fmla="*/ 657537 w 1150689"/>
                <a:gd name="connsiteY8" fmla="*/ 2243037 h 2789752"/>
                <a:gd name="connsiteX9" fmla="*/ 602078 w 1150689"/>
                <a:gd name="connsiteY9" fmla="*/ 2298496 h 2789752"/>
                <a:gd name="connsiteX10" fmla="*/ 493139 w 1150689"/>
                <a:gd name="connsiteY10" fmla="*/ 2407435 h 2789752"/>
                <a:gd name="connsiteX11" fmla="*/ 437680 w 1150689"/>
                <a:gd name="connsiteY11" fmla="*/ 2462894 h 2789752"/>
                <a:gd name="connsiteX12" fmla="*/ 384201 w 1150689"/>
                <a:gd name="connsiteY12" fmla="*/ 2407435 h 2789752"/>
                <a:gd name="connsiteX13" fmla="*/ 602078 w 1150689"/>
                <a:gd name="connsiteY13" fmla="*/ 2189558 h 2789752"/>
                <a:gd name="connsiteX14" fmla="*/ 1095223 w 1150689"/>
                <a:gd name="connsiteY14" fmla="*/ 1915266 h 2789752"/>
                <a:gd name="connsiteX15" fmla="*/ 1150689 w 1150689"/>
                <a:gd name="connsiteY15" fmla="*/ 1968908 h 2789752"/>
                <a:gd name="connsiteX16" fmla="*/ 1150689 w 1150689"/>
                <a:gd name="connsiteY16" fmla="*/ 2189437 h 2789752"/>
                <a:gd name="connsiteX17" fmla="*/ 1095223 w 1150689"/>
                <a:gd name="connsiteY17" fmla="*/ 2243079 h 2789752"/>
                <a:gd name="connsiteX18" fmla="*/ 1041737 w 1150689"/>
                <a:gd name="connsiteY18" fmla="*/ 2189437 h 2789752"/>
                <a:gd name="connsiteX19" fmla="*/ 1041737 w 1150689"/>
                <a:gd name="connsiteY19" fmla="*/ 1968908 h 2789752"/>
                <a:gd name="connsiteX20" fmla="*/ 1095223 w 1150689"/>
                <a:gd name="connsiteY20" fmla="*/ 1915266 h 2789752"/>
                <a:gd name="connsiteX21" fmla="*/ 53642 w 1150689"/>
                <a:gd name="connsiteY21" fmla="*/ 1641929 h 2789752"/>
                <a:gd name="connsiteX22" fmla="*/ 327813 w 1150689"/>
                <a:gd name="connsiteY22" fmla="*/ 1915300 h 2789752"/>
                <a:gd name="connsiteX23" fmla="*/ 274171 w 1150689"/>
                <a:gd name="connsiteY23" fmla="*/ 1968786 h 2789752"/>
                <a:gd name="connsiteX24" fmla="*/ 218542 w 1150689"/>
                <a:gd name="connsiteY24" fmla="*/ 1915300 h 2789752"/>
                <a:gd name="connsiteX25" fmla="*/ 53642 w 1150689"/>
                <a:gd name="connsiteY25" fmla="*/ 1750881 h 2789752"/>
                <a:gd name="connsiteX26" fmla="*/ 0 w 1150689"/>
                <a:gd name="connsiteY26" fmla="*/ 1695415 h 2789752"/>
                <a:gd name="connsiteX27" fmla="*/ 53642 w 1150689"/>
                <a:gd name="connsiteY27" fmla="*/ 1641929 h 2789752"/>
                <a:gd name="connsiteX28" fmla="*/ 821111 w 1150689"/>
                <a:gd name="connsiteY28" fmla="*/ 1586497 h 2789752"/>
                <a:gd name="connsiteX29" fmla="*/ 876765 w 1150689"/>
                <a:gd name="connsiteY29" fmla="*/ 1641957 h 2789752"/>
                <a:gd name="connsiteX30" fmla="*/ 986085 w 1150689"/>
                <a:gd name="connsiteY30" fmla="*/ 1750895 h 2789752"/>
                <a:gd name="connsiteX31" fmla="*/ 1041738 w 1150689"/>
                <a:gd name="connsiteY31" fmla="*/ 1806354 h 2789752"/>
                <a:gd name="connsiteX32" fmla="*/ 986085 w 1150689"/>
                <a:gd name="connsiteY32" fmla="*/ 1859833 h 2789752"/>
                <a:gd name="connsiteX33" fmla="*/ 767445 w 1150689"/>
                <a:gd name="connsiteY33" fmla="*/ 1641957 h 2789752"/>
                <a:gd name="connsiteX34" fmla="*/ 821111 w 1150689"/>
                <a:gd name="connsiteY34" fmla="*/ 1586497 h 2789752"/>
                <a:gd name="connsiteX35" fmla="*/ 821111 w 1150689"/>
                <a:gd name="connsiteY35" fmla="*/ 1147821 h 2789752"/>
                <a:gd name="connsiteX36" fmla="*/ 1041738 w 1150689"/>
                <a:gd name="connsiteY36" fmla="*/ 1312903 h 2789752"/>
                <a:gd name="connsiteX37" fmla="*/ 986085 w 1150689"/>
                <a:gd name="connsiteY37" fmla="*/ 1368593 h 2789752"/>
                <a:gd name="connsiteX38" fmla="*/ 932419 w 1150689"/>
                <a:gd name="connsiteY38" fmla="*/ 1312903 h 2789752"/>
                <a:gd name="connsiteX39" fmla="*/ 821111 w 1150689"/>
                <a:gd name="connsiteY39" fmla="*/ 1259202 h 2789752"/>
                <a:gd name="connsiteX40" fmla="*/ 767445 w 1150689"/>
                <a:gd name="connsiteY40" fmla="*/ 1203511 h 2789752"/>
                <a:gd name="connsiteX41" fmla="*/ 821111 w 1150689"/>
                <a:gd name="connsiteY41" fmla="*/ 1147821 h 2789752"/>
                <a:gd name="connsiteX42" fmla="*/ 548608 w 1150689"/>
                <a:gd name="connsiteY42" fmla="*/ 1147821 h 2789752"/>
                <a:gd name="connsiteX43" fmla="*/ 602082 w 1150689"/>
                <a:gd name="connsiteY43" fmla="*/ 1147821 h 2789752"/>
                <a:gd name="connsiteX44" fmla="*/ 657537 w 1150689"/>
                <a:gd name="connsiteY44" fmla="*/ 1203731 h 2789752"/>
                <a:gd name="connsiteX45" fmla="*/ 602082 w 1150689"/>
                <a:gd name="connsiteY45" fmla="*/ 1259641 h 2789752"/>
                <a:gd name="connsiteX46" fmla="*/ 548608 w 1150689"/>
                <a:gd name="connsiteY46" fmla="*/ 1259641 h 2789752"/>
                <a:gd name="connsiteX47" fmla="*/ 493153 w 1150689"/>
                <a:gd name="connsiteY47" fmla="*/ 1203731 h 2789752"/>
                <a:gd name="connsiteX48" fmla="*/ 548608 w 1150689"/>
                <a:gd name="connsiteY48" fmla="*/ 1147821 h 2789752"/>
                <a:gd name="connsiteX49" fmla="*/ 53666 w 1150689"/>
                <a:gd name="connsiteY49" fmla="*/ 1038869 h 2789752"/>
                <a:gd name="connsiteX50" fmla="*/ 109320 w 1150689"/>
                <a:gd name="connsiteY50" fmla="*/ 1094523 h 2789752"/>
                <a:gd name="connsiteX51" fmla="*/ 218639 w 1150689"/>
                <a:gd name="connsiteY51" fmla="*/ 1203842 h 2789752"/>
                <a:gd name="connsiteX52" fmla="*/ 274293 w 1150689"/>
                <a:gd name="connsiteY52" fmla="*/ 1259496 h 2789752"/>
                <a:gd name="connsiteX53" fmla="*/ 218639 w 1150689"/>
                <a:gd name="connsiteY53" fmla="*/ 1313162 h 2789752"/>
                <a:gd name="connsiteX54" fmla="*/ 0 w 1150689"/>
                <a:gd name="connsiteY54" fmla="*/ 1094523 h 2789752"/>
                <a:gd name="connsiteX55" fmla="*/ 53666 w 1150689"/>
                <a:gd name="connsiteY55" fmla="*/ 1038869 h 2789752"/>
                <a:gd name="connsiteX56" fmla="*/ 767468 w 1150689"/>
                <a:gd name="connsiteY56" fmla="*/ 765533 h 2789752"/>
                <a:gd name="connsiteX57" fmla="*/ 820942 w 1150689"/>
                <a:gd name="connsiteY57" fmla="*/ 765533 h 2789752"/>
                <a:gd name="connsiteX58" fmla="*/ 876397 w 1150689"/>
                <a:gd name="connsiteY58" fmla="*/ 820965 h 2789752"/>
                <a:gd name="connsiteX59" fmla="*/ 820942 w 1150689"/>
                <a:gd name="connsiteY59" fmla="*/ 876397 h 2789752"/>
                <a:gd name="connsiteX60" fmla="*/ 767468 w 1150689"/>
                <a:gd name="connsiteY60" fmla="*/ 876397 h 2789752"/>
                <a:gd name="connsiteX61" fmla="*/ 712013 w 1150689"/>
                <a:gd name="connsiteY61" fmla="*/ 820965 h 2789752"/>
                <a:gd name="connsiteX62" fmla="*/ 767468 w 1150689"/>
                <a:gd name="connsiteY62" fmla="*/ 765533 h 2789752"/>
                <a:gd name="connsiteX63" fmla="*/ 383429 w 1150689"/>
                <a:gd name="connsiteY63" fmla="*/ 547628 h 2789752"/>
                <a:gd name="connsiteX64" fmla="*/ 437059 w 1150689"/>
                <a:gd name="connsiteY64" fmla="*/ 603083 h 2789752"/>
                <a:gd name="connsiteX65" fmla="*/ 601921 w 1150689"/>
                <a:gd name="connsiteY65" fmla="*/ 765487 h 2789752"/>
                <a:gd name="connsiteX66" fmla="*/ 657537 w 1150689"/>
                <a:gd name="connsiteY66" fmla="*/ 820942 h 2789752"/>
                <a:gd name="connsiteX67" fmla="*/ 601921 w 1150689"/>
                <a:gd name="connsiteY67" fmla="*/ 876397 h 2789752"/>
                <a:gd name="connsiteX68" fmla="*/ 327813 w 1150689"/>
                <a:gd name="connsiteY68" fmla="*/ 603083 h 2789752"/>
                <a:gd name="connsiteX69" fmla="*/ 383429 w 1150689"/>
                <a:gd name="connsiteY69" fmla="*/ 547628 h 2789752"/>
                <a:gd name="connsiteX70" fmla="*/ 1095223 w 1150689"/>
                <a:gd name="connsiteY70" fmla="*/ 0 h 2789752"/>
                <a:gd name="connsiteX71" fmla="*/ 1150689 w 1150689"/>
                <a:gd name="connsiteY71" fmla="*/ 55616 h 2789752"/>
                <a:gd name="connsiteX72" fmla="*/ 1150689 w 1150689"/>
                <a:gd name="connsiteY72" fmla="*/ 274108 h 2789752"/>
                <a:gd name="connsiteX73" fmla="*/ 1095223 w 1150689"/>
                <a:gd name="connsiteY73" fmla="*/ 329724 h 2789752"/>
                <a:gd name="connsiteX74" fmla="*/ 1041737 w 1150689"/>
                <a:gd name="connsiteY74" fmla="*/ 274108 h 2789752"/>
                <a:gd name="connsiteX75" fmla="*/ 1041737 w 1150689"/>
                <a:gd name="connsiteY75" fmla="*/ 55616 h 2789752"/>
                <a:gd name="connsiteX76" fmla="*/ 1095223 w 1150689"/>
                <a:gd name="connsiteY76" fmla="*/ 0 h 2789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1150689" h="2789752">
                  <a:moveTo>
                    <a:pt x="931870" y="2462895"/>
                  </a:moveTo>
                  <a:cubicBezTo>
                    <a:pt x="961581" y="2462895"/>
                    <a:pt x="985349" y="2486667"/>
                    <a:pt x="985349" y="2516381"/>
                  </a:cubicBezTo>
                  <a:cubicBezTo>
                    <a:pt x="985349" y="2546095"/>
                    <a:pt x="961581" y="2571847"/>
                    <a:pt x="931870" y="2571847"/>
                  </a:cubicBezTo>
                  <a:cubicBezTo>
                    <a:pt x="872449" y="2571847"/>
                    <a:pt x="820951" y="2647124"/>
                    <a:pt x="820951" y="2734286"/>
                  </a:cubicBezTo>
                  <a:cubicBezTo>
                    <a:pt x="820951" y="2765981"/>
                    <a:pt x="797183" y="2789752"/>
                    <a:pt x="767473" y="2789752"/>
                  </a:cubicBezTo>
                  <a:cubicBezTo>
                    <a:pt x="737762" y="2789752"/>
                    <a:pt x="712013" y="2765981"/>
                    <a:pt x="712013" y="2734286"/>
                  </a:cubicBezTo>
                  <a:cubicBezTo>
                    <a:pt x="712013" y="2583733"/>
                    <a:pt x="811048" y="2462895"/>
                    <a:pt x="931870" y="2462895"/>
                  </a:cubicBezTo>
                  <a:close/>
                  <a:moveTo>
                    <a:pt x="602078" y="2189558"/>
                  </a:moveTo>
                  <a:cubicBezTo>
                    <a:pt x="631788" y="2189558"/>
                    <a:pt x="657537" y="2213326"/>
                    <a:pt x="657537" y="2243037"/>
                  </a:cubicBezTo>
                  <a:cubicBezTo>
                    <a:pt x="657537" y="2272747"/>
                    <a:pt x="631788" y="2298496"/>
                    <a:pt x="602078" y="2298496"/>
                  </a:cubicBezTo>
                  <a:cubicBezTo>
                    <a:pt x="542657" y="2298496"/>
                    <a:pt x="493139" y="2346033"/>
                    <a:pt x="493139" y="2407435"/>
                  </a:cubicBezTo>
                  <a:cubicBezTo>
                    <a:pt x="493139" y="2437145"/>
                    <a:pt x="469371" y="2462894"/>
                    <a:pt x="437680" y="2462894"/>
                  </a:cubicBezTo>
                  <a:cubicBezTo>
                    <a:pt x="407969" y="2462894"/>
                    <a:pt x="384201" y="2437145"/>
                    <a:pt x="384201" y="2407435"/>
                  </a:cubicBezTo>
                  <a:cubicBezTo>
                    <a:pt x="384201" y="2286612"/>
                    <a:pt x="481255" y="2189558"/>
                    <a:pt x="602078" y="2189558"/>
                  </a:cubicBezTo>
                  <a:close/>
                  <a:moveTo>
                    <a:pt x="1095223" y="1915266"/>
                  </a:moveTo>
                  <a:cubicBezTo>
                    <a:pt x="1126918" y="1915266"/>
                    <a:pt x="1150689" y="1939107"/>
                    <a:pt x="1150689" y="1968908"/>
                  </a:cubicBezTo>
                  <a:cubicBezTo>
                    <a:pt x="1150689" y="1968908"/>
                    <a:pt x="1150689" y="1968908"/>
                    <a:pt x="1150689" y="2189437"/>
                  </a:cubicBezTo>
                  <a:cubicBezTo>
                    <a:pt x="1150689" y="2219238"/>
                    <a:pt x="1126918" y="2243079"/>
                    <a:pt x="1095223" y="2243079"/>
                  </a:cubicBezTo>
                  <a:cubicBezTo>
                    <a:pt x="1065509" y="2243079"/>
                    <a:pt x="1041737" y="2219238"/>
                    <a:pt x="1041737" y="2189437"/>
                  </a:cubicBezTo>
                  <a:cubicBezTo>
                    <a:pt x="1041737" y="2189437"/>
                    <a:pt x="1041737" y="2189437"/>
                    <a:pt x="1041737" y="1968908"/>
                  </a:cubicBezTo>
                  <a:cubicBezTo>
                    <a:pt x="1041737" y="1939107"/>
                    <a:pt x="1065509" y="1915266"/>
                    <a:pt x="1095223" y="1915266"/>
                  </a:cubicBezTo>
                  <a:close/>
                  <a:moveTo>
                    <a:pt x="53642" y="1641929"/>
                  </a:moveTo>
                  <a:cubicBezTo>
                    <a:pt x="204635" y="1641929"/>
                    <a:pt x="327813" y="1764748"/>
                    <a:pt x="327813" y="1915300"/>
                  </a:cubicBezTo>
                  <a:cubicBezTo>
                    <a:pt x="327813" y="1945015"/>
                    <a:pt x="303972" y="1968786"/>
                    <a:pt x="274171" y="1968786"/>
                  </a:cubicBezTo>
                  <a:cubicBezTo>
                    <a:pt x="242383" y="1968786"/>
                    <a:pt x="218542" y="1945015"/>
                    <a:pt x="218542" y="1915300"/>
                  </a:cubicBezTo>
                  <a:cubicBezTo>
                    <a:pt x="218542" y="1824177"/>
                    <a:pt x="145033" y="1750881"/>
                    <a:pt x="53642" y="1750881"/>
                  </a:cubicBezTo>
                  <a:cubicBezTo>
                    <a:pt x="23841" y="1750881"/>
                    <a:pt x="0" y="1727110"/>
                    <a:pt x="0" y="1695415"/>
                  </a:cubicBezTo>
                  <a:cubicBezTo>
                    <a:pt x="0" y="1665701"/>
                    <a:pt x="23841" y="1641929"/>
                    <a:pt x="53642" y="1641929"/>
                  </a:cubicBezTo>
                  <a:close/>
                  <a:moveTo>
                    <a:pt x="821111" y="1586497"/>
                  </a:moveTo>
                  <a:cubicBezTo>
                    <a:pt x="852913" y="1586497"/>
                    <a:pt x="876765" y="1612246"/>
                    <a:pt x="876765" y="1641957"/>
                  </a:cubicBezTo>
                  <a:cubicBezTo>
                    <a:pt x="876765" y="1701377"/>
                    <a:pt x="926456" y="1750895"/>
                    <a:pt x="986085" y="1750895"/>
                  </a:cubicBezTo>
                  <a:cubicBezTo>
                    <a:pt x="1015899" y="1750895"/>
                    <a:pt x="1041738" y="1774663"/>
                    <a:pt x="1041738" y="1806354"/>
                  </a:cubicBezTo>
                  <a:cubicBezTo>
                    <a:pt x="1041738" y="1836065"/>
                    <a:pt x="1015899" y="1859833"/>
                    <a:pt x="986085" y="1859833"/>
                  </a:cubicBezTo>
                  <a:cubicBezTo>
                    <a:pt x="864839" y="1859833"/>
                    <a:pt x="767445" y="1762779"/>
                    <a:pt x="767445" y="1641957"/>
                  </a:cubicBezTo>
                  <a:cubicBezTo>
                    <a:pt x="767445" y="1612246"/>
                    <a:pt x="791297" y="1586497"/>
                    <a:pt x="821111" y="1586497"/>
                  </a:cubicBezTo>
                  <a:close/>
                  <a:moveTo>
                    <a:pt x="821111" y="1147821"/>
                  </a:moveTo>
                  <a:cubicBezTo>
                    <a:pt x="944344" y="1147821"/>
                    <a:pt x="1041738" y="1221412"/>
                    <a:pt x="1041738" y="1312903"/>
                  </a:cubicBezTo>
                  <a:cubicBezTo>
                    <a:pt x="1041738" y="1342737"/>
                    <a:pt x="1015899" y="1368593"/>
                    <a:pt x="986085" y="1368593"/>
                  </a:cubicBezTo>
                  <a:cubicBezTo>
                    <a:pt x="956270" y="1368593"/>
                    <a:pt x="932419" y="1342737"/>
                    <a:pt x="932419" y="1312903"/>
                  </a:cubicBezTo>
                  <a:cubicBezTo>
                    <a:pt x="932419" y="1291025"/>
                    <a:pt x="888691" y="1259202"/>
                    <a:pt x="821111" y="1259202"/>
                  </a:cubicBezTo>
                  <a:cubicBezTo>
                    <a:pt x="791297" y="1259202"/>
                    <a:pt x="767445" y="1233345"/>
                    <a:pt x="767445" y="1203511"/>
                  </a:cubicBezTo>
                  <a:cubicBezTo>
                    <a:pt x="767445" y="1173677"/>
                    <a:pt x="791297" y="1147821"/>
                    <a:pt x="821111" y="1147821"/>
                  </a:cubicBezTo>
                  <a:close/>
                  <a:moveTo>
                    <a:pt x="548608" y="1147821"/>
                  </a:moveTo>
                  <a:cubicBezTo>
                    <a:pt x="548608" y="1147821"/>
                    <a:pt x="548608" y="1147821"/>
                    <a:pt x="602082" y="1147821"/>
                  </a:cubicBezTo>
                  <a:cubicBezTo>
                    <a:pt x="631790" y="1147821"/>
                    <a:pt x="657537" y="1173779"/>
                    <a:pt x="657537" y="1203731"/>
                  </a:cubicBezTo>
                  <a:cubicBezTo>
                    <a:pt x="657537" y="1233683"/>
                    <a:pt x="631790" y="1259641"/>
                    <a:pt x="602082" y="1259641"/>
                  </a:cubicBezTo>
                  <a:cubicBezTo>
                    <a:pt x="602082" y="1259641"/>
                    <a:pt x="602082" y="1259641"/>
                    <a:pt x="548608" y="1259641"/>
                  </a:cubicBezTo>
                  <a:cubicBezTo>
                    <a:pt x="516919" y="1259641"/>
                    <a:pt x="493153" y="1233683"/>
                    <a:pt x="493153" y="1203731"/>
                  </a:cubicBezTo>
                  <a:cubicBezTo>
                    <a:pt x="493153" y="1173779"/>
                    <a:pt x="516919" y="1147821"/>
                    <a:pt x="548608" y="1147821"/>
                  </a:cubicBezTo>
                  <a:close/>
                  <a:moveTo>
                    <a:pt x="53666" y="1038869"/>
                  </a:moveTo>
                  <a:cubicBezTo>
                    <a:pt x="85468" y="1038869"/>
                    <a:pt x="109320" y="1064708"/>
                    <a:pt x="109320" y="1094523"/>
                  </a:cubicBezTo>
                  <a:cubicBezTo>
                    <a:pt x="109320" y="1154152"/>
                    <a:pt x="159011" y="1203842"/>
                    <a:pt x="218639" y="1203842"/>
                  </a:cubicBezTo>
                  <a:cubicBezTo>
                    <a:pt x="248454" y="1203842"/>
                    <a:pt x="274293" y="1227694"/>
                    <a:pt x="274293" y="1259496"/>
                  </a:cubicBezTo>
                  <a:cubicBezTo>
                    <a:pt x="274293" y="1289311"/>
                    <a:pt x="248454" y="1313162"/>
                    <a:pt x="218639" y="1313162"/>
                  </a:cubicBezTo>
                  <a:cubicBezTo>
                    <a:pt x="97394" y="1313162"/>
                    <a:pt x="0" y="1215768"/>
                    <a:pt x="0" y="1094523"/>
                  </a:cubicBezTo>
                  <a:cubicBezTo>
                    <a:pt x="0" y="1064708"/>
                    <a:pt x="23852" y="1038869"/>
                    <a:pt x="53666" y="1038869"/>
                  </a:cubicBezTo>
                  <a:close/>
                  <a:moveTo>
                    <a:pt x="767468" y="765533"/>
                  </a:moveTo>
                  <a:cubicBezTo>
                    <a:pt x="767468" y="765533"/>
                    <a:pt x="767468" y="765533"/>
                    <a:pt x="820942" y="765533"/>
                  </a:cubicBezTo>
                  <a:cubicBezTo>
                    <a:pt x="852631" y="765533"/>
                    <a:pt x="876397" y="791269"/>
                    <a:pt x="876397" y="820965"/>
                  </a:cubicBezTo>
                  <a:cubicBezTo>
                    <a:pt x="876397" y="850661"/>
                    <a:pt x="852631" y="876397"/>
                    <a:pt x="820942" y="876397"/>
                  </a:cubicBezTo>
                  <a:cubicBezTo>
                    <a:pt x="820942" y="876397"/>
                    <a:pt x="820942" y="876397"/>
                    <a:pt x="767468" y="876397"/>
                  </a:cubicBezTo>
                  <a:cubicBezTo>
                    <a:pt x="737760" y="876397"/>
                    <a:pt x="712013" y="850661"/>
                    <a:pt x="712013" y="820965"/>
                  </a:cubicBezTo>
                  <a:cubicBezTo>
                    <a:pt x="712013" y="791269"/>
                    <a:pt x="737760" y="765533"/>
                    <a:pt x="767468" y="765533"/>
                  </a:cubicBezTo>
                  <a:close/>
                  <a:moveTo>
                    <a:pt x="383429" y="547628"/>
                  </a:moveTo>
                  <a:cubicBezTo>
                    <a:pt x="413224" y="547628"/>
                    <a:pt x="437059" y="571394"/>
                    <a:pt x="437059" y="603083"/>
                  </a:cubicBezTo>
                  <a:cubicBezTo>
                    <a:pt x="437059" y="692207"/>
                    <a:pt x="510552" y="765487"/>
                    <a:pt x="601921" y="765487"/>
                  </a:cubicBezTo>
                  <a:cubicBezTo>
                    <a:pt x="631715" y="765487"/>
                    <a:pt x="657537" y="791234"/>
                    <a:pt x="657537" y="820942"/>
                  </a:cubicBezTo>
                  <a:cubicBezTo>
                    <a:pt x="657537" y="850650"/>
                    <a:pt x="631715" y="876397"/>
                    <a:pt x="601921" y="876397"/>
                  </a:cubicBezTo>
                  <a:cubicBezTo>
                    <a:pt x="450963" y="874416"/>
                    <a:pt x="327813" y="753604"/>
                    <a:pt x="327813" y="603083"/>
                  </a:cubicBezTo>
                  <a:cubicBezTo>
                    <a:pt x="327813" y="571394"/>
                    <a:pt x="353635" y="547628"/>
                    <a:pt x="383429" y="547628"/>
                  </a:cubicBezTo>
                  <a:close/>
                  <a:moveTo>
                    <a:pt x="1095223" y="0"/>
                  </a:moveTo>
                  <a:cubicBezTo>
                    <a:pt x="1126918" y="0"/>
                    <a:pt x="1150689" y="25822"/>
                    <a:pt x="1150689" y="55616"/>
                  </a:cubicBezTo>
                  <a:cubicBezTo>
                    <a:pt x="1150689" y="55616"/>
                    <a:pt x="1150689" y="55616"/>
                    <a:pt x="1150689" y="274108"/>
                  </a:cubicBezTo>
                  <a:cubicBezTo>
                    <a:pt x="1150689" y="303902"/>
                    <a:pt x="1126918" y="329724"/>
                    <a:pt x="1095223" y="329724"/>
                  </a:cubicBezTo>
                  <a:cubicBezTo>
                    <a:pt x="1065509" y="329724"/>
                    <a:pt x="1041737" y="303902"/>
                    <a:pt x="1041737" y="274108"/>
                  </a:cubicBezTo>
                  <a:lnTo>
                    <a:pt x="1041737" y="55616"/>
                  </a:lnTo>
                  <a:cubicBezTo>
                    <a:pt x="1041737" y="25822"/>
                    <a:pt x="1065509" y="0"/>
                    <a:pt x="1095223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7" name="ExtraShape2">
              <a:extLst>
                <a:ext uri="{FF2B5EF4-FFF2-40B4-BE49-F238E27FC236}">
                  <a16:creationId xmlns:a16="http://schemas.microsoft.com/office/drawing/2014/main" id="{317E700B-BC49-46BE-BBA6-65D281B87C7F}"/>
                </a:ext>
              </a:extLst>
            </p:cNvPr>
            <p:cNvSpPr/>
            <p:nvPr/>
          </p:nvSpPr>
          <p:spPr bwMode="auto">
            <a:xfrm>
              <a:off x="2780848" y="1344903"/>
              <a:ext cx="3272390" cy="3390900"/>
            </a:xfrm>
            <a:custGeom>
              <a:avLst/>
              <a:gdLst>
                <a:gd name="T0" fmla="*/ 1418 w 1647"/>
                <a:gd name="T1" fmla="*/ 635 h 1710"/>
                <a:gd name="T2" fmla="*/ 1332 w 1647"/>
                <a:gd name="T3" fmla="*/ 634 h 1710"/>
                <a:gd name="T4" fmla="*/ 1138 w 1647"/>
                <a:gd name="T5" fmla="*/ 772 h 1710"/>
                <a:gd name="T6" fmla="*/ 1219 w 1647"/>
                <a:gd name="T7" fmla="*/ 483 h 1710"/>
                <a:gd name="T8" fmla="*/ 1388 w 1647"/>
                <a:gd name="T9" fmla="*/ 343 h 1710"/>
                <a:gd name="T10" fmla="*/ 1194 w 1647"/>
                <a:gd name="T11" fmla="*/ 414 h 1710"/>
                <a:gd name="T12" fmla="*/ 1091 w 1647"/>
                <a:gd name="T13" fmla="*/ 532 h 1710"/>
                <a:gd name="T14" fmla="*/ 1083 w 1647"/>
                <a:gd name="T15" fmla="*/ 761 h 1710"/>
                <a:gd name="T16" fmla="*/ 1028 w 1647"/>
                <a:gd name="T17" fmla="*/ 165 h 1710"/>
                <a:gd name="T18" fmla="*/ 973 w 1647"/>
                <a:gd name="T19" fmla="*/ 165 h 1710"/>
                <a:gd name="T20" fmla="*/ 962 w 1647"/>
                <a:gd name="T21" fmla="*/ 883 h 1710"/>
                <a:gd name="T22" fmla="*/ 918 w 1647"/>
                <a:gd name="T23" fmla="*/ 62 h 1710"/>
                <a:gd name="T24" fmla="*/ 780 w 1647"/>
                <a:gd name="T25" fmla="*/ 0 h 1710"/>
                <a:gd name="T26" fmla="*/ 559 w 1647"/>
                <a:gd name="T27" fmla="*/ 138 h 1710"/>
                <a:gd name="T28" fmla="*/ 299 w 1647"/>
                <a:gd name="T29" fmla="*/ 325 h 1710"/>
                <a:gd name="T30" fmla="*/ 125 w 1647"/>
                <a:gd name="T31" fmla="*/ 918 h 1710"/>
                <a:gd name="T32" fmla="*/ 93 w 1647"/>
                <a:gd name="T33" fmla="*/ 1328 h 1710"/>
                <a:gd name="T34" fmla="*/ 559 w 1647"/>
                <a:gd name="T35" fmla="*/ 1572 h 1710"/>
                <a:gd name="T36" fmla="*/ 780 w 1647"/>
                <a:gd name="T37" fmla="*/ 1710 h 1710"/>
                <a:gd name="T38" fmla="*/ 918 w 1647"/>
                <a:gd name="T39" fmla="*/ 1648 h 1710"/>
                <a:gd name="T40" fmla="*/ 973 w 1647"/>
                <a:gd name="T41" fmla="*/ 938 h 1710"/>
                <a:gd name="T42" fmla="*/ 1001 w 1647"/>
                <a:gd name="T43" fmla="*/ 1545 h 1710"/>
                <a:gd name="T44" fmla="*/ 1028 w 1647"/>
                <a:gd name="T45" fmla="*/ 894 h 1710"/>
                <a:gd name="T46" fmla="*/ 1083 w 1647"/>
                <a:gd name="T47" fmla="*/ 1269 h 1710"/>
                <a:gd name="T48" fmla="*/ 1195 w 1647"/>
                <a:gd name="T49" fmla="*/ 1392 h 1710"/>
                <a:gd name="T50" fmla="*/ 1304 w 1647"/>
                <a:gd name="T51" fmla="*/ 1520 h 1710"/>
                <a:gd name="T52" fmla="*/ 1307 w 1647"/>
                <a:gd name="T53" fmla="*/ 1296 h 1710"/>
                <a:gd name="T54" fmla="*/ 1138 w 1647"/>
                <a:gd name="T55" fmla="*/ 1257 h 1710"/>
                <a:gd name="T56" fmla="*/ 1229 w 1647"/>
                <a:gd name="T57" fmla="*/ 1068 h 1710"/>
                <a:gd name="T58" fmla="*/ 1304 w 1647"/>
                <a:gd name="T59" fmla="*/ 1076 h 1710"/>
                <a:gd name="T60" fmla="*/ 1442 w 1647"/>
                <a:gd name="T61" fmla="*/ 1155 h 1710"/>
                <a:gd name="T62" fmla="*/ 1388 w 1647"/>
                <a:gd name="T63" fmla="*/ 941 h 1710"/>
                <a:gd name="T64" fmla="*/ 1304 w 1647"/>
                <a:gd name="T65" fmla="*/ 1021 h 1710"/>
                <a:gd name="T66" fmla="*/ 1138 w 1647"/>
                <a:gd name="T67" fmla="*/ 899 h 1710"/>
                <a:gd name="T68" fmla="*/ 1341 w 1647"/>
                <a:gd name="T69" fmla="*/ 689 h 1710"/>
                <a:gd name="T70" fmla="*/ 1418 w 1647"/>
                <a:gd name="T71" fmla="*/ 689 h 1710"/>
                <a:gd name="T72" fmla="*/ 1632 w 1647"/>
                <a:gd name="T73" fmla="*/ 635 h 1710"/>
                <a:gd name="T74" fmla="*/ 1304 w 1647"/>
                <a:gd name="T75" fmla="*/ 358 h 1710"/>
                <a:gd name="T76" fmla="*/ 1304 w 1647"/>
                <a:gd name="T77" fmla="*/ 469 h 1710"/>
                <a:gd name="T78" fmla="*/ 1304 w 1647"/>
                <a:gd name="T79" fmla="*/ 358 h 1710"/>
                <a:gd name="T80" fmla="*/ 780 w 1647"/>
                <a:gd name="T81" fmla="*/ 1655 h 1710"/>
                <a:gd name="T82" fmla="*/ 586 w 1647"/>
                <a:gd name="T83" fmla="*/ 1514 h 1710"/>
                <a:gd name="T84" fmla="*/ 559 w 1647"/>
                <a:gd name="T85" fmla="*/ 1517 h 1710"/>
                <a:gd name="T86" fmla="*/ 451 w 1647"/>
                <a:gd name="T87" fmla="*/ 1385 h 1710"/>
                <a:gd name="T88" fmla="*/ 411 w 1647"/>
                <a:gd name="T89" fmla="*/ 1355 h 1710"/>
                <a:gd name="T90" fmla="*/ 198 w 1647"/>
                <a:gd name="T91" fmla="*/ 969 h 1710"/>
                <a:gd name="T92" fmla="*/ 202 w 1647"/>
                <a:gd name="T93" fmla="*/ 924 h 1710"/>
                <a:gd name="T94" fmla="*/ 241 w 1647"/>
                <a:gd name="T95" fmla="*/ 650 h 1710"/>
                <a:gd name="T96" fmla="*/ 253 w 1647"/>
                <a:gd name="T97" fmla="*/ 610 h 1710"/>
                <a:gd name="T98" fmla="*/ 323 w 1647"/>
                <a:gd name="T99" fmla="*/ 374 h 1710"/>
                <a:gd name="T100" fmla="*/ 419 w 1647"/>
                <a:gd name="T101" fmla="*/ 361 h 1710"/>
                <a:gd name="T102" fmla="*/ 451 w 1647"/>
                <a:gd name="T103" fmla="*/ 328 h 1710"/>
                <a:gd name="T104" fmla="*/ 559 w 1647"/>
                <a:gd name="T105" fmla="*/ 193 h 1710"/>
                <a:gd name="T106" fmla="*/ 620 w 1647"/>
                <a:gd name="T107" fmla="*/ 177 h 1710"/>
                <a:gd name="T108" fmla="*/ 780 w 1647"/>
                <a:gd name="T109" fmla="*/ 55 h 1710"/>
                <a:gd name="T110" fmla="*/ 863 w 1647"/>
                <a:gd name="T111" fmla="*/ 1633 h 1710"/>
                <a:gd name="T112" fmla="*/ 1359 w 1647"/>
                <a:gd name="T113" fmla="*/ 1407 h 1710"/>
                <a:gd name="T114" fmla="*/ 1249 w 1647"/>
                <a:gd name="T115" fmla="*/ 1407 h 1710"/>
                <a:gd name="T116" fmla="*/ 1414 w 1647"/>
                <a:gd name="T117" fmla="*/ 993 h 1710"/>
                <a:gd name="T118" fmla="*/ 1414 w 1647"/>
                <a:gd name="T119" fmla="*/ 1103 h 1710"/>
                <a:gd name="T120" fmla="*/ 1414 w 1647"/>
                <a:gd name="T121" fmla="*/ 993 h 1710"/>
                <a:gd name="T122" fmla="*/ 1469 w 1647"/>
                <a:gd name="T123" fmla="*/ 662 h 1710"/>
                <a:gd name="T124" fmla="*/ 1580 w 1647"/>
                <a:gd name="T125" fmla="*/ 662 h 1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47" h="1710">
                  <a:moveTo>
                    <a:pt x="1525" y="552"/>
                  </a:moveTo>
                  <a:cubicBezTo>
                    <a:pt x="1474" y="552"/>
                    <a:pt x="1430" y="586"/>
                    <a:pt x="1418" y="635"/>
                  </a:cubicBezTo>
                  <a:cubicBezTo>
                    <a:pt x="1417" y="635"/>
                    <a:pt x="1416" y="634"/>
                    <a:pt x="1414" y="634"/>
                  </a:cubicBezTo>
                  <a:cubicBezTo>
                    <a:pt x="1332" y="634"/>
                    <a:pt x="1332" y="634"/>
                    <a:pt x="1332" y="634"/>
                  </a:cubicBezTo>
                  <a:cubicBezTo>
                    <a:pt x="1326" y="634"/>
                    <a:pt x="1320" y="636"/>
                    <a:pt x="1315" y="640"/>
                  </a:cubicBezTo>
                  <a:cubicBezTo>
                    <a:pt x="1138" y="772"/>
                    <a:pt x="1138" y="772"/>
                    <a:pt x="1138" y="772"/>
                  </a:cubicBezTo>
                  <a:cubicBezTo>
                    <a:pt x="1138" y="563"/>
                    <a:pt x="1138" y="563"/>
                    <a:pt x="1138" y="563"/>
                  </a:cubicBezTo>
                  <a:cubicBezTo>
                    <a:pt x="1219" y="483"/>
                    <a:pt x="1219" y="483"/>
                    <a:pt x="1219" y="483"/>
                  </a:cubicBezTo>
                  <a:cubicBezTo>
                    <a:pt x="1257" y="530"/>
                    <a:pt x="1326" y="536"/>
                    <a:pt x="1373" y="498"/>
                  </a:cubicBezTo>
                  <a:cubicBezTo>
                    <a:pt x="1420" y="459"/>
                    <a:pt x="1426" y="390"/>
                    <a:pt x="1388" y="343"/>
                  </a:cubicBezTo>
                  <a:cubicBezTo>
                    <a:pt x="1349" y="296"/>
                    <a:pt x="1280" y="290"/>
                    <a:pt x="1234" y="328"/>
                  </a:cubicBezTo>
                  <a:cubicBezTo>
                    <a:pt x="1208" y="349"/>
                    <a:pt x="1193" y="381"/>
                    <a:pt x="1194" y="414"/>
                  </a:cubicBezTo>
                  <a:cubicBezTo>
                    <a:pt x="1194" y="419"/>
                    <a:pt x="1194" y="423"/>
                    <a:pt x="1195" y="428"/>
                  </a:cubicBezTo>
                  <a:cubicBezTo>
                    <a:pt x="1091" y="532"/>
                    <a:pt x="1091" y="532"/>
                    <a:pt x="1091" y="532"/>
                  </a:cubicBezTo>
                  <a:cubicBezTo>
                    <a:pt x="1086" y="537"/>
                    <a:pt x="1083" y="544"/>
                    <a:pt x="1083" y="552"/>
                  </a:cubicBezTo>
                  <a:cubicBezTo>
                    <a:pt x="1083" y="761"/>
                    <a:pt x="1083" y="761"/>
                    <a:pt x="1083" y="761"/>
                  </a:cubicBezTo>
                  <a:cubicBezTo>
                    <a:pt x="1028" y="816"/>
                    <a:pt x="1028" y="816"/>
                    <a:pt x="1028" y="816"/>
                  </a:cubicBezTo>
                  <a:cubicBezTo>
                    <a:pt x="1028" y="165"/>
                    <a:pt x="1028" y="165"/>
                    <a:pt x="1028" y="165"/>
                  </a:cubicBezTo>
                  <a:cubicBezTo>
                    <a:pt x="1028" y="150"/>
                    <a:pt x="1016" y="138"/>
                    <a:pt x="1001" y="138"/>
                  </a:cubicBezTo>
                  <a:cubicBezTo>
                    <a:pt x="985" y="138"/>
                    <a:pt x="973" y="150"/>
                    <a:pt x="973" y="165"/>
                  </a:cubicBezTo>
                  <a:cubicBezTo>
                    <a:pt x="973" y="871"/>
                    <a:pt x="973" y="871"/>
                    <a:pt x="973" y="871"/>
                  </a:cubicBezTo>
                  <a:cubicBezTo>
                    <a:pt x="962" y="883"/>
                    <a:pt x="962" y="883"/>
                    <a:pt x="962" y="883"/>
                  </a:cubicBezTo>
                  <a:cubicBezTo>
                    <a:pt x="918" y="883"/>
                    <a:pt x="918" y="883"/>
                    <a:pt x="918" y="883"/>
                  </a:cubicBezTo>
                  <a:cubicBezTo>
                    <a:pt x="918" y="62"/>
                    <a:pt x="918" y="62"/>
                    <a:pt x="918" y="62"/>
                  </a:cubicBezTo>
                  <a:cubicBezTo>
                    <a:pt x="918" y="53"/>
                    <a:pt x="913" y="45"/>
                    <a:pt x="906" y="40"/>
                  </a:cubicBezTo>
                  <a:cubicBezTo>
                    <a:pt x="869" y="14"/>
                    <a:pt x="825" y="0"/>
                    <a:pt x="780" y="0"/>
                  </a:cubicBezTo>
                  <a:cubicBezTo>
                    <a:pt x="690" y="0"/>
                    <a:pt x="609" y="55"/>
                    <a:pt x="575" y="138"/>
                  </a:cubicBezTo>
                  <a:cubicBezTo>
                    <a:pt x="570" y="138"/>
                    <a:pt x="565" y="138"/>
                    <a:pt x="559" y="138"/>
                  </a:cubicBezTo>
                  <a:cubicBezTo>
                    <a:pt x="468" y="138"/>
                    <a:pt x="394" y="212"/>
                    <a:pt x="394" y="303"/>
                  </a:cubicBezTo>
                  <a:cubicBezTo>
                    <a:pt x="361" y="303"/>
                    <a:pt x="329" y="310"/>
                    <a:pt x="299" y="325"/>
                  </a:cubicBezTo>
                  <a:cubicBezTo>
                    <a:pt x="191" y="376"/>
                    <a:pt x="143" y="504"/>
                    <a:pt x="192" y="614"/>
                  </a:cubicBezTo>
                  <a:cubicBezTo>
                    <a:pt x="90" y="679"/>
                    <a:pt x="59" y="816"/>
                    <a:pt x="125" y="918"/>
                  </a:cubicBezTo>
                  <a:cubicBezTo>
                    <a:pt x="130" y="926"/>
                    <a:pt x="135" y="934"/>
                    <a:pt x="141" y="941"/>
                  </a:cubicBezTo>
                  <a:cubicBezTo>
                    <a:pt x="21" y="1034"/>
                    <a:pt x="0" y="1208"/>
                    <a:pt x="93" y="1328"/>
                  </a:cubicBezTo>
                  <a:cubicBezTo>
                    <a:pt x="164" y="1419"/>
                    <a:pt x="284" y="1456"/>
                    <a:pt x="394" y="1421"/>
                  </a:cubicBezTo>
                  <a:cubicBezTo>
                    <a:pt x="402" y="1507"/>
                    <a:pt x="473" y="1572"/>
                    <a:pt x="559" y="1572"/>
                  </a:cubicBezTo>
                  <a:cubicBezTo>
                    <a:pt x="565" y="1572"/>
                    <a:pt x="570" y="1572"/>
                    <a:pt x="575" y="1572"/>
                  </a:cubicBezTo>
                  <a:cubicBezTo>
                    <a:pt x="609" y="1655"/>
                    <a:pt x="690" y="1710"/>
                    <a:pt x="780" y="1710"/>
                  </a:cubicBezTo>
                  <a:cubicBezTo>
                    <a:pt x="825" y="1710"/>
                    <a:pt x="869" y="1696"/>
                    <a:pt x="906" y="1670"/>
                  </a:cubicBezTo>
                  <a:cubicBezTo>
                    <a:pt x="913" y="1665"/>
                    <a:pt x="918" y="1657"/>
                    <a:pt x="918" y="1648"/>
                  </a:cubicBezTo>
                  <a:cubicBezTo>
                    <a:pt x="918" y="938"/>
                    <a:pt x="918" y="938"/>
                    <a:pt x="918" y="938"/>
                  </a:cubicBezTo>
                  <a:cubicBezTo>
                    <a:pt x="973" y="938"/>
                    <a:pt x="973" y="938"/>
                    <a:pt x="973" y="938"/>
                  </a:cubicBezTo>
                  <a:cubicBezTo>
                    <a:pt x="973" y="1517"/>
                    <a:pt x="973" y="1517"/>
                    <a:pt x="973" y="1517"/>
                  </a:cubicBezTo>
                  <a:cubicBezTo>
                    <a:pt x="973" y="1532"/>
                    <a:pt x="985" y="1545"/>
                    <a:pt x="1001" y="1545"/>
                  </a:cubicBezTo>
                  <a:cubicBezTo>
                    <a:pt x="1016" y="1545"/>
                    <a:pt x="1028" y="1532"/>
                    <a:pt x="1028" y="1517"/>
                  </a:cubicBezTo>
                  <a:cubicBezTo>
                    <a:pt x="1028" y="894"/>
                    <a:pt x="1028" y="894"/>
                    <a:pt x="1028" y="894"/>
                  </a:cubicBezTo>
                  <a:cubicBezTo>
                    <a:pt x="1083" y="839"/>
                    <a:pt x="1083" y="839"/>
                    <a:pt x="1083" y="839"/>
                  </a:cubicBezTo>
                  <a:cubicBezTo>
                    <a:pt x="1083" y="1269"/>
                    <a:pt x="1083" y="1269"/>
                    <a:pt x="1083" y="1269"/>
                  </a:cubicBezTo>
                  <a:cubicBezTo>
                    <a:pt x="1083" y="1276"/>
                    <a:pt x="1086" y="1283"/>
                    <a:pt x="1091" y="1288"/>
                  </a:cubicBezTo>
                  <a:cubicBezTo>
                    <a:pt x="1195" y="1392"/>
                    <a:pt x="1195" y="1392"/>
                    <a:pt x="1195" y="1392"/>
                  </a:cubicBezTo>
                  <a:cubicBezTo>
                    <a:pt x="1194" y="1397"/>
                    <a:pt x="1194" y="1402"/>
                    <a:pt x="1194" y="1407"/>
                  </a:cubicBezTo>
                  <a:cubicBezTo>
                    <a:pt x="1193" y="1468"/>
                    <a:pt x="1242" y="1519"/>
                    <a:pt x="1304" y="1520"/>
                  </a:cubicBezTo>
                  <a:cubicBezTo>
                    <a:pt x="1366" y="1521"/>
                    <a:pt x="1416" y="1471"/>
                    <a:pt x="1417" y="1409"/>
                  </a:cubicBezTo>
                  <a:cubicBezTo>
                    <a:pt x="1418" y="1348"/>
                    <a:pt x="1368" y="1297"/>
                    <a:pt x="1307" y="1296"/>
                  </a:cubicBezTo>
                  <a:cubicBezTo>
                    <a:pt x="1273" y="1296"/>
                    <a:pt x="1240" y="1311"/>
                    <a:pt x="1219" y="1338"/>
                  </a:cubicBezTo>
                  <a:cubicBezTo>
                    <a:pt x="1138" y="1257"/>
                    <a:pt x="1138" y="1257"/>
                    <a:pt x="1138" y="1257"/>
                  </a:cubicBezTo>
                  <a:cubicBezTo>
                    <a:pt x="1138" y="977"/>
                    <a:pt x="1138" y="977"/>
                    <a:pt x="1138" y="977"/>
                  </a:cubicBezTo>
                  <a:cubicBezTo>
                    <a:pt x="1229" y="1068"/>
                    <a:pt x="1229" y="1068"/>
                    <a:pt x="1229" y="1068"/>
                  </a:cubicBezTo>
                  <a:cubicBezTo>
                    <a:pt x="1234" y="1073"/>
                    <a:pt x="1241" y="1076"/>
                    <a:pt x="1249" y="1076"/>
                  </a:cubicBezTo>
                  <a:cubicBezTo>
                    <a:pt x="1304" y="1076"/>
                    <a:pt x="1304" y="1076"/>
                    <a:pt x="1304" y="1076"/>
                  </a:cubicBezTo>
                  <a:cubicBezTo>
                    <a:pt x="1305" y="1076"/>
                    <a:pt x="1306" y="1075"/>
                    <a:pt x="1308" y="1075"/>
                  </a:cubicBezTo>
                  <a:cubicBezTo>
                    <a:pt x="1322" y="1134"/>
                    <a:pt x="1382" y="1170"/>
                    <a:pt x="1442" y="1155"/>
                  </a:cubicBezTo>
                  <a:cubicBezTo>
                    <a:pt x="1501" y="1140"/>
                    <a:pt x="1537" y="1080"/>
                    <a:pt x="1522" y="1021"/>
                  </a:cubicBezTo>
                  <a:cubicBezTo>
                    <a:pt x="1507" y="962"/>
                    <a:pt x="1447" y="926"/>
                    <a:pt x="1388" y="941"/>
                  </a:cubicBezTo>
                  <a:cubicBezTo>
                    <a:pt x="1348" y="951"/>
                    <a:pt x="1318" y="982"/>
                    <a:pt x="1308" y="1021"/>
                  </a:cubicBezTo>
                  <a:cubicBezTo>
                    <a:pt x="1306" y="1021"/>
                    <a:pt x="1305" y="1021"/>
                    <a:pt x="1304" y="1021"/>
                  </a:cubicBezTo>
                  <a:cubicBezTo>
                    <a:pt x="1260" y="1021"/>
                    <a:pt x="1260" y="1021"/>
                    <a:pt x="1260" y="1021"/>
                  </a:cubicBezTo>
                  <a:cubicBezTo>
                    <a:pt x="1138" y="899"/>
                    <a:pt x="1138" y="899"/>
                    <a:pt x="1138" y="899"/>
                  </a:cubicBezTo>
                  <a:cubicBezTo>
                    <a:pt x="1138" y="841"/>
                    <a:pt x="1138" y="841"/>
                    <a:pt x="1138" y="841"/>
                  </a:cubicBezTo>
                  <a:cubicBezTo>
                    <a:pt x="1341" y="689"/>
                    <a:pt x="1341" y="689"/>
                    <a:pt x="1341" y="689"/>
                  </a:cubicBezTo>
                  <a:cubicBezTo>
                    <a:pt x="1414" y="689"/>
                    <a:pt x="1414" y="689"/>
                    <a:pt x="1414" y="689"/>
                  </a:cubicBezTo>
                  <a:cubicBezTo>
                    <a:pt x="1416" y="689"/>
                    <a:pt x="1417" y="689"/>
                    <a:pt x="1418" y="689"/>
                  </a:cubicBezTo>
                  <a:cubicBezTo>
                    <a:pt x="1433" y="748"/>
                    <a:pt x="1493" y="783"/>
                    <a:pt x="1552" y="769"/>
                  </a:cubicBezTo>
                  <a:cubicBezTo>
                    <a:pt x="1611" y="754"/>
                    <a:pt x="1647" y="694"/>
                    <a:pt x="1632" y="635"/>
                  </a:cubicBezTo>
                  <a:cubicBezTo>
                    <a:pt x="1619" y="586"/>
                    <a:pt x="1575" y="551"/>
                    <a:pt x="1525" y="552"/>
                  </a:cubicBezTo>
                  <a:close/>
                  <a:moveTo>
                    <a:pt x="1304" y="358"/>
                  </a:moveTo>
                  <a:cubicBezTo>
                    <a:pt x="1334" y="358"/>
                    <a:pt x="1359" y="383"/>
                    <a:pt x="1359" y="414"/>
                  </a:cubicBezTo>
                  <a:cubicBezTo>
                    <a:pt x="1359" y="444"/>
                    <a:pt x="1334" y="469"/>
                    <a:pt x="1304" y="469"/>
                  </a:cubicBezTo>
                  <a:cubicBezTo>
                    <a:pt x="1273" y="469"/>
                    <a:pt x="1249" y="444"/>
                    <a:pt x="1249" y="414"/>
                  </a:cubicBezTo>
                  <a:cubicBezTo>
                    <a:pt x="1249" y="383"/>
                    <a:pt x="1273" y="358"/>
                    <a:pt x="1304" y="358"/>
                  </a:cubicBezTo>
                  <a:close/>
                  <a:moveTo>
                    <a:pt x="863" y="1633"/>
                  </a:moveTo>
                  <a:cubicBezTo>
                    <a:pt x="837" y="1648"/>
                    <a:pt x="809" y="1655"/>
                    <a:pt x="780" y="1655"/>
                  </a:cubicBezTo>
                  <a:cubicBezTo>
                    <a:pt x="705" y="1655"/>
                    <a:pt x="640" y="1605"/>
                    <a:pt x="620" y="1533"/>
                  </a:cubicBezTo>
                  <a:cubicBezTo>
                    <a:pt x="616" y="1518"/>
                    <a:pt x="601" y="1510"/>
                    <a:pt x="586" y="1514"/>
                  </a:cubicBezTo>
                  <a:cubicBezTo>
                    <a:pt x="586" y="1514"/>
                    <a:pt x="586" y="1514"/>
                    <a:pt x="586" y="1514"/>
                  </a:cubicBezTo>
                  <a:cubicBezTo>
                    <a:pt x="577" y="1516"/>
                    <a:pt x="568" y="1517"/>
                    <a:pt x="559" y="1517"/>
                  </a:cubicBezTo>
                  <a:cubicBezTo>
                    <a:pt x="498" y="1517"/>
                    <a:pt x="449" y="1468"/>
                    <a:pt x="449" y="1407"/>
                  </a:cubicBezTo>
                  <a:cubicBezTo>
                    <a:pt x="449" y="1400"/>
                    <a:pt x="449" y="1392"/>
                    <a:pt x="451" y="1385"/>
                  </a:cubicBezTo>
                  <a:cubicBezTo>
                    <a:pt x="454" y="1370"/>
                    <a:pt x="445" y="1356"/>
                    <a:pt x="430" y="1353"/>
                  </a:cubicBezTo>
                  <a:cubicBezTo>
                    <a:pt x="424" y="1351"/>
                    <a:pt x="417" y="1352"/>
                    <a:pt x="411" y="1355"/>
                  </a:cubicBezTo>
                  <a:cubicBezTo>
                    <a:pt x="303" y="1410"/>
                    <a:pt x="170" y="1366"/>
                    <a:pt x="115" y="1257"/>
                  </a:cubicBezTo>
                  <a:cubicBezTo>
                    <a:pt x="63" y="1154"/>
                    <a:pt x="99" y="1029"/>
                    <a:pt x="198" y="969"/>
                  </a:cubicBezTo>
                  <a:cubicBezTo>
                    <a:pt x="211" y="961"/>
                    <a:pt x="215" y="944"/>
                    <a:pt x="208" y="931"/>
                  </a:cubicBezTo>
                  <a:cubicBezTo>
                    <a:pt x="206" y="929"/>
                    <a:pt x="204" y="926"/>
                    <a:pt x="202" y="924"/>
                  </a:cubicBezTo>
                  <a:cubicBezTo>
                    <a:pt x="133" y="864"/>
                    <a:pt x="126" y="760"/>
                    <a:pt x="186" y="691"/>
                  </a:cubicBezTo>
                  <a:cubicBezTo>
                    <a:pt x="201" y="674"/>
                    <a:pt x="220" y="660"/>
                    <a:pt x="241" y="650"/>
                  </a:cubicBezTo>
                  <a:cubicBezTo>
                    <a:pt x="255" y="644"/>
                    <a:pt x="261" y="627"/>
                    <a:pt x="254" y="613"/>
                  </a:cubicBezTo>
                  <a:cubicBezTo>
                    <a:pt x="254" y="612"/>
                    <a:pt x="253" y="611"/>
                    <a:pt x="253" y="610"/>
                  </a:cubicBezTo>
                  <a:cubicBezTo>
                    <a:pt x="205" y="533"/>
                    <a:pt x="229" y="431"/>
                    <a:pt x="307" y="383"/>
                  </a:cubicBezTo>
                  <a:cubicBezTo>
                    <a:pt x="312" y="380"/>
                    <a:pt x="317" y="377"/>
                    <a:pt x="323" y="374"/>
                  </a:cubicBezTo>
                  <a:cubicBezTo>
                    <a:pt x="345" y="364"/>
                    <a:pt x="369" y="358"/>
                    <a:pt x="394" y="358"/>
                  </a:cubicBezTo>
                  <a:cubicBezTo>
                    <a:pt x="402" y="358"/>
                    <a:pt x="411" y="359"/>
                    <a:pt x="419" y="361"/>
                  </a:cubicBezTo>
                  <a:cubicBezTo>
                    <a:pt x="434" y="364"/>
                    <a:pt x="449" y="354"/>
                    <a:pt x="452" y="339"/>
                  </a:cubicBezTo>
                  <a:cubicBezTo>
                    <a:pt x="452" y="335"/>
                    <a:pt x="452" y="331"/>
                    <a:pt x="451" y="328"/>
                  </a:cubicBezTo>
                  <a:cubicBezTo>
                    <a:pt x="438" y="268"/>
                    <a:pt x="476" y="209"/>
                    <a:pt x="535" y="196"/>
                  </a:cubicBezTo>
                  <a:cubicBezTo>
                    <a:pt x="543" y="194"/>
                    <a:pt x="551" y="193"/>
                    <a:pt x="559" y="193"/>
                  </a:cubicBezTo>
                  <a:cubicBezTo>
                    <a:pt x="568" y="193"/>
                    <a:pt x="577" y="194"/>
                    <a:pt x="586" y="196"/>
                  </a:cubicBezTo>
                  <a:cubicBezTo>
                    <a:pt x="601" y="200"/>
                    <a:pt x="616" y="192"/>
                    <a:pt x="620" y="177"/>
                  </a:cubicBezTo>
                  <a:cubicBezTo>
                    <a:pt x="620" y="177"/>
                    <a:pt x="620" y="177"/>
                    <a:pt x="620" y="177"/>
                  </a:cubicBezTo>
                  <a:cubicBezTo>
                    <a:pt x="640" y="105"/>
                    <a:pt x="705" y="55"/>
                    <a:pt x="780" y="55"/>
                  </a:cubicBezTo>
                  <a:cubicBezTo>
                    <a:pt x="809" y="55"/>
                    <a:pt x="837" y="62"/>
                    <a:pt x="863" y="77"/>
                  </a:cubicBezTo>
                  <a:lnTo>
                    <a:pt x="863" y="1633"/>
                  </a:lnTo>
                  <a:close/>
                  <a:moveTo>
                    <a:pt x="1304" y="1352"/>
                  </a:moveTo>
                  <a:cubicBezTo>
                    <a:pt x="1334" y="1352"/>
                    <a:pt x="1359" y="1376"/>
                    <a:pt x="1359" y="1407"/>
                  </a:cubicBezTo>
                  <a:cubicBezTo>
                    <a:pt x="1359" y="1437"/>
                    <a:pt x="1334" y="1462"/>
                    <a:pt x="1304" y="1462"/>
                  </a:cubicBezTo>
                  <a:cubicBezTo>
                    <a:pt x="1273" y="1462"/>
                    <a:pt x="1249" y="1437"/>
                    <a:pt x="1249" y="1407"/>
                  </a:cubicBezTo>
                  <a:cubicBezTo>
                    <a:pt x="1249" y="1376"/>
                    <a:pt x="1273" y="1352"/>
                    <a:pt x="1304" y="1352"/>
                  </a:cubicBezTo>
                  <a:close/>
                  <a:moveTo>
                    <a:pt x="1414" y="993"/>
                  </a:moveTo>
                  <a:cubicBezTo>
                    <a:pt x="1445" y="993"/>
                    <a:pt x="1469" y="1018"/>
                    <a:pt x="1469" y="1048"/>
                  </a:cubicBezTo>
                  <a:cubicBezTo>
                    <a:pt x="1469" y="1079"/>
                    <a:pt x="1445" y="1103"/>
                    <a:pt x="1414" y="1103"/>
                  </a:cubicBezTo>
                  <a:cubicBezTo>
                    <a:pt x="1384" y="1103"/>
                    <a:pt x="1359" y="1079"/>
                    <a:pt x="1359" y="1048"/>
                  </a:cubicBezTo>
                  <a:cubicBezTo>
                    <a:pt x="1359" y="1018"/>
                    <a:pt x="1384" y="993"/>
                    <a:pt x="1414" y="993"/>
                  </a:cubicBezTo>
                  <a:close/>
                  <a:moveTo>
                    <a:pt x="1525" y="717"/>
                  </a:moveTo>
                  <a:cubicBezTo>
                    <a:pt x="1494" y="717"/>
                    <a:pt x="1469" y="692"/>
                    <a:pt x="1469" y="662"/>
                  </a:cubicBezTo>
                  <a:cubicBezTo>
                    <a:pt x="1469" y="631"/>
                    <a:pt x="1494" y="607"/>
                    <a:pt x="1525" y="607"/>
                  </a:cubicBezTo>
                  <a:cubicBezTo>
                    <a:pt x="1555" y="607"/>
                    <a:pt x="1580" y="631"/>
                    <a:pt x="1580" y="662"/>
                  </a:cubicBezTo>
                  <a:cubicBezTo>
                    <a:pt x="1580" y="692"/>
                    <a:pt x="1555" y="717"/>
                    <a:pt x="1525" y="71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8" name="ExtraShape">
              <a:extLst>
                <a:ext uri="{FF2B5EF4-FFF2-40B4-BE49-F238E27FC236}">
                  <a16:creationId xmlns:a16="http://schemas.microsoft.com/office/drawing/2014/main" id="{1834F9EC-7625-4198-AA0A-C2AD6DD8939F}"/>
                </a:ext>
              </a:extLst>
            </p:cNvPr>
            <p:cNvSpPr/>
            <p:nvPr/>
          </p:nvSpPr>
          <p:spPr bwMode="auto">
            <a:xfrm>
              <a:off x="4932176" y="1562808"/>
              <a:ext cx="109908" cy="2899659"/>
            </a:xfrm>
            <a:custGeom>
              <a:avLst/>
              <a:gdLst>
                <a:gd name="connsiteX0" fmla="*/ 55953 w 109908"/>
                <a:gd name="connsiteY0" fmla="*/ 2571846 h 2899659"/>
                <a:gd name="connsiteX1" fmla="*/ 109908 w 109908"/>
                <a:gd name="connsiteY1" fmla="*/ 2625488 h 2899659"/>
                <a:gd name="connsiteX2" fmla="*/ 109908 w 109908"/>
                <a:gd name="connsiteY2" fmla="*/ 2846017 h 2899659"/>
                <a:gd name="connsiteX3" fmla="*/ 55953 w 109908"/>
                <a:gd name="connsiteY3" fmla="*/ 2899659 h 2899659"/>
                <a:gd name="connsiteX4" fmla="*/ 0 w 109908"/>
                <a:gd name="connsiteY4" fmla="*/ 2846017 h 2899659"/>
                <a:gd name="connsiteX5" fmla="*/ 0 w 109908"/>
                <a:gd name="connsiteY5" fmla="*/ 2625488 h 2899659"/>
                <a:gd name="connsiteX6" fmla="*/ 55953 w 109908"/>
                <a:gd name="connsiteY6" fmla="*/ 2571846 h 2899659"/>
                <a:gd name="connsiteX7" fmla="*/ 55953 w 109908"/>
                <a:gd name="connsiteY7" fmla="*/ 0 h 2899659"/>
                <a:gd name="connsiteX8" fmla="*/ 109908 w 109908"/>
                <a:gd name="connsiteY8" fmla="*/ 55579 h 2899659"/>
                <a:gd name="connsiteX9" fmla="*/ 109908 w 109908"/>
                <a:gd name="connsiteY9" fmla="*/ 383097 h 2899659"/>
                <a:gd name="connsiteX10" fmla="*/ 55953 w 109908"/>
                <a:gd name="connsiteY10" fmla="*/ 438676 h 2899659"/>
                <a:gd name="connsiteX11" fmla="*/ 0 w 109908"/>
                <a:gd name="connsiteY11" fmla="*/ 383097 h 2899659"/>
                <a:gd name="connsiteX12" fmla="*/ 0 w 109908"/>
                <a:gd name="connsiteY12" fmla="*/ 55579 h 2899659"/>
                <a:gd name="connsiteX13" fmla="*/ 55953 w 109908"/>
                <a:gd name="connsiteY13" fmla="*/ 0 h 2899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9908" h="2899659">
                  <a:moveTo>
                    <a:pt x="55953" y="2571846"/>
                  </a:moveTo>
                  <a:cubicBezTo>
                    <a:pt x="85928" y="2571846"/>
                    <a:pt x="109908" y="2595687"/>
                    <a:pt x="109908" y="2625488"/>
                  </a:cubicBezTo>
                  <a:cubicBezTo>
                    <a:pt x="109908" y="2625488"/>
                    <a:pt x="109908" y="2625488"/>
                    <a:pt x="109908" y="2846017"/>
                  </a:cubicBezTo>
                  <a:cubicBezTo>
                    <a:pt x="109908" y="2875818"/>
                    <a:pt x="85928" y="2899659"/>
                    <a:pt x="55953" y="2899659"/>
                  </a:cubicBezTo>
                  <a:cubicBezTo>
                    <a:pt x="25979" y="2899659"/>
                    <a:pt x="0" y="2875818"/>
                    <a:pt x="0" y="2846017"/>
                  </a:cubicBezTo>
                  <a:cubicBezTo>
                    <a:pt x="0" y="2846017"/>
                    <a:pt x="0" y="2846017"/>
                    <a:pt x="0" y="2625488"/>
                  </a:cubicBezTo>
                  <a:cubicBezTo>
                    <a:pt x="0" y="2595687"/>
                    <a:pt x="25979" y="2571846"/>
                    <a:pt x="55953" y="2571846"/>
                  </a:cubicBezTo>
                  <a:close/>
                  <a:moveTo>
                    <a:pt x="55953" y="0"/>
                  </a:moveTo>
                  <a:cubicBezTo>
                    <a:pt x="85928" y="0"/>
                    <a:pt x="109908" y="25804"/>
                    <a:pt x="109908" y="55579"/>
                  </a:cubicBezTo>
                  <a:cubicBezTo>
                    <a:pt x="109908" y="55579"/>
                    <a:pt x="109908" y="55579"/>
                    <a:pt x="109908" y="383097"/>
                  </a:cubicBezTo>
                  <a:cubicBezTo>
                    <a:pt x="109908" y="414856"/>
                    <a:pt x="85928" y="438676"/>
                    <a:pt x="55953" y="438676"/>
                  </a:cubicBezTo>
                  <a:cubicBezTo>
                    <a:pt x="25979" y="438676"/>
                    <a:pt x="0" y="414856"/>
                    <a:pt x="0" y="383097"/>
                  </a:cubicBezTo>
                  <a:cubicBezTo>
                    <a:pt x="0" y="383097"/>
                    <a:pt x="0" y="383097"/>
                    <a:pt x="0" y="55579"/>
                  </a:cubicBezTo>
                  <a:cubicBezTo>
                    <a:pt x="0" y="25804"/>
                    <a:pt x="25979" y="0"/>
                    <a:pt x="55953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9" name="CustomText1">
              <a:extLst>
                <a:ext uri="{FF2B5EF4-FFF2-40B4-BE49-F238E27FC236}">
                  <a16:creationId xmlns:a16="http://schemas.microsoft.com/office/drawing/2014/main" id="{31C5E348-2C85-41EC-816D-B36B6DF612A3}"/>
                </a:ext>
              </a:extLst>
            </p:cNvPr>
            <p:cNvSpPr txBox="1"/>
            <p:nvPr/>
          </p:nvSpPr>
          <p:spPr>
            <a:xfrm>
              <a:off x="3271793" y="4850023"/>
              <a:ext cx="2117631" cy="523220"/>
            </a:xfrm>
            <a:prstGeom prst="rect">
              <a:avLst/>
            </a:prstGeom>
            <a:noFill/>
          </p:spPr>
          <p:txBody>
            <a:bodyPr wrap="square" rtlCol="0">
              <a:normAutofit fontScale="85000" lnSpcReduction="10000"/>
            </a:bodyPr>
            <a:lstStyle/>
            <a:p>
              <a:r>
                <a:rPr lang="en-US" altLang="zh-CN" sz="2800" b="1" dirty="0">
                  <a:solidFill>
                    <a:schemeClr val="tx2"/>
                  </a:solidFill>
                  <a:latin typeface="+mj-lt"/>
                </a:rPr>
                <a:t>TEXT HERE</a:t>
              </a:r>
            </a:p>
          </p:txBody>
        </p:sp>
        <p:sp>
          <p:nvSpPr>
            <p:cNvPr id="20" name="CustomText2">
              <a:extLst>
                <a:ext uri="{FF2B5EF4-FFF2-40B4-BE49-F238E27FC236}">
                  <a16:creationId xmlns:a16="http://schemas.microsoft.com/office/drawing/2014/main" id="{B0ECF4F6-AC5F-4B90-A717-8883123E390D}"/>
                </a:ext>
              </a:extLst>
            </p:cNvPr>
            <p:cNvSpPr/>
            <p:nvPr/>
          </p:nvSpPr>
          <p:spPr>
            <a:xfrm>
              <a:off x="3271793" y="5289205"/>
              <a:ext cx="2117631" cy="369332"/>
            </a:xfrm>
            <a:prstGeom prst="rect">
              <a:avLst/>
            </a:prstGeom>
          </p:spPr>
          <p:txBody>
            <a:bodyPr wrap="square">
              <a:normAutofit fontScale="92500"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  <a:latin typeface="+mj-lt"/>
                </a:rPr>
                <a:t>DESCRIPTION HERE</a:t>
              </a:r>
            </a:p>
          </p:txBody>
        </p:sp>
        <p:sp>
          <p:nvSpPr>
            <p:cNvPr id="21" name="CustomText1">
              <a:extLst>
                <a:ext uri="{FF2B5EF4-FFF2-40B4-BE49-F238E27FC236}">
                  <a16:creationId xmlns:a16="http://schemas.microsoft.com/office/drawing/2014/main" id="{0583D803-12CC-4EE8-8FC1-9EEFF8D08E37}"/>
                </a:ext>
              </a:extLst>
            </p:cNvPr>
            <p:cNvSpPr/>
            <p:nvPr/>
          </p:nvSpPr>
          <p:spPr>
            <a:xfrm>
              <a:off x="5499783" y="5047363"/>
              <a:ext cx="3787918" cy="529080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Go ahead and replace it with your own text.</a:t>
              </a:r>
              <a:endParaRPr lang="tr-TR" altLang="zh-CN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Go ahead and replace it with your own text.</a:t>
              </a:r>
            </a:p>
          </p:txBody>
        </p:sp>
      </p:grpSp>
      <p:sp>
        <p:nvSpPr>
          <p:cNvPr id="22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4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0017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d5a5c087-d9f9-495b-ba7a-c7af2b04e2e5" descr="QBEAAB+LCAAAAAAABADNVk2P2jAQ/S/u9kZRnJAvblBK1cN2kUC9VBzSxIC3+UCOI4FW/Pc6xpQJCdlkS8peEB77mTdv5nl4QQ80QEOEUQ898P2WiO/zyGN8Qr0186LHJCCh2JuxZEsYpyRFw58vCqQD0A8vzIg6tRfxRxrTKItkGA21viZC3g6EsCaDE+LTyAsndE25uFtEvqUzwnwSc3WQs4z0kFpYbl83NNty1WcPfWVJtpUZHHonYgbMhjMarwEzdRPS+h9RNXwA4OMkCYkXl/ErL0xJNd4E+M9JmLAy+nTUAkefVivqk8WGRESixNaCxnwUB/ONF5xUHDO63vCYpKkKPP16Jj4HsKElgPJKeTxLN+LyD9PpwHWn7lTwrCRt//9i2nofm4YzsNQnds7UdEDNaV9OCHeblPNIrAqOteblxLiLeprV9bSM8cB2YD0LtO/gTtvqu8CejmWcuRmQ2xsMWsA3cmixpAV8C4fiTiyKteqa4onpOhasqeC9FEdoHAiV4OuLoWNHwXOW8kjURZ08v9l7mQsjK9UgaOaJh51wwlK5U7oB7It6xwHZoaF4aOdcjAUlzidX5vUlDlRAt2VAqLAl3wU6J3pUUoYwWh7KQ+TM6epiCYoGn4EF2YFML1ronK+BDm11kHzTggYVWeW/f5Ok3MtOrK2feZ33sY0h7WN/oSkN8wk+8nPXigZOCVddd+rSv8G8hLCfCxsVKow9/3edCiZM/HIBVNBLT+zNVcgL1pEKr/VCYxVwe0PbdzK0XpOvDVO8XMB89faGdq4YukaH5oa+SVJGq1YWfy7enaPrZJB8a1ZQiUH3SnTs6lspYbY3Nr7XqDbqci5MsvIK5my1Nze+Nq7rxGhu71tlZrfr63c4s2uVKEyo8goq4XSvRMcO/zclloc/R5vYREARAAA="/>
          <p:cNvGrpSpPr>
            <a:grpSpLocks noChangeAspect="1"/>
          </p:cNvGrpSpPr>
          <p:nvPr/>
        </p:nvGrpSpPr>
        <p:grpSpPr>
          <a:xfrm>
            <a:off x="1081781" y="1055692"/>
            <a:ext cx="10028438" cy="4746617"/>
            <a:chOff x="1081781" y="1055692"/>
            <a:chExt cx="10028438" cy="4746617"/>
          </a:xfrm>
        </p:grpSpPr>
        <p:sp>
          <p:nvSpPr>
            <p:cNvPr id="3" name="ExtraShape1">
              <a:extLst>
                <a:ext uri="{FF2B5EF4-FFF2-40B4-BE49-F238E27FC236}">
                  <a16:creationId xmlns:a16="http://schemas.microsoft.com/office/drawing/2014/main" id="{521CF843-D8E9-4E7F-84A7-EB28E5F4B93E}"/>
                </a:ext>
              </a:extLst>
            </p:cNvPr>
            <p:cNvSpPr/>
            <p:nvPr/>
          </p:nvSpPr>
          <p:spPr bwMode="auto">
            <a:xfrm>
              <a:off x="8152503" y="1985958"/>
              <a:ext cx="2782888" cy="896938"/>
            </a:xfrm>
            <a:custGeom>
              <a:avLst/>
              <a:gdLst>
                <a:gd name="T0" fmla="*/ 816 w 842"/>
                <a:gd name="T1" fmla="*/ 272 h 272"/>
                <a:gd name="T2" fmla="*/ 0 w 842"/>
                <a:gd name="T3" fmla="*/ 272 h 272"/>
                <a:gd name="T4" fmla="*/ 0 w 842"/>
                <a:gd name="T5" fmla="*/ 0 h 272"/>
                <a:gd name="T6" fmla="*/ 816 w 842"/>
                <a:gd name="T7" fmla="*/ 0 h 272"/>
                <a:gd name="T8" fmla="*/ 842 w 842"/>
                <a:gd name="T9" fmla="*/ 26 h 272"/>
                <a:gd name="T10" fmla="*/ 842 w 842"/>
                <a:gd name="T11" fmla="*/ 246 h 272"/>
                <a:gd name="T12" fmla="*/ 816 w 842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2" h="272">
                  <a:moveTo>
                    <a:pt x="816" y="272"/>
                  </a:moveTo>
                  <a:cubicBezTo>
                    <a:pt x="0" y="272"/>
                    <a:pt x="0" y="272"/>
                    <a:pt x="0" y="2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16" y="0"/>
                    <a:pt x="816" y="0"/>
                    <a:pt x="816" y="0"/>
                  </a:cubicBezTo>
                  <a:cubicBezTo>
                    <a:pt x="831" y="0"/>
                    <a:pt x="842" y="12"/>
                    <a:pt x="842" y="26"/>
                  </a:cubicBezTo>
                  <a:cubicBezTo>
                    <a:pt x="842" y="246"/>
                    <a:pt x="842" y="246"/>
                    <a:pt x="842" y="246"/>
                  </a:cubicBezTo>
                  <a:cubicBezTo>
                    <a:pt x="842" y="260"/>
                    <a:pt x="831" y="272"/>
                    <a:pt x="816" y="272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" name="ExtraShape2">
              <a:extLst>
                <a:ext uri="{FF2B5EF4-FFF2-40B4-BE49-F238E27FC236}">
                  <a16:creationId xmlns:a16="http://schemas.microsoft.com/office/drawing/2014/main" id="{785E42C0-EABD-47E9-A92F-DABBE1BCE8DD}"/>
                </a:ext>
              </a:extLst>
            </p:cNvPr>
            <p:cNvSpPr/>
            <p:nvPr/>
          </p:nvSpPr>
          <p:spPr bwMode="auto">
            <a:xfrm>
              <a:off x="7984228" y="1985958"/>
              <a:ext cx="550863" cy="896938"/>
            </a:xfrm>
            <a:custGeom>
              <a:avLst/>
              <a:gdLst>
                <a:gd name="T0" fmla="*/ 225 w 347"/>
                <a:gd name="T1" fmla="*/ 482 h 565"/>
                <a:gd name="T2" fmla="*/ 347 w 347"/>
                <a:gd name="T3" fmla="*/ 482 h 565"/>
                <a:gd name="T4" fmla="*/ 347 w 347"/>
                <a:gd name="T5" fmla="*/ 565 h 565"/>
                <a:gd name="T6" fmla="*/ 0 w 347"/>
                <a:gd name="T7" fmla="*/ 565 h 565"/>
                <a:gd name="T8" fmla="*/ 0 w 347"/>
                <a:gd name="T9" fmla="*/ 482 h 565"/>
                <a:gd name="T10" fmla="*/ 123 w 347"/>
                <a:gd name="T11" fmla="*/ 482 h 565"/>
                <a:gd name="T12" fmla="*/ 123 w 347"/>
                <a:gd name="T13" fmla="*/ 116 h 565"/>
                <a:gd name="T14" fmla="*/ 8 w 347"/>
                <a:gd name="T15" fmla="*/ 96 h 565"/>
                <a:gd name="T16" fmla="*/ 164 w 347"/>
                <a:gd name="T17" fmla="*/ 0 h 565"/>
                <a:gd name="T18" fmla="*/ 225 w 347"/>
                <a:gd name="T19" fmla="*/ 0 h 565"/>
                <a:gd name="T20" fmla="*/ 225 w 347"/>
                <a:gd name="T21" fmla="*/ 482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7" h="565">
                  <a:moveTo>
                    <a:pt x="225" y="482"/>
                  </a:moveTo>
                  <a:lnTo>
                    <a:pt x="347" y="482"/>
                  </a:lnTo>
                  <a:lnTo>
                    <a:pt x="347" y="565"/>
                  </a:lnTo>
                  <a:lnTo>
                    <a:pt x="0" y="565"/>
                  </a:lnTo>
                  <a:lnTo>
                    <a:pt x="0" y="482"/>
                  </a:lnTo>
                  <a:lnTo>
                    <a:pt x="123" y="482"/>
                  </a:lnTo>
                  <a:lnTo>
                    <a:pt x="123" y="116"/>
                  </a:lnTo>
                  <a:lnTo>
                    <a:pt x="8" y="96"/>
                  </a:lnTo>
                  <a:lnTo>
                    <a:pt x="164" y="0"/>
                  </a:lnTo>
                  <a:lnTo>
                    <a:pt x="225" y="0"/>
                  </a:lnTo>
                  <a:lnTo>
                    <a:pt x="225" y="482"/>
                  </a:ln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" name="ValueBack1">
              <a:extLst>
                <a:ext uri="{FF2B5EF4-FFF2-40B4-BE49-F238E27FC236}">
                  <a16:creationId xmlns:a16="http://schemas.microsoft.com/office/drawing/2014/main" id="{E8D04A6E-1A5C-4125-80DE-16686BB19FC7}"/>
                </a:ext>
              </a:extLst>
            </p:cNvPr>
            <p:cNvSpPr/>
            <p:nvPr/>
          </p:nvSpPr>
          <p:spPr bwMode="auto">
            <a:xfrm>
              <a:off x="7887390" y="1985958"/>
              <a:ext cx="555625" cy="896938"/>
            </a:xfrm>
            <a:custGeom>
              <a:avLst/>
              <a:gdLst>
                <a:gd name="T0" fmla="*/ 227 w 350"/>
                <a:gd name="T1" fmla="*/ 482 h 565"/>
                <a:gd name="T2" fmla="*/ 350 w 350"/>
                <a:gd name="T3" fmla="*/ 482 h 565"/>
                <a:gd name="T4" fmla="*/ 350 w 350"/>
                <a:gd name="T5" fmla="*/ 565 h 565"/>
                <a:gd name="T6" fmla="*/ 0 w 350"/>
                <a:gd name="T7" fmla="*/ 565 h 565"/>
                <a:gd name="T8" fmla="*/ 0 w 350"/>
                <a:gd name="T9" fmla="*/ 482 h 565"/>
                <a:gd name="T10" fmla="*/ 125 w 350"/>
                <a:gd name="T11" fmla="*/ 482 h 565"/>
                <a:gd name="T12" fmla="*/ 125 w 350"/>
                <a:gd name="T13" fmla="*/ 116 h 565"/>
                <a:gd name="T14" fmla="*/ 11 w 350"/>
                <a:gd name="T15" fmla="*/ 187 h 565"/>
                <a:gd name="T16" fmla="*/ 11 w 350"/>
                <a:gd name="T17" fmla="*/ 96 h 565"/>
                <a:gd name="T18" fmla="*/ 167 w 350"/>
                <a:gd name="T19" fmla="*/ 0 h 565"/>
                <a:gd name="T20" fmla="*/ 227 w 350"/>
                <a:gd name="T21" fmla="*/ 0 h 565"/>
                <a:gd name="T22" fmla="*/ 227 w 350"/>
                <a:gd name="T23" fmla="*/ 482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0" h="565">
                  <a:moveTo>
                    <a:pt x="227" y="482"/>
                  </a:moveTo>
                  <a:lnTo>
                    <a:pt x="350" y="482"/>
                  </a:lnTo>
                  <a:lnTo>
                    <a:pt x="350" y="565"/>
                  </a:lnTo>
                  <a:lnTo>
                    <a:pt x="0" y="565"/>
                  </a:lnTo>
                  <a:lnTo>
                    <a:pt x="0" y="482"/>
                  </a:lnTo>
                  <a:lnTo>
                    <a:pt x="125" y="482"/>
                  </a:lnTo>
                  <a:lnTo>
                    <a:pt x="125" y="116"/>
                  </a:lnTo>
                  <a:lnTo>
                    <a:pt x="11" y="187"/>
                  </a:lnTo>
                  <a:lnTo>
                    <a:pt x="11" y="96"/>
                  </a:lnTo>
                  <a:lnTo>
                    <a:pt x="167" y="0"/>
                  </a:lnTo>
                  <a:lnTo>
                    <a:pt x="227" y="0"/>
                  </a:lnTo>
                  <a:lnTo>
                    <a:pt x="227" y="482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" name="ExtraShape1">
              <a:extLst>
                <a:ext uri="{FF2B5EF4-FFF2-40B4-BE49-F238E27FC236}">
                  <a16:creationId xmlns:a16="http://schemas.microsoft.com/office/drawing/2014/main" id="{1C8C4537-BD8C-4527-8BEA-FE821BB27F87}"/>
                </a:ext>
              </a:extLst>
            </p:cNvPr>
            <p:cNvSpPr/>
            <p:nvPr/>
          </p:nvSpPr>
          <p:spPr bwMode="auto">
            <a:xfrm>
              <a:off x="7969940" y="3243258"/>
              <a:ext cx="2965450" cy="906463"/>
            </a:xfrm>
            <a:custGeom>
              <a:avLst/>
              <a:gdLst>
                <a:gd name="T0" fmla="*/ 871 w 897"/>
                <a:gd name="T1" fmla="*/ 275 h 275"/>
                <a:gd name="T2" fmla="*/ 55 w 897"/>
                <a:gd name="T3" fmla="*/ 275 h 275"/>
                <a:gd name="T4" fmla="*/ 0 w 897"/>
                <a:gd name="T5" fmla="*/ 241 h 275"/>
                <a:gd name="T6" fmla="*/ 113 w 897"/>
                <a:gd name="T7" fmla="*/ 87 h 275"/>
                <a:gd name="T8" fmla="*/ 55 w 897"/>
                <a:gd name="T9" fmla="*/ 0 h 275"/>
                <a:gd name="T10" fmla="*/ 871 w 897"/>
                <a:gd name="T11" fmla="*/ 0 h 275"/>
                <a:gd name="T12" fmla="*/ 897 w 897"/>
                <a:gd name="T13" fmla="*/ 26 h 275"/>
                <a:gd name="T14" fmla="*/ 897 w 897"/>
                <a:gd name="T15" fmla="*/ 249 h 275"/>
                <a:gd name="T16" fmla="*/ 871 w 897"/>
                <a:gd name="T17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7" h="275">
                  <a:moveTo>
                    <a:pt x="871" y="275"/>
                  </a:moveTo>
                  <a:cubicBezTo>
                    <a:pt x="55" y="275"/>
                    <a:pt x="55" y="275"/>
                    <a:pt x="55" y="275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871" y="0"/>
                    <a:pt x="871" y="0"/>
                    <a:pt x="871" y="0"/>
                  </a:cubicBezTo>
                  <a:cubicBezTo>
                    <a:pt x="886" y="0"/>
                    <a:pt x="897" y="12"/>
                    <a:pt x="897" y="26"/>
                  </a:cubicBezTo>
                  <a:cubicBezTo>
                    <a:pt x="897" y="249"/>
                    <a:pt x="897" y="249"/>
                    <a:pt x="897" y="249"/>
                  </a:cubicBezTo>
                  <a:cubicBezTo>
                    <a:pt x="897" y="263"/>
                    <a:pt x="886" y="275"/>
                    <a:pt x="871" y="275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" name="ExtraShape2">
              <a:extLst>
                <a:ext uri="{FF2B5EF4-FFF2-40B4-BE49-F238E27FC236}">
                  <a16:creationId xmlns:a16="http://schemas.microsoft.com/office/drawing/2014/main" id="{53A07870-3A16-484C-A5A0-0E9A9C482A1C}"/>
                </a:ext>
              </a:extLst>
            </p:cNvPr>
            <p:cNvSpPr/>
            <p:nvPr/>
          </p:nvSpPr>
          <p:spPr bwMode="auto">
            <a:xfrm>
              <a:off x="7908028" y="3243258"/>
              <a:ext cx="627063" cy="906463"/>
            </a:xfrm>
            <a:custGeom>
              <a:avLst/>
              <a:gdLst>
                <a:gd name="T0" fmla="*/ 190 w 190"/>
                <a:gd name="T1" fmla="*/ 235 h 275"/>
                <a:gd name="T2" fmla="*/ 190 w 190"/>
                <a:gd name="T3" fmla="*/ 275 h 275"/>
                <a:gd name="T4" fmla="*/ 8 w 190"/>
                <a:gd name="T5" fmla="*/ 275 h 275"/>
                <a:gd name="T6" fmla="*/ 8 w 190"/>
                <a:gd name="T7" fmla="*/ 239 h 275"/>
                <a:gd name="T8" fmla="*/ 100 w 190"/>
                <a:gd name="T9" fmla="*/ 139 h 275"/>
                <a:gd name="T10" fmla="*/ 124 w 190"/>
                <a:gd name="T11" fmla="*/ 106 h 275"/>
                <a:gd name="T12" fmla="*/ 132 w 190"/>
                <a:gd name="T13" fmla="*/ 77 h 275"/>
                <a:gd name="T14" fmla="*/ 121 w 190"/>
                <a:gd name="T15" fmla="*/ 48 h 275"/>
                <a:gd name="T16" fmla="*/ 95 w 190"/>
                <a:gd name="T17" fmla="*/ 23 h 275"/>
                <a:gd name="T18" fmla="*/ 0 w 190"/>
                <a:gd name="T19" fmla="*/ 31 h 275"/>
                <a:gd name="T20" fmla="*/ 41 w 190"/>
                <a:gd name="T21" fmla="*/ 8 h 275"/>
                <a:gd name="T22" fmla="*/ 92 w 190"/>
                <a:gd name="T23" fmla="*/ 0 h 275"/>
                <a:gd name="T24" fmla="*/ 157 w 190"/>
                <a:gd name="T25" fmla="*/ 20 h 275"/>
                <a:gd name="T26" fmla="*/ 180 w 190"/>
                <a:gd name="T27" fmla="*/ 74 h 275"/>
                <a:gd name="T28" fmla="*/ 170 w 190"/>
                <a:gd name="T29" fmla="*/ 118 h 275"/>
                <a:gd name="T30" fmla="*/ 136 w 190"/>
                <a:gd name="T31" fmla="*/ 164 h 275"/>
                <a:gd name="T32" fmla="*/ 70 w 190"/>
                <a:gd name="T33" fmla="*/ 235 h 275"/>
                <a:gd name="T34" fmla="*/ 190 w 190"/>
                <a:gd name="T35" fmla="*/ 23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0" h="275">
                  <a:moveTo>
                    <a:pt x="190" y="235"/>
                  </a:moveTo>
                  <a:cubicBezTo>
                    <a:pt x="190" y="275"/>
                    <a:pt x="190" y="275"/>
                    <a:pt x="190" y="275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39"/>
                    <a:pt x="8" y="239"/>
                    <a:pt x="8" y="239"/>
                  </a:cubicBezTo>
                  <a:cubicBezTo>
                    <a:pt x="100" y="139"/>
                    <a:pt x="100" y="139"/>
                    <a:pt x="100" y="139"/>
                  </a:cubicBezTo>
                  <a:cubicBezTo>
                    <a:pt x="111" y="127"/>
                    <a:pt x="119" y="116"/>
                    <a:pt x="124" y="106"/>
                  </a:cubicBezTo>
                  <a:cubicBezTo>
                    <a:pt x="129" y="96"/>
                    <a:pt x="132" y="86"/>
                    <a:pt x="132" y="77"/>
                  </a:cubicBezTo>
                  <a:cubicBezTo>
                    <a:pt x="132" y="64"/>
                    <a:pt x="128" y="55"/>
                    <a:pt x="121" y="48"/>
                  </a:cubicBezTo>
                  <a:cubicBezTo>
                    <a:pt x="114" y="42"/>
                    <a:pt x="108" y="23"/>
                    <a:pt x="95" y="23"/>
                  </a:cubicBezTo>
                  <a:cubicBezTo>
                    <a:pt x="71" y="23"/>
                    <a:pt x="0" y="31"/>
                    <a:pt x="0" y="31"/>
                  </a:cubicBezTo>
                  <a:cubicBezTo>
                    <a:pt x="10" y="22"/>
                    <a:pt x="24" y="14"/>
                    <a:pt x="41" y="8"/>
                  </a:cubicBezTo>
                  <a:cubicBezTo>
                    <a:pt x="58" y="2"/>
                    <a:pt x="75" y="0"/>
                    <a:pt x="92" y="0"/>
                  </a:cubicBezTo>
                  <a:cubicBezTo>
                    <a:pt x="119" y="0"/>
                    <a:pt x="141" y="6"/>
                    <a:pt x="157" y="20"/>
                  </a:cubicBezTo>
                  <a:cubicBezTo>
                    <a:pt x="172" y="33"/>
                    <a:pt x="180" y="51"/>
                    <a:pt x="180" y="74"/>
                  </a:cubicBezTo>
                  <a:cubicBezTo>
                    <a:pt x="180" y="89"/>
                    <a:pt x="177" y="104"/>
                    <a:pt x="170" y="118"/>
                  </a:cubicBezTo>
                  <a:cubicBezTo>
                    <a:pt x="164" y="131"/>
                    <a:pt x="152" y="147"/>
                    <a:pt x="136" y="164"/>
                  </a:cubicBezTo>
                  <a:cubicBezTo>
                    <a:pt x="70" y="235"/>
                    <a:pt x="70" y="235"/>
                    <a:pt x="70" y="235"/>
                  </a:cubicBezTo>
                  <a:lnTo>
                    <a:pt x="190" y="235"/>
                  </a:ln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" name="ValueBack2">
              <a:extLst>
                <a:ext uri="{FF2B5EF4-FFF2-40B4-BE49-F238E27FC236}">
                  <a16:creationId xmlns:a16="http://schemas.microsoft.com/office/drawing/2014/main" id="{3307E663-D9BD-4F2A-BD70-2C06CF31B9DE}"/>
                </a:ext>
              </a:extLst>
            </p:cNvPr>
            <p:cNvSpPr/>
            <p:nvPr/>
          </p:nvSpPr>
          <p:spPr bwMode="auto">
            <a:xfrm>
              <a:off x="7811190" y="3243258"/>
              <a:ext cx="631825" cy="906463"/>
            </a:xfrm>
            <a:custGeom>
              <a:avLst/>
              <a:gdLst>
                <a:gd name="T0" fmla="*/ 191 w 191"/>
                <a:gd name="T1" fmla="*/ 235 h 275"/>
                <a:gd name="T2" fmla="*/ 191 w 191"/>
                <a:gd name="T3" fmla="*/ 275 h 275"/>
                <a:gd name="T4" fmla="*/ 8 w 191"/>
                <a:gd name="T5" fmla="*/ 275 h 275"/>
                <a:gd name="T6" fmla="*/ 8 w 191"/>
                <a:gd name="T7" fmla="*/ 239 h 275"/>
                <a:gd name="T8" fmla="*/ 100 w 191"/>
                <a:gd name="T9" fmla="*/ 139 h 275"/>
                <a:gd name="T10" fmla="*/ 124 w 191"/>
                <a:gd name="T11" fmla="*/ 106 h 275"/>
                <a:gd name="T12" fmla="*/ 132 w 191"/>
                <a:gd name="T13" fmla="*/ 77 h 275"/>
                <a:gd name="T14" fmla="*/ 121 w 191"/>
                <a:gd name="T15" fmla="*/ 48 h 275"/>
                <a:gd name="T16" fmla="*/ 90 w 191"/>
                <a:gd name="T17" fmla="*/ 39 h 275"/>
                <a:gd name="T18" fmla="*/ 16 w 191"/>
                <a:gd name="T19" fmla="*/ 67 h 275"/>
                <a:gd name="T20" fmla="*/ 0 w 191"/>
                <a:gd name="T21" fmla="*/ 31 h 275"/>
                <a:gd name="T22" fmla="*/ 41 w 191"/>
                <a:gd name="T23" fmla="*/ 8 h 275"/>
                <a:gd name="T24" fmla="*/ 92 w 191"/>
                <a:gd name="T25" fmla="*/ 0 h 275"/>
                <a:gd name="T26" fmla="*/ 157 w 191"/>
                <a:gd name="T27" fmla="*/ 20 h 275"/>
                <a:gd name="T28" fmla="*/ 181 w 191"/>
                <a:gd name="T29" fmla="*/ 74 h 275"/>
                <a:gd name="T30" fmla="*/ 170 w 191"/>
                <a:gd name="T31" fmla="*/ 118 h 275"/>
                <a:gd name="T32" fmla="*/ 137 w 191"/>
                <a:gd name="T33" fmla="*/ 164 h 275"/>
                <a:gd name="T34" fmla="*/ 70 w 191"/>
                <a:gd name="T35" fmla="*/ 235 h 275"/>
                <a:gd name="T36" fmla="*/ 191 w 191"/>
                <a:gd name="T37" fmla="*/ 23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1" h="275">
                  <a:moveTo>
                    <a:pt x="191" y="235"/>
                  </a:moveTo>
                  <a:cubicBezTo>
                    <a:pt x="191" y="275"/>
                    <a:pt x="191" y="275"/>
                    <a:pt x="191" y="275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39"/>
                    <a:pt x="8" y="239"/>
                    <a:pt x="8" y="239"/>
                  </a:cubicBezTo>
                  <a:cubicBezTo>
                    <a:pt x="100" y="139"/>
                    <a:pt x="100" y="139"/>
                    <a:pt x="100" y="139"/>
                  </a:cubicBezTo>
                  <a:cubicBezTo>
                    <a:pt x="111" y="127"/>
                    <a:pt x="119" y="116"/>
                    <a:pt x="124" y="106"/>
                  </a:cubicBezTo>
                  <a:cubicBezTo>
                    <a:pt x="129" y="96"/>
                    <a:pt x="132" y="86"/>
                    <a:pt x="132" y="77"/>
                  </a:cubicBezTo>
                  <a:cubicBezTo>
                    <a:pt x="132" y="64"/>
                    <a:pt x="128" y="55"/>
                    <a:pt x="121" y="48"/>
                  </a:cubicBezTo>
                  <a:cubicBezTo>
                    <a:pt x="114" y="42"/>
                    <a:pt x="103" y="39"/>
                    <a:pt x="90" y="39"/>
                  </a:cubicBezTo>
                  <a:cubicBezTo>
                    <a:pt x="66" y="39"/>
                    <a:pt x="41" y="48"/>
                    <a:pt x="16" y="67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0" y="22"/>
                    <a:pt x="24" y="14"/>
                    <a:pt x="41" y="8"/>
                  </a:cubicBezTo>
                  <a:cubicBezTo>
                    <a:pt x="58" y="2"/>
                    <a:pt x="75" y="0"/>
                    <a:pt x="92" y="0"/>
                  </a:cubicBezTo>
                  <a:cubicBezTo>
                    <a:pt x="119" y="0"/>
                    <a:pt x="141" y="6"/>
                    <a:pt x="157" y="20"/>
                  </a:cubicBezTo>
                  <a:cubicBezTo>
                    <a:pt x="173" y="33"/>
                    <a:pt x="181" y="51"/>
                    <a:pt x="181" y="74"/>
                  </a:cubicBezTo>
                  <a:cubicBezTo>
                    <a:pt x="181" y="89"/>
                    <a:pt x="177" y="104"/>
                    <a:pt x="170" y="118"/>
                  </a:cubicBezTo>
                  <a:cubicBezTo>
                    <a:pt x="164" y="131"/>
                    <a:pt x="152" y="147"/>
                    <a:pt x="137" y="164"/>
                  </a:cubicBezTo>
                  <a:cubicBezTo>
                    <a:pt x="70" y="235"/>
                    <a:pt x="70" y="235"/>
                    <a:pt x="70" y="235"/>
                  </a:cubicBezTo>
                  <a:lnTo>
                    <a:pt x="191" y="235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" name="ExtraShape1">
              <a:extLst>
                <a:ext uri="{FF2B5EF4-FFF2-40B4-BE49-F238E27FC236}">
                  <a16:creationId xmlns:a16="http://schemas.microsoft.com/office/drawing/2014/main" id="{16D2E305-981D-4D2B-A9FA-DCFB3670960A}"/>
                </a:ext>
              </a:extLst>
            </p:cNvPr>
            <p:cNvSpPr/>
            <p:nvPr/>
          </p:nvSpPr>
          <p:spPr bwMode="auto">
            <a:xfrm>
              <a:off x="8152503" y="4510083"/>
              <a:ext cx="2782888" cy="917575"/>
            </a:xfrm>
            <a:custGeom>
              <a:avLst/>
              <a:gdLst>
                <a:gd name="T0" fmla="*/ 816 w 842"/>
                <a:gd name="T1" fmla="*/ 278 h 278"/>
                <a:gd name="T2" fmla="*/ 0 w 842"/>
                <a:gd name="T3" fmla="*/ 278 h 278"/>
                <a:gd name="T4" fmla="*/ 63 w 842"/>
                <a:gd name="T5" fmla="*/ 223 h 278"/>
                <a:gd name="T6" fmla="*/ 14 w 842"/>
                <a:gd name="T7" fmla="*/ 139 h 278"/>
                <a:gd name="T8" fmla="*/ 48 w 842"/>
                <a:gd name="T9" fmla="*/ 79 h 278"/>
                <a:gd name="T10" fmla="*/ 0 w 842"/>
                <a:gd name="T11" fmla="*/ 0 h 278"/>
                <a:gd name="T12" fmla="*/ 816 w 842"/>
                <a:gd name="T13" fmla="*/ 0 h 278"/>
                <a:gd name="T14" fmla="*/ 842 w 842"/>
                <a:gd name="T15" fmla="*/ 26 h 278"/>
                <a:gd name="T16" fmla="*/ 842 w 842"/>
                <a:gd name="T17" fmla="*/ 252 h 278"/>
                <a:gd name="T18" fmla="*/ 816 w 842"/>
                <a:gd name="T19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2" h="278">
                  <a:moveTo>
                    <a:pt x="816" y="278"/>
                  </a:moveTo>
                  <a:cubicBezTo>
                    <a:pt x="0" y="278"/>
                    <a:pt x="0" y="278"/>
                    <a:pt x="0" y="278"/>
                  </a:cubicBezTo>
                  <a:cubicBezTo>
                    <a:pt x="63" y="223"/>
                    <a:pt x="63" y="223"/>
                    <a:pt x="63" y="223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16" y="0"/>
                    <a:pt x="816" y="0"/>
                    <a:pt x="816" y="0"/>
                  </a:cubicBezTo>
                  <a:cubicBezTo>
                    <a:pt x="831" y="0"/>
                    <a:pt x="842" y="12"/>
                    <a:pt x="842" y="26"/>
                  </a:cubicBezTo>
                  <a:cubicBezTo>
                    <a:pt x="842" y="252"/>
                    <a:pt x="842" y="252"/>
                    <a:pt x="842" y="252"/>
                  </a:cubicBezTo>
                  <a:cubicBezTo>
                    <a:pt x="842" y="266"/>
                    <a:pt x="831" y="278"/>
                    <a:pt x="816" y="278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" name="ExtraShape2">
              <a:extLst>
                <a:ext uri="{FF2B5EF4-FFF2-40B4-BE49-F238E27FC236}">
                  <a16:creationId xmlns:a16="http://schemas.microsoft.com/office/drawing/2014/main" id="{FDE772FE-7227-46B0-ADD6-D38881FE0441}"/>
                </a:ext>
              </a:extLst>
            </p:cNvPr>
            <p:cNvSpPr/>
            <p:nvPr/>
          </p:nvSpPr>
          <p:spPr bwMode="auto">
            <a:xfrm>
              <a:off x="7904853" y="4510083"/>
              <a:ext cx="633413" cy="917575"/>
            </a:xfrm>
            <a:custGeom>
              <a:avLst/>
              <a:gdLst>
                <a:gd name="T0" fmla="*/ 179 w 192"/>
                <a:gd name="T1" fmla="*/ 159 h 278"/>
                <a:gd name="T2" fmla="*/ 192 w 192"/>
                <a:gd name="T3" fmla="*/ 202 h 278"/>
                <a:gd name="T4" fmla="*/ 166 w 192"/>
                <a:gd name="T5" fmla="*/ 258 h 278"/>
                <a:gd name="T6" fmla="*/ 95 w 192"/>
                <a:gd name="T7" fmla="*/ 278 h 278"/>
                <a:gd name="T8" fmla="*/ 42 w 192"/>
                <a:gd name="T9" fmla="*/ 270 h 278"/>
                <a:gd name="T10" fmla="*/ 0 w 192"/>
                <a:gd name="T11" fmla="*/ 247 h 278"/>
                <a:gd name="T12" fmla="*/ 93 w 192"/>
                <a:gd name="T13" fmla="*/ 250 h 278"/>
                <a:gd name="T14" fmla="*/ 132 w 192"/>
                <a:gd name="T15" fmla="*/ 229 h 278"/>
                <a:gd name="T16" fmla="*/ 145 w 192"/>
                <a:gd name="T17" fmla="*/ 197 h 278"/>
                <a:gd name="T18" fmla="*/ 132 w 192"/>
                <a:gd name="T19" fmla="*/ 167 h 278"/>
                <a:gd name="T20" fmla="*/ 92 w 192"/>
                <a:gd name="T21" fmla="*/ 157 h 278"/>
                <a:gd name="T22" fmla="*/ 56 w 192"/>
                <a:gd name="T23" fmla="*/ 157 h 278"/>
                <a:gd name="T24" fmla="*/ 56 w 192"/>
                <a:gd name="T25" fmla="*/ 118 h 278"/>
                <a:gd name="T26" fmla="*/ 85 w 192"/>
                <a:gd name="T27" fmla="*/ 118 h 278"/>
                <a:gd name="T28" fmla="*/ 138 w 192"/>
                <a:gd name="T29" fmla="*/ 78 h 278"/>
                <a:gd name="T30" fmla="*/ 126 w 192"/>
                <a:gd name="T31" fmla="*/ 49 h 278"/>
                <a:gd name="T32" fmla="*/ 94 w 192"/>
                <a:gd name="T33" fmla="*/ 28 h 278"/>
                <a:gd name="T34" fmla="*/ 4 w 192"/>
                <a:gd name="T35" fmla="*/ 31 h 278"/>
                <a:gd name="T36" fmla="*/ 46 w 192"/>
                <a:gd name="T37" fmla="*/ 8 h 278"/>
                <a:gd name="T38" fmla="*/ 97 w 192"/>
                <a:gd name="T39" fmla="*/ 0 h 278"/>
                <a:gd name="T40" fmla="*/ 161 w 192"/>
                <a:gd name="T41" fmla="*/ 19 h 278"/>
                <a:gd name="T42" fmla="*/ 185 w 192"/>
                <a:gd name="T43" fmla="*/ 72 h 278"/>
                <a:gd name="T44" fmla="*/ 174 w 192"/>
                <a:gd name="T45" fmla="*/ 111 h 278"/>
                <a:gd name="T46" fmla="*/ 142 w 192"/>
                <a:gd name="T47" fmla="*/ 135 h 278"/>
                <a:gd name="T48" fmla="*/ 179 w 192"/>
                <a:gd name="T49" fmla="*/ 15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2" h="278">
                  <a:moveTo>
                    <a:pt x="179" y="159"/>
                  </a:moveTo>
                  <a:cubicBezTo>
                    <a:pt x="188" y="171"/>
                    <a:pt x="192" y="185"/>
                    <a:pt x="192" y="202"/>
                  </a:cubicBezTo>
                  <a:cubicBezTo>
                    <a:pt x="192" y="225"/>
                    <a:pt x="183" y="244"/>
                    <a:pt x="166" y="258"/>
                  </a:cubicBezTo>
                  <a:cubicBezTo>
                    <a:pt x="148" y="272"/>
                    <a:pt x="125" y="278"/>
                    <a:pt x="95" y="278"/>
                  </a:cubicBezTo>
                  <a:cubicBezTo>
                    <a:pt x="77" y="278"/>
                    <a:pt x="59" y="276"/>
                    <a:pt x="42" y="270"/>
                  </a:cubicBezTo>
                  <a:cubicBezTo>
                    <a:pt x="25" y="264"/>
                    <a:pt x="11" y="257"/>
                    <a:pt x="0" y="247"/>
                  </a:cubicBezTo>
                  <a:cubicBezTo>
                    <a:pt x="0" y="247"/>
                    <a:pt x="67" y="250"/>
                    <a:pt x="93" y="250"/>
                  </a:cubicBezTo>
                  <a:cubicBezTo>
                    <a:pt x="110" y="250"/>
                    <a:pt x="123" y="236"/>
                    <a:pt x="132" y="229"/>
                  </a:cubicBezTo>
                  <a:cubicBezTo>
                    <a:pt x="140" y="222"/>
                    <a:pt x="145" y="211"/>
                    <a:pt x="145" y="197"/>
                  </a:cubicBezTo>
                  <a:cubicBezTo>
                    <a:pt x="145" y="184"/>
                    <a:pt x="140" y="173"/>
                    <a:pt x="132" y="167"/>
                  </a:cubicBezTo>
                  <a:cubicBezTo>
                    <a:pt x="123" y="160"/>
                    <a:pt x="110" y="157"/>
                    <a:pt x="92" y="157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85" y="118"/>
                    <a:pt x="85" y="118"/>
                    <a:pt x="85" y="118"/>
                  </a:cubicBezTo>
                  <a:cubicBezTo>
                    <a:pt x="120" y="118"/>
                    <a:pt x="138" y="104"/>
                    <a:pt x="138" y="78"/>
                  </a:cubicBezTo>
                  <a:cubicBezTo>
                    <a:pt x="138" y="65"/>
                    <a:pt x="134" y="56"/>
                    <a:pt x="126" y="49"/>
                  </a:cubicBezTo>
                  <a:cubicBezTo>
                    <a:pt x="119" y="42"/>
                    <a:pt x="108" y="28"/>
                    <a:pt x="94" y="28"/>
                  </a:cubicBezTo>
                  <a:cubicBezTo>
                    <a:pt x="70" y="28"/>
                    <a:pt x="4" y="31"/>
                    <a:pt x="4" y="31"/>
                  </a:cubicBezTo>
                  <a:cubicBezTo>
                    <a:pt x="15" y="22"/>
                    <a:pt x="29" y="14"/>
                    <a:pt x="46" y="8"/>
                  </a:cubicBezTo>
                  <a:cubicBezTo>
                    <a:pt x="63" y="2"/>
                    <a:pt x="80" y="0"/>
                    <a:pt x="97" y="0"/>
                  </a:cubicBezTo>
                  <a:cubicBezTo>
                    <a:pt x="124" y="0"/>
                    <a:pt x="145" y="6"/>
                    <a:pt x="161" y="19"/>
                  </a:cubicBezTo>
                  <a:cubicBezTo>
                    <a:pt x="177" y="32"/>
                    <a:pt x="185" y="50"/>
                    <a:pt x="185" y="72"/>
                  </a:cubicBezTo>
                  <a:cubicBezTo>
                    <a:pt x="185" y="87"/>
                    <a:pt x="181" y="100"/>
                    <a:pt x="174" y="111"/>
                  </a:cubicBezTo>
                  <a:cubicBezTo>
                    <a:pt x="166" y="122"/>
                    <a:pt x="156" y="130"/>
                    <a:pt x="142" y="135"/>
                  </a:cubicBezTo>
                  <a:cubicBezTo>
                    <a:pt x="158" y="140"/>
                    <a:pt x="170" y="148"/>
                    <a:pt x="179" y="159"/>
                  </a:cubicBez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1" name="ValueBack3">
              <a:extLst>
                <a:ext uri="{FF2B5EF4-FFF2-40B4-BE49-F238E27FC236}">
                  <a16:creationId xmlns:a16="http://schemas.microsoft.com/office/drawing/2014/main" id="{C18D9068-FEC1-43CA-A626-B7C2892B16CE}"/>
                </a:ext>
              </a:extLst>
            </p:cNvPr>
            <p:cNvSpPr/>
            <p:nvPr/>
          </p:nvSpPr>
          <p:spPr bwMode="auto">
            <a:xfrm>
              <a:off x="7795315" y="4510083"/>
              <a:ext cx="635000" cy="917575"/>
            </a:xfrm>
            <a:custGeom>
              <a:avLst/>
              <a:gdLst>
                <a:gd name="T0" fmla="*/ 179 w 192"/>
                <a:gd name="T1" fmla="*/ 159 h 278"/>
                <a:gd name="T2" fmla="*/ 192 w 192"/>
                <a:gd name="T3" fmla="*/ 202 h 278"/>
                <a:gd name="T4" fmla="*/ 166 w 192"/>
                <a:gd name="T5" fmla="*/ 258 h 278"/>
                <a:gd name="T6" fmla="*/ 95 w 192"/>
                <a:gd name="T7" fmla="*/ 278 h 278"/>
                <a:gd name="T8" fmla="*/ 42 w 192"/>
                <a:gd name="T9" fmla="*/ 270 h 278"/>
                <a:gd name="T10" fmla="*/ 0 w 192"/>
                <a:gd name="T11" fmla="*/ 247 h 278"/>
                <a:gd name="T12" fmla="*/ 17 w 192"/>
                <a:gd name="T13" fmla="*/ 211 h 278"/>
                <a:gd name="T14" fmla="*/ 93 w 192"/>
                <a:gd name="T15" fmla="*/ 239 h 278"/>
                <a:gd name="T16" fmla="*/ 132 w 192"/>
                <a:gd name="T17" fmla="*/ 229 h 278"/>
                <a:gd name="T18" fmla="*/ 145 w 192"/>
                <a:gd name="T19" fmla="*/ 197 h 278"/>
                <a:gd name="T20" fmla="*/ 132 w 192"/>
                <a:gd name="T21" fmla="*/ 167 h 278"/>
                <a:gd name="T22" fmla="*/ 92 w 192"/>
                <a:gd name="T23" fmla="*/ 157 h 278"/>
                <a:gd name="T24" fmla="*/ 56 w 192"/>
                <a:gd name="T25" fmla="*/ 157 h 278"/>
                <a:gd name="T26" fmla="*/ 56 w 192"/>
                <a:gd name="T27" fmla="*/ 118 h 278"/>
                <a:gd name="T28" fmla="*/ 85 w 192"/>
                <a:gd name="T29" fmla="*/ 118 h 278"/>
                <a:gd name="T30" fmla="*/ 138 w 192"/>
                <a:gd name="T31" fmla="*/ 78 h 278"/>
                <a:gd name="T32" fmla="*/ 127 w 192"/>
                <a:gd name="T33" fmla="*/ 49 h 278"/>
                <a:gd name="T34" fmla="*/ 95 w 192"/>
                <a:gd name="T35" fmla="*/ 39 h 278"/>
                <a:gd name="T36" fmla="*/ 21 w 192"/>
                <a:gd name="T37" fmla="*/ 67 h 278"/>
                <a:gd name="T38" fmla="*/ 5 w 192"/>
                <a:gd name="T39" fmla="*/ 31 h 278"/>
                <a:gd name="T40" fmla="*/ 46 w 192"/>
                <a:gd name="T41" fmla="*/ 8 h 278"/>
                <a:gd name="T42" fmla="*/ 98 w 192"/>
                <a:gd name="T43" fmla="*/ 0 h 278"/>
                <a:gd name="T44" fmla="*/ 162 w 192"/>
                <a:gd name="T45" fmla="*/ 19 h 278"/>
                <a:gd name="T46" fmla="*/ 186 w 192"/>
                <a:gd name="T47" fmla="*/ 72 h 278"/>
                <a:gd name="T48" fmla="*/ 174 w 192"/>
                <a:gd name="T49" fmla="*/ 111 h 278"/>
                <a:gd name="T50" fmla="*/ 142 w 192"/>
                <a:gd name="T51" fmla="*/ 135 h 278"/>
                <a:gd name="T52" fmla="*/ 179 w 192"/>
                <a:gd name="T53" fmla="*/ 15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2" h="278">
                  <a:moveTo>
                    <a:pt x="179" y="159"/>
                  </a:moveTo>
                  <a:cubicBezTo>
                    <a:pt x="188" y="171"/>
                    <a:pt x="192" y="185"/>
                    <a:pt x="192" y="202"/>
                  </a:cubicBezTo>
                  <a:cubicBezTo>
                    <a:pt x="192" y="225"/>
                    <a:pt x="183" y="244"/>
                    <a:pt x="166" y="258"/>
                  </a:cubicBezTo>
                  <a:cubicBezTo>
                    <a:pt x="148" y="272"/>
                    <a:pt x="125" y="278"/>
                    <a:pt x="95" y="278"/>
                  </a:cubicBezTo>
                  <a:cubicBezTo>
                    <a:pt x="77" y="278"/>
                    <a:pt x="59" y="276"/>
                    <a:pt x="42" y="270"/>
                  </a:cubicBezTo>
                  <a:cubicBezTo>
                    <a:pt x="25" y="264"/>
                    <a:pt x="11" y="257"/>
                    <a:pt x="0" y="247"/>
                  </a:cubicBezTo>
                  <a:cubicBezTo>
                    <a:pt x="17" y="211"/>
                    <a:pt x="17" y="211"/>
                    <a:pt x="17" y="211"/>
                  </a:cubicBezTo>
                  <a:cubicBezTo>
                    <a:pt x="41" y="230"/>
                    <a:pt x="67" y="239"/>
                    <a:pt x="93" y="239"/>
                  </a:cubicBezTo>
                  <a:cubicBezTo>
                    <a:pt x="111" y="239"/>
                    <a:pt x="124" y="236"/>
                    <a:pt x="132" y="229"/>
                  </a:cubicBezTo>
                  <a:cubicBezTo>
                    <a:pt x="141" y="222"/>
                    <a:pt x="145" y="211"/>
                    <a:pt x="145" y="197"/>
                  </a:cubicBezTo>
                  <a:cubicBezTo>
                    <a:pt x="145" y="184"/>
                    <a:pt x="141" y="173"/>
                    <a:pt x="132" y="167"/>
                  </a:cubicBezTo>
                  <a:cubicBezTo>
                    <a:pt x="123" y="160"/>
                    <a:pt x="110" y="157"/>
                    <a:pt x="92" y="157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85" y="118"/>
                    <a:pt x="85" y="118"/>
                    <a:pt x="85" y="118"/>
                  </a:cubicBezTo>
                  <a:cubicBezTo>
                    <a:pt x="121" y="118"/>
                    <a:pt x="138" y="104"/>
                    <a:pt x="138" y="78"/>
                  </a:cubicBezTo>
                  <a:cubicBezTo>
                    <a:pt x="138" y="65"/>
                    <a:pt x="134" y="56"/>
                    <a:pt x="127" y="49"/>
                  </a:cubicBezTo>
                  <a:cubicBezTo>
                    <a:pt x="119" y="42"/>
                    <a:pt x="108" y="39"/>
                    <a:pt x="95" y="39"/>
                  </a:cubicBezTo>
                  <a:cubicBezTo>
                    <a:pt x="70" y="39"/>
                    <a:pt x="46" y="48"/>
                    <a:pt x="21" y="67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16" y="22"/>
                    <a:pt x="29" y="14"/>
                    <a:pt x="46" y="8"/>
                  </a:cubicBezTo>
                  <a:cubicBezTo>
                    <a:pt x="63" y="2"/>
                    <a:pt x="80" y="0"/>
                    <a:pt x="98" y="0"/>
                  </a:cubicBezTo>
                  <a:cubicBezTo>
                    <a:pt x="124" y="0"/>
                    <a:pt x="146" y="6"/>
                    <a:pt x="162" y="19"/>
                  </a:cubicBezTo>
                  <a:cubicBezTo>
                    <a:pt x="178" y="32"/>
                    <a:pt x="186" y="50"/>
                    <a:pt x="186" y="72"/>
                  </a:cubicBezTo>
                  <a:cubicBezTo>
                    <a:pt x="185" y="87"/>
                    <a:pt x="181" y="100"/>
                    <a:pt x="174" y="111"/>
                  </a:cubicBezTo>
                  <a:cubicBezTo>
                    <a:pt x="166" y="122"/>
                    <a:pt x="156" y="130"/>
                    <a:pt x="142" y="135"/>
                  </a:cubicBezTo>
                  <a:cubicBezTo>
                    <a:pt x="158" y="140"/>
                    <a:pt x="171" y="148"/>
                    <a:pt x="179" y="159"/>
                  </a:cubicBezTo>
                  <a:close/>
                </a:path>
              </a:pathLst>
            </a:custGeom>
            <a:solidFill>
              <a:schemeClr val="accent6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2" name="CustomText1">
              <a:extLst>
                <a:ext uri="{FF2B5EF4-FFF2-40B4-BE49-F238E27FC236}">
                  <a16:creationId xmlns:a16="http://schemas.microsoft.com/office/drawing/2014/main" id="{BF730B22-34E2-4207-8DD2-C06A6B650817}"/>
                </a:ext>
              </a:extLst>
            </p:cNvPr>
            <p:cNvSpPr/>
            <p:nvPr/>
          </p:nvSpPr>
          <p:spPr>
            <a:xfrm>
              <a:off x="8579336" y="2126471"/>
              <a:ext cx="113307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  <a:latin typeface="+mj-lt"/>
                </a:rPr>
                <a:t>Category</a:t>
              </a:r>
              <a:endParaRPr lang="zh-CN" altLang="en-US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13" name="CustomText2">
              <a:extLst>
                <a:ext uri="{FF2B5EF4-FFF2-40B4-BE49-F238E27FC236}">
                  <a16:creationId xmlns:a16="http://schemas.microsoft.com/office/drawing/2014/main" id="{52E536EF-9133-4A2C-8D80-4794BA3F0DD3}"/>
                </a:ext>
              </a:extLst>
            </p:cNvPr>
            <p:cNvSpPr/>
            <p:nvPr/>
          </p:nvSpPr>
          <p:spPr bwMode="auto">
            <a:xfrm>
              <a:off x="8579336" y="2458323"/>
              <a:ext cx="2530883" cy="235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 lnSpcReduction="10000"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100" dirty="0">
                  <a:solidFill>
                    <a:schemeClr val="bg2">
                      <a:lumMod val="75000"/>
                    </a:schemeClr>
                  </a:solidFill>
                  <a:latin typeface="+mj-lt"/>
                </a:rPr>
                <a:t>Go ahead and replace it with your own text.</a:t>
              </a:r>
              <a:endParaRPr lang="zh-CN" altLang="en-US" sz="1100" dirty="0">
                <a:solidFill>
                  <a:schemeClr val="bg2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14" name="CustomText3">
              <a:extLst>
                <a:ext uri="{FF2B5EF4-FFF2-40B4-BE49-F238E27FC236}">
                  <a16:creationId xmlns:a16="http://schemas.microsoft.com/office/drawing/2014/main" id="{1A250149-F34F-4A7A-AAC6-6C5E276F1CB9}"/>
                </a:ext>
              </a:extLst>
            </p:cNvPr>
            <p:cNvSpPr/>
            <p:nvPr/>
          </p:nvSpPr>
          <p:spPr>
            <a:xfrm>
              <a:off x="8579336" y="3424768"/>
              <a:ext cx="113307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  <a:latin typeface="+mj-lt"/>
                </a:rPr>
                <a:t>Category</a:t>
              </a:r>
              <a:endParaRPr lang="zh-CN" altLang="en-US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15" name="CustomText4">
              <a:extLst>
                <a:ext uri="{FF2B5EF4-FFF2-40B4-BE49-F238E27FC236}">
                  <a16:creationId xmlns:a16="http://schemas.microsoft.com/office/drawing/2014/main" id="{F4C4979D-9902-4A3B-9F6A-99F6599F3553}"/>
                </a:ext>
              </a:extLst>
            </p:cNvPr>
            <p:cNvSpPr/>
            <p:nvPr/>
          </p:nvSpPr>
          <p:spPr bwMode="auto">
            <a:xfrm>
              <a:off x="8579336" y="3756620"/>
              <a:ext cx="2530883" cy="235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 lnSpcReduction="10000"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100" dirty="0">
                  <a:solidFill>
                    <a:schemeClr val="bg2">
                      <a:lumMod val="75000"/>
                    </a:schemeClr>
                  </a:solidFill>
                  <a:latin typeface="+mj-lt"/>
                </a:rPr>
                <a:t>Go ahead and replace it with your own text.</a:t>
              </a:r>
              <a:endParaRPr lang="zh-CN" altLang="en-US" sz="1100" dirty="0">
                <a:solidFill>
                  <a:schemeClr val="bg2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16" name="CustomText5">
              <a:extLst>
                <a:ext uri="{FF2B5EF4-FFF2-40B4-BE49-F238E27FC236}">
                  <a16:creationId xmlns:a16="http://schemas.microsoft.com/office/drawing/2014/main" id="{FDB70DC2-1E75-4154-9BA4-24F4EAD441A7}"/>
                </a:ext>
              </a:extLst>
            </p:cNvPr>
            <p:cNvSpPr/>
            <p:nvPr/>
          </p:nvSpPr>
          <p:spPr>
            <a:xfrm>
              <a:off x="8579336" y="4684965"/>
              <a:ext cx="113307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  <a:latin typeface="+mj-lt"/>
                </a:rPr>
                <a:t>Category</a:t>
              </a:r>
              <a:endParaRPr lang="zh-CN" altLang="en-US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17" name="CustomText6">
              <a:extLst>
                <a:ext uri="{FF2B5EF4-FFF2-40B4-BE49-F238E27FC236}">
                  <a16:creationId xmlns:a16="http://schemas.microsoft.com/office/drawing/2014/main" id="{9B1FFC4F-829F-40F4-BA4A-F8B852D913E7}"/>
                </a:ext>
              </a:extLst>
            </p:cNvPr>
            <p:cNvSpPr/>
            <p:nvPr/>
          </p:nvSpPr>
          <p:spPr bwMode="auto">
            <a:xfrm>
              <a:off x="8579336" y="5016817"/>
              <a:ext cx="2530883" cy="235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 lnSpcReduction="10000"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100" dirty="0">
                  <a:solidFill>
                    <a:schemeClr val="bg2">
                      <a:lumMod val="75000"/>
                    </a:schemeClr>
                  </a:solidFill>
                  <a:latin typeface="+mj-lt"/>
                </a:rPr>
                <a:t>Go ahead and replace it with your own text.</a:t>
              </a:r>
              <a:endParaRPr lang="zh-CN" altLang="en-US" sz="1100" dirty="0">
                <a:solidFill>
                  <a:schemeClr val="bg2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18" name="ExtraShape">
              <a:extLst>
                <a:ext uri="{FF2B5EF4-FFF2-40B4-BE49-F238E27FC236}">
                  <a16:creationId xmlns:a16="http://schemas.microsoft.com/office/drawing/2014/main" id="{BD0441C8-81FE-4A69-B105-4EEF618D64BC}"/>
                </a:ext>
              </a:extLst>
            </p:cNvPr>
            <p:cNvSpPr/>
            <p:nvPr/>
          </p:nvSpPr>
          <p:spPr bwMode="auto">
            <a:xfrm>
              <a:off x="1081781" y="2039933"/>
              <a:ext cx="6270621" cy="3762376"/>
            </a:xfrm>
            <a:custGeom>
              <a:avLst/>
              <a:gdLst>
                <a:gd name="connsiteX0" fmla="*/ 6122983 w 6270621"/>
                <a:gd name="connsiteY0" fmla="*/ 3598863 h 3762376"/>
                <a:gd name="connsiteX1" fmla="*/ 6138858 w 6270621"/>
                <a:gd name="connsiteY1" fmla="*/ 3630613 h 3762376"/>
                <a:gd name="connsiteX2" fmla="*/ 6111871 w 6270621"/>
                <a:gd name="connsiteY2" fmla="*/ 3662363 h 3762376"/>
                <a:gd name="connsiteX3" fmla="*/ 6022971 w 6270621"/>
                <a:gd name="connsiteY3" fmla="*/ 3746501 h 3762376"/>
                <a:gd name="connsiteX4" fmla="*/ 5975346 w 6270621"/>
                <a:gd name="connsiteY4" fmla="*/ 3762376 h 3762376"/>
                <a:gd name="connsiteX5" fmla="*/ 5927721 w 6270621"/>
                <a:gd name="connsiteY5" fmla="*/ 3751264 h 3762376"/>
                <a:gd name="connsiteX6" fmla="*/ 5921371 w 6270621"/>
                <a:gd name="connsiteY6" fmla="*/ 3735389 h 3762376"/>
                <a:gd name="connsiteX7" fmla="*/ 6027734 w 6270621"/>
                <a:gd name="connsiteY7" fmla="*/ 3678238 h 3762376"/>
                <a:gd name="connsiteX8" fmla="*/ 6107108 w 6270621"/>
                <a:gd name="connsiteY8" fmla="*/ 3608388 h 3762376"/>
                <a:gd name="connsiteX9" fmla="*/ 5567359 w 6270621"/>
                <a:gd name="connsiteY9" fmla="*/ 3503613 h 3762376"/>
                <a:gd name="connsiteX10" fmla="*/ 5594347 w 6270621"/>
                <a:gd name="connsiteY10" fmla="*/ 3519488 h 3762376"/>
                <a:gd name="connsiteX11" fmla="*/ 5641971 w 6270621"/>
                <a:gd name="connsiteY11" fmla="*/ 3513138 h 3762376"/>
                <a:gd name="connsiteX12" fmla="*/ 5626096 w 6270621"/>
                <a:gd name="connsiteY12" fmla="*/ 3540126 h 3762376"/>
                <a:gd name="connsiteX13" fmla="*/ 5610221 w 6270621"/>
                <a:gd name="connsiteY13" fmla="*/ 3576638 h 3762376"/>
                <a:gd name="connsiteX14" fmla="*/ 5578472 w 6270621"/>
                <a:gd name="connsiteY14" fmla="*/ 3598863 h 3762376"/>
                <a:gd name="connsiteX15" fmla="*/ 5567359 w 6270621"/>
                <a:gd name="connsiteY15" fmla="*/ 3587751 h 3762376"/>
                <a:gd name="connsiteX16" fmla="*/ 5551484 w 6270621"/>
                <a:gd name="connsiteY16" fmla="*/ 3560763 h 3762376"/>
                <a:gd name="connsiteX17" fmla="*/ 5567359 w 6270621"/>
                <a:gd name="connsiteY17" fmla="*/ 3551238 h 3762376"/>
                <a:gd name="connsiteX18" fmla="*/ 5567359 w 6270621"/>
                <a:gd name="connsiteY18" fmla="*/ 3524251 h 3762376"/>
                <a:gd name="connsiteX19" fmla="*/ 6212678 w 6270621"/>
                <a:gd name="connsiteY19" fmla="*/ 3408363 h 3762376"/>
                <a:gd name="connsiteX20" fmla="*/ 6223213 w 6270621"/>
                <a:gd name="connsiteY20" fmla="*/ 3434693 h 3762376"/>
                <a:gd name="connsiteX21" fmla="*/ 6233748 w 6270621"/>
                <a:gd name="connsiteY21" fmla="*/ 3466288 h 3762376"/>
                <a:gd name="connsiteX22" fmla="*/ 6244283 w 6270621"/>
                <a:gd name="connsiteY22" fmla="*/ 3476819 h 3762376"/>
                <a:gd name="connsiteX23" fmla="*/ 6244283 w 6270621"/>
                <a:gd name="connsiteY23" fmla="*/ 3518946 h 3762376"/>
                <a:gd name="connsiteX24" fmla="*/ 6270621 w 6270621"/>
                <a:gd name="connsiteY24" fmla="*/ 3518946 h 3762376"/>
                <a:gd name="connsiteX25" fmla="*/ 6270621 w 6270621"/>
                <a:gd name="connsiteY25" fmla="*/ 3540010 h 3762376"/>
                <a:gd name="connsiteX26" fmla="*/ 6244283 w 6270621"/>
                <a:gd name="connsiteY26" fmla="*/ 3566339 h 3762376"/>
                <a:gd name="connsiteX27" fmla="*/ 6217945 w 6270621"/>
                <a:gd name="connsiteY27" fmla="*/ 3576871 h 3762376"/>
                <a:gd name="connsiteX28" fmla="*/ 6207410 w 6270621"/>
                <a:gd name="connsiteY28" fmla="*/ 3597934 h 3762376"/>
                <a:gd name="connsiteX29" fmla="*/ 6170537 w 6270621"/>
                <a:gd name="connsiteY29" fmla="*/ 3624263 h 3762376"/>
                <a:gd name="connsiteX30" fmla="*/ 6175805 w 6270621"/>
                <a:gd name="connsiteY30" fmla="*/ 3608466 h 3762376"/>
                <a:gd name="connsiteX31" fmla="*/ 6165269 w 6270621"/>
                <a:gd name="connsiteY31" fmla="*/ 3587402 h 3762376"/>
                <a:gd name="connsiteX32" fmla="*/ 6154734 w 6270621"/>
                <a:gd name="connsiteY32" fmla="*/ 3566339 h 3762376"/>
                <a:gd name="connsiteX33" fmla="*/ 6181072 w 6270621"/>
                <a:gd name="connsiteY33" fmla="*/ 3540010 h 3762376"/>
                <a:gd name="connsiteX34" fmla="*/ 6207410 w 6270621"/>
                <a:gd name="connsiteY34" fmla="*/ 3529478 h 3762376"/>
                <a:gd name="connsiteX35" fmla="*/ 6202143 w 6270621"/>
                <a:gd name="connsiteY35" fmla="*/ 3508414 h 3762376"/>
                <a:gd name="connsiteX36" fmla="*/ 6207410 w 6270621"/>
                <a:gd name="connsiteY36" fmla="*/ 3476819 h 3762376"/>
                <a:gd name="connsiteX37" fmla="*/ 6202143 w 6270621"/>
                <a:gd name="connsiteY37" fmla="*/ 3418895 h 3762376"/>
                <a:gd name="connsiteX38" fmla="*/ 5768070 w 6270621"/>
                <a:gd name="connsiteY38" fmla="*/ 2667000 h 3762376"/>
                <a:gd name="connsiteX39" fmla="*/ 5783924 w 6270621"/>
                <a:gd name="connsiteY39" fmla="*/ 2677577 h 3762376"/>
                <a:gd name="connsiteX40" fmla="*/ 5783924 w 6270621"/>
                <a:gd name="connsiteY40" fmla="*/ 2762187 h 3762376"/>
                <a:gd name="connsiteX41" fmla="*/ 5815633 w 6270621"/>
                <a:gd name="connsiteY41" fmla="*/ 2772764 h 3762376"/>
                <a:gd name="connsiteX42" fmla="*/ 5810349 w 6270621"/>
                <a:gd name="connsiteY42" fmla="*/ 2815069 h 3762376"/>
                <a:gd name="connsiteX43" fmla="*/ 5815633 w 6270621"/>
                <a:gd name="connsiteY43" fmla="*/ 2857374 h 3762376"/>
                <a:gd name="connsiteX44" fmla="*/ 5810349 w 6270621"/>
                <a:gd name="connsiteY44" fmla="*/ 2889103 h 3762376"/>
                <a:gd name="connsiteX45" fmla="*/ 5842058 w 6270621"/>
                <a:gd name="connsiteY45" fmla="*/ 2926120 h 3762376"/>
                <a:gd name="connsiteX46" fmla="*/ 5852627 w 6270621"/>
                <a:gd name="connsiteY46" fmla="*/ 2973714 h 3762376"/>
                <a:gd name="connsiteX47" fmla="*/ 5863197 w 6270621"/>
                <a:gd name="connsiteY47" fmla="*/ 2994866 h 3762376"/>
                <a:gd name="connsiteX48" fmla="*/ 5868482 w 6270621"/>
                <a:gd name="connsiteY48" fmla="*/ 3021307 h 3762376"/>
                <a:gd name="connsiteX49" fmla="*/ 5889621 w 6270621"/>
                <a:gd name="connsiteY49" fmla="*/ 3063613 h 3762376"/>
                <a:gd name="connsiteX50" fmla="*/ 5889621 w 6270621"/>
                <a:gd name="connsiteY50" fmla="*/ 3127071 h 3762376"/>
                <a:gd name="connsiteX51" fmla="*/ 5879052 w 6270621"/>
                <a:gd name="connsiteY51" fmla="*/ 3179952 h 3762376"/>
                <a:gd name="connsiteX52" fmla="*/ 5820918 w 6270621"/>
                <a:gd name="connsiteY52" fmla="*/ 3291004 h 3762376"/>
                <a:gd name="connsiteX53" fmla="*/ 5757500 w 6270621"/>
                <a:gd name="connsiteY53" fmla="*/ 3354462 h 3762376"/>
                <a:gd name="connsiteX54" fmla="*/ 5741646 w 6270621"/>
                <a:gd name="connsiteY54" fmla="*/ 3375614 h 3762376"/>
                <a:gd name="connsiteX55" fmla="*/ 5709937 w 6270621"/>
                <a:gd name="connsiteY55" fmla="*/ 3433784 h 3762376"/>
                <a:gd name="connsiteX56" fmla="*/ 5678228 w 6270621"/>
                <a:gd name="connsiteY56" fmla="*/ 3428496 h 3762376"/>
                <a:gd name="connsiteX57" fmla="*/ 5662373 w 6270621"/>
                <a:gd name="connsiteY57" fmla="*/ 3439072 h 3762376"/>
                <a:gd name="connsiteX58" fmla="*/ 5625379 w 6270621"/>
                <a:gd name="connsiteY58" fmla="*/ 3465513 h 3762376"/>
                <a:gd name="connsiteX59" fmla="*/ 5609525 w 6270621"/>
                <a:gd name="connsiteY59" fmla="*/ 3433784 h 3762376"/>
                <a:gd name="connsiteX60" fmla="*/ 5572531 w 6270621"/>
                <a:gd name="connsiteY60" fmla="*/ 3439072 h 3762376"/>
                <a:gd name="connsiteX61" fmla="*/ 5530252 w 6270621"/>
                <a:gd name="connsiteY61" fmla="*/ 3417920 h 3762376"/>
                <a:gd name="connsiteX62" fmla="*/ 5514398 w 6270621"/>
                <a:gd name="connsiteY62" fmla="*/ 3396767 h 3762376"/>
                <a:gd name="connsiteX63" fmla="*/ 5524967 w 6270621"/>
                <a:gd name="connsiteY63" fmla="*/ 3375614 h 3762376"/>
                <a:gd name="connsiteX64" fmla="*/ 5524967 w 6270621"/>
                <a:gd name="connsiteY64" fmla="*/ 3343885 h 3762376"/>
                <a:gd name="connsiteX65" fmla="*/ 5519683 w 6270621"/>
                <a:gd name="connsiteY65" fmla="*/ 3333309 h 3762376"/>
                <a:gd name="connsiteX66" fmla="*/ 5530252 w 6270621"/>
                <a:gd name="connsiteY66" fmla="*/ 3301580 h 3762376"/>
                <a:gd name="connsiteX67" fmla="*/ 5509113 w 6270621"/>
                <a:gd name="connsiteY67" fmla="*/ 3322733 h 3762376"/>
                <a:gd name="connsiteX68" fmla="*/ 5498543 w 6270621"/>
                <a:gd name="connsiteY68" fmla="*/ 3343885 h 3762376"/>
                <a:gd name="connsiteX69" fmla="*/ 5477404 w 6270621"/>
                <a:gd name="connsiteY69" fmla="*/ 3349174 h 3762376"/>
                <a:gd name="connsiteX70" fmla="*/ 5472119 w 6270621"/>
                <a:gd name="connsiteY70" fmla="*/ 3338597 h 3762376"/>
                <a:gd name="connsiteX71" fmla="*/ 5503828 w 6270621"/>
                <a:gd name="connsiteY71" fmla="*/ 3306868 h 3762376"/>
                <a:gd name="connsiteX72" fmla="*/ 5524967 w 6270621"/>
                <a:gd name="connsiteY72" fmla="*/ 3280427 h 3762376"/>
                <a:gd name="connsiteX73" fmla="*/ 5530252 w 6270621"/>
                <a:gd name="connsiteY73" fmla="*/ 3253987 h 3762376"/>
                <a:gd name="connsiteX74" fmla="*/ 5487973 w 6270621"/>
                <a:gd name="connsiteY74" fmla="*/ 3291004 h 3762376"/>
                <a:gd name="connsiteX75" fmla="*/ 5472119 w 6270621"/>
                <a:gd name="connsiteY75" fmla="*/ 3312156 h 3762376"/>
                <a:gd name="connsiteX76" fmla="*/ 5461549 w 6270621"/>
                <a:gd name="connsiteY76" fmla="*/ 3301580 h 3762376"/>
                <a:gd name="connsiteX77" fmla="*/ 5461549 w 6270621"/>
                <a:gd name="connsiteY77" fmla="*/ 3269851 h 3762376"/>
                <a:gd name="connsiteX78" fmla="*/ 5450980 w 6270621"/>
                <a:gd name="connsiteY78" fmla="*/ 3227546 h 3762376"/>
                <a:gd name="connsiteX79" fmla="*/ 5419271 w 6270621"/>
                <a:gd name="connsiteY79" fmla="*/ 3201105 h 3762376"/>
                <a:gd name="connsiteX80" fmla="*/ 5371707 w 6270621"/>
                <a:gd name="connsiteY80" fmla="*/ 3201105 h 3762376"/>
                <a:gd name="connsiteX81" fmla="*/ 5339998 w 6270621"/>
                <a:gd name="connsiteY81" fmla="*/ 3216969 h 3762376"/>
                <a:gd name="connsiteX82" fmla="*/ 5324143 w 6270621"/>
                <a:gd name="connsiteY82" fmla="*/ 3206393 h 3762376"/>
                <a:gd name="connsiteX83" fmla="*/ 5260725 w 6270621"/>
                <a:gd name="connsiteY83" fmla="*/ 3222258 h 3762376"/>
                <a:gd name="connsiteX84" fmla="*/ 5239586 w 6270621"/>
                <a:gd name="connsiteY84" fmla="*/ 3248698 h 3762376"/>
                <a:gd name="connsiteX85" fmla="*/ 5176168 w 6270621"/>
                <a:gd name="connsiteY85" fmla="*/ 3238122 h 3762376"/>
                <a:gd name="connsiteX86" fmla="*/ 5118034 w 6270621"/>
                <a:gd name="connsiteY86" fmla="*/ 3259275 h 3762376"/>
                <a:gd name="connsiteX87" fmla="*/ 5086325 w 6270621"/>
                <a:gd name="connsiteY87" fmla="*/ 3253987 h 3762376"/>
                <a:gd name="connsiteX88" fmla="*/ 5070471 w 6270621"/>
                <a:gd name="connsiteY88" fmla="*/ 3232834 h 3762376"/>
                <a:gd name="connsiteX89" fmla="*/ 5091610 w 6270621"/>
                <a:gd name="connsiteY89" fmla="*/ 3211681 h 3762376"/>
                <a:gd name="connsiteX90" fmla="*/ 5118034 w 6270621"/>
                <a:gd name="connsiteY90" fmla="*/ 3169376 h 3762376"/>
                <a:gd name="connsiteX91" fmla="*/ 5107465 w 6270621"/>
                <a:gd name="connsiteY91" fmla="*/ 3142935 h 3762376"/>
                <a:gd name="connsiteX92" fmla="*/ 5107465 w 6270621"/>
                <a:gd name="connsiteY92" fmla="*/ 3063613 h 3762376"/>
                <a:gd name="connsiteX93" fmla="*/ 5118034 w 6270621"/>
                <a:gd name="connsiteY93" fmla="*/ 3010731 h 3762376"/>
                <a:gd name="connsiteX94" fmla="*/ 5128604 w 6270621"/>
                <a:gd name="connsiteY94" fmla="*/ 2936697 h 3762376"/>
                <a:gd name="connsiteX95" fmla="*/ 5181452 w 6270621"/>
                <a:gd name="connsiteY95" fmla="*/ 2894391 h 3762376"/>
                <a:gd name="connsiteX96" fmla="*/ 5244870 w 6270621"/>
                <a:gd name="connsiteY96" fmla="*/ 2867951 h 3762376"/>
                <a:gd name="connsiteX97" fmla="*/ 5281864 w 6270621"/>
                <a:gd name="connsiteY97" fmla="*/ 2867951 h 3762376"/>
                <a:gd name="connsiteX98" fmla="*/ 5313573 w 6270621"/>
                <a:gd name="connsiteY98" fmla="*/ 2852086 h 3762376"/>
                <a:gd name="connsiteX99" fmla="*/ 5329428 w 6270621"/>
                <a:gd name="connsiteY99" fmla="*/ 2836222 h 3762376"/>
                <a:gd name="connsiteX100" fmla="*/ 5329428 w 6270621"/>
                <a:gd name="connsiteY100" fmla="*/ 2804493 h 3762376"/>
                <a:gd name="connsiteX101" fmla="*/ 5350567 w 6270621"/>
                <a:gd name="connsiteY101" fmla="*/ 2783340 h 3762376"/>
                <a:gd name="connsiteX102" fmla="*/ 5350567 w 6270621"/>
                <a:gd name="connsiteY102" fmla="*/ 2799204 h 3762376"/>
                <a:gd name="connsiteX103" fmla="*/ 5361137 w 6270621"/>
                <a:gd name="connsiteY103" fmla="*/ 2820357 h 3762376"/>
                <a:gd name="connsiteX104" fmla="*/ 5366422 w 6270621"/>
                <a:gd name="connsiteY104" fmla="*/ 2788628 h 3762376"/>
                <a:gd name="connsiteX105" fmla="*/ 5382277 w 6270621"/>
                <a:gd name="connsiteY105" fmla="*/ 2788628 h 3762376"/>
                <a:gd name="connsiteX106" fmla="*/ 5382277 w 6270621"/>
                <a:gd name="connsiteY106" fmla="*/ 2772764 h 3762376"/>
                <a:gd name="connsiteX107" fmla="*/ 5419271 w 6270621"/>
                <a:gd name="connsiteY107" fmla="*/ 2741035 h 3762376"/>
                <a:gd name="connsiteX108" fmla="*/ 5445695 w 6270621"/>
                <a:gd name="connsiteY108" fmla="*/ 2719882 h 3762376"/>
                <a:gd name="connsiteX109" fmla="*/ 5466834 w 6270621"/>
                <a:gd name="connsiteY109" fmla="*/ 2751611 h 3762376"/>
                <a:gd name="connsiteX110" fmla="*/ 5456264 w 6270621"/>
                <a:gd name="connsiteY110" fmla="*/ 2778052 h 3762376"/>
                <a:gd name="connsiteX111" fmla="*/ 5498543 w 6270621"/>
                <a:gd name="connsiteY111" fmla="*/ 2767475 h 3762376"/>
                <a:gd name="connsiteX112" fmla="*/ 5487973 w 6270621"/>
                <a:gd name="connsiteY112" fmla="*/ 2741035 h 3762376"/>
                <a:gd name="connsiteX113" fmla="*/ 5503828 w 6270621"/>
                <a:gd name="connsiteY113" fmla="*/ 2725170 h 3762376"/>
                <a:gd name="connsiteX114" fmla="*/ 5524967 w 6270621"/>
                <a:gd name="connsiteY114" fmla="*/ 2688153 h 3762376"/>
                <a:gd name="connsiteX115" fmla="*/ 5577816 w 6270621"/>
                <a:gd name="connsiteY115" fmla="*/ 2677577 h 3762376"/>
                <a:gd name="connsiteX116" fmla="*/ 5620094 w 6270621"/>
                <a:gd name="connsiteY116" fmla="*/ 2698729 h 3762376"/>
                <a:gd name="connsiteX117" fmla="*/ 5641234 w 6270621"/>
                <a:gd name="connsiteY117" fmla="*/ 2688153 h 3762376"/>
                <a:gd name="connsiteX118" fmla="*/ 5657088 w 6270621"/>
                <a:gd name="connsiteY118" fmla="*/ 2704017 h 3762376"/>
                <a:gd name="connsiteX119" fmla="*/ 5630664 w 6270621"/>
                <a:gd name="connsiteY119" fmla="*/ 2735746 h 3762376"/>
                <a:gd name="connsiteX120" fmla="*/ 5614810 w 6270621"/>
                <a:gd name="connsiteY120" fmla="*/ 2772764 h 3762376"/>
                <a:gd name="connsiteX121" fmla="*/ 5651803 w 6270621"/>
                <a:gd name="connsiteY121" fmla="*/ 2820357 h 3762376"/>
                <a:gd name="connsiteX122" fmla="*/ 5683513 w 6270621"/>
                <a:gd name="connsiteY122" fmla="*/ 2852086 h 3762376"/>
                <a:gd name="connsiteX123" fmla="*/ 5704652 w 6270621"/>
                <a:gd name="connsiteY123" fmla="*/ 2852086 h 3762376"/>
                <a:gd name="connsiteX124" fmla="*/ 5715222 w 6270621"/>
                <a:gd name="connsiteY124" fmla="*/ 2830933 h 3762376"/>
                <a:gd name="connsiteX125" fmla="*/ 5731076 w 6270621"/>
                <a:gd name="connsiteY125" fmla="*/ 2762187 h 3762376"/>
                <a:gd name="connsiteX126" fmla="*/ 5757500 w 6270621"/>
                <a:gd name="connsiteY126" fmla="*/ 2693441 h 3762376"/>
                <a:gd name="connsiteX127" fmla="*/ 5768070 w 6270621"/>
                <a:gd name="connsiteY127" fmla="*/ 2667000 h 3762376"/>
                <a:gd name="connsiteX128" fmla="*/ 3889371 w 6270621"/>
                <a:gd name="connsiteY128" fmla="*/ 2630488 h 3762376"/>
                <a:gd name="connsiteX129" fmla="*/ 3900484 w 6270621"/>
                <a:gd name="connsiteY129" fmla="*/ 2671763 h 3762376"/>
                <a:gd name="connsiteX130" fmla="*/ 3900484 w 6270621"/>
                <a:gd name="connsiteY130" fmla="*/ 2709863 h 3762376"/>
                <a:gd name="connsiteX131" fmla="*/ 3878259 w 6270621"/>
                <a:gd name="connsiteY131" fmla="*/ 2725738 h 3762376"/>
                <a:gd name="connsiteX132" fmla="*/ 3884609 w 6270621"/>
                <a:gd name="connsiteY132" fmla="*/ 2751138 h 3762376"/>
                <a:gd name="connsiteX133" fmla="*/ 3830634 w 6270621"/>
                <a:gd name="connsiteY133" fmla="*/ 2873376 h 3762376"/>
                <a:gd name="connsiteX134" fmla="*/ 3805234 w 6270621"/>
                <a:gd name="connsiteY134" fmla="*/ 2921001 h 3762376"/>
                <a:gd name="connsiteX135" fmla="*/ 3767134 w 6270621"/>
                <a:gd name="connsiteY135" fmla="*/ 2921001 h 3762376"/>
                <a:gd name="connsiteX136" fmla="*/ 3751259 w 6270621"/>
                <a:gd name="connsiteY136" fmla="*/ 2894014 h 3762376"/>
                <a:gd name="connsiteX137" fmla="*/ 3751259 w 6270621"/>
                <a:gd name="connsiteY137" fmla="*/ 2836864 h 3762376"/>
                <a:gd name="connsiteX138" fmla="*/ 3778246 w 6270621"/>
                <a:gd name="connsiteY138" fmla="*/ 2809876 h 3762376"/>
                <a:gd name="connsiteX139" fmla="*/ 3767134 w 6270621"/>
                <a:gd name="connsiteY139" fmla="*/ 2746376 h 3762376"/>
                <a:gd name="connsiteX140" fmla="*/ 3778246 w 6270621"/>
                <a:gd name="connsiteY140" fmla="*/ 2719388 h 3762376"/>
                <a:gd name="connsiteX141" fmla="*/ 3814759 w 6270621"/>
                <a:gd name="connsiteY141" fmla="*/ 2714626 h 3762376"/>
                <a:gd name="connsiteX142" fmla="*/ 3846509 w 6270621"/>
                <a:gd name="connsiteY142" fmla="*/ 2682876 h 3762376"/>
                <a:gd name="connsiteX143" fmla="*/ 5038721 w 6270621"/>
                <a:gd name="connsiteY143" fmla="*/ 2519363 h 3762376"/>
                <a:gd name="connsiteX144" fmla="*/ 5064121 w 6270621"/>
                <a:gd name="connsiteY144" fmla="*/ 2519363 h 3762376"/>
                <a:gd name="connsiteX145" fmla="*/ 5091109 w 6270621"/>
                <a:gd name="connsiteY145" fmla="*/ 2535238 h 3762376"/>
                <a:gd name="connsiteX146" fmla="*/ 5133971 w 6270621"/>
                <a:gd name="connsiteY146" fmla="*/ 2528888 h 3762376"/>
                <a:gd name="connsiteX147" fmla="*/ 5165721 w 6270621"/>
                <a:gd name="connsiteY147" fmla="*/ 2535238 h 3762376"/>
                <a:gd name="connsiteX148" fmla="*/ 5186358 w 6270621"/>
                <a:gd name="connsiteY148" fmla="*/ 2560639 h 3762376"/>
                <a:gd name="connsiteX149" fmla="*/ 5206996 w 6270621"/>
                <a:gd name="connsiteY149" fmla="*/ 2571751 h 3762376"/>
                <a:gd name="connsiteX150" fmla="*/ 5197471 w 6270621"/>
                <a:gd name="connsiteY150" fmla="*/ 2587626 h 3762376"/>
                <a:gd name="connsiteX151" fmla="*/ 5095871 w 6270621"/>
                <a:gd name="connsiteY151" fmla="*/ 2560639 h 3762376"/>
                <a:gd name="connsiteX152" fmla="*/ 5027609 w 6270621"/>
                <a:gd name="connsiteY152" fmla="*/ 2540001 h 3762376"/>
                <a:gd name="connsiteX153" fmla="*/ 5594346 w 6270621"/>
                <a:gd name="connsiteY153" fmla="*/ 2386013 h 3762376"/>
                <a:gd name="connsiteX154" fmla="*/ 5619746 w 6270621"/>
                <a:gd name="connsiteY154" fmla="*/ 2386013 h 3762376"/>
                <a:gd name="connsiteX155" fmla="*/ 5619746 w 6270621"/>
                <a:gd name="connsiteY155" fmla="*/ 2424113 h 3762376"/>
                <a:gd name="connsiteX156" fmla="*/ 5641971 w 6270621"/>
                <a:gd name="connsiteY156" fmla="*/ 2455863 h 3762376"/>
                <a:gd name="connsiteX157" fmla="*/ 5667371 w 6270621"/>
                <a:gd name="connsiteY157" fmla="*/ 2433638 h 3762376"/>
                <a:gd name="connsiteX158" fmla="*/ 5694359 w 6270621"/>
                <a:gd name="connsiteY158" fmla="*/ 2408238 h 3762376"/>
                <a:gd name="connsiteX159" fmla="*/ 5768971 w 6270621"/>
                <a:gd name="connsiteY159" fmla="*/ 2455863 h 3762376"/>
                <a:gd name="connsiteX160" fmla="*/ 5841996 w 6270621"/>
                <a:gd name="connsiteY160" fmla="*/ 2487613 h 3762376"/>
                <a:gd name="connsiteX161" fmla="*/ 5853109 w 6270621"/>
                <a:gd name="connsiteY161" fmla="*/ 2519363 h 3762376"/>
                <a:gd name="connsiteX162" fmla="*/ 5905496 w 6270621"/>
                <a:gd name="connsiteY162" fmla="*/ 2535238 h 3762376"/>
                <a:gd name="connsiteX163" fmla="*/ 5953121 w 6270621"/>
                <a:gd name="connsiteY163" fmla="*/ 2524126 h 3762376"/>
                <a:gd name="connsiteX164" fmla="*/ 5968996 w 6270621"/>
                <a:gd name="connsiteY164" fmla="*/ 2497138 h 3762376"/>
                <a:gd name="connsiteX165" fmla="*/ 5991221 w 6270621"/>
                <a:gd name="connsiteY165" fmla="*/ 2503488 h 3762376"/>
                <a:gd name="connsiteX166" fmla="*/ 5959471 w 6270621"/>
                <a:gd name="connsiteY166" fmla="*/ 2544763 h 3762376"/>
                <a:gd name="connsiteX167" fmla="*/ 5911846 w 6270621"/>
                <a:gd name="connsiteY167" fmla="*/ 2544763 h 3762376"/>
                <a:gd name="connsiteX168" fmla="*/ 5873746 w 6270621"/>
                <a:gd name="connsiteY168" fmla="*/ 2551113 h 3762376"/>
                <a:gd name="connsiteX169" fmla="*/ 5889621 w 6270621"/>
                <a:gd name="connsiteY169" fmla="*/ 2587626 h 3762376"/>
                <a:gd name="connsiteX170" fmla="*/ 5905496 w 6270621"/>
                <a:gd name="connsiteY170" fmla="*/ 2624138 h 3762376"/>
                <a:gd name="connsiteX171" fmla="*/ 5948359 w 6270621"/>
                <a:gd name="connsiteY171" fmla="*/ 2655888 h 3762376"/>
                <a:gd name="connsiteX172" fmla="*/ 5927721 w 6270621"/>
                <a:gd name="connsiteY172" fmla="*/ 2678113 h 3762376"/>
                <a:gd name="connsiteX173" fmla="*/ 5880096 w 6270621"/>
                <a:gd name="connsiteY173" fmla="*/ 2667001 h 3762376"/>
                <a:gd name="connsiteX174" fmla="*/ 5864221 w 6270621"/>
                <a:gd name="connsiteY174" fmla="*/ 2635251 h 3762376"/>
                <a:gd name="connsiteX175" fmla="*/ 5864221 w 6270621"/>
                <a:gd name="connsiteY175" fmla="*/ 2608263 h 3762376"/>
                <a:gd name="connsiteX176" fmla="*/ 5837234 w 6270621"/>
                <a:gd name="connsiteY176" fmla="*/ 2576513 h 3762376"/>
                <a:gd name="connsiteX177" fmla="*/ 5826121 w 6270621"/>
                <a:gd name="connsiteY177" fmla="*/ 2587626 h 3762376"/>
                <a:gd name="connsiteX178" fmla="*/ 5784846 w 6270621"/>
                <a:gd name="connsiteY178" fmla="*/ 2598738 h 3762376"/>
                <a:gd name="connsiteX179" fmla="*/ 5800721 w 6270621"/>
                <a:gd name="connsiteY179" fmla="*/ 2619376 h 3762376"/>
                <a:gd name="connsiteX180" fmla="*/ 5746746 w 6270621"/>
                <a:gd name="connsiteY180" fmla="*/ 2624138 h 3762376"/>
                <a:gd name="connsiteX181" fmla="*/ 5705471 w 6270621"/>
                <a:gd name="connsiteY181" fmla="*/ 2587626 h 3762376"/>
                <a:gd name="connsiteX182" fmla="*/ 5705471 w 6270621"/>
                <a:gd name="connsiteY182" fmla="*/ 2566988 h 3762376"/>
                <a:gd name="connsiteX183" fmla="*/ 5705471 w 6270621"/>
                <a:gd name="connsiteY183" fmla="*/ 2524126 h 3762376"/>
                <a:gd name="connsiteX184" fmla="*/ 5662609 w 6270621"/>
                <a:gd name="connsiteY184" fmla="*/ 2497138 h 3762376"/>
                <a:gd name="connsiteX185" fmla="*/ 5614984 w 6270621"/>
                <a:gd name="connsiteY185" fmla="*/ 2476501 h 3762376"/>
                <a:gd name="connsiteX186" fmla="*/ 5587996 w 6270621"/>
                <a:gd name="connsiteY186" fmla="*/ 2481263 h 3762376"/>
                <a:gd name="connsiteX187" fmla="*/ 5583234 w 6270621"/>
                <a:gd name="connsiteY187" fmla="*/ 2460626 h 3762376"/>
                <a:gd name="connsiteX188" fmla="*/ 5572121 w 6270621"/>
                <a:gd name="connsiteY188" fmla="*/ 2444751 h 3762376"/>
                <a:gd name="connsiteX189" fmla="*/ 5599109 w 6270621"/>
                <a:gd name="connsiteY189" fmla="*/ 2428876 h 3762376"/>
                <a:gd name="connsiteX190" fmla="*/ 5556246 w 6270621"/>
                <a:gd name="connsiteY190" fmla="*/ 2392363 h 3762376"/>
                <a:gd name="connsiteX191" fmla="*/ 5356030 w 6270621"/>
                <a:gd name="connsiteY191" fmla="*/ 2333625 h 3762376"/>
                <a:gd name="connsiteX192" fmla="*/ 5408735 w 6270621"/>
                <a:gd name="connsiteY192" fmla="*/ 2349546 h 3762376"/>
                <a:gd name="connsiteX193" fmla="*/ 5440358 w 6270621"/>
                <a:gd name="connsiteY193" fmla="*/ 2333625 h 3762376"/>
                <a:gd name="connsiteX194" fmla="*/ 5424547 w 6270621"/>
                <a:gd name="connsiteY194" fmla="*/ 2360159 h 3762376"/>
                <a:gd name="connsiteX195" fmla="*/ 5392924 w 6270621"/>
                <a:gd name="connsiteY195" fmla="*/ 2360159 h 3762376"/>
                <a:gd name="connsiteX196" fmla="*/ 5356030 w 6270621"/>
                <a:gd name="connsiteY196" fmla="*/ 2360159 h 3762376"/>
                <a:gd name="connsiteX197" fmla="*/ 5340219 w 6270621"/>
                <a:gd name="connsiteY197" fmla="*/ 2392000 h 3762376"/>
                <a:gd name="connsiteX198" fmla="*/ 5382383 w 6270621"/>
                <a:gd name="connsiteY198" fmla="*/ 2423841 h 3762376"/>
                <a:gd name="connsiteX199" fmla="*/ 5398194 w 6270621"/>
                <a:gd name="connsiteY199" fmla="*/ 2476909 h 3762376"/>
                <a:gd name="connsiteX200" fmla="*/ 5387653 w 6270621"/>
                <a:gd name="connsiteY200" fmla="*/ 2498136 h 3762376"/>
                <a:gd name="connsiteX201" fmla="*/ 5361301 w 6270621"/>
                <a:gd name="connsiteY201" fmla="*/ 2492829 h 3762376"/>
                <a:gd name="connsiteX202" fmla="*/ 5361301 w 6270621"/>
                <a:gd name="connsiteY202" fmla="*/ 2460988 h 3762376"/>
                <a:gd name="connsiteX203" fmla="*/ 5340219 w 6270621"/>
                <a:gd name="connsiteY203" fmla="*/ 2429148 h 3762376"/>
                <a:gd name="connsiteX204" fmla="*/ 5345489 w 6270621"/>
                <a:gd name="connsiteY204" fmla="*/ 2466295 h 3762376"/>
                <a:gd name="connsiteX205" fmla="*/ 5329678 w 6270621"/>
                <a:gd name="connsiteY205" fmla="*/ 2508750 h 3762376"/>
                <a:gd name="connsiteX206" fmla="*/ 5313866 w 6270621"/>
                <a:gd name="connsiteY206" fmla="*/ 2503443 h 3762376"/>
                <a:gd name="connsiteX207" fmla="*/ 5313866 w 6270621"/>
                <a:gd name="connsiteY207" fmla="*/ 2460988 h 3762376"/>
                <a:gd name="connsiteX208" fmla="*/ 5308596 w 6270621"/>
                <a:gd name="connsiteY208" fmla="*/ 2434454 h 3762376"/>
                <a:gd name="connsiteX209" fmla="*/ 5319137 w 6270621"/>
                <a:gd name="connsiteY209" fmla="*/ 2407920 h 3762376"/>
                <a:gd name="connsiteX210" fmla="*/ 5324407 w 6270621"/>
                <a:gd name="connsiteY210" fmla="*/ 2370773 h 3762376"/>
                <a:gd name="connsiteX211" fmla="*/ 5356030 w 6270621"/>
                <a:gd name="connsiteY211" fmla="*/ 2333625 h 3762376"/>
                <a:gd name="connsiteX212" fmla="*/ 4816471 w 6270621"/>
                <a:gd name="connsiteY212" fmla="*/ 2233613 h 3762376"/>
                <a:gd name="connsiteX213" fmla="*/ 4848221 w 6270621"/>
                <a:gd name="connsiteY213" fmla="*/ 2233613 h 3762376"/>
                <a:gd name="connsiteX214" fmla="*/ 4921246 w 6270621"/>
                <a:gd name="connsiteY214" fmla="*/ 2312988 h 3762376"/>
                <a:gd name="connsiteX215" fmla="*/ 4952996 w 6270621"/>
                <a:gd name="connsiteY215" fmla="*/ 2333626 h 3762376"/>
                <a:gd name="connsiteX216" fmla="*/ 4991096 w 6270621"/>
                <a:gd name="connsiteY216" fmla="*/ 2381251 h 3762376"/>
                <a:gd name="connsiteX217" fmla="*/ 5016496 w 6270621"/>
                <a:gd name="connsiteY217" fmla="*/ 2417763 h 3762376"/>
                <a:gd name="connsiteX218" fmla="*/ 5032371 w 6270621"/>
                <a:gd name="connsiteY218" fmla="*/ 2433638 h 3762376"/>
                <a:gd name="connsiteX219" fmla="*/ 5027608 w 6270621"/>
                <a:gd name="connsiteY219" fmla="*/ 2471738 h 3762376"/>
                <a:gd name="connsiteX220" fmla="*/ 5027608 w 6270621"/>
                <a:gd name="connsiteY220" fmla="*/ 2503488 h 3762376"/>
                <a:gd name="connsiteX221" fmla="*/ 4991096 w 6270621"/>
                <a:gd name="connsiteY221" fmla="*/ 2492376 h 3762376"/>
                <a:gd name="connsiteX222" fmla="*/ 4952996 w 6270621"/>
                <a:gd name="connsiteY222" fmla="*/ 2455863 h 3762376"/>
                <a:gd name="connsiteX223" fmla="*/ 4905371 w 6270621"/>
                <a:gd name="connsiteY223" fmla="*/ 2360613 h 3762376"/>
                <a:gd name="connsiteX224" fmla="*/ 4884733 w 6270621"/>
                <a:gd name="connsiteY224" fmla="*/ 2322513 h 3762376"/>
                <a:gd name="connsiteX225" fmla="*/ 4864096 w 6270621"/>
                <a:gd name="connsiteY225" fmla="*/ 2301876 h 3762376"/>
                <a:gd name="connsiteX226" fmla="*/ 4825996 w 6270621"/>
                <a:gd name="connsiteY226" fmla="*/ 2254251 h 3762376"/>
                <a:gd name="connsiteX227" fmla="*/ 5254621 w 6270621"/>
                <a:gd name="connsiteY227" fmla="*/ 2195513 h 3762376"/>
                <a:gd name="connsiteX228" fmla="*/ 5308596 w 6270621"/>
                <a:gd name="connsiteY228" fmla="*/ 2238376 h 3762376"/>
                <a:gd name="connsiteX229" fmla="*/ 5286371 w 6270621"/>
                <a:gd name="connsiteY229" fmla="*/ 2259013 h 3762376"/>
                <a:gd name="connsiteX230" fmla="*/ 5276846 w 6270621"/>
                <a:gd name="connsiteY230" fmla="*/ 2259013 h 3762376"/>
                <a:gd name="connsiteX231" fmla="*/ 5281608 w 6270621"/>
                <a:gd name="connsiteY231" fmla="*/ 2322513 h 3762376"/>
                <a:gd name="connsiteX232" fmla="*/ 5308596 w 6270621"/>
                <a:gd name="connsiteY232" fmla="*/ 2349501 h 3762376"/>
                <a:gd name="connsiteX233" fmla="*/ 5286371 w 6270621"/>
                <a:gd name="connsiteY233" fmla="*/ 2354263 h 3762376"/>
                <a:gd name="connsiteX234" fmla="*/ 5260971 w 6270621"/>
                <a:gd name="connsiteY234" fmla="*/ 2381251 h 3762376"/>
                <a:gd name="connsiteX235" fmla="*/ 5260971 w 6270621"/>
                <a:gd name="connsiteY235" fmla="*/ 2401889 h 3762376"/>
                <a:gd name="connsiteX236" fmla="*/ 5238746 w 6270621"/>
                <a:gd name="connsiteY236" fmla="*/ 2455864 h 3762376"/>
                <a:gd name="connsiteX237" fmla="*/ 5222871 w 6270621"/>
                <a:gd name="connsiteY237" fmla="*/ 2476501 h 3762376"/>
                <a:gd name="connsiteX238" fmla="*/ 5206996 w 6270621"/>
                <a:gd name="connsiteY238" fmla="*/ 2449514 h 3762376"/>
                <a:gd name="connsiteX239" fmla="*/ 5159371 w 6270621"/>
                <a:gd name="connsiteY239" fmla="*/ 2433639 h 3762376"/>
                <a:gd name="connsiteX240" fmla="*/ 5133971 w 6270621"/>
                <a:gd name="connsiteY240" fmla="*/ 2433639 h 3762376"/>
                <a:gd name="connsiteX241" fmla="*/ 5111746 w 6270621"/>
                <a:gd name="connsiteY241" fmla="*/ 2381251 h 3762376"/>
                <a:gd name="connsiteX242" fmla="*/ 5102221 w 6270621"/>
                <a:gd name="connsiteY242" fmla="*/ 2354263 h 3762376"/>
                <a:gd name="connsiteX243" fmla="*/ 5118096 w 6270621"/>
                <a:gd name="connsiteY243" fmla="*/ 2338388 h 3762376"/>
                <a:gd name="connsiteX244" fmla="*/ 5154608 w 6270621"/>
                <a:gd name="connsiteY244" fmla="*/ 2333626 h 3762376"/>
                <a:gd name="connsiteX245" fmla="*/ 5154608 w 6270621"/>
                <a:gd name="connsiteY245" fmla="*/ 2306638 h 3762376"/>
                <a:gd name="connsiteX246" fmla="*/ 5186358 w 6270621"/>
                <a:gd name="connsiteY246" fmla="*/ 2286001 h 3762376"/>
                <a:gd name="connsiteX247" fmla="*/ 5206996 w 6270621"/>
                <a:gd name="connsiteY247" fmla="*/ 2249488 h 3762376"/>
                <a:gd name="connsiteX248" fmla="*/ 5233983 w 6270621"/>
                <a:gd name="connsiteY248" fmla="*/ 2243138 h 3762376"/>
                <a:gd name="connsiteX249" fmla="*/ 5307572 w 6270621"/>
                <a:gd name="connsiteY249" fmla="*/ 1900238 h 3762376"/>
                <a:gd name="connsiteX250" fmla="*/ 5339526 w 6270621"/>
                <a:gd name="connsiteY250" fmla="*/ 1900238 h 3762376"/>
                <a:gd name="connsiteX251" fmla="*/ 5339526 w 6270621"/>
                <a:gd name="connsiteY251" fmla="*/ 1968917 h 3762376"/>
                <a:gd name="connsiteX252" fmla="*/ 5350178 w 6270621"/>
                <a:gd name="connsiteY252" fmla="*/ 2000615 h 3762376"/>
                <a:gd name="connsiteX253" fmla="*/ 5392785 w 6270621"/>
                <a:gd name="connsiteY253" fmla="*/ 2021747 h 3762376"/>
                <a:gd name="connsiteX254" fmla="*/ 5430066 w 6270621"/>
                <a:gd name="connsiteY254" fmla="*/ 2058728 h 3762376"/>
                <a:gd name="connsiteX255" fmla="*/ 5435391 w 6270621"/>
                <a:gd name="connsiteY255" fmla="*/ 2106275 h 3762376"/>
                <a:gd name="connsiteX256" fmla="*/ 5456695 w 6270621"/>
                <a:gd name="connsiteY256" fmla="*/ 2137973 h 3762376"/>
                <a:gd name="connsiteX257" fmla="*/ 5467346 w 6270621"/>
                <a:gd name="connsiteY257" fmla="*/ 2185520 h 3762376"/>
                <a:gd name="connsiteX258" fmla="*/ 5451369 w 6270621"/>
                <a:gd name="connsiteY258" fmla="*/ 2196086 h 3762376"/>
                <a:gd name="connsiteX259" fmla="*/ 5451369 w 6270621"/>
                <a:gd name="connsiteY259" fmla="*/ 2222501 h 3762376"/>
                <a:gd name="connsiteX260" fmla="*/ 5392785 w 6270621"/>
                <a:gd name="connsiteY260" fmla="*/ 2196086 h 3762376"/>
                <a:gd name="connsiteX261" fmla="*/ 5371482 w 6270621"/>
                <a:gd name="connsiteY261" fmla="*/ 2137973 h 3762376"/>
                <a:gd name="connsiteX262" fmla="*/ 5371482 w 6270621"/>
                <a:gd name="connsiteY262" fmla="*/ 2111558 h 3762376"/>
                <a:gd name="connsiteX263" fmla="*/ 5350178 w 6270621"/>
                <a:gd name="connsiteY263" fmla="*/ 2064011 h 3762376"/>
                <a:gd name="connsiteX264" fmla="*/ 5328875 w 6270621"/>
                <a:gd name="connsiteY264" fmla="*/ 2016464 h 3762376"/>
                <a:gd name="connsiteX265" fmla="*/ 5302246 w 6270621"/>
                <a:gd name="connsiteY265" fmla="*/ 1979483 h 3762376"/>
                <a:gd name="connsiteX266" fmla="*/ 5307572 w 6270621"/>
                <a:gd name="connsiteY266" fmla="*/ 1900238 h 3762376"/>
                <a:gd name="connsiteX267" fmla="*/ 5487984 w 6270621"/>
                <a:gd name="connsiteY267" fmla="*/ 1127125 h 3762376"/>
                <a:gd name="connsiteX268" fmla="*/ 5508621 w 6270621"/>
                <a:gd name="connsiteY268" fmla="*/ 1127125 h 3762376"/>
                <a:gd name="connsiteX269" fmla="*/ 5535609 w 6270621"/>
                <a:gd name="connsiteY269" fmla="*/ 1147763 h 3762376"/>
                <a:gd name="connsiteX270" fmla="*/ 5556246 w 6270621"/>
                <a:gd name="connsiteY270" fmla="*/ 1154113 h 3762376"/>
                <a:gd name="connsiteX271" fmla="*/ 5578471 w 6270621"/>
                <a:gd name="connsiteY271" fmla="*/ 1138238 h 3762376"/>
                <a:gd name="connsiteX272" fmla="*/ 5587996 w 6270621"/>
                <a:gd name="connsiteY272" fmla="*/ 1131888 h 3762376"/>
                <a:gd name="connsiteX273" fmla="*/ 5587996 w 6270621"/>
                <a:gd name="connsiteY273" fmla="*/ 1158875 h 3762376"/>
                <a:gd name="connsiteX274" fmla="*/ 5587996 w 6270621"/>
                <a:gd name="connsiteY274" fmla="*/ 1185863 h 3762376"/>
                <a:gd name="connsiteX275" fmla="*/ 5546721 w 6270621"/>
                <a:gd name="connsiteY275" fmla="*/ 1195388 h 3762376"/>
                <a:gd name="connsiteX276" fmla="*/ 5556246 w 6270621"/>
                <a:gd name="connsiteY276" fmla="*/ 1217613 h 3762376"/>
                <a:gd name="connsiteX277" fmla="*/ 5556246 w 6270621"/>
                <a:gd name="connsiteY277" fmla="*/ 1227138 h 3762376"/>
                <a:gd name="connsiteX278" fmla="*/ 5514971 w 6270621"/>
                <a:gd name="connsiteY278" fmla="*/ 1206500 h 3762376"/>
                <a:gd name="connsiteX279" fmla="*/ 5508621 w 6270621"/>
                <a:gd name="connsiteY279" fmla="*/ 1227138 h 3762376"/>
                <a:gd name="connsiteX280" fmla="*/ 5535609 w 6270621"/>
                <a:gd name="connsiteY280" fmla="*/ 1243013 h 3762376"/>
                <a:gd name="connsiteX281" fmla="*/ 5535609 w 6270621"/>
                <a:gd name="connsiteY281" fmla="*/ 1265238 h 3762376"/>
                <a:gd name="connsiteX282" fmla="*/ 5567359 w 6270621"/>
                <a:gd name="connsiteY282" fmla="*/ 1312863 h 3762376"/>
                <a:gd name="connsiteX283" fmla="*/ 5567359 w 6270621"/>
                <a:gd name="connsiteY283" fmla="*/ 1338263 h 3762376"/>
                <a:gd name="connsiteX284" fmla="*/ 5578471 w 6270621"/>
                <a:gd name="connsiteY284" fmla="*/ 1417638 h 3762376"/>
                <a:gd name="connsiteX285" fmla="*/ 5535609 w 6270621"/>
                <a:gd name="connsiteY285" fmla="*/ 1460501 h 3762376"/>
                <a:gd name="connsiteX286" fmla="*/ 5472109 w 6270621"/>
                <a:gd name="connsiteY286" fmla="*/ 1497013 h 3762376"/>
                <a:gd name="connsiteX287" fmla="*/ 5440359 w 6270621"/>
                <a:gd name="connsiteY287" fmla="*/ 1512888 h 3762376"/>
                <a:gd name="connsiteX288" fmla="*/ 5440359 w 6270621"/>
                <a:gd name="connsiteY288" fmla="*/ 1544638 h 3762376"/>
                <a:gd name="connsiteX289" fmla="*/ 5424484 w 6270621"/>
                <a:gd name="connsiteY289" fmla="*/ 1560513 h 3762376"/>
                <a:gd name="connsiteX290" fmla="*/ 5403847 w 6270621"/>
                <a:gd name="connsiteY290" fmla="*/ 1535113 h 3762376"/>
                <a:gd name="connsiteX291" fmla="*/ 5392734 w 6270621"/>
                <a:gd name="connsiteY291" fmla="*/ 1503363 h 3762376"/>
                <a:gd name="connsiteX292" fmla="*/ 5413372 w 6270621"/>
                <a:gd name="connsiteY292" fmla="*/ 1497013 h 3762376"/>
                <a:gd name="connsiteX293" fmla="*/ 5403847 w 6270621"/>
                <a:gd name="connsiteY293" fmla="*/ 1476376 h 3762376"/>
                <a:gd name="connsiteX294" fmla="*/ 5419722 w 6270621"/>
                <a:gd name="connsiteY294" fmla="*/ 1449388 h 3762376"/>
                <a:gd name="connsiteX295" fmla="*/ 5435597 w 6270621"/>
                <a:gd name="connsiteY295" fmla="*/ 1433513 h 3762376"/>
                <a:gd name="connsiteX296" fmla="*/ 5483222 w 6270621"/>
                <a:gd name="connsiteY296" fmla="*/ 1423988 h 3762376"/>
                <a:gd name="connsiteX297" fmla="*/ 5492746 w 6270621"/>
                <a:gd name="connsiteY297" fmla="*/ 1385888 h 3762376"/>
                <a:gd name="connsiteX298" fmla="*/ 5524496 w 6270621"/>
                <a:gd name="connsiteY298" fmla="*/ 1365250 h 3762376"/>
                <a:gd name="connsiteX299" fmla="*/ 5524496 w 6270621"/>
                <a:gd name="connsiteY299" fmla="*/ 1290638 h 3762376"/>
                <a:gd name="connsiteX300" fmla="*/ 5508621 w 6270621"/>
                <a:gd name="connsiteY300" fmla="*/ 1243013 h 3762376"/>
                <a:gd name="connsiteX301" fmla="*/ 5476872 w 6270621"/>
                <a:gd name="connsiteY301" fmla="*/ 1217613 h 3762376"/>
                <a:gd name="connsiteX302" fmla="*/ 5487984 w 6270621"/>
                <a:gd name="connsiteY302" fmla="*/ 1195388 h 3762376"/>
                <a:gd name="connsiteX303" fmla="*/ 5503859 w 6270621"/>
                <a:gd name="connsiteY303" fmla="*/ 1169988 h 3762376"/>
                <a:gd name="connsiteX304" fmla="*/ 2757484 w 6270621"/>
                <a:gd name="connsiteY304" fmla="*/ 1106488 h 3762376"/>
                <a:gd name="connsiteX305" fmla="*/ 2767009 w 6270621"/>
                <a:gd name="connsiteY305" fmla="*/ 1127126 h 3762376"/>
                <a:gd name="connsiteX306" fmla="*/ 2762246 w 6270621"/>
                <a:gd name="connsiteY306" fmla="*/ 1174751 h 3762376"/>
                <a:gd name="connsiteX307" fmla="*/ 2735259 w 6270621"/>
                <a:gd name="connsiteY307" fmla="*/ 1201739 h 3762376"/>
                <a:gd name="connsiteX308" fmla="*/ 2698747 w 6270621"/>
                <a:gd name="connsiteY308" fmla="*/ 1206501 h 3762376"/>
                <a:gd name="connsiteX309" fmla="*/ 2678109 w 6270621"/>
                <a:gd name="connsiteY309" fmla="*/ 1195389 h 3762376"/>
                <a:gd name="connsiteX310" fmla="*/ 2703509 w 6270621"/>
                <a:gd name="connsiteY310" fmla="*/ 1158876 h 3762376"/>
                <a:gd name="connsiteX311" fmla="*/ 2687634 w 6270621"/>
                <a:gd name="connsiteY311" fmla="*/ 1138238 h 3762376"/>
                <a:gd name="connsiteX312" fmla="*/ 2698747 w 6270621"/>
                <a:gd name="connsiteY312" fmla="*/ 1127126 h 3762376"/>
                <a:gd name="connsiteX313" fmla="*/ 2719384 w 6270621"/>
                <a:gd name="connsiteY313" fmla="*/ 1138238 h 3762376"/>
                <a:gd name="connsiteX314" fmla="*/ 2719384 w 6270621"/>
                <a:gd name="connsiteY314" fmla="*/ 1116013 h 3762376"/>
                <a:gd name="connsiteX315" fmla="*/ 5365746 w 6270621"/>
                <a:gd name="connsiteY315" fmla="*/ 825500 h 3762376"/>
                <a:gd name="connsiteX316" fmla="*/ 5376859 w 6270621"/>
                <a:gd name="connsiteY316" fmla="*/ 825500 h 3762376"/>
                <a:gd name="connsiteX317" fmla="*/ 5381621 w 6270621"/>
                <a:gd name="connsiteY317" fmla="*/ 841375 h 3762376"/>
                <a:gd name="connsiteX318" fmla="*/ 5403846 w 6270621"/>
                <a:gd name="connsiteY318" fmla="*/ 862013 h 3762376"/>
                <a:gd name="connsiteX319" fmla="*/ 5419721 w 6270621"/>
                <a:gd name="connsiteY319" fmla="*/ 900113 h 3762376"/>
                <a:gd name="connsiteX320" fmla="*/ 5456234 w 6270621"/>
                <a:gd name="connsiteY320" fmla="*/ 957263 h 3762376"/>
                <a:gd name="connsiteX321" fmla="*/ 5483221 w 6270621"/>
                <a:gd name="connsiteY321" fmla="*/ 995363 h 3762376"/>
                <a:gd name="connsiteX322" fmla="*/ 5456234 w 6270621"/>
                <a:gd name="connsiteY322" fmla="*/ 984250 h 3762376"/>
                <a:gd name="connsiteX323" fmla="*/ 5472109 w 6270621"/>
                <a:gd name="connsiteY323" fmla="*/ 1031876 h 3762376"/>
                <a:gd name="connsiteX324" fmla="*/ 5499096 w 6270621"/>
                <a:gd name="connsiteY324" fmla="*/ 1079501 h 3762376"/>
                <a:gd name="connsiteX325" fmla="*/ 5492746 w 6270621"/>
                <a:gd name="connsiteY325" fmla="*/ 1106488 h 3762376"/>
                <a:gd name="connsiteX326" fmla="*/ 5472109 w 6270621"/>
                <a:gd name="connsiteY326" fmla="*/ 1074738 h 3762376"/>
                <a:gd name="connsiteX327" fmla="*/ 5467346 w 6270621"/>
                <a:gd name="connsiteY327" fmla="*/ 1042988 h 3762376"/>
                <a:gd name="connsiteX328" fmla="*/ 5440359 w 6270621"/>
                <a:gd name="connsiteY328" fmla="*/ 1004888 h 3762376"/>
                <a:gd name="connsiteX329" fmla="*/ 5419721 w 6270621"/>
                <a:gd name="connsiteY329" fmla="*/ 973138 h 3762376"/>
                <a:gd name="connsiteX330" fmla="*/ 5419721 w 6270621"/>
                <a:gd name="connsiteY330" fmla="*/ 947738 h 3762376"/>
                <a:gd name="connsiteX331" fmla="*/ 5408609 w 6270621"/>
                <a:gd name="connsiteY331" fmla="*/ 925513 h 3762376"/>
                <a:gd name="connsiteX332" fmla="*/ 5381621 w 6270621"/>
                <a:gd name="connsiteY332" fmla="*/ 884238 h 3762376"/>
                <a:gd name="connsiteX333" fmla="*/ 5376859 w 6270621"/>
                <a:gd name="connsiteY333" fmla="*/ 857250 h 3762376"/>
                <a:gd name="connsiteX334" fmla="*/ 5365746 w 6270621"/>
                <a:gd name="connsiteY334" fmla="*/ 846138 h 3762376"/>
                <a:gd name="connsiteX335" fmla="*/ 3243900 w 6270621"/>
                <a:gd name="connsiteY335" fmla="*/ 783040 h 3762376"/>
                <a:gd name="connsiteX336" fmla="*/ 3217437 w 6270621"/>
                <a:gd name="connsiteY336" fmla="*/ 804204 h 3762376"/>
                <a:gd name="connsiteX337" fmla="*/ 3212145 w 6270621"/>
                <a:gd name="connsiteY337" fmla="*/ 841239 h 3762376"/>
                <a:gd name="connsiteX338" fmla="*/ 3190975 w 6270621"/>
                <a:gd name="connsiteY338" fmla="*/ 867693 h 3762376"/>
                <a:gd name="connsiteX339" fmla="*/ 3153927 w 6270621"/>
                <a:gd name="connsiteY339" fmla="*/ 894147 h 3762376"/>
                <a:gd name="connsiteX340" fmla="*/ 3153927 w 6270621"/>
                <a:gd name="connsiteY340" fmla="*/ 936473 h 3762376"/>
                <a:gd name="connsiteX341" fmla="*/ 3185682 w 6270621"/>
                <a:gd name="connsiteY341" fmla="*/ 957636 h 3762376"/>
                <a:gd name="connsiteX342" fmla="*/ 3190975 w 6270621"/>
                <a:gd name="connsiteY342" fmla="*/ 984090 h 3762376"/>
                <a:gd name="connsiteX343" fmla="*/ 3159220 w 6270621"/>
                <a:gd name="connsiteY343" fmla="*/ 1010543 h 3762376"/>
                <a:gd name="connsiteX344" fmla="*/ 3169805 w 6270621"/>
                <a:gd name="connsiteY344" fmla="*/ 1058160 h 3762376"/>
                <a:gd name="connsiteX345" fmla="*/ 3148635 w 6270621"/>
                <a:gd name="connsiteY345" fmla="*/ 1079323 h 3762376"/>
                <a:gd name="connsiteX346" fmla="*/ 3122173 w 6270621"/>
                <a:gd name="connsiteY346" fmla="*/ 1095196 h 3762376"/>
                <a:gd name="connsiteX347" fmla="*/ 3095710 w 6270621"/>
                <a:gd name="connsiteY347" fmla="*/ 1111068 h 3762376"/>
                <a:gd name="connsiteX348" fmla="*/ 3085125 w 6270621"/>
                <a:gd name="connsiteY348" fmla="*/ 1132231 h 3762376"/>
                <a:gd name="connsiteX349" fmla="*/ 3111587 w 6270621"/>
                <a:gd name="connsiteY349" fmla="*/ 1137522 h 3762376"/>
                <a:gd name="connsiteX350" fmla="*/ 3127465 w 6270621"/>
                <a:gd name="connsiteY350" fmla="*/ 1148103 h 3762376"/>
                <a:gd name="connsiteX351" fmla="*/ 3169805 w 6270621"/>
                <a:gd name="connsiteY351" fmla="*/ 1121649 h 3762376"/>
                <a:gd name="connsiteX352" fmla="*/ 3196267 w 6270621"/>
                <a:gd name="connsiteY352" fmla="*/ 1105777 h 3762376"/>
                <a:gd name="connsiteX353" fmla="*/ 3206852 w 6270621"/>
                <a:gd name="connsiteY353" fmla="*/ 1126940 h 3762376"/>
                <a:gd name="connsiteX354" fmla="*/ 3228022 w 6270621"/>
                <a:gd name="connsiteY354" fmla="*/ 1116359 h 3762376"/>
                <a:gd name="connsiteX355" fmla="*/ 3243900 w 6270621"/>
                <a:gd name="connsiteY355" fmla="*/ 1100486 h 3762376"/>
                <a:gd name="connsiteX356" fmla="*/ 3233315 w 6270621"/>
                <a:gd name="connsiteY356" fmla="*/ 1063451 h 3762376"/>
                <a:gd name="connsiteX357" fmla="*/ 3259777 w 6270621"/>
                <a:gd name="connsiteY357" fmla="*/ 1031706 h 3762376"/>
                <a:gd name="connsiteX358" fmla="*/ 3270362 w 6270621"/>
                <a:gd name="connsiteY358" fmla="*/ 1058160 h 3762376"/>
                <a:gd name="connsiteX359" fmla="*/ 3286240 w 6270621"/>
                <a:gd name="connsiteY359" fmla="*/ 1058160 h 3762376"/>
                <a:gd name="connsiteX360" fmla="*/ 3286240 w 6270621"/>
                <a:gd name="connsiteY360" fmla="*/ 1010543 h 3762376"/>
                <a:gd name="connsiteX361" fmla="*/ 3270362 w 6270621"/>
                <a:gd name="connsiteY361" fmla="*/ 1010543 h 3762376"/>
                <a:gd name="connsiteX362" fmla="*/ 3265070 w 6270621"/>
                <a:gd name="connsiteY362" fmla="*/ 994671 h 3762376"/>
                <a:gd name="connsiteX363" fmla="*/ 3286240 w 6270621"/>
                <a:gd name="connsiteY363" fmla="*/ 978799 h 3762376"/>
                <a:gd name="connsiteX364" fmla="*/ 3328580 w 6270621"/>
                <a:gd name="connsiteY364" fmla="*/ 978799 h 3762376"/>
                <a:gd name="connsiteX365" fmla="*/ 3381504 w 6270621"/>
                <a:gd name="connsiteY365" fmla="*/ 957636 h 3762376"/>
                <a:gd name="connsiteX366" fmla="*/ 3339165 w 6270621"/>
                <a:gd name="connsiteY366" fmla="*/ 936473 h 3762376"/>
                <a:gd name="connsiteX367" fmla="*/ 3307410 w 6270621"/>
                <a:gd name="connsiteY367" fmla="*/ 941764 h 3762376"/>
                <a:gd name="connsiteX368" fmla="*/ 3270362 w 6270621"/>
                <a:gd name="connsiteY368" fmla="*/ 962927 h 3762376"/>
                <a:gd name="connsiteX369" fmla="*/ 3238607 w 6270621"/>
                <a:gd name="connsiteY369" fmla="*/ 952345 h 3762376"/>
                <a:gd name="connsiteX370" fmla="*/ 3233315 w 6270621"/>
                <a:gd name="connsiteY370" fmla="*/ 915310 h 3762376"/>
                <a:gd name="connsiteX371" fmla="*/ 3222730 w 6270621"/>
                <a:gd name="connsiteY371" fmla="*/ 878274 h 3762376"/>
                <a:gd name="connsiteX372" fmla="*/ 3233315 w 6270621"/>
                <a:gd name="connsiteY372" fmla="*/ 862402 h 3762376"/>
                <a:gd name="connsiteX373" fmla="*/ 3270362 w 6270621"/>
                <a:gd name="connsiteY373" fmla="*/ 814785 h 3762376"/>
                <a:gd name="connsiteX374" fmla="*/ 3270362 w 6270621"/>
                <a:gd name="connsiteY374" fmla="*/ 788331 h 3762376"/>
                <a:gd name="connsiteX375" fmla="*/ 3265070 w 6270621"/>
                <a:gd name="connsiteY375" fmla="*/ 783040 h 3762376"/>
                <a:gd name="connsiteX376" fmla="*/ 3243900 w 6270621"/>
                <a:gd name="connsiteY376" fmla="*/ 783040 h 3762376"/>
                <a:gd name="connsiteX377" fmla="*/ 1528761 w 6270621"/>
                <a:gd name="connsiteY377" fmla="*/ 671513 h 3762376"/>
                <a:gd name="connsiteX378" fmla="*/ 1571094 w 6270621"/>
                <a:gd name="connsiteY378" fmla="*/ 703450 h 3762376"/>
                <a:gd name="connsiteX379" fmla="*/ 1571094 w 6270621"/>
                <a:gd name="connsiteY379" fmla="*/ 719418 h 3762376"/>
                <a:gd name="connsiteX380" fmla="*/ 1592261 w 6270621"/>
                <a:gd name="connsiteY380" fmla="*/ 751355 h 3762376"/>
                <a:gd name="connsiteX381" fmla="*/ 1565803 w 6270621"/>
                <a:gd name="connsiteY381" fmla="*/ 756678 h 3762376"/>
                <a:gd name="connsiteX382" fmla="*/ 1549927 w 6270621"/>
                <a:gd name="connsiteY382" fmla="*/ 740710 h 3762376"/>
                <a:gd name="connsiteX383" fmla="*/ 1539344 w 6270621"/>
                <a:gd name="connsiteY383" fmla="*/ 730064 h 3762376"/>
                <a:gd name="connsiteX384" fmla="*/ 1518178 w 6270621"/>
                <a:gd name="connsiteY384" fmla="*/ 751355 h 3762376"/>
                <a:gd name="connsiteX385" fmla="*/ 1497011 w 6270621"/>
                <a:gd name="connsiteY385" fmla="*/ 762001 h 3762376"/>
                <a:gd name="connsiteX386" fmla="*/ 1497011 w 6270621"/>
                <a:gd name="connsiteY386" fmla="*/ 746032 h 3762376"/>
                <a:gd name="connsiteX387" fmla="*/ 1481136 w 6270621"/>
                <a:gd name="connsiteY387" fmla="*/ 735387 h 3762376"/>
                <a:gd name="connsiteX388" fmla="*/ 1528761 w 6270621"/>
                <a:gd name="connsiteY388" fmla="*/ 671513 h 3762376"/>
                <a:gd name="connsiteX389" fmla="*/ 1708147 w 6270621"/>
                <a:gd name="connsiteY389" fmla="*/ 614363 h 3762376"/>
                <a:gd name="connsiteX390" fmla="*/ 1719260 w 6270621"/>
                <a:gd name="connsiteY390" fmla="*/ 623888 h 3762376"/>
                <a:gd name="connsiteX391" fmla="*/ 1708147 w 6270621"/>
                <a:gd name="connsiteY391" fmla="*/ 639763 h 3762376"/>
                <a:gd name="connsiteX392" fmla="*/ 1692272 w 6270621"/>
                <a:gd name="connsiteY392" fmla="*/ 650876 h 3762376"/>
                <a:gd name="connsiteX393" fmla="*/ 1676398 w 6270621"/>
                <a:gd name="connsiteY393" fmla="*/ 646113 h 3762376"/>
                <a:gd name="connsiteX394" fmla="*/ 1682748 w 6270621"/>
                <a:gd name="connsiteY394" fmla="*/ 619125 h 3762376"/>
                <a:gd name="connsiteX395" fmla="*/ 1385886 w 6270621"/>
                <a:gd name="connsiteY395" fmla="*/ 487363 h 3762376"/>
                <a:gd name="connsiteX396" fmla="*/ 1406523 w 6270621"/>
                <a:gd name="connsiteY396" fmla="*/ 508000 h 3762376"/>
                <a:gd name="connsiteX397" fmla="*/ 1406523 w 6270621"/>
                <a:gd name="connsiteY397" fmla="*/ 534988 h 3762376"/>
                <a:gd name="connsiteX398" fmla="*/ 1354137 w 6270621"/>
                <a:gd name="connsiteY398" fmla="*/ 508000 h 3762376"/>
                <a:gd name="connsiteX399" fmla="*/ 1619249 w 6270621"/>
                <a:gd name="connsiteY399" fmla="*/ 385763 h 3762376"/>
                <a:gd name="connsiteX400" fmla="*/ 1645707 w 6270621"/>
                <a:gd name="connsiteY400" fmla="*/ 385763 h 3762376"/>
                <a:gd name="connsiteX401" fmla="*/ 1608666 w 6270621"/>
                <a:gd name="connsiteY401" fmla="*/ 412221 h 3762376"/>
                <a:gd name="connsiteX402" fmla="*/ 1598083 w 6270621"/>
                <a:gd name="connsiteY402" fmla="*/ 459846 h 3762376"/>
                <a:gd name="connsiteX403" fmla="*/ 1619249 w 6270621"/>
                <a:gd name="connsiteY403" fmla="*/ 470430 h 3762376"/>
                <a:gd name="connsiteX404" fmla="*/ 1629832 w 6270621"/>
                <a:gd name="connsiteY404" fmla="*/ 417513 h 3762376"/>
                <a:gd name="connsiteX405" fmla="*/ 1677457 w 6270621"/>
                <a:gd name="connsiteY405" fmla="*/ 401638 h 3762376"/>
                <a:gd name="connsiteX406" fmla="*/ 1693332 w 6270621"/>
                <a:gd name="connsiteY406" fmla="*/ 417513 h 3762376"/>
                <a:gd name="connsiteX407" fmla="*/ 1735665 w 6270621"/>
                <a:gd name="connsiteY407" fmla="*/ 422805 h 3762376"/>
                <a:gd name="connsiteX408" fmla="*/ 1751541 w 6270621"/>
                <a:gd name="connsiteY408" fmla="*/ 470430 h 3762376"/>
                <a:gd name="connsiteX409" fmla="*/ 1783291 w 6270621"/>
                <a:gd name="connsiteY409" fmla="*/ 518055 h 3762376"/>
                <a:gd name="connsiteX410" fmla="*/ 1846791 w 6270621"/>
                <a:gd name="connsiteY410" fmla="*/ 576263 h 3762376"/>
                <a:gd name="connsiteX411" fmla="*/ 1841499 w 6270621"/>
                <a:gd name="connsiteY411" fmla="*/ 618596 h 3762376"/>
                <a:gd name="connsiteX412" fmla="*/ 1852083 w 6270621"/>
                <a:gd name="connsiteY412" fmla="*/ 634471 h 3762376"/>
                <a:gd name="connsiteX413" fmla="*/ 1889121 w 6270621"/>
                <a:gd name="connsiteY413" fmla="*/ 682096 h 3762376"/>
                <a:gd name="connsiteX414" fmla="*/ 1920871 w 6270621"/>
                <a:gd name="connsiteY414" fmla="*/ 687388 h 3762376"/>
                <a:gd name="connsiteX415" fmla="*/ 1894413 w 6270621"/>
                <a:gd name="connsiteY415" fmla="*/ 729721 h 3762376"/>
                <a:gd name="connsiteX416" fmla="*/ 1862666 w 6270621"/>
                <a:gd name="connsiteY416" fmla="*/ 756180 h 3762376"/>
                <a:gd name="connsiteX417" fmla="*/ 1852083 w 6270621"/>
                <a:gd name="connsiteY417" fmla="*/ 729721 h 3762376"/>
                <a:gd name="connsiteX418" fmla="*/ 1825624 w 6270621"/>
                <a:gd name="connsiteY418" fmla="*/ 697971 h 3762376"/>
                <a:gd name="connsiteX419" fmla="*/ 1804457 w 6270621"/>
                <a:gd name="connsiteY419" fmla="*/ 724430 h 3762376"/>
                <a:gd name="connsiteX420" fmla="*/ 1841499 w 6270621"/>
                <a:gd name="connsiteY420" fmla="*/ 772055 h 3762376"/>
                <a:gd name="connsiteX421" fmla="*/ 1841499 w 6270621"/>
                <a:gd name="connsiteY421" fmla="*/ 803805 h 3762376"/>
                <a:gd name="connsiteX422" fmla="*/ 1815041 w 6270621"/>
                <a:gd name="connsiteY422" fmla="*/ 824971 h 3762376"/>
                <a:gd name="connsiteX423" fmla="*/ 1793874 w 6270621"/>
                <a:gd name="connsiteY423" fmla="*/ 793221 h 3762376"/>
                <a:gd name="connsiteX424" fmla="*/ 1772708 w 6270621"/>
                <a:gd name="connsiteY424" fmla="*/ 787930 h 3762376"/>
                <a:gd name="connsiteX425" fmla="*/ 1804457 w 6270621"/>
                <a:gd name="connsiteY425" fmla="*/ 846138 h 3762376"/>
                <a:gd name="connsiteX426" fmla="*/ 1788583 w 6270621"/>
                <a:gd name="connsiteY426" fmla="*/ 846138 h 3762376"/>
                <a:gd name="connsiteX427" fmla="*/ 1730374 w 6270621"/>
                <a:gd name="connsiteY427" fmla="*/ 809096 h 3762376"/>
                <a:gd name="connsiteX428" fmla="*/ 1703916 w 6270621"/>
                <a:gd name="connsiteY428" fmla="*/ 761471 h 3762376"/>
                <a:gd name="connsiteX429" fmla="*/ 1682749 w 6270621"/>
                <a:gd name="connsiteY429" fmla="*/ 735013 h 3762376"/>
                <a:gd name="connsiteX430" fmla="*/ 1640416 w 6270621"/>
                <a:gd name="connsiteY430" fmla="*/ 756180 h 3762376"/>
                <a:gd name="connsiteX431" fmla="*/ 1629832 w 6270621"/>
                <a:gd name="connsiteY431" fmla="*/ 729721 h 3762376"/>
                <a:gd name="connsiteX432" fmla="*/ 1656291 w 6270621"/>
                <a:gd name="connsiteY432" fmla="*/ 713846 h 3762376"/>
                <a:gd name="connsiteX433" fmla="*/ 1698624 w 6270621"/>
                <a:gd name="connsiteY433" fmla="*/ 713846 h 3762376"/>
                <a:gd name="connsiteX434" fmla="*/ 1709208 w 6270621"/>
                <a:gd name="connsiteY434" fmla="*/ 687388 h 3762376"/>
                <a:gd name="connsiteX435" fmla="*/ 1751541 w 6270621"/>
                <a:gd name="connsiteY435" fmla="*/ 660930 h 3762376"/>
                <a:gd name="connsiteX436" fmla="*/ 1751541 w 6270621"/>
                <a:gd name="connsiteY436" fmla="*/ 629180 h 3762376"/>
                <a:gd name="connsiteX437" fmla="*/ 1714499 w 6270621"/>
                <a:gd name="connsiteY437" fmla="*/ 570971 h 3762376"/>
                <a:gd name="connsiteX438" fmla="*/ 1693332 w 6270621"/>
                <a:gd name="connsiteY438" fmla="*/ 533930 h 3762376"/>
                <a:gd name="connsiteX439" fmla="*/ 1645707 w 6270621"/>
                <a:gd name="connsiteY439" fmla="*/ 539221 h 3762376"/>
                <a:gd name="connsiteX440" fmla="*/ 1576916 w 6270621"/>
                <a:gd name="connsiteY440" fmla="*/ 507471 h 3762376"/>
                <a:gd name="connsiteX441" fmla="*/ 1539874 w 6270621"/>
                <a:gd name="connsiteY441" fmla="*/ 496888 h 3762376"/>
                <a:gd name="connsiteX442" fmla="*/ 1539874 w 6270621"/>
                <a:gd name="connsiteY442" fmla="*/ 465138 h 3762376"/>
                <a:gd name="connsiteX443" fmla="*/ 1555749 w 6270621"/>
                <a:gd name="connsiteY443" fmla="*/ 412221 h 3762376"/>
                <a:gd name="connsiteX444" fmla="*/ 1619249 w 6270621"/>
                <a:gd name="connsiteY444" fmla="*/ 385763 h 3762376"/>
                <a:gd name="connsiteX445" fmla="*/ 1517649 w 6270621"/>
                <a:gd name="connsiteY445" fmla="*/ 349250 h 3762376"/>
                <a:gd name="connsiteX446" fmla="*/ 1571623 w 6270621"/>
                <a:gd name="connsiteY446" fmla="*/ 365125 h 3762376"/>
                <a:gd name="connsiteX447" fmla="*/ 1539874 w 6270621"/>
                <a:gd name="connsiteY447" fmla="*/ 396875 h 3762376"/>
                <a:gd name="connsiteX448" fmla="*/ 1501774 w 6270621"/>
                <a:gd name="connsiteY448" fmla="*/ 407988 h 3762376"/>
                <a:gd name="connsiteX449" fmla="*/ 1481136 w 6270621"/>
                <a:gd name="connsiteY449" fmla="*/ 407988 h 3762376"/>
                <a:gd name="connsiteX450" fmla="*/ 1470024 w 6270621"/>
                <a:gd name="connsiteY450" fmla="*/ 385763 h 3762376"/>
                <a:gd name="connsiteX451" fmla="*/ 1476374 w 6270621"/>
                <a:gd name="connsiteY451" fmla="*/ 365125 h 3762376"/>
                <a:gd name="connsiteX452" fmla="*/ 1412345 w 6270621"/>
                <a:gd name="connsiteY452" fmla="*/ 328613 h 3762376"/>
                <a:gd name="connsiteX453" fmla="*/ 1459970 w 6270621"/>
                <a:gd name="connsiteY453" fmla="*/ 328613 h 3762376"/>
                <a:gd name="connsiteX454" fmla="*/ 1465262 w 6270621"/>
                <a:gd name="connsiteY454" fmla="*/ 354807 h 3762376"/>
                <a:gd name="connsiteX455" fmla="*/ 1438803 w 6270621"/>
                <a:gd name="connsiteY455" fmla="*/ 360045 h 3762376"/>
                <a:gd name="connsiteX456" fmla="*/ 1444095 w 6270621"/>
                <a:gd name="connsiteY456" fmla="*/ 401955 h 3762376"/>
                <a:gd name="connsiteX457" fmla="*/ 1428220 w 6270621"/>
                <a:gd name="connsiteY457" fmla="*/ 412433 h 3762376"/>
                <a:gd name="connsiteX458" fmla="*/ 1396470 w 6270621"/>
                <a:gd name="connsiteY458" fmla="*/ 428149 h 3762376"/>
                <a:gd name="connsiteX459" fmla="*/ 1391178 w 6270621"/>
                <a:gd name="connsiteY459" fmla="*/ 401955 h 3762376"/>
                <a:gd name="connsiteX460" fmla="*/ 1370012 w 6270621"/>
                <a:gd name="connsiteY460" fmla="*/ 381000 h 3762376"/>
                <a:gd name="connsiteX461" fmla="*/ 1375303 w 6270621"/>
                <a:gd name="connsiteY461" fmla="*/ 354807 h 3762376"/>
                <a:gd name="connsiteX462" fmla="*/ 1396470 w 6270621"/>
                <a:gd name="connsiteY462" fmla="*/ 354807 h 3762376"/>
                <a:gd name="connsiteX463" fmla="*/ 1412345 w 6270621"/>
                <a:gd name="connsiteY463" fmla="*/ 328613 h 3762376"/>
                <a:gd name="connsiteX464" fmla="*/ 1343023 w 6270621"/>
                <a:gd name="connsiteY464" fmla="*/ 301625 h 3762376"/>
                <a:gd name="connsiteX465" fmla="*/ 1358898 w 6270621"/>
                <a:gd name="connsiteY465" fmla="*/ 312738 h 3762376"/>
                <a:gd name="connsiteX466" fmla="*/ 1338260 w 6270621"/>
                <a:gd name="connsiteY466" fmla="*/ 333375 h 3762376"/>
                <a:gd name="connsiteX467" fmla="*/ 1317623 w 6270621"/>
                <a:gd name="connsiteY467" fmla="*/ 306388 h 3762376"/>
                <a:gd name="connsiteX468" fmla="*/ 1512885 w 6270621"/>
                <a:gd name="connsiteY468" fmla="*/ 285750 h 3762376"/>
                <a:gd name="connsiteX469" fmla="*/ 1533523 w 6270621"/>
                <a:gd name="connsiteY469" fmla="*/ 301625 h 3762376"/>
                <a:gd name="connsiteX470" fmla="*/ 1528364 w 6270621"/>
                <a:gd name="connsiteY470" fmla="*/ 328083 h 3762376"/>
                <a:gd name="connsiteX471" fmla="*/ 1502567 w 6270621"/>
                <a:gd name="connsiteY471" fmla="*/ 317500 h 3762376"/>
                <a:gd name="connsiteX472" fmla="*/ 1492248 w 6270621"/>
                <a:gd name="connsiteY472" fmla="*/ 301625 h 3762376"/>
                <a:gd name="connsiteX473" fmla="*/ 1512885 w 6270621"/>
                <a:gd name="connsiteY473" fmla="*/ 285750 h 3762376"/>
                <a:gd name="connsiteX474" fmla="*/ 1476373 w 6270621"/>
                <a:gd name="connsiteY474" fmla="*/ 227013 h 3762376"/>
                <a:gd name="connsiteX475" fmla="*/ 1492248 w 6270621"/>
                <a:gd name="connsiteY475" fmla="*/ 238126 h 3762376"/>
                <a:gd name="connsiteX476" fmla="*/ 1497011 w 6270621"/>
                <a:gd name="connsiteY476" fmla="*/ 258763 h 3762376"/>
                <a:gd name="connsiteX477" fmla="*/ 1485898 w 6270621"/>
                <a:gd name="connsiteY477" fmla="*/ 285751 h 3762376"/>
                <a:gd name="connsiteX478" fmla="*/ 1470023 w 6270621"/>
                <a:gd name="connsiteY478" fmla="*/ 301626 h 3762376"/>
                <a:gd name="connsiteX479" fmla="*/ 1438273 w 6270621"/>
                <a:gd name="connsiteY479" fmla="*/ 290514 h 3762376"/>
                <a:gd name="connsiteX480" fmla="*/ 1449386 w 6270621"/>
                <a:gd name="connsiteY480" fmla="*/ 265113 h 3762376"/>
                <a:gd name="connsiteX481" fmla="*/ 1449386 w 6270621"/>
                <a:gd name="connsiteY481" fmla="*/ 238126 h 3762376"/>
                <a:gd name="connsiteX482" fmla="*/ 1068915 w 6270621"/>
                <a:gd name="connsiteY482" fmla="*/ 201613 h 3762376"/>
                <a:gd name="connsiteX483" fmla="*/ 1116540 w 6270621"/>
                <a:gd name="connsiteY483" fmla="*/ 201613 h 3762376"/>
                <a:gd name="connsiteX484" fmla="*/ 1132415 w 6270621"/>
                <a:gd name="connsiteY484" fmla="*/ 233250 h 3762376"/>
                <a:gd name="connsiteX485" fmla="*/ 1158874 w 6270621"/>
                <a:gd name="connsiteY485" fmla="*/ 227977 h 3762376"/>
                <a:gd name="connsiteX486" fmla="*/ 1190624 w 6270621"/>
                <a:gd name="connsiteY486" fmla="*/ 259614 h 3762376"/>
                <a:gd name="connsiteX487" fmla="*/ 1201207 w 6270621"/>
                <a:gd name="connsiteY487" fmla="*/ 285978 h 3762376"/>
                <a:gd name="connsiteX488" fmla="*/ 1201207 w 6270621"/>
                <a:gd name="connsiteY488" fmla="*/ 307068 h 3762376"/>
                <a:gd name="connsiteX489" fmla="*/ 1238249 w 6270621"/>
                <a:gd name="connsiteY489" fmla="*/ 312341 h 3762376"/>
                <a:gd name="connsiteX490" fmla="*/ 1259415 w 6270621"/>
                <a:gd name="connsiteY490" fmla="*/ 317614 h 3762376"/>
                <a:gd name="connsiteX491" fmla="*/ 1264707 w 6270621"/>
                <a:gd name="connsiteY491" fmla="*/ 354523 h 3762376"/>
                <a:gd name="connsiteX492" fmla="*/ 1280582 w 6270621"/>
                <a:gd name="connsiteY492" fmla="*/ 365069 h 3762376"/>
                <a:gd name="connsiteX493" fmla="*/ 1280582 w 6270621"/>
                <a:gd name="connsiteY493" fmla="*/ 338705 h 3762376"/>
                <a:gd name="connsiteX494" fmla="*/ 1296457 w 6270621"/>
                <a:gd name="connsiteY494" fmla="*/ 317614 h 3762376"/>
                <a:gd name="connsiteX495" fmla="*/ 1322916 w 6270621"/>
                <a:gd name="connsiteY495" fmla="*/ 343978 h 3762376"/>
                <a:gd name="connsiteX496" fmla="*/ 1322916 w 6270621"/>
                <a:gd name="connsiteY496" fmla="*/ 407251 h 3762376"/>
                <a:gd name="connsiteX497" fmla="*/ 1307040 w 6270621"/>
                <a:gd name="connsiteY497" fmla="*/ 412524 h 3762376"/>
                <a:gd name="connsiteX498" fmla="*/ 1317624 w 6270621"/>
                <a:gd name="connsiteY498" fmla="*/ 428342 h 3762376"/>
                <a:gd name="connsiteX499" fmla="*/ 1349374 w 6270621"/>
                <a:gd name="connsiteY499" fmla="*/ 454706 h 3762376"/>
                <a:gd name="connsiteX500" fmla="*/ 1333499 w 6270621"/>
                <a:gd name="connsiteY500" fmla="*/ 475797 h 3762376"/>
                <a:gd name="connsiteX501" fmla="*/ 1312332 w 6270621"/>
                <a:gd name="connsiteY501" fmla="*/ 496888 h 3762376"/>
                <a:gd name="connsiteX502" fmla="*/ 1275291 w 6270621"/>
                <a:gd name="connsiteY502" fmla="*/ 496888 h 3762376"/>
                <a:gd name="connsiteX503" fmla="*/ 1254124 w 6270621"/>
                <a:gd name="connsiteY503" fmla="*/ 470524 h 3762376"/>
                <a:gd name="connsiteX504" fmla="*/ 1227665 w 6270621"/>
                <a:gd name="connsiteY504" fmla="*/ 481070 h 3762376"/>
                <a:gd name="connsiteX505" fmla="*/ 1174748 w 6270621"/>
                <a:gd name="connsiteY505" fmla="*/ 481070 h 3762376"/>
                <a:gd name="connsiteX506" fmla="*/ 1137707 w 6270621"/>
                <a:gd name="connsiteY506" fmla="*/ 475797 h 3762376"/>
                <a:gd name="connsiteX507" fmla="*/ 1127123 w 6270621"/>
                <a:gd name="connsiteY507" fmla="*/ 459978 h 3762376"/>
                <a:gd name="connsiteX508" fmla="*/ 1132415 w 6270621"/>
                <a:gd name="connsiteY508" fmla="*/ 444160 h 3762376"/>
                <a:gd name="connsiteX509" fmla="*/ 1116540 w 6270621"/>
                <a:gd name="connsiteY509" fmla="*/ 428342 h 3762376"/>
                <a:gd name="connsiteX510" fmla="*/ 1095373 w 6270621"/>
                <a:gd name="connsiteY510" fmla="*/ 417796 h 3762376"/>
                <a:gd name="connsiteX511" fmla="*/ 1095373 w 6270621"/>
                <a:gd name="connsiteY511" fmla="*/ 396705 h 3762376"/>
                <a:gd name="connsiteX512" fmla="*/ 1127123 w 6270621"/>
                <a:gd name="connsiteY512" fmla="*/ 386160 h 3762376"/>
                <a:gd name="connsiteX513" fmla="*/ 1164165 w 6270621"/>
                <a:gd name="connsiteY513" fmla="*/ 407251 h 3762376"/>
                <a:gd name="connsiteX514" fmla="*/ 1174748 w 6270621"/>
                <a:gd name="connsiteY514" fmla="*/ 396705 h 3762376"/>
                <a:gd name="connsiteX515" fmla="*/ 1105957 w 6270621"/>
                <a:gd name="connsiteY515" fmla="*/ 370341 h 3762376"/>
                <a:gd name="connsiteX516" fmla="*/ 1100665 w 6270621"/>
                <a:gd name="connsiteY516" fmla="*/ 359796 h 3762376"/>
                <a:gd name="connsiteX517" fmla="*/ 1132415 w 6270621"/>
                <a:gd name="connsiteY517" fmla="*/ 349250 h 3762376"/>
                <a:gd name="connsiteX518" fmla="*/ 1100665 w 6270621"/>
                <a:gd name="connsiteY518" fmla="*/ 333432 h 3762376"/>
                <a:gd name="connsiteX519" fmla="*/ 1121832 w 6270621"/>
                <a:gd name="connsiteY519" fmla="*/ 317614 h 3762376"/>
                <a:gd name="connsiteX520" fmla="*/ 1132415 w 6270621"/>
                <a:gd name="connsiteY520" fmla="*/ 296523 h 3762376"/>
                <a:gd name="connsiteX521" fmla="*/ 1058332 w 6270621"/>
                <a:gd name="connsiteY521" fmla="*/ 333432 h 3762376"/>
                <a:gd name="connsiteX522" fmla="*/ 1026582 w 6270621"/>
                <a:gd name="connsiteY522" fmla="*/ 333432 h 3762376"/>
                <a:gd name="connsiteX523" fmla="*/ 1015999 w 6270621"/>
                <a:gd name="connsiteY523" fmla="*/ 285978 h 3762376"/>
                <a:gd name="connsiteX524" fmla="*/ 1042457 w 6270621"/>
                <a:gd name="connsiteY524" fmla="*/ 254341 h 3762376"/>
                <a:gd name="connsiteX525" fmla="*/ 1074207 w 6270621"/>
                <a:gd name="connsiteY525" fmla="*/ 249068 h 3762376"/>
                <a:gd name="connsiteX526" fmla="*/ 1068915 w 6270621"/>
                <a:gd name="connsiteY526" fmla="*/ 201613 h 3762376"/>
                <a:gd name="connsiteX527" fmla="*/ 2408234 w 6270621"/>
                <a:gd name="connsiteY527" fmla="*/ 147638 h 3762376"/>
                <a:gd name="connsiteX528" fmla="*/ 2428871 w 6270621"/>
                <a:gd name="connsiteY528" fmla="*/ 158751 h 3762376"/>
                <a:gd name="connsiteX529" fmla="*/ 2528884 w 6270621"/>
                <a:gd name="connsiteY529" fmla="*/ 169863 h 3762376"/>
                <a:gd name="connsiteX530" fmla="*/ 2555872 w 6270621"/>
                <a:gd name="connsiteY530" fmla="*/ 179388 h 3762376"/>
                <a:gd name="connsiteX531" fmla="*/ 2551109 w 6270621"/>
                <a:gd name="connsiteY531" fmla="*/ 201613 h 3762376"/>
                <a:gd name="connsiteX532" fmla="*/ 2571747 w 6270621"/>
                <a:gd name="connsiteY532" fmla="*/ 211138 h 3762376"/>
                <a:gd name="connsiteX533" fmla="*/ 2508247 w 6270621"/>
                <a:gd name="connsiteY533" fmla="*/ 217488 h 3762376"/>
                <a:gd name="connsiteX534" fmla="*/ 2455859 w 6270621"/>
                <a:gd name="connsiteY534" fmla="*/ 206375 h 3762376"/>
                <a:gd name="connsiteX535" fmla="*/ 2460622 w 6270621"/>
                <a:gd name="connsiteY535" fmla="*/ 227013 h 3762376"/>
                <a:gd name="connsiteX536" fmla="*/ 2433634 w 6270621"/>
                <a:gd name="connsiteY536" fmla="*/ 242888 h 3762376"/>
                <a:gd name="connsiteX537" fmla="*/ 2439984 w 6270621"/>
                <a:gd name="connsiteY537" fmla="*/ 254000 h 3762376"/>
                <a:gd name="connsiteX538" fmla="*/ 2449509 w 6270621"/>
                <a:gd name="connsiteY538" fmla="*/ 242888 h 3762376"/>
                <a:gd name="connsiteX539" fmla="*/ 2492372 w 6270621"/>
                <a:gd name="connsiteY539" fmla="*/ 238126 h 3762376"/>
                <a:gd name="connsiteX540" fmla="*/ 2535234 w 6270621"/>
                <a:gd name="connsiteY540" fmla="*/ 227013 h 3762376"/>
                <a:gd name="connsiteX541" fmla="*/ 2528884 w 6270621"/>
                <a:gd name="connsiteY541" fmla="*/ 242888 h 3762376"/>
                <a:gd name="connsiteX542" fmla="*/ 2508247 w 6270621"/>
                <a:gd name="connsiteY542" fmla="*/ 254000 h 3762376"/>
                <a:gd name="connsiteX543" fmla="*/ 2513009 w 6270621"/>
                <a:gd name="connsiteY543" fmla="*/ 265113 h 3762376"/>
                <a:gd name="connsiteX544" fmla="*/ 2528884 w 6270621"/>
                <a:gd name="connsiteY544" fmla="*/ 254000 h 3762376"/>
                <a:gd name="connsiteX545" fmla="*/ 2560634 w 6270621"/>
                <a:gd name="connsiteY545" fmla="*/ 249238 h 3762376"/>
                <a:gd name="connsiteX546" fmla="*/ 2566984 w 6270621"/>
                <a:gd name="connsiteY546" fmla="*/ 227013 h 3762376"/>
                <a:gd name="connsiteX547" fmla="*/ 2576509 w 6270621"/>
                <a:gd name="connsiteY547" fmla="*/ 222251 h 3762376"/>
                <a:gd name="connsiteX548" fmla="*/ 2598734 w 6270621"/>
                <a:gd name="connsiteY548" fmla="*/ 242888 h 3762376"/>
                <a:gd name="connsiteX549" fmla="*/ 2571747 w 6270621"/>
                <a:gd name="connsiteY549" fmla="*/ 258763 h 3762376"/>
                <a:gd name="connsiteX550" fmla="*/ 2555872 w 6270621"/>
                <a:gd name="connsiteY550" fmla="*/ 296863 h 3762376"/>
                <a:gd name="connsiteX551" fmla="*/ 2587622 w 6270621"/>
                <a:gd name="connsiteY551" fmla="*/ 274638 h 3762376"/>
                <a:gd name="connsiteX552" fmla="*/ 2608260 w 6270621"/>
                <a:gd name="connsiteY552" fmla="*/ 249238 h 3762376"/>
                <a:gd name="connsiteX553" fmla="*/ 2646359 w 6270621"/>
                <a:gd name="connsiteY553" fmla="*/ 265113 h 3762376"/>
                <a:gd name="connsiteX554" fmla="*/ 2655884 w 6270621"/>
                <a:gd name="connsiteY554" fmla="*/ 249238 h 3762376"/>
                <a:gd name="connsiteX555" fmla="*/ 2703509 w 6270621"/>
                <a:gd name="connsiteY555" fmla="*/ 249238 h 3762376"/>
                <a:gd name="connsiteX556" fmla="*/ 2719384 w 6270621"/>
                <a:gd name="connsiteY556" fmla="*/ 265113 h 3762376"/>
                <a:gd name="connsiteX557" fmla="*/ 2693984 w 6270621"/>
                <a:gd name="connsiteY557" fmla="*/ 269875 h 3762376"/>
                <a:gd name="connsiteX558" fmla="*/ 2671759 w 6270621"/>
                <a:gd name="connsiteY558" fmla="*/ 285751 h 3762376"/>
                <a:gd name="connsiteX559" fmla="*/ 2635247 w 6270621"/>
                <a:gd name="connsiteY559" fmla="*/ 301625 h 3762376"/>
                <a:gd name="connsiteX560" fmla="*/ 2646359 w 6270621"/>
                <a:gd name="connsiteY560" fmla="*/ 328613 h 3762376"/>
                <a:gd name="connsiteX561" fmla="*/ 2624134 w 6270621"/>
                <a:gd name="connsiteY561" fmla="*/ 328613 h 3762376"/>
                <a:gd name="connsiteX562" fmla="*/ 2603497 w 6270621"/>
                <a:gd name="connsiteY562" fmla="*/ 349250 h 3762376"/>
                <a:gd name="connsiteX563" fmla="*/ 2603497 w 6270621"/>
                <a:gd name="connsiteY563" fmla="*/ 376238 h 3762376"/>
                <a:gd name="connsiteX564" fmla="*/ 2619372 w 6270621"/>
                <a:gd name="connsiteY564" fmla="*/ 385763 h 3762376"/>
                <a:gd name="connsiteX565" fmla="*/ 2619372 w 6270621"/>
                <a:gd name="connsiteY565" fmla="*/ 401638 h 3762376"/>
                <a:gd name="connsiteX566" fmla="*/ 2603497 w 6270621"/>
                <a:gd name="connsiteY566" fmla="*/ 396875 h 3762376"/>
                <a:gd name="connsiteX567" fmla="*/ 2598734 w 6270621"/>
                <a:gd name="connsiteY567" fmla="*/ 407988 h 3762376"/>
                <a:gd name="connsiteX568" fmla="*/ 2614609 w 6270621"/>
                <a:gd name="connsiteY568" fmla="*/ 417513 h 3762376"/>
                <a:gd name="connsiteX569" fmla="*/ 2624134 w 6270621"/>
                <a:gd name="connsiteY569" fmla="*/ 417513 h 3762376"/>
                <a:gd name="connsiteX570" fmla="*/ 2635247 w 6270621"/>
                <a:gd name="connsiteY570" fmla="*/ 412750 h 3762376"/>
                <a:gd name="connsiteX571" fmla="*/ 2635247 w 6270621"/>
                <a:gd name="connsiteY571" fmla="*/ 439738 h 3762376"/>
                <a:gd name="connsiteX572" fmla="*/ 2592384 w 6270621"/>
                <a:gd name="connsiteY572" fmla="*/ 423863 h 3762376"/>
                <a:gd name="connsiteX573" fmla="*/ 2576509 w 6270621"/>
                <a:gd name="connsiteY573" fmla="*/ 433388 h 3762376"/>
                <a:gd name="connsiteX574" fmla="*/ 2603497 w 6270621"/>
                <a:gd name="connsiteY574" fmla="*/ 460375 h 3762376"/>
                <a:gd name="connsiteX575" fmla="*/ 2608260 w 6270621"/>
                <a:gd name="connsiteY575" fmla="*/ 476250 h 3762376"/>
                <a:gd name="connsiteX576" fmla="*/ 2587622 w 6270621"/>
                <a:gd name="connsiteY576" fmla="*/ 503238 h 3762376"/>
                <a:gd name="connsiteX577" fmla="*/ 2566984 w 6270621"/>
                <a:gd name="connsiteY577" fmla="*/ 519113 h 3762376"/>
                <a:gd name="connsiteX578" fmla="*/ 2598734 w 6270621"/>
                <a:gd name="connsiteY578" fmla="*/ 534988 h 3762376"/>
                <a:gd name="connsiteX579" fmla="*/ 2587622 w 6270621"/>
                <a:gd name="connsiteY579" fmla="*/ 550863 h 3762376"/>
                <a:gd name="connsiteX580" fmla="*/ 2551109 w 6270621"/>
                <a:gd name="connsiteY580" fmla="*/ 544513 h 3762376"/>
                <a:gd name="connsiteX581" fmla="*/ 2519359 w 6270621"/>
                <a:gd name="connsiteY581" fmla="*/ 528638 h 3762376"/>
                <a:gd name="connsiteX582" fmla="*/ 2519359 w 6270621"/>
                <a:gd name="connsiteY582" fmla="*/ 555625 h 3762376"/>
                <a:gd name="connsiteX583" fmla="*/ 2487609 w 6270621"/>
                <a:gd name="connsiteY583" fmla="*/ 544513 h 3762376"/>
                <a:gd name="connsiteX584" fmla="*/ 2513009 w 6270621"/>
                <a:gd name="connsiteY584" fmla="*/ 582613 h 3762376"/>
                <a:gd name="connsiteX585" fmla="*/ 2551109 w 6270621"/>
                <a:gd name="connsiteY585" fmla="*/ 598488 h 3762376"/>
                <a:gd name="connsiteX586" fmla="*/ 2560634 w 6270621"/>
                <a:gd name="connsiteY586" fmla="*/ 623888 h 3762376"/>
                <a:gd name="connsiteX587" fmla="*/ 2560634 w 6270621"/>
                <a:gd name="connsiteY587" fmla="*/ 650875 h 3762376"/>
                <a:gd name="connsiteX588" fmla="*/ 2524121 w 6270621"/>
                <a:gd name="connsiteY588" fmla="*/ 639763 h 3762376"/>
                <a:gd name="connsiteX589" fmla="*/ 2513009 w 6270621"/>
                <a:gd name="connsiteY589" fmla="*/ 619125 h 3762376"/>
                <a:gd name="connsiteX590" fmla="*/ 2476497 w 6270621"/>
                <a:gd name="connsiteY590" fmla="*/ 630238 h 3762376"/>
                <a:gd name="connsiteX591" fmla="*/ 2460622 w 6270621"/>
                <a:gd name="connsiteY591" fmla="*/ 646113 h 3762376"/>
                <a:gd name="connsiteX592" fmla="*/ 2497134 w 6270621"/>
                <a:gd name="connsiteY592" fmla="*/ 655638 h 3762376"/>
                <a:gd name="connsiteX593" fmla="*/ 2535234 w 6270621"/>
                <a:gd name="connsiteY593" fmla="*/ 666750 h 3762376"/>
                <a:gd name="connsiteX594" fmla="*/ 2487609 w 6270621"/>
                <a:gd name="connsiteY594" fmla="*/ 703263 h 3762376"/>
                <a:gd name="connsiteX595" fmla="*/ 2433634 w 6270621"/>
                <a:gd name="connsiteY595" fmla="*/ 719138 h 3762376"/>
                <a:gd name="connsiteX596" fmla="*/ 2392359 w 6270621"/>
                <a:gd name="connsiteY596" fmla="*/ 719138 h 3762376"/>
                <a:gd name="connsiteX597" fmla="*/ 2370134 w 6270621"/>
                <a:gd name="connsiteY597" fmla="*/ 741363 h 3762376"/>
                <a:gd name="connsiteX598" fmla="*/ 2333622 w 6270621"/>
                <a:gd name="connsiteY598" fmla="*/ 777875 h 3762376"/>
                <a:gd name="connsiteX599" fmla="*/ 2290759 w 6270621"/>
                <a:gd name="connsiteY599" fmla="*/ 788988 h 3762376"/>
                <a:gd name="connsiteX600" fmla="*/ 2249485 w 6270621"/>
                <a:gd name="connsiteY600" fmla="*/ 798513 h 3762376"/>
                <a:gd name="connsiteX601" fmla="*/ 2233609 w 6270621"/>
                <a:gd name="connsiteY601" fmla="*/ 830263 h 3762376"/>
                <a:gd name="connsiteX602" fmla="*/ 2201859 w 6270621"/>
                <a:gd name="connsiteY602" fmla="*/ 889001 h 3762376"/>
                <a:gd name="connsiteX603" fmla="*/ 2163759 w 6270621"/>
                <a:gd name="connsiteY603" fmla="*/ 941388 h 3762376"/>
                <a:gd name="connsiteX604" fmla="*/ 2163759 w 6270621"/>
                <a:gd name="connsiteY604" fmla="*/ 957263 h 3762376"/>
                <a:gd name="connsiteX605" fmla="*/ 2138359 w 6270621"/>
                <a:gd name="connsiteY605" fmla="*/ 947738 h 3762376"/>
                <a:gd name="connsiteX606" fmla="*/ 2122485 w 6270621"/>
                <a:gd name="connsiteY606" fmla="*/ 925513 h 3762376"/>
                <a:gd name="connsiteX607" fmla="*/ 2095497 w 6270621"/>
                <a:gd name="connsiteY607" fmla="*/ 925513 h 3762376"/>
                <a:gd name="connsiteX608" fmla="*/ 2063747 w 6270621"/>
                <a:gd name="connsiteY608" fmla="*/ 884238 h 3762376"/>
                <a:gd name="connsiteX609" fmla="*/ 2052634 w 6270621"/>
                <a:gd name="connsiteY609" fmla="*/ 841376 h 3762376"/>
                <a:gd name="connsiteX610" fmla="*/ 2047872 w 6270621"/>
                <a:gd name="connsiteY610" fmla="*/ 782638 h 3762376"/>
                <a:gd name="connsiteX611" fmla="*/ 2047872 w 6270621"/>
                <a:gd name="connsiteY611" fmla="*/ 735013 h 3762376"/>
                <a:gd name="connsiteX612" fmla="*/ 2063747 w 6270621"/>
                <a:gd name="connsiteY612" fmla="*/ 687388 h 3762376"/>
                <a:gd name="connsiteX613" fmla="*/ 2090734 w 6270621"/>
                <a:gd name="connsiteY613" fmla="*/ 655638 h 3762376"/>
                <a:gd name="connsiteX614" fmla="*/ 2111372 w 6270621"/>
                <a:gd name="connsiteY614" fmla="*/ 630238 h 3762376"/>
                <a:gd name="connsiteX615" fmla="*/ 2100259 w 6270621"/>
                <a:gd name="connsiteY615" fmla="*/ 592138 h 3762376"/>
                <a:gd name="connsiteX616" fmla="*/ 2095497 w 6270621"/>
                <a:gd name="connsiteY616" fmla="*/ 566738 h 3762376"/>
                <a:gd name="connsiteX617" fmla="*/ 2079622 w 6270621"/>
                <a:gd name="connsiteY617" fmla="*/ 544513 h 3762376"/>
                <a:gd name="connsiteX618" fmla="*/ 2068509 w 6270621"/>
                <a:gd name="connsiteY618" fmla="*/ 566738 h 3762376"/>
                <a:gd name="connsiteX619" fmla="*/ 2052634 w 6270621"/>
                <a:gd name="connsiteY619" fmla="*/ 566738 h 3762376"/>
                <a:gd name="connsiteX620" fmla="*/ 2058984 w 6270621"/>
                <a:gd name="connsiteY620" fmla="*/ 539750 h 3762376"/>
                <a:gd name="connsiteX621" fmla="*/ 2068509 w 6270621"/>
                <a:gd name="connsiteY621" fmla="*/ 523875 h 3762376"/>
                <a:gd name="connsiteX622" fmla="*/ 2068509 w 6270621"/>
                <a:gd name="connsiteY622" fmla="*/ 496888 h 3762376"/>
                <a:gd name="connsiteX623" fmla="*/ 2058984 w 6270621"/>
                <a:gd name="connsiteY623" fmla="*/ 455613 h 3762376"/>
                <a:gd name="connsiteX624" fmla="*/ 2043109 w 6270621"/>
                <a:gd name="connsiteY624" fmla="*/ 444500 h 3762376"/>
                <a:gd name="connsiteX625" fmla="*/ 2036759 w 6270621"/>
                <a:gd name="connsiteY625" fmla="*/ 401638 h 3762376"/>
                <a:gd name="connsiteX626" fmla="*/ 2005009 w 6270621"/>
                <a:gd name="connsiteY626" fmla="*/ 381000 h 3762376"/>
                <a:gd name="connsiteX627" fmla="*/ 1979609 w 6270621"/>
                <a:gd name="connsiteY627" fmla="*/ 365125 h 3762376"/>
                <a:gd name="connsiteX628" fmla="*/ 1952622 w 6270621"/>
                <a:gd name="connsiteY628" fmla="*/ 376238 h 3762376"/>
                <a:gd name="connsiteX629" fmla="*/ 1925634 w 6270621"/>
                <a:gd name="connsiteY629" fmla="*/ 376238 h 3762376"/>
                <a:gd name="connsiteX630" fmla="*/ 1916109 w 6270621"/>
                <a:gd name="connsiteY630" fmla="*/ 354013 h 3762376"/>
                <a:gd name="connsiteX631" fmla="*/ 1900234 w 6270621"/>
                <a:gd name="connsiteY631" fmla="*/ 349250 h 3762376"/>
                <a:gd name="connsiteX632" fmla="*/ 1904997 w 6270621"/>
                <a:gd name="connsiteY632" fmla="*/ 333376 h 3762376"/>
                <a:gd name="connsiteX633" fmla="*/ 1936747 w 6270621"/>
                <a:gd name="connsiteY633" fmla="*/ 333376 h 3762376"/>
                <a:gd name="connsiteX634" fmla="*/ 1941509 w 6270621"/>
                <a:gd name="connsiteY634" fmla="*/ 328613 h 3762376"/>
                <a:gd name="connsiteX635" fmla="*/ 1920872 w 6270621"/>
                <a:gd name="connsiteY635" fmla="*/ 328613 h 3762376"/>
                <a:gd name="connsiteX636" fmla="*/ 1900234 w 6270621"/>
                <a:gd name="connsiteY636" fmla="*/ 317501 h 3762376"/>
                <a:gd name="connsiteX637" fmla="*/ 1884361 w 6270621"/>
                <a:gd name="connsiteY637" fmla="*/ 301625 h 3762376"/>
                <a:gd name="connsiteX638" fmla="*/ 1916109 w 6270621"/>
                <a:gd name="connsiteY638" fmla="*/ 306388 h 3762376"/>
                <a:gd name="connsiteX639" fmla="*/ 1936747 w 6270621"/>
                <a:gd name="connsiteY639" fmla="*/ 301625 h 3762376"/>
                <a:gd name="connsiteX640" fmla="*/ 1968497 w 6270621"/>
                <a:gd name="connsiteY640" fmla="*/ 301625 h 3762376"/>
                <a:gd name="connsiteX641" fmla="*/ 1952622 w 6270621"/>
                <a:gd name="connsiteY641" fmla="*/ 290513 h 3762376"/>
                <a:gd name="connsiteX642" fmla="*/ 1920872 w 6270621"/>
                <a:gd name="connsiteY642" fmla="*/ 290513 h 3762376"/>
                <a:gd name="connsiteX643" fmla="*/ 1900234 w 6270621"/>
                <a:gd name="connsiteY643" fmla="*/ 274638 h 3762376"/>
                <a:gd name="connsiteX644" fmla="*/ 1889122 w 6270621"/>
                <a:gd name="connsiteY644" fmla="*/ 254000 h 3762376"/>
                <a:gd name="connsiteX645" fmla="*/ 1920872 w 6270621"/>
                <a:gd name="connsiteY645" fmla="*/ 249238 h 3762376"/>
                <a:gd name="connsiteX646" fmla="*/ 1973259 w 6270621"/>
                <a:gd name="connsiteY646" fmla="*/ 242888 h 3762376"/>
                <a:gd name="connsiteX647" fmla="*/ 2016122 w 6270621"/>
                <a:gd name="connsiteY647" fmla="*/ 227013 h 3762376"/>
                <a:gd name="connsiteX648" fmla="*/ 1979609 w 6270621"/>
                <a:gd name="connsiteY648" fmla="*/ 222251 h 3762376"/>
                <a:gd name="connsiteX649" fmla="*/ 1973259 w 6270621"/>
                <a:gd name="connsiteY649" fmla="*/ 206375 h 3762376"/>
                <a:gd name="connsiteX650" fmla="*/ 2000247 w 6270621"/>
                <a:gd name="connsiteY650" fmla="*/ 195263 h 3762376"/>
                <a:gd name="connsiteX651" fmla="*/ 2020884 w 6270621"/>
                <a:gd name="connsiteY651" fmla="*/ 195263 h 3762376"/>
                <a:gd name="connsiteX652" fmla="*/ 2047872 w 6270621"/>
                <a:gd name="connsiteY652" fmla="*/ 195263 h 3762376"/>
                <a:gd name="connsiteX653" fmla="*/ 2058984 w 6270621"/>
                <a:gd name="connsiteY653" fmla="*/ 174626 h 3762376"/>
                <a:gd name="connsiteX654" fmla="*/ 2090734 w 6270621"/>
                <a:gd name="connsiteY654" fmla="*/ 163513 h 3762376"/>
                <a:gd name="connsiteX655" fmla="*/ 2154234 w 6270621"/>
                <a:gd name="connsiteY655" fmla="*/ 169863 h 3762376"/>
                <a:gd name="connsiteX656" fmla="*/ 2163759 w 6270621"/>
                <a:gd name="connsiteY656" fmla="*/ 201613 h 3762376"/>
                <a:gd name="connsiteX657" fmla="*/ 2185985 w 6270621"/>
                <a:gd name="connsiteY657" fmla="*/ 190501 h 3762376"/>
                <a:gd name="connsiteX658" fmla="*/ 2217734 w 6270621"/>
                <a:gd name="connsiteY658" fmla="*/ 201613 h 3762376"/>
                <a:gd name="connsiteX659" fmla="*/ 2206622 w 6270621"/>
                <a:gd name="connsiteY659" fmla="*/ 174626 h 3762376"/>
                <a:gd name="connsiteX660" fmla="*/ 2222496 w 6270621"/>
                <a:gd name="connsiteY660" fmla="*/ 169863 h 3762376"/>
                <a:gd name="connsiteX661" fmla="*/ 2238371 w 6270621"/>
                <a:gd name="connsiteY661" fmla="*/ 185738 h 3762376"/>
                <a:gd name="connsiteX662" fmla="*/ 2259009 w 6270621"/>
                <a:gd name="connsiteY662" fmla="*/ 185738 h 3762376"/>
                <a:gd name="connsiteX663" fmla="*/ 2274884 w 6270621"/>
                <a:gd name="connsiteY663" fmla="*/ 206375 h 3762376"/>
                <a:gd name="connsiteX664" fmla="*/ 2290759 w 6270621"/>
                <a:gd name="connsiteY664" fmla="*/ 211138 h 3762376"/>
                <a:gd name="connsiteX665" fmla="*/ 2290759 w 6270621"/>
                <a:gd name="connsiteY665" fmla="*/ 195263 h 3762376"/>
                <a:gd name="connsiteX666" fmla="*/ 2317747 w 6270621"/>
                <a:gd name="connsiteY666" fmla="*/ 190501 h 3762376"/>
                <a:gd name="connsiteX667" fmla="*/ 2312984 w 6270621"/>
                <a:gd name="connsiteY667" fmla="*/ 185738 h 3762376"/>
                <a:gd name="connsiteX668" fmla="*/ 2285996 w 6270621"/>
                <a:gd name="connsiteY668" fmla="*/ 174626 h 3762376"/>
                <a:gd name="connsiteX669" fmla="*/ 2301872 w 6270621"/>
                <a:gd name="connsiteY669" fmla="*/ 158751 h 3762376"/>
                <a:gd name="connsiteX670" fmla="*/ 2328859 w 6270621"/>
                <a:gd name="connsiteY670" fmla="*/ 153988 h 3762376"/>
                <a:gd name="connsiteX671" fmla="*/ 2328859 w 6270621"/>
                <a:gd name="connsiteY671" fmla="*/ 169863 h 3762376"/>
                <a:gd name="connsiteX672" fmla="*/ 2376484 w 6270621"/>
                <a:gd name="connsiteY672" fmla="*/ 179388 h 3762376"/>
                <a:gd name="connsiteX673" fmla="*/ 2365372 w 6270621"/>
                <a:gd name="connsiteY673" fmla="*/ 163513 h 3762376"/>
                <a:gd name="connsiteX674" fmla="*/ 2376484 w 6270621"/>
                <a:gd name="connsiteY674" fmla="*/ 158751 h 3762376"/>
                <a:gd name="connsiteX675" fmla="*/ 2397122 w 6270621"/>
                <a:gd name="connsiteY675" fmla="*/ 158751 h 3762376"/>
                <a:gd name="connsiteX676" fmla="*/ 1544780 w 6270621"/>
                <a:gd name="connsiteY676" fmla="*/ 142875 h 3762376"/>
                <a:gd name="connsiteX677" fmla="*/ 1571479 w 6270621"/>
                <a:gd name="connsiteY677" fmla="*/ 158750 h 3762376"/>
                <a:gd name="connsiteX678" fmla="*/ 1582158 w 6270621"/>
                <a:gd name="connsiteY678" fmla="*/ 179917 h 3762376"/>
                <a:gd name="connsiteX679" fmla="*/ 1544780 w 6270621"/>
                <a:gd name="connsiteY679" fmla="*/ 190500 h 3762376"/>
                <a:gd name="connsiteX680" fmla="*/ 1528761 w 6270621"/>
                <a:gd name="connsiteY680" fmla="*/ 174625 h 3762376"/>
                <a:gd name="connsiteX681" fmla="*/ 1544780 w 6270621"/>
                <a:gd name="connsiteY681" fmla="*/ 169333 h 3762376"/>
                <a:gd name="connsiteX682" fmla="*/ 1534101 w 6270621"/>
                <a:gd name="connsiteY682" fmla="*/ 153459 h 3762376"/>
                <a:gd name="connsiteX683" fmla="*/ 465552 w 6270621"/>
                <a:gd name="connsiteY683" fmla="*/ 138113 h 3762376"/>
                <a:gd name="connsiteX684" fmla="*/ 534327 w 6270621"/>
                <a:gd name="connsiteY684" fmla="*/ 159280 h 3762376"/>
                <a:gd name="connsiteX685" fmla="*/ 613683 w 6270621"/>
                <a:gd name="connsiteY685" fmla="*/ 201613 h 3762376"/>
                <a:gd name="connsiteX686" fmla="*/ 708909 w 6270621"/>
                <a:gd name="connsiteY686" fmla="*/ 275697 h 3762376"/>
                <a:gd name="connsiteX687" fmla="*/ 798846 w 6270621"/>
                <a:gd name="connsiteY687" fmla="*/ 355071 h 3762376"/>
                <a:gd name="connsiteX688" fmla="*/ 825298 w 6270621"/>
                <a:gd name="connsiteY688" fmla="*/ 328613 h 3762376"/>
                <a:gd name="connsiteX689" fmla="*/ 894073 w 6270621"/>
                <a:gd name="connsiteY689" fmla="*/ 323321 h 3762376"/>
                <a:gd name="connsiteX690" fmla="*/ 957557 w 6270621"/>
                <a:gd name="connsiteY690" fmla="*/ 370946 h 3762376"/>
                <a:gd name="connsiteX691" fmla="*/ 1015751 w 6270621"/>
                <a:gd name="connsiteY691" fmla="*/ 381530 h 3762376"/>
                <a:gd name="connsiteX692" fmla="*/ 1073945 w 6270621"/>
                <a:gd name="connsiteY692" fmla="*/ 434446 h 3762376"/>
                <a:gd name="connsiteX693" fmla="*/ 1100397 w 6270621"/>
                <a:gd name="connsiteY693" fmla="*/ 450321 h 3762376"/>
                <a:gd name="connsiteX694" fmla="*/ 1105687 w 6270621"/>
                <a:gd name="connsiteY694" fmla="*/ 476780 h 3762376"/>
                <a:gd name="connsiteX695" fmla="*/ 1089816 w 6270621"/>
                <a:gd name="connsiteY695" fmla="*/ 492655 h 3762376"/>
                <a:gd name="connsiteX696" fmla="*/ 1158591 w 6270621"/>
                <a:gd name="connsiteY696" fmla="*/ 503238 h 3762376"/>
                <a:gd name="connsiteX697" fmla="*/ 1174462 w 6270621"/>
                <a:gd name="connsiteY697" fmla="*/ 519113 h 3762376"/>
                <a:gd name="connsiteX698" fmla="*/ 1195623 w 6270621"/>
                <a:gd name="connsiteY698" fmla="*/ 545571 h 3762376"/>
                <a:gd name="connsiteX699" fmla="*/ 1211495 w 6270621"/>
                <a:gd name="connsiteY699" fmla="*/ 497946 h 3762376"/>
                <a:gd name="connsiteX700" fmla="*/ 1243237 w 6270621"/>
                <a:gd name="connsiteY700" fmla="*/ 492655 h 3762376"/>
                <a:gd name="connsiteX701" fmla="*/ 1253818 w 6270621"/>
                <a:gd name="connsiteY701" fmla="*/ 519113 h 3762376"/>
                <a:gd name="connsiteX702" fmla="*/ 1301431 w 6270621"/>
                <a:gd name="connsiteY702" fmla="*/ 545571 h 3762376"/>
                <a:gd name="connsiteX703" fmla="*/ 1349045 w 6270621"/>
                <a:gd name="connsiteY703" fmla="*/ 556155 h 3762376"/>
                <a:gd name="connsiteX704" fmla="*/ 1349045 w 6270621"/>
                <a:gd name="connsiteY704" fmla="*/ 540280 h 3762376"/>
                <a:gd name="connsiteX705" fmla="*/ 1375497 w 6270621"/>
                <a:gd name="connsiteY705" fmla="*/ 540280 h 3762376"/>
                <a:gd name="connsiteX706" fmla="*/ 1386078 w 6270621"/>
                <a:gd name="connsiteY706" fmla="*/ 582613 h 3762376"/>
                <a:gd name="connsiteX707" fmla="*/ 1433690 w 6270621"/>
                <a:gd name="connsiteY707" fmla="*/ 550863 h 3762376"/>
                <a:gd name="connsiteX708" fmla="*/ 1438981 w 6270621"/>
                <a:gd name="connsiteY708" fmla="*/ 513821 h 3762376"/>
                <a:gd name="connsiteX709" fmla="*/ 1423110 w 6270621"/>
                <a:gd name="connsiteY709" fmla="*/ 487363 h 3762376"/>
                <a:gd name="connsiteX710" fmla="*/ 1428400 w 6270621"/>
                <a:gd name="connsiteY710" fmla="*/ 445030 h 3762376"/>
                <a:gd name="connsiteX711" fmla="*/ 1470723 w 6270621"/>
                <a:gd name="connsiteY711" fmla="*/ 418571 h 3762376"/>
                <a:gd name="connsiteX712" fmla="*/ 1486594 w 6270621"/>
                <a:gd name="connsiteY712" fmla="*/ 450321 h 3762376"/>
                <a:gd name="connsiteX713" fmla="*/ 1486594 w 6270621"/>
                <a:gd name="connsiteY713" fmla="*/ 508530 h 3762376"/>
                <a:gd name="connsiteX714" fmla="*/ 1491885 w 6270621"/>
                <a:gd name="connsiteY714" fmla="*/ 572030 h 3762376"/>
                <a:gd name="connsiteX715" fmla="*/ 1513046 w 6270621"/>
                <a:gd name="connsiteY715" fmla="*/ 540280 h 3762376"/>
                <a:gd name="connsiteX716" fmla="*/ 1528917 w 6270621"/>
                <a:gd name="connsiteY716" fmla="*/ 550863 h 3762376"/>
                <a:gd name="connsiteX717" fmla="*/ 1513046 w 6270621"/>
                <a:gd name="connsiteY717" fmla="*/ 582613 h 3762376"/>
                <a:gd name="connsiteX718" fmla="*/ 1518337 w 6270621"/>
                <a:gd name="connsiteY718" fmla="*/ 614363 h 3762376"/>
                <a:gd name="connsiteX719" fmla="*/ 1565950 w 6270621"/>
                <a:gd name="connsiteY719" fmla="*/ 582613 h 3762376"/>
                <a:gd name="connsiteX720" fmla="*/ 1581821 w 6270621"/>
                <a:gd name="connsiteY720" fmla="*/ 540280 h 3762376"/>
                <a:gd name="connsiteX721" fmla="*/ 1629435 w 6270621"/>
                <a:gd name="connsiteY721" fmla="*/ 561446 h 3762376"/>
                <a:gd name="connsiteX722" fmla="*/ 1602983 w 6270621"/>
                <a:gd name="connsiteY722" fmla="*/ 646113 h 3762376"/>
                <a:gd name="connsiteX723" fmla="*/ 1550079 w 6270621"/>
                <a:gd name="connsiteY723" fmla="*/ 656696 h 3762376"/>
                <a:gd name="connsiteX724" fmla="*/ 1518337 w 6270621"/>
                <a:gd name="connsiteY724" fmla="*/ 646113 h 3762376"/>
                <a:gd name="connsiteX725" fmla="*/ 1470723 w 6270621"/>
                <a:gd name="connsiteY725" fmla="*/ 709613 h 3762376"/>
                <a:gd name="connsiteX726" fmla="*/ 1359625 w 6270621"/>
                <a:gd name="connsiteY726" fmla="*/ 746655 h 3762376"/>
                <a:gd name="connsiteX727" fmla="*/ 1296141 w 6270621"/>
                <a:gd name="connsiteY727" fmla="*/ 826030 h 3762376"/>
                <a:gd name="connsiteX728" fmla="*/ 1301431 w 6270621"/>
                <a:gd name="connsiteY728" fmla="*/ 937155 h 3762376"/>
                <a:gd name="connsiteX729" fmla="*/ 1333173 w 6270621"/>
                <a:gd name="connsiteY729" fmla="*/ 931863 h 3762376"/>
                <a:gd name="connsiteX730" fmla="*/ 1407239 w 6270621"/>
                <a:gd name="connsiteY730" fmla="*/ 995363 h 3762376"/>
                <a:gd name="connsiteX731" fmla="*/ 1454852 w 6270621"/>
                <a:gd name="connsiteY731" fmla="*/ 1011238 h 3762376"/>
                <a:gd name="connsiteX732" fmla="*/ 1433690 w 6270621"/>
                <a:gd name="connsiteY732" fmla="*/ 1095905 h 3762376"/>
                <a:gd name="connsiteX733" fmla="*/ 1465433 w 6270621"/>
                <a:gd name="connsiteY733" fmla="*/ 1122363 h 3762376"/>
                <a:gd name="connsiteX734" fmla="*/ 1497175 w 6270621"/>
                <a:gd name="connsiteY734" fmla="*/ 1085321 h 3762376"/>
                <a:gd name="connsiteX735" fmla="*/ 1502465 w 6270621"/>
                <a:gd name="connsiteY735" fmla="*/ 1037696 h 3762376"/>
                <a:gd name="connsiteX736" fmla="*/ 1560659 w 6270621"/>
                <a:gd name="connsiteY736" fmla="*/ 1021821 h 3762376"/>
                <a:gd name="connsiteX737" fmla="*/ 1576531 w 6270621"/>
                <a:gd name="connsiteY737" fmla="*/ 958321 h 3762376"/>
                <a:gd name="connsiteX738" fmla="*/ 1560659 w 6270621"/>
                <a:gd name="connsiteY738" fmla="*/ 915988 h 3762376"/>
                <a:gd name="connsiteX739" fmla="*/ 1587112 w 6270621"/>
                <a:gd name="connsiteY739" fmla="*/ 878946 h 3762376"/>
                <a:gd name="connsiteX740" fmla="*/ 1608273 w 6270621"/>
                <a:gd name="connsiteY740" fmla="*/ 799571 h 3762376"/>
                <a:gd name="connsiteX741" fmla="*/ 1671758 w 6270621"/>
                <a:gd name="connsiteY741" fmla="*/ 810155 h 3762376"/>
                <a:gd name="connsiteX742" fmla="*/ 1719371 w 6270621"/>
                <a:gd name="connsiteY742" fmla="*/ 868363 h 3762376"/>
                <a:gd name="connsiteX743" fmla="*/ 1719371 w 6270621"/>
                <a:gd name="connsiteY743" fmla="*/ 942446 h 3762376"/>
                <a:gd name="connsiteX744" fmla="*/ 1761694 w 6270621"/>
                <a:gd name="connsiteY744" fmla="*/ 958321 h 3762376"/>
                <a:gd name="connsiteX745" fmla="*/ 1809307 w 6270621"/>
                <a:gd name="connsiteY745" fmla="*/ 905405 h 3762376"/>
                <a:gd name="connsiteX746" fmla="*/ 1825178 w 6270621"/>
                <a:gd name="connsiteY746" fmla="*/ 937155 h 3762376"/>
                <a:gd name="connsiteX747" fmla="*/ 1841050 w 6270621"/>
                <a:gd name="connsiteY747" fmla="*/ 1027113 h 3762376"/>
                <a:gd name="connsiteX748" fmla="*/ 1899241 w 6270621"/>
                <a:gd name="connsiteY748" fmla="*/ 1090613 h 3762376"/>
                <a:gd name="connsiteX749" fmla="*/ 1899241 w 6270621"/>
                <a:gd name="connsiteY749" fmla="*/ 1175280 h 3762376"/>
                <a:gd name="connsiteX750" fmla="*/ 1867502 w 6270621"/>
                <a:gd name="connsiteY750" fmla="*/ 1233488 h 3762376"/>
                <a:gd name="connsiteX751" fmla="*/ 1915112 w 6270621"/>
                <a:gd name="connsiteY751" fmla="*/ 1233488 h 3762376"/>
                <a:gd name="connsiteX752" fmla="*/ 1920402 w 6270621"/>
                <a:gd name="connsiteY752" fmla="*/ 1291697 h 3762376"/>
                <a:gd name="connsiteX753" fmla="*/ 1835760 w 6270621"/>
                <a:gd name="connsiteY753" fmla="*/ 1259947 h 3762376"/>
                <a:gd name="connsiteX754" fmla="*/ 1825178 w 6270621"/>
                <a:gd name="connsiteY754" fmla="*/ 1238780 h 3762376"/>
                <a:gd name="connsiteX755" fmla="*/ 1872792 w 6270621"/>
                <a:gd name="connsiteY755" fmla="*/ 1180571 h 3762376"/>
                <a:gd name="connsiteX756" fmla="*/ 1793436 w 6270621"/>
                <a:gd name="connsiteY756" fmla="*/ 1180571 h 3762376"/>
                <a:gd name="connsiteX757" fmla="*/ 1698210 w 6270621"/>
                <a:gd name="connsiteY757" fmla="*/ 1185863 h 3762376"/>
                <a:gd name="connsiteX758" fmla="*/ 1714081 w 6270621"/>
                <a:gd name="connsiteY758" fmla="*/ 1217613 h 3762376"/>
                <a:gd name="connsiteX759" fmla="*/ 1714081 w 6270621"/>
                <a:gd name="connsiteY759" fmla="*/ 1270530 h 3762376"/>
                <a:gd name="connsiteX760" fmla="*/ 1766984 w 6270621"/>
                <a:gd name="connsiteY760" fmla="*/ 1312863 h 3762376"/>
                <a:gd name="connsiteX761" fmla="*/ 1729952 w 6270621"/>
                <a:gd name="connsiteY761" fmla="*/ 1349905 h 3762376"/>
                <a:gd name="connsiteX762" fmla="*/ 1666467 w 6270621"/>
                <a:gd name="connsiteY762" fmla="*/ 1365780 h 3762376"/>
                <a:gd name="connsiteX763" fmla="*/ 1645306 w 6270621"/>
                <a:gd name="connsiteY763" fmla="*/ 1334030 h 3762376"/>
                <a:gd name="connsiteX764" fmla="*/ 1581821 w 6270621"/>
                <a:gd name="connsiteY764" fmla="*/ 1360488 h 3762376"/>
                <a:gd name="connsiteX765" fmla="*/ 1565950 w 6270621"/>
                <a:gd name="connsiteY765" fmla="*/ 1402822 h 3762376"/>
                <a:gd name="connsiteX766" fmla="*/ 1523627 w 6270621"/>
                <a:gd name="connsiteY766" fmla="*/ 1418697 h 3762376"/>
                <a:gd name="connsiteX767" fmla="*/ 1470723 w 6270621"/>
                <a:gd name="connsiteY767" fmla="*/ 1461030 h 3762376"/>
                <a:gd name="connsiteX768" fmla="*/ 1417820 w 6270621"/>
                <a:gd name="connsiteY768" fmla="*/ 1561572 h 3762376"/>
                <a:gd name="connsiteX769" fmla="*/ 1359625 w 6270621"/>
                <a:gd name="connsiteY769" fmla="*/ 1582738 h 3762376"/>
                <a:gd name="connsiteX770" fmla="*/ 1280270 w 6270621"/>
                <a:gd name="connsiteY770" fmla="*/ 1677988 h 3762376"/>
                <a:gd name="connsiteX771" fmla="*/ 1301431 w 6270621"/>
                <a:gd name="connsiteY771" fmla="*/ 1762655 h 3762376"/>
                <a:gd name="connsiteX772" fmla="*/ 1274979 w 6270621"/>
                <a:gd name="connsiteY772" fmla="*/ 1804988 h 3762376"/>
                <a:gd name="connsiteX773" fmla="*/ 1264399 w 6270621"/>
                <a:gd name="connsiteY773" fmla="*/ 1783822 h 3762376"/>
                <a:gd name="connsiteX774" fmla="*/ 1248528 w 6270621"/>
                <a:gd name="connsiteY774" fmla="*/ 1746780 h 3762376"/>
                <a:gd name="connsiteX775" fmla="*/ 1253818 w 6270621"/>
                <a:gd name="connsiteY775" fmla="*/ 1709738 h 3762376"/>
                <a:gd name="connsiteX776" fmla="*/ 1232657 w 6270621"/>
                <a:gd name="connsiteY776" fmla="*/ 1672697 h 3762376"/>
                <a:gd name="connsiteX777" fmla="*/ 1200914 w 6270621"/>
                <a:gd name="connsiteY777" fmla="*/ 1677988 h 3762376"/>
                <a:gd name="connsiteX778" fmla="*/ 1163882 w 6270621"/>
                <a:gd name="connsiteY778" fmla="*/ 1667405 h 3762376"/>
                <a:gd name="connsiteX779" fmla="*/ 1121558 w 6270621"/>
                <a:gd name="connsiteY779" fmla="*/ 1662113 h 3762376"/>
                <a:gd name="connsiteX780" fmla="*/ 1095106 w 6270621"/>
                <a:gd name="connsiteY780" fmla="*/ 1693863 h 3762376"/>
                <a:gd name="connsiteX781" fmla="*/ 1058074 w 6270621"/>
                <a:gd name="connsiteY781" fmla="*/ 1667405 h 3762376"/>
                <a:gd name="connsiteX782" fmla="*/ 1005170 w 6270621"/>
                <a:gd name="connsiteY782" fmla="*/ 1677988 h 3762376"/>
                <a:gd name="connsiteX783" fmla="*/ 968138 w 6270621"/>
                <a:gd name="connsiteY783" fmla="*/ 1699155 h 3762376"/>
                <a:gd name="connsiteX784" fmla="*/ 936395 w 6270621"/>
                <a:gd name="connsiteY784" fmla="*/ 1773238 h 3762376"/>
                <a:gd name="connsiteX785" fmla="*/ 915234 w 6270621"/>
                <a:gd name="connsiteY785" fmla="*/ 1842030 h 3762376"/>
                <a:gd name="connsiteX786" fmla="*/ 946976 w 6270621"/>
                <a:gd name="connsiteY786" fmla="*/ 1937280 h 3762376"/>
                <a:gd name="connsiteX787" fmla="*/ 1015751 w 6270621"/>
                <a:gd name="connsiteY787" fmla="*/ 1947863 h 3762376"/>
                <a:gd name="connsiteX788" fmla="*/ 1058074 w 6270621"/>
                <a:gd name="connsiteY788" fmla="*/ 1916113 h 3762376"/>
                <a:gd name="connsiteX789" fmla="*/ 1079236 w 6270621"/>
                <a:gd name="connsiteY789" fmla="*/ 1889655 h 3762376"/>
                <a:gd name="connsiteX790" fmla="*/ 1116268 w 6270621"/>
                <a:gd name="connsiteY790" fmla="*/ 1873780 h 3762376"/>
                <a:gd name="connsiteX791" fmla="*/ 1132139 w 6270621"/>
                <a:gd name="connsiteY791" fmla="*/ 1905530 h 3762376"/>
                <a:gd name="connsiteX792" fmla="*/ 1105687 w 6270621"/>
                <a:gd name="connsiteY792" fmla="*/ 1958447 h 3762376"/>
                <a:gd name="connsiteX793" fmla="*/ 1079236 w 6270621"/>
                <a:gd name="connsiteY793" fmla="*/ 2006072 h 3762376"/>
                <a:gd name="connsiteX794" fmla="*/ 1137430 w 6270621"/>
                <a:gd name="connsiteY794" fmla="*/ 2027238 h 3762376"/>
                <a:gd name="connsiteX795" fmla="*/ 1179752 w 6270621"/>
                <a:gd name="connsiteY795" fmla="*/ 2032530 h 3762376"/>
                <a:gd name="connsiteX796" fmla="*/ 1163882 w 6270621"/>
                <a:gd name="connsiteY796" fmla="*/ 2106613 h 3762376"/>
                <a:gd name="connsiteX797" fmla="*/ 1185043 w 6270621"/>
                <a:gd name="connsiteY797" fmla="*/ 2154238 h 3762376"/>
                <a:gd name="connsiteX798" fmla="*/ 1227366 w 6270621"/>
                <a:gd name="connsiteY798" fmla="*/ 2175405 h 3762376"/>
                <a:gd name="connsiteX799" fmla="*/ 1280270 w 6270621"/>
                <a:gd name="connsiteY799" fmla="*/ 2164822 h 3762376"/>
                <a:gd name="connsiteX800" fmla="*/ 1317302 w 6270621"/>
                <a:gd name="connsiteY800" fmla="*/ 2180697 h 3762376"/>
                <a:gd name="connsiteX801" fmla="*/ 1364916 w 6270621"/>
                <a:gd name="connsiteY801" fmla="*/ 2127780 h 3762376"/>
                <a:gd name="connsiteX802" fmla="*/ 1417820 w 6270621"/>
                <a:gd name="connsiteY802" fmla="*/ 2133072 h 3762376"/>
                <a:gd name="connsiteX803" fmla="*/ 1444271 w 6270621"/>
                <a:gd name="connsiteY803" fmla="*/ 2111905 h 3762376"/>
                <a:gd name="connsiteX804" fmla="*/ 1476013 w 6270621"/>
                <a:gd name="connsiteY804" fmla="*/ 2148947 h 3762376"/>
                <a:gd name="connsiteX805" fmla="*/ 1518337 w 6270621"/>
                <a:gd name="connsiteY805" fmla="*/ 2138363 h 3762376"/>
                <a:gd name="connsiteX806" fmla="*/ 1550079 w 6270621"/>
                <a:gd name="connsiteY806" fmla="*/ 2154238 h 3762376"/>
                <a:gd name="connsiteX807" fmla="*/ 1592402 w 6270621"/>
                <a:gd name="connsiteY807" fmla="*/ 2143655 h 3762376"/>
                <a:gd name="connsiteX808" fmla="*/ 1640015 w 6270621"/>
                <a:gd name="connsiteY808" fmla="*/ 2180697 h 3762376"/>
                <a:gd name="connsiteX809" fmla="*/ 1698210 w 6270621"/>
                <a:gd name="connsiteY809" fmla="*/ 2238905 h 3762376"/>
                <a:gd name="connsiteX810" fmla="*/ 1756404 w 6270621"/>
                <a:gd name="connsiteY810" fmla="*/ 2238905 h 3762376"/>
                <a:gd name="connsiteX811" fmla="*/ 1825178 w 6270621"/>
                <a:gd name="connsiteY811" fmla="*/ 2275946 h 3762376"/>
                <a:gd name="connsiteX812" fmla="*/ 1851631 w 6270621"/>
                <a:gd name="connsiteY812" fmla="*/ 2344738 h 3762376"/>
                <a:gd name="connsiteX813" fmla="*/ 1835760 w 6270621"/>
                <a:gd name="connsiteY813" fmla="*/ 2381780 h 3762376"/>
                <a:gd name="connsiteX814" fmla="*/ 1920402 w 6270621"/>
                <a:gd name="connsiteY814" fmla="*/ 2392363 h 3762376"/>
                <a:gd name="connsiteX815" fmla="*/ 1962725 w 6270621"/>
                <a:gd name="connsiteY815" fmla="*/ 2439988 h 3762376"/>
                <a:gd name="connsiteX816" fmla="*/ 2042080 w 6270621"/>
                <a:gd name="connsiteY816" fmla="*/ 2439988 h 3762376"/>
                <a:gd name="connsiteX817" fmla="*/ 2100275 w 6270621"/>
                <a:gd name="connsiteY817" fmla="*/ 2482321 h 3762376"/>
                <a:gd name="connsiteX818" fmla="*/ 2147888 w 6270621"/>
                <a:gd name="connsiteY818" fmla="*/ 2477030 h 3762376"/>
                <a:gd name="connsiteX819" fmla="*/ 2163759 w 6270621"/>
                <a:gd name="connsiteY819" fmla="*/ 2519363 h 3762376"/>
                <a:gd name="connsiteX820" fmla="*/ 2153179 w 6270621"/>
                <a:gd name="connsiteY820" fmla="*/ 2588155 h 3762376"/>
                <a:gd name="connsiteX821" fmla="*/ 2094984 w 6270621"/>
                <a:gd name="connsiteY821" fmla="*/ 2662238 h 3762376"/>
                <a:gd name="connsiteX822" fmla="*/ 2094984 w 6270621"/>
                <a:gd name="connsiteY822" fmla="*/ 2731030 h 3762376"/>
                <a:gd name="connsiteX823" fmla="*/ 2068533 w 6270621"/>
                <a:gd name="connsiteY823" fmla="*/ 2799821 h 3762376"/>
                <a:gd name="connsiteX824" fmla="*/ 2047371 w 6270621"/>
                <a:gd name="connsiteY824" fmla="*/ 2858030 h 3762376"/>
                <a:gd name="connsiteX825" fmla="*/ 1999757 w 6270621"/>
                <a:gd name="connsiteY825" fmla="*/ 2873905 h 3762376"/>
                <a:gd name="connsiteX826" fmla="*/ 1952144 w 6270621"/>
                <a:gd name="connsiteY826" fmla="*/ 2895071 h 3762376"/>
                <a:gd name="connsiteX827" fmla="*/ 1915112 w 6270621"/>
                <a:gd name="connsiteY827" fmla="*/ 2942696 h 3762376"/>
                <a:gd name="connsiteX828" fmla="*/ 1915112 w 6270621"/>
                <a:gd name="connsiteY828" fmla="*/ 2990321 h 3762376"/>
                <a:gd name="connsiteX829" fmla="*/ 1867502 w 6270621"/>
                <a:gd name="connsiteY829" fmla="*/ 3069696 h 3762376"/>
                <a:gd name="connsiteX830" fmla="*/ 1825178 w 6270621"/>
                <a:gd name="connsiteY830" fmla="*/ 3154363 h 3762376"/>
                <a:gd name="connsiteX831" fmla="*/ 1745823 w 6270621"/>
                <a:gd name="connsiteY831" fmla="*/ 3138488 h 3762376"/>
                <a:gd name="connsiteX832" fmla="*/ 1793436 w 6270621"/>
                <a:gd name="connsiteY832" fmla="*/ 3191405 h 3762376"/>
                <a:gd name="connsiteX833" fmla="*/ 1772275 w 6270621"/>
                <a:gd name="connsiteY833" fmla="*/ 3244321 h 3762376"/>
                <a:gd name="connsiteX834" fmla="*/ 1714081 w 6270621"/>
                <a:gd name="connsiteY834" fmla="*/ 3265488 h 3762376"/>
                <a:gd name="connsiteX835" fmla="*/ 1698210 w 6270621"/>
                <a:gd name="connsiteY835" fmla="*/ 3318405 h 3762376"/>
                <a:gd name="connsiteX836" fmla="*/ 1655887 w 6270621"/>
                <a:gd name="connsiteY836" fmla="*/ 3334280 h 3762376"/>
                <a:gd name="connsiteX837" fmla="*/ 1671758 w 6270621"/>
                <a:gd name="connsiteY837" fmla="*/ 3403071 h 3762376"/>
                <a:gd name="connsiteX838" fmla="*/ 1640015 w 6270621"/>
                <a:gd name="connsiteY838" fmla="*/ 3445405 h 3762376"/>
                <a:gd name="connsiteX839" fmla="*/ 1677048 w 6270621"/>
                <a:gd name="connsiteY839" fmla="*/ 3498321 h 3762376"/>
                <a:gd name="connsiteX840" fmla="*/ 1640015 w 6270621"/>
                <a:gd name="connsiteY840" fmla="*/ 3577696 h 3762376"/>
                <a:gd name="connsiteX841" fmla="*/ 1650596 w 6270621"/>
                <a:gd name="connsiteY841" fmla="*/ 3635905 h 3762376"/>
                <a:gd name="connsiteX842" fmla="*/ 1735242 w 6270621"/>
                <a:gd name="connsiteY842" fmla="*/ 3694113 h 3762376"/>
                <a:gd name="connsiteX843" fmla="*/ 1634725 w 6270621"/>
                <a:gd name="connsiteY843" fmla="*/ 3694113 h 3762376"/>
                <a:gd name="connsiteX844" fmla="*/ 1565950 w 6270621"/>
                <a:gd name="connsiteY844" fmla="*/ 3625321 h 3762376"/>
                <a:gd name="connsiteX845" fmla="*/ 1523627 w 6270621"/>
                <a:gd name="connsiteY845" fmla="*/ 3545946 h 3762376"/>
                <a:gd name="connsiteX846" fmla="*/ 1523627 w 6270621"/>
                <a:gd name="connsiteY846" fmla="*/ 3429530 h 3762376"/>
                <a:gd name="connsiteX847" fmla="*/ 1491885 w 6270621"/>
                <a:gd name="connsiteY847" fmla="*/ 3344863 h 3762376"/>
                <a:gd name="connsiteX848" fmla="*/ 1476013 w 6270621"/>
                <a:gd name="connsiteY848" fmla="*/ 3265488 h 3762376"/>
                <a:gd name="connsiteX849" fmla="*/ 1491885 w 6270621"/>
                <a:gd name="connsiteY849" fmla="*/ 3170238 h 3762376"/>
                <a:gd name="connsiteX850" fmla="*/ 1470723 w 6270621"/>
                <a:gd name="connsiteY850" fmla="*/ 2895071 h 3762376"/>
                <a:gd name="connsiteX851" fmla="*/ 1454852 w 6270621"/>
                <a:gd name="connsiteY851" fmla="*/ 2789238 h 3762376"/>
                <a:gd name="connsiteX852" fmla="*/ 1354335 w 6270621"/>
                <a:gd name="connsiteY852" fmla="*/ 2725738 h 3762376"/>
                <a:gd name="connsiteX853" fmla="*/ 1296141 w 6270621"/>
                <a:gd name="connsiteY853" fmla="*/ 2651655 h 3762376"/>
                <a:gd name="connsiteX854" fmla="*/ 1248528 w 6270621"/>
                <a:gd name="connsiteY854" fmla="*/ 2529946 h 3762376"/>
                <a:gd name="connsiteX855" fmla="*/ 1222076 w 6270621"/>
                <a:gd name="connsiteY855" fmla="*/ 2529946 h 3762376"/>
                <a:gd name="connsiteX856" fmla="*/ 1211495 w 6270621"/>
                <a:gd name="connsiteY856" fmla="*/ 2477030 h 3762376"/>
                <a:gd name="connsiteX857" fmla="*/ 1237947 w 6270621"/>
                <a:gd name="connsiteY857" fmla="*/ 2445280 h 3762376"/>
                <a:gd name="connsiteX858" fmla="*/ 1227366 w 6270621"/>
                <a:gd name="connsiteY858" fmla="*/ 2392363 h 3762376"/>
                <a:gd name="connsiteX859" fmla="*/ 1280270 w 6270621"/>
                <a:gd name="connsiteY859" fmla="*/ 2323571 h 3762376"/>
                <a:gd name="connsiteX860" fmla="*/ 1296141 w 6270621"/>
                <a:gd name="connsiteY860" fmla="*/ 2223030 h 3762376"/>
                <a:gd name="connsiteX861" fmla="*/ 1280270 w 6270621"/>
                <a:gd name="connsiteY861" fmla="*/ 2185988 h 3762376"/>
                <a:gd name="connsiteX862" fmla="*/ 1259108 w 6270621"/>
                <a:gd name="connsiteY862" fmla="*/ 2180697 h 3762376"/>
                <a:gd name="connsiteX863" fmla="*/ 1227366 w 6270621"/>
                <a:gd name="connsiteY863" fmla="*/ 2212447 h 3762376"/>
                <a:gd name="connsiteX864" fmla="*/ 1179752 w 6270621"/>
                <a:gd name="connsiteY864" fmla="*/ 2185988 h 3762376"/>
                <a:gd name="connsiteX865" fmla="*/ 1116268 w 6270621"/>
                <a:gd name="connsiteY865" fmla="*/ 2127780 h 3762376"/>
                <a:gd name="connsiteX866" fmla="*/ 1073945 w 6270621"/>
                <a:gd name="connsiteY866" fmla="*/ 2053697 h 3762376"/>
                <a:gd name="connsiteX867" fmla="*/ 1010461 w 6270621"/>
                <a:gd name="connsiteY867" fmla="*/ 2053697 h 3762376"/>
                <a:gd name="connsiteX868" fmla="*/ 962847 w 6270621"/>
                <a:gd name="connsiteY868" fmla="*/ 1995488 h 3762376"/>
                <a:gd name="connsiteX869" fmla="*/ 915234 w 6270621"/>
                <a:gd name="connsiteY869" fmla="*/ 2006072 h 3762376"/>
                <a:gd name="connsiteX870" fmla="*/ 867620 w 6270621"/>
                <a:gd name="connsiteY870" fmla="*/ 1984905 h 3762376"/>
                <a:gd name="connsiteX871" fmla="*/ 830588 w 6270621"/>
                <a:gd name="connsiteY871" fmla="*/ 1947863 h 3762376"/>
                <a:gd name="connsiteX872" fmla="*/ 798846 w 6270621"/>
                <a:gd name="connsiteY872" fmla="*/ 1947863 h 3762376"/>
                <a:gd name="connsiteX873" fmla="*/ 756523 w 6270621"/>
                <a:gd name="connsiteY873" fmla="*/ 1900238 h 3762376"/>
                <a:gd name="connsiteX874" fmla="*/ 767104 w 6270621"/>
                <a:gd name="connsiteY874" fmla="*/ 1847322 h 3762376"/>
                <a:gd name="connsiteX875" fmla="*/ 708909 w 6270621"/>
                <a:gd name="connsiteY875" fmla="*/ 1720322 h 3762376"/>
                <a:gd name="connsiteX876" fmla="*/ 671877 w 6270621"/>
                <a:gd name="connsiteY876" fmla="*/ 1651530 h 3762376"/>
                <a:gd name="connsiteX877" fmla="*/ 671877 w 6270621"/>
                <a:gd name="connsiteY877" fmla="*/ 1603905 h 3762376"/>
                <a:gd name="connsiteX878" fmla="*/ 640135 w 6270621"/>
                <a:gd name="connsiteY878" fmla="*/ 1572155 h 3762376"/>
                <a:gd name="connsiteX879" fmla="*/ 645425 w 6270621"/>
                <a:gd name="connsiteY879" fmla="*/ 1646238 h 3762376"/>
                <a:gd name="connsiteX880" fmla="*/ 666586 w 6270621"/>
                <a:gd name="connsiteY880" fmla="*/ 1752072 h 3762376"/>
                <a:gd name="connsiteX881" fmla="*/ 682458 w 6270621"/>
                <a:gd name="connsiteY881" fmla="*/ 1826155 h 3762376"/>
                <a:gd name="connsiteX882" fmla="*/ 634844 w 6270621"/>
                <a:gd name="connsiteY882" fmla="*/ 1767947 h 3762376"/>
                <a:gd name="connsiteX883" fmla="*/ 645425 w 6270621"/>
                <a:gd name="connsiteY883" fmla="*/ 1725613 h 3762376"/>
                <a:gd name="connsiteX884" fmla="*/ 618973 w 6270621"/>
                <a:gd name="connsiteY884" fmla="*/ 1640947 h 3762376"/>
                <a:gd name="connsiteX885" fmla="*/ 597812 w 6270621"/>
                <a:gd name="connsiteY885" fmla="*/ 1535113 h 3762376"/>
                <a:gd name="connsiteX886" fmla="*/ 560779 w 6270621"/>
                <a:gd name="connsiteY886" fmla="*/ 1482197 h 3762376"/>
                <a:gd name="connsiteX887" fmla="*/ 529037 w 6270621"/>
                <a:gd name="connsiteY887" fmla="*/ 1386947 h 3762376"/>
                <a:gd name="connsiteX888" fmla="*/ 566069 w 6270621"/>
                <a:gd name="connsiteY888" fmla="*/ 1233488 h 3762376"/>
                <a:gd name="connsiteX889" fmla="*/ 634844 w 6270621"/>
                <a:gd name="connsiteY889" fmla="*/ 1117071 h 3762376"/>
                <a:gd name="connsiteX890" fmla="*/ 618973 w 6270621"/>
                <a:gd name="connsiteY890" fmla="*/ 1011238 h 3762376"/>
                <a:gd name="connsiteX891" fmla="*/ 613683 w 6270621"/>
                <a:gd name="connsiteY891" fmla="*/ 836613 h 3762376"/>
                <a:gd name="connsiteX892" fmla="*/ 576650 w 6270621"/>
                <a:gd name="connsiteY892" fmla="*/ 714905 h 3762376"/>
                <a:gd name="connsiteX893" fmla="*/ 529037 w 6270621"/>
                <a:gd name="connsiteY893" fmla="*/ 640821 h 3762376"/>
                <a:gd name="connsiteX894" fmla="*/ 470843 w 6270621"/>
                <a:gd name="connsiteY894" fmla="*/ 609071 h 3762376"/>
                <a:gd name="connsiteX895" fmla="*/ 380907 w 6270621"/>
                <a:gd name="connsiteY895" fmla="*/ 598488 h 3762376"/>
                <a:gd name="connsiteX896" fmla="*/ 380907 w 6270621"/>
                <a:gd name="connsiteY896" fmla="*/ 561446 h 3762376"/>
                <a:gd name="connsiteX897" fmla="*/ 322712 w 6270621"/>
                <a:gd name="connsiteY897" fmla="*/ 566738 h 3762376"/>
                <a:gd name="connsiteX898" fmla="*/ 312132 w 6270621"/>
                <a:gd name="connsiteY898" fmla="*/ 635530 h 3762376"/>
                <a:gd name="connsiteX899" fmla="*/ 264518 w 6270621"/>
                <a:gd name="connsiteY899" fmla="*/ 656696 h 3762376"/>
                <a:gd name="connsiteX900" fmla="*/ 132259 w 6270621"/>
                <a:gd name="connsiteY900" fmla="*/ 714905 h 3762376"/>
                <a:gd name="connsiteX901" fmla="*/ 52904 w 6270621"/>
                <a:gd name="connsiteY901" fmla="*/ 714905 h 3762376"/>
                <a:gd name="connsiteX902" fmla="*/ 0 w 6270621"/>
                <a:gd name="connsiteY902" fmla="*/ 746655 h 3762376"/>
                <a:gd name="connsiteX903" fmla="*/ 47613 w 6270621"/>
                <a:gd name="connsiteY903" fmla="*/ 693738 h 3762376"/>
                <a:gd name="connsiteX904" fmla="*/ 116388 w 6270621"/>
                <a:gd name="connsiteY904" fmla="*/ 693738 h 3762376"/>
                <a:gd name="connsiteX905" fmla="*/ 211615 w 6270621"/>
                <a:gd name="connsiteY905" fmla="*/ 635530 h 3762376"/>
                <a:gd name="connsiteX906" fmla="*/ 222195 w 6270621"/>
                <a:gd name="connsiteY906" fmla="*/ 598488 h 3762376"/>
                <a:gd name="connsiteX907" fmla="*/ 169292 w 6270621"/>
                <a:gd name="connsiteY907" fmla="*/ 582613 h 3762376"/>
                <a:gd name="connsiteX908" fmla="*/ 148130 w 6270621"/>
                <a:gd name="connsiteY908" fmla="*/ 540280 h 3762376"/>
                <a:gd name="connsiteX909" fmla="*/ 132259 w 6270621"/>
                <a:gd name="connsiteY909" fmla="*/ 508530 h 3762376"/>
                <a:gd name="connsiteX910" fmla="*/ 153421 w 6270621"/>
                <a:gd name="connsiteY910" fmla="*/ 487363 h 3762376"/>
                <a:gd name="connsiteX911" fmla="*/ 153421 w 6270621"/>
                <a:gd name="connsiteY911" fmla="*/ 439738 h 3762376"/>
                <a:gd name="connsiteX912" fmla="*/ 190453 w 6270621"/>
                <a:gd name="connsiteY912" fmla="*/ 418571 h 3762376"/>
                <a:gd name="connsiteX913" fmla="*/ 269809 w 6270621"/>
                <a:gd name="connsiteY913" fmla="*/ 392113 h 3762376"/>
                <a:gd name="connsiteX914" fmla="*/ 275099 w 6270621"/>
                <a:gd name="connsiteY914" fmla="*/ 370946 h 3762376"/>
                <a:gd name="connsiteX915" fmla="*/ 232776 w 6270621"/>
                <a:gd name="connsiteY915" fmla="*/ 355071 h 3762376"/>
                <a:gd name="connsiteX916" fmla="*/ 211615 w 6270621"/>
                <a:gd name="connsiteY916" fmla="*/ 323321 h 3762376"/>
                <a:gd name="connsiteX917" fmla="*/ 211615 w 6270621"/>
                <a:gd name="connsiteY917" fmla="*/ 291572 h 3762376"/>
                <a:gd name="connsiteX918" fmla="*/ 280390 w 6270621"/>
                <a:gd name="connsiteY918" fmla="*/ 270405 h 3762376"/>
                <a:gd name="connsiteX919" fmla="*/ 322712 w 6270621"/>
                <a:gd name="connsiteY919" fmla="*/ 312738 h 3762376"/>
                <a:gd name="connsiteX920" fmla="*/ 333293 w 6270621"/>
                <a:gd name="connsiteY920" fmla="*/ 280988 h 3762376"/>
                <a:gd name="connsiteX921" fmla="*/ 312132 w 6270621"/>
                <a:gd name="connsiteY921" fmla="*/ 270405 h 3762376"/>
                <a:gd name="connsiteX922" fmla="*/ 312132 w 6270621"/>
                <a:gd name="connsiteY922" fmla="*/ 228072 h 3762376"/>
                <a:gd name="connsiteX923" fmla="*/ 280390 w 6270621"/>
                <a:gd name="connsiteY923" fmla="*/ 196322 h 3762376"/>
                <a:gd name="connsiteX924" fmla="*/ 306841 w 6270621"/>
                <a:gd name="connsiteY924" fmla="*/ 169863 h 3762376"/>
                <a:gd name="connsiteX925" fmla="*/ 359745 w 6270621"/>
                <a:gd name="connsiteY925" fmla="*/ 180446 h 3762376"/>
                <a:gd name="connsiteX926" fmla="*/ 380907 w 6270621"/>
                <a:gd name="connsiteY926" fmla="*/ 159280 h 3762376"/>
                <a:gd name="connsiteX927" fmla="*/ 465552 w 6270621"/>
                <a:gd name="connsiteY927" fmla="*/ 138113 h 3762376"/>
                <a:gd name="connsiteX928" fmla="*/ 4964109 w 6270621"/>
                <a:gd name="connsiteY928" fmla="*/ 106363 h 3762376"/>
                <a:gd name="connsiteX929" fmla="*/ 5000621 w 6270621"/>
                <a:gd name="connsiteY929" fmla="*/ 115888 h 3762376"/>
                <a:gd name="connsiteX930" fmla="*/ 5000621 w 6270621"/>
                <a:gd name="connsiteY930" fmla="*/ 131763 h 3762376"/>
                <a:gd name="connsiteX931" fmla="*/ 4948234 w 6270621"/>
                <a:gd name="connsiteY931" fmla="*/ 138113 h 3762376"/>
                <a:gd name="connsiteX932" fmla="*/ 1222374 w 6270621"/>
                <a:gd name="connsiteY932" fmla="*/ 100013 h 3762376"/>
                <a:gd name="connsiteX933" fmla="*/ 1269999 w 6270621"/>
                <a:gd name="connsiteY933" fmla="*/ 111126 h 3762376"/>
                <a:gd name="connsiteX934" fmla="*/ 1258886 w 6270621"/>
                <a:gd name="connsiteY934" fmla="*/ 138113 h 3762376"/>
                <a:gd name="connsiteX935" fmla="*/ 1243011 w 6270621"/>
                <a:gd name="connsiteY935" fmla="*/ 147638 h 3762376"/>
                <a:gd name="connsiteX936" fmla="*/ 1227136 w 6270621"/>
                <a:gd name="connsiteY936" fmla="*/ 127001 h 3762376"/>
                <a:gd name="connsiteX937" fmla="*/ 1206499 w 6270621"/>
                <a:gd name="connsiteY937" fmla="*/ 142876 h 3762376"/>
                <a:gd name="connsiteX938" fmla="*/ 1231899 w 6270621"/>
                <a:gd name="connsiteY938" fmla="*/ 169863 h 3762376"/>
                <a:gd name="connsiteX939" fmla="*/ 1254124 w 6270621"/>
                <a:gd name="connsiteY939" fmla="*/ 158751 h 3762376"/>
                <a:gd name="connsiteX940" fmla="*/ 1279524 w 6270621"/>
                <a:gd name="connsiteY940" fmla="*/ 179388 h 3762376"/>
                <a:gd name="connsiteX941" fmla="*/ 1290636 w 6270621"/>
                <a:gd name="connsiteY941" fmla="*/ 222251 h 3762376"/>
                <a:gd name="connsiteX942" fmla="*/ 1322386 w 6270621"/>
                <a:gd name="connsiteY942" fmla="*/ 222251 h 3762376"/>
                <a:gd name="connsiteX943" fmla="*/ 1327149 w 6270621"/>
                <a:gd name="connsiteY943" fmla="*/ 201613 h 3762376"/>
                <a:gd name="connsiteX944" fmla="*/ 1327149 w 6270621"/>
                <a:gd name="connsiteY944" fmla="*/ 179388 h 3762376"/>
                <a:gd name="connsiteX945" fmla="*/ 1354137 w 6270621"/>
                <a:gd name="connsiteY945" fmla="*/ 174626 h 3762376"/>
                <a:gd name="connsiteX946" fmla="*/ 1349374 w 6270621"/>
                <a:gd name="connsiteY946" fmla="*/ 206375 h 3762376"/>
                <a:gd name="connsiteX947" fmla="*/ 1370011 w 6270621"/>
                <a:gd name="connsiteY947" fmla="*/ 217488 h 3762376"/>
                <a:gd name="connsiteX948" fmla="*/ 1374774 w 6270621"/>
                <a:gd name="connsiteY948" fmla="*/ 238126 h 3762376"/>
                <a:gd name="connsiteX949" fmla="*/ 1349374 w 6270621"/>
                <a:gd name="connsiteY949" fmla="*/ 265113 h 3762376"/>
                <a:gd name="connsiteX950" fmla="*/ 1311274 w 6270621"/>
                <a:gd name="connsiteY950" fmla="*/ 249238 h 3762376"/>
                <a:gd name="connsiteX951" fmla="*/ 1285874 w 6270621"/>
                <a:gd name="connsiteY951" fmla="*/ 265113 h 3762376"/>
                <a:gd name="connsiteX952" fmla="*/ 1254124 w 6270621"/>
                <a:gd name="connsiteY952" fmla="*/ 258763 h 3762376"/>
                <a:gd name="connsiteX953" fmla="*/ 1238249 w 6270621"/>
                <a:gd name="connsiteY953" fmla="*/ 242888 h 3762376"/>
                <a:gd name="connsiteX954" fmla="*/ 1238249 w 6270621"/>
                <a:gd name="connsiteY954" fmla="*/ 233363 h 3762376"/>
                <a:gd name="connsiteX955" fmla="*/ 1258886 w 6270621"/>
                <a:gd name="connsiteY955" fmla="*/ 233363 h 3762376"/>
                <a:gd name="connsiteX956" fmla="*/ 1247773 w 6270621"/>
                <a:gd name="connsiteY956" fmla="*/ 211138 h 3762376"/>
                <a:gd name="connsiteX957" fmla="*/ 1231899 w 6270621"/>
                <a:gd name="connsiteY957" fmla="*/ 217488 h 3762376"/>
                <a:gd name="connsiteX958" fmla="*/ 1200148 w 6270621"/>
                <a:gd name="connsiteY958" fmla="*/ 201613 h 3762376"/>
                <a:gd name="connsiteX959" fmla="*/ 1200148 w 6270621"/>
                <a:gd name="connsiteY959" fmla="*/ 185738 h 3762376"/>
                <a:gd name="connsiteX960" fmla="*/ 1222374 w 6270621"/>
                <a:gd name="connsiteY960" fmla="*/ 185738 h 3762376"/>
                <a:gd name="connsiteX961" fmla="*/ 1200148 w 6270621"/>
                <a:gd name="connsiteY961" fmla="*/ 158751 h 3762376"/>
                <a:gd name="connsiteX962" fmla="*/ 1168399 w 6270621"/>
                <a:gd name="connsiteY962" fmla="*/ 163513 h 3762376"/>
                <a:gd name="connsiteX963" fmla="*/ 1136649 w 6270621"/>
                <a:gd name="connsiteY963" fmla="*/ 142876 h 3762376"/>
                <a:gd name="connsiteX964" fmla="*/ 1142999 w 6270621"/>
                <a:gd name="connsiteY964" fmla="*/ 122238 h 3762376"/>
                <a:gd name="connsiteX965" fmla="*/ 1195386 w 6270621"/>
                <a:gd name="connsiteY965" fmla="*/ 115888 h 3762376"/>
                <a:gd name="connsiteX966" fmla="*/ 1444624 w 6270621"/>
                <a:gd name="connsiteY966" fmla="*/ 100013 h 3762376"/>
                <a:gd name="connsiteX967" fmla="*/ 1476373 w 6270621"/>
                <a:gd name="connsiteY967" fmla="*/ 106363 h 3762376"/>
                <a:gd name="connsiteX968" fmla="*/ 1517649 w 6270621"/>
                <a:gd name="connsiteY968" fmla="*/ 142876 h 3762376"/>
                <a:gd name="connsiteX969" fmla="*/ 1512886 w 6270621"/>
                <a:gd name="connsiteY969" fmla="*/ 174626 h 3762376"/>
                <a:gd name="connsiteX970" fmla="*/ 1497011 w 6270621"/>
                <a:gd name="connsiteY970" fmla="*/ 174626 h 3762376"/>
                <a:gd name="connsiteX971" fmla="*/ 1485898 w 6270621"/>
                <a:gd name="connsiteY971" fmla="*/ 147638 h 3762376"/>
                <a:gd name="connsiteX972" fmla="*/ 1438273 w 6270621"/>
                <a:gd name="connsiteY972" fmla="*/ 142876 h 3762376"/>
                <a:gd name="connsiteX973" fmla="*/ 1438273 w 6270621"/>
                <a:gd name="connsiteY973" fmla="*/ 131763 h 3762376"/>
                <a:gd name="connsiteX974" fmla="*/ 1460498 w 6270621"/>
                <a:gd name="connsiteY974" fmla="*/ 131763 h 3762376"/>
                <a:gd name="connsiteX975" fmla="*/ 1454148 w 6270621"/>
                <a:gd name="connsiteY975" fmla="*/ 122238 h 3762376"/>
                <a:gd name="connsiteX976" fmla="*/ 1438273 w 6270621"/>
                <a:gd name="connsiteY976" fmla="*/ 111126 h 3762376"/>
                <a:gd name="connsiteX977" fmla="*/ 4260846 w 6270621"/>
                <a:gd name="connsiteY977" fmla="*/ 95250 h 3762376"/>
                <a:gd name="connsiteX978" fmla="*/ 4297358 w 6270621"/>
                <a:gd name="connsiteY978" fmla="*/ 95250 h 3762376"/>
                <a:gd name="connsiteX979" fmla="*/ 4324346 w 6270621"/>
                <a:gd name="connsiteY979" fmla="*/ 106363 h 3762376"/>
                <a:gd name="connsiteX980" fmla="*/ 4324346 w 6270621"/>
                <a:gd name="connsiteY980" fmla="*/ 127001 h 3762376"/>
                <a:gd name="connsiteX981" fmla="*/ 4297358 w 6270621"/>
                <a:gd name="connsiteY981" fmla="*/ 138113 h 3762376"/>
                <a:gd name="connsiteX982" fmla="*/ 4286246 w 6270621"/>
                <a:gd name="connsiteY982" fmla="*/ 153988 h 3762376"/>
                <a:gd name="connsiteX983" fmla="*/ 4276721 w 6270621"/>
                <a:gd name="connsiteY983" fmla="*/ 147638 h 3762376"/>
                <a:gd name="connsiteX984" fmla="*/ 4270371 w 6270621"/>
                <a:gd name="connsiteY984" fmla="*/ 111125 h 3762376"/>
                <a:gd name="connsiteX985" fmla="*/ 4260846 w 6270621"/>
                <a:gd name="connsiteY985" fmla="*/ 100012 h 3762376"/>
                <a:gd name="connsiteX986" fmla="*/ 1353606 w 6270621"/>
                <a:gd name="connsiteY986" fmla="*/ 84138 h 3762376"/>
                <a:gd name="connsiteX987" fmla="*/ 1374773 w 6270621"/>
                <a:gd name="connsiteY987" fmla="*/ 94818 h 3762376"/>
                <a:gd name="connsiteX988" fmla="*/ 1353606 w 6270621"/>
                <a:gd name="connsiteY988" fmla="*/ 137536 h 3762376"/>
                <a:gd name="connsiteX989" fmla="*/ 1316564 w 6270621"/>
                <a:gd name="connsiteY989" fmla="*/ 142876 h 3762376"/>
                <a:gd name="connsiteX990" fmla="*/ 1311273 w 6270621"/>
                <a:gd name="connsiteY990" fmla="*/ 121517 h 3762376"/>
                <a:gd name="connsiteX991" fmla="*/ 1316564 w 6270621"/>
                <a:gd name="connsiteY991" fmla="*/ 94818 h 3762376"/>
                <a:gd name="connsiteX992" fmla="*/ 1353606 w 6270621"/>
                <a:gd name="connsiteY992" fmla="*/ 84138 h 3762376"/>
                <a:gd name="connsiteX993" fmla="*/ 4159246 w 6270621"/>
                <a:gd name="connsiteY993" fmla="*/ 79375 h 3762376"/>
                <a:gd name="connsiteX994" fmla="*/ 4190995 w 6270621"/>
                <a:gd name="connsiteY994" fmla="*/ 79375 h 3762376"/>
                <a:gd name="connsiteX995" fmla="*/ 4197345 w 6270621"/>
                <a:gd name="connsiteY995" fmla="*/ 95250 h 3762376"/>
                <a:gd name="connsiteX996" fmla="*/ 4217983 w 6270621"/>
                <a:gd name="connsiteY996" fmla="*/ 79375 h 3762376"/>
                <a:gd name="connsiteX997" fmla="*/ 4238620 w 6270621"/>
                <a:gd name="connsiteY997" fmla="*/ 84138 h 3762376"/>
                <a:gd name="connsiteX998" fmla="*/ 4249733 w 6270621"/>
                <a:gd name="connsiteY998" fmla="*/ 127001 h 3762376"/>
                <a:gd name="connsiteX999" fmla="*/ 4213220 w 6270621"/>
                <a:gd name="connsiteY999" fmla="*/ 138113 h 3762376"/>
                <a:gd name="connsiteX1000" fmla="*/ 4122733 w 6270621"/>
                <a:gd name="connsiteY1000" fmla="*/ 138113 h 3762376"/>
                <a:gd name="connsiteX1001" fmla="*/ 4111621 w 6270621"/>
                <a:gd name="connsiteY1001" fmla="*/ 131763 h 3762376"/>
                <a:gd name="connsiteX1002" fmla="*/ 4122733 w 6270621"/>
                <a:gd name="connsiteY1002" fmla="*/ 100013 h 3762376"/>
                <a:gd name="connsiteX1003" fmla="*/ 1635123 w 6270621"/>
                <a:gd name="connsiteY1003" fmla="*/ 74613 h 3762376"/>
                <a:gd name="connsiteX1004" fmla="*/ 1671635 w 6270621"/>
                <a:gd name="connsiteY1004" fmla="*/ 127001 h 3762376"/>
                <a:gd name="connsiteX1005" fmla="*/ 1703385 w 6270621"/>
                <a:gd name="connsiteY1005" fmla="*/ 147638 h 3762376"/>
                <a:gd name="connsiteX1006" fmla="*/ 1698622 w 6270621"/>
                <a:gd name="connsiteY1006" fmla="*/ 163513 h 3762376"/>
                <a:gd name="connsiteX1007" fmla="*/ 1682748 w 6270621"/>
                <a:gd name="connsiteY1007" fmla="*/ 179388 h 3762376"/>
                <a:gd name="connsiteX1008" fmla="*/ 1650998 w 6270621"/>
                <a:gd name="connsiteY1008" fmla="*/ 190501 h 3762376"/>
                <a:gd name="connsiteX1009" fmla="*/ 1628773 w 6270621"/>
                <a:gd name="connsiteY1009" fmla="*/ 195263 h 3762376"/>
                <a:gd name="connsiteX1010" fmla="*/ 1592261 w 6270621"/>
                <a:gd name="connsiteY1010" fmla="*/ 158751 h 3762376"/>
                <a:gd name="connsiteX1011" fmla="*/ 1624010 w 6270621"/>
                <a:gd name="connsiteY1011" fmla="*/ 153988 h 3762376"/>
                <a:gd name="connsiteX1012" fmla="*/ 1628773 w 6270621"/>
                <a:gd name="connsiteY1012" fmla="*/ 138113 h 3762376"/>
                <a:gd name="connsiteX1013" fmla="*/ 1603373 w 6270621"/>
                <a:gd name="connsiteY1013" fmla="*/ 142876 h 3762376"/>
                <a:gd name="connsiteX1014" fmla="*/ 1581148 w 6270621"/>
                <a:gd name="connsiteY1014" fmla="*/ 131763 h 3762376"/>
                <a:gd name="connsiteX1015" fmla="*/ 1581148 w 6270621"/>
                <a:gd name="connsiteY1015" fmla="*/ 106363 h 3762376"/>
                <a:gd name="connsiteX1016" fmla="*/ 1612898 w 6270621"/>
                <a:gd name="connsiteY1016" fmla="*/ 106363 h 3762376"/>
                <a:gd name="connsiteX1017" fmla="*/ 1608136 w 6270621"/>
                <a:gd name="connsiteY1017" fmla="*/ 84138 h 3762376"/>
                <a:gd name="connsiteX1018" fmla="*/ 1777725 w 6270621"/>
                <a:gd name="connsiteY1018" fmla="*/ 68263 h 3762376"/>
                <a:gd name="connsiteX1019" fmla="*/ 1825395 w 6270621"/>
                <a:gd name="connsiteY1019" fmla="*/ 94813 h 3762376"/>
                <a:gd name="connsiteX1020" fmla="*/ 1878363 w 6270621"/>
                <a:gd name="connsiteY1020" fmla="*/ 84193 h 3762376"/>
                <a:gd name="connsiteX1021" fmla="*/ 1931327 w 6270621"/>
                <a:gd name="connsiteY1021" fmla="*/ 94813 h 3762376"/>
                <a:gd name="connsiteX1022" fmla="*/ 2042559 w 6270621"/>
                <a:gd name="connsiteY1022" fmla="*/ 131982 h 3762376"/>
                <a:gd name="connsiteX1023" fmla="*/ 2063747 w 6270621"/>
                <a:gd name="connsiteY1023" fmla="*/ 142602 h 3762376"/>
                <a:gd name="connsiteX1024" fmla="*/ 2042559 w 6270621"/>
                <a:gd name="connsiteY1024" fmla="*/ 158531 h 3762376"/>
                <a:gd name="connsiteX1025" fmla="*/ 2005482 w 6270621"/>
                <a:gd name="connsiteY1025" fmla="*/ 158531 h 3762376"/>
                <a:gd name="connsiteX1026" fmla="*/ 1989592 w 6270621"/>
                <a:gd name="connsiteY1026" fmla="*/ 174461 h 3762376"/>
                <a:gd name="connsiteX1027" fmla="*/ 1941921 w 6270621"/>
                <a:gd name="connsiteY1027" fmla="*/ 190391 h 3762376"/>
                <a:gd name="connsiteX1028" fmla="*/ 1910141 w 6270621"/>
                <a:gd name="connsiteY1028" fmla="*/ 211631 h 3762376"/>
                <a:gd name="connsiteX1029" fmla="*/ 1825395 w 6270621"/>
                <a:gd name="connsiteY1029" fmla="*/ 211631 h 3762376"/>
                <a:gd name="connsiteX1030" fmla="*/ 1825395 w 6270621"/>
                <a:gd name="connsiteY1030" fmla="*/ 227560 h 3762376"/>
                <a:gd name="connsiteX1031" fmla="*/ 1857176 w 6270621"/>
                <a:gd name="connsiteY1031" fmla="*/ 238180 h 3762376"/>
                <a:gd name="connsiteX1032" fmla="*/ 1846582 w 6270621"/>
                <a:gd name="connsiteY1032" fmla="*/ 254110 h 3762376"/>
                <a:gd name="connsiteX1033" fmla="*/ 1809505 w 6270621"/>
                <a:gd name="connsiteY1033" fmla="*/ 264730 h 3762376"/>
                <a:gd name="connsiteX1034" fmla="*/ 1788318 w 6270621"/>
                <a:gd name="connsiteY1034" fmla="*/ 280659 h 3762376"/>
                <a:gd name="connsiteX1035" fmla="*/ 1767131 w 6270621"/>
                <a:gd name="connsiteY1035" fmla="*/ 280659 h 3762376"/>
                <a:gd name="connsiteX1036" fmla="*/ 1788318 w 6270621"/>
                <a:gd name="connsiteY1036" fmla="*/ 301899 h 3762376"/>
                <a:gd name="connsiteX1037" fmla="*/ 1772428 w 6270621"/>
                <a:gd name="connsiteY1037" fmla="*/ 317829 h 3762376"/>
                <a:gd name="connsiteX1038" fmla="*/ 1730053 w 6270621"/>
                <a:gd name="connsiteY1038" fmla="*/ 301899 h 3762376"/>
                <a:gd name="connsiteX1039" fmla="*/ 1613525 w 6270621"/>
                <a:gd name="connsiteY1039" fmla="*/ 264730 h 3762376"/>
                <a:gd name="connsiteX1040" fmla="*/ 1587041 w 6270621"/>
                <a:gd name="connsiteY1040" fmla="*/ 275350 h 3762376"/>
                <a:gd name="connsiteX1041" fmla="*/ 1592338 w 6270621"/>
                <a:gd name="connsiteY1041" fmla="*/ 301899 h 3762376"/>
                <a:gd name="connsiteX1042" fmla="*/ 1618822 w 6270621"/>
                <a:gd name="connsiteY1042" fmla="*/ 317829 h 3762376"/>
                <a:gd name="connsiteX1043" fmla="*/ 1666492 w 6270621"/>
                <a:gd name="connsiteY1043" fmla="*/ 328449 h 3762376"/>
                <a:gd name="connsiteX1044" fmla="*/ 1708867 w 6270621"/>
                <a:gd name="connsiteY1044" fmla="*/ 323139 h 3762376"/>
                <a:gd name="connsiteX1045" fmla="*/ 1740647 w 6270621"/>
                <a:gd name="connsiteY1045" fmla="*/ 349688 h 3762376"/>
                <a:gd name="connsiteX1046" fmla="*/ 1735350 w 6270621"/>
                <a:gd name="connsiteY1046" fmla="*/ 370928 h 3762376"/>
                <a:gd name="connsiteX1047" fmla="*/ 1708867 w 6270621"/>
                <a:gd name="connsiteY1047" fmla="*/ 376238 h 3762376"/>
                <a:gd name="connsiteX1048" fmla="*/ 1655899 w 6270621"/>
                <a:gd name="connsiteY1048" fmla="*/ 365618 h 3762376"/>
                <a:gd name="connsiteX1049" fmla="*/ 1592338 w 6270621"/>
                <a:gd name="connsiteY1049" fmla="*/ 344378 h 3762376"/>
                <a:gd name="connsiteX1050" fmla="*/ 1571151 w 6270621"/>
                <a:gd name="connsiteY1050" fmla="*/ 354998 h 3762376"/>
                <a:gd name="connsiteX1051" fmla="*/ 1544667 w 6270621"/>
                <a:gd name="connsiteY1051" fmla="*/ 317829 h 3762376"/>
                <a:gd name="connsiteX1052" fmla="*/ 1555261 w 6270621"/>
                <a:gd name="connsiteY1052" fmla="*/ 275350 h 3762376"/>
                <a:gd name="connsiteX1053" fmla="*/ 1528777 w 6270621"/>
                <a:gd name="connsiteY1053" fmla="*/ 264730 h 3762376"/>
                <a:gd name="connsiteX1054" fmla="*/ 1512887 w 6270621"/>
                <a:gd name="connsiteY1054" fmla="*/ 232870 h 3762376"/>
                <a:gd name="connsiteX1055" fmla="*/ 1549964 w 6270621"/>
                <a:gd name="connsiteY1055" fmla="*/ 222251 h 3762376"/>
                <a:gd name="connsiteX1056" fmla="*/ 1565854 w 6270621"/>
                <a:gd name="connsiteY1056" fmla="*/ 248800 h 3762376"/>
                <a:gd name="connsiteX1057" fmla="*/ 1597635 w 6270621"/>
                <a:gd name="connsiteY1057" fmla="*/ 254110 h 3762376"/>
                <a:gd name="connsiteX1058" fmla="*/ 1629415 w 6270621"/>
                <a:gd name="connsiteY1058" fmla="*/ 248800 h 3762376"/>
                <a:gd name="connsiteX1059" fmla="*/ 1661196 w 6270621"/>
                <a:gd name="connsiteY1059" fmla="*/ 248800 h 3762376"/>
                <a:gd name="connsiteX1060" fmla="*/ 1655899 w 6270621"/>
                <a:gd name="connsiteY1060" fmla="*/ 232870 h 3762376"/>
                <a:gd name="connsiteX1061" fmla="*/ 1682383 w 6270621"/>
                <a:gd name="connsiteY1061" fmla="*/ 222251 h 3762376"/>
                <a:gd name="connsiteX1062" fmla="*/ 1698273 w 6270621"/>
                <a:gd name="connsiteY1062" fmla="*/ 243490 h 3762376"/>
                <a:gd name="connsiteX1063" fmla="*/ 1719460 w 6270621"/>
                <a:gd name="connsiteY1063" fmla="*/ 264730 h 3762376"/>
                <a:gd name="connsiteX1064" fmla="*/ 1740647 w 6270621"/>
                <a:gd name="connsiteY1064" fmla="*/ 264730 h 3762376"/>
                <a:gd name="connsiteX1065" fmla="*/ 1740647 w 6270621"/>
                <a:gd name="connsiteY1065" fmla="*/ 243490 h 3762376"/>
                <a:gd name="connsiteX1066" fmla="*/ 1724757 w 6270621"/>
                <a:gd name="connsiteY1066" fmla="*/ 243490 h 3762376"/>
                <a:gd name="connsiteX1067" fmla="*/ 1708867 w 6270621"/>
                <a:gd name="connsiteY1067" fmla="*/ 232870 h 3762376"/>
                <a:gd name="connsiteX1068" fmla="*/ 1719460 w 6270621"/>
                <a:gd name="connsiteY1068" fmla="*/ 216941 h 3762376"/>
                <a:gd name="connsiteX1069" fmla="*/ 1677086 w 6270621"/>
                <a:gd name="connsiteY1069" fmla="*/ 206321 h 3762376"/>
                <a:gd name="connsiteX1070" fmla="*/ 1698273 w 6270621"/>
                <a:gd name="connsiteY1070" fmla="*/ 190391 h 3762376"/>
                <a:gd name="connsiteX1071" fmla="*/ 1735350 w 6270621"/>
                <a:gd name="connsiteY1071" fmla="*/ 201011 h 3762376"/>
                <a:gd name="connsiteX1072" fmla="*/ 1745944 w 6270621"/>
                <a:gd name="connsiteY1072" fmla="*/ 190391 h 3762376"/>
                <a:gd name="connsiteX1073" fmla="*/ 1724757 w 6270621"/>
                <a:gd name="connsiteY1073" fmla="*/ 158531 h 3762376"/>
                <a:gd name="connsiteX1074" fmla="*/ 1735350 w 6270621"/>
                <a:gd name="connsiteY1074" fmla="*/ 147912 h 3762376"/>
                <a:gd name="connsiteX1075" fmla="*/ 1761835 w 6270621"/>
                <a:gd name="connsiteY1075" fmla="*/ 163841 h 3762376"/>
                <a:gd name="connsiteX1076" fmla="*/ 1772428 w 6270621"/>
                <a:gd name="connsiteY1076" fmla="*/ 179771 h 3762376"/>
                <a:gd name="connsiteX1077" fmla="*/ 1788318 w 6270621"/>
                <a:gd name="connsiteY1077" fmla="*/ 190391 h 3762376"/>
                <a:gd name="connsiteX1078" fmla="*/ 1788318 w 6270621"/>
                <a:gd name="connsiteY1078" fmla="*/ 174461 h 3762376"/>
                <a:gd name="connsiteX1079" fmla="*/ 1825395 w 6270621"/>
                <a:gd name="connsiteY1079" fmla="*/ 163841 h 3762376"/>
                <a:gd name="connsiteX1080" fmla="*/ 1846582 w 6270621"/>
                <a:gd name="connsiteY1080" fmla="*/ 153222 h 3762376"/>
                <a:gd name="connsiteX1081" fmla="*/ 1846582 w 6270621"/>
                <a:gd name="connsiteY1081" fmla="*/ 131982 h 3762376"/>
                <a:gd name="connsiteX1082" fmla="*/ 1830692 w 6270621"/>
                <a:gd name="connsiteY1082" fmla="*/ 131982 h 3762376"/>
                <a:gd name="connsiteX1083" fmla="*/ 1804208 w 6270621"/>
                <a:gd name="connsiteY1083" fmla="*/ 147912 h 3762376"/>
                <a:gd name="connsiteX1084" fmla="*/ 1767131 w 6270621"/>
                <a:gd name="connsiteY1084" fmla="*/ 142602 h 3762376"/>
                <a:gd name="connsiteX1085" fmla="*/ 1745944 w 6270621"/>
                <a:gd name="connsiteY1085" fmla="*/ 131982 h 3762376"/>
                <a:gd name="connsiteX1086" fmla="*/ 1724757 w 6270621"/>
                <a:gd name="connsiteY1086" fmla="*/ 131982 h 3762376"/>
                <a:gd name="connsiteX1087" fmla="*/ 1703570 w 6270621"/>
                <a:gd name="connsiteY1087" fmla="*/ 131982 h 3762376"/>
                <a:gd name="connsiteX1088" fmla="*/ 1692976 w 6270621"/>
                <a:gd name="connsiteY1088" fmla="*/ 110742 h 3762376"/>
                <a:gd name="connsiteX1089" fmla="*/ 1692976 w 6270621"/>
                <a:gd name="connsiteY1089" fmla="*/ 89503 h 3762376"/>
                <a:gd name="connsiteX1090" fmla="*/ 1677086 w 6270621"/>
                <a:gd name="connsiteY1090" fmla="*/ 84193 h 3762376"/>
                <a:gd name="connsiteX1091" fmla="*/ 1682383 w 6270621"/>
                <a:gd name="connsiteY1091" fmla="*/ 78883 h 3762376"/>
                <a:gd name="connsiteX1092" fmla="*/ 1777725 w 6270621"/>
                <a:gd name="connsiteY1092" fmla="*/ 68263 h 3762376"/>
                <a:gd name="connsiteX1093" fmla="*/ 5657276 w 6270621"/>
                <a:gd name="connsiteY1093" fmla="*/ 47625 h 3762376"/>
                <a:gd name="connsiteX1094" fmla="*/ 5673154 w 6270621"/>
                <a:gd name="connsiteY1094" fmla="*/ 68788 h 3762376"/>
                <a:gd name="connsiteX1095" fmla="*/ 5741956 w 6270621"/>
                <a:gd name="connsiteY1095" fmla="*/ 89951 h 3762376"/>
                <a:gd name="connsiteX1096" fmla="*/ 5789588 w 6270621"/>
                <a:gd name="connsiteY1096" fmla="*/ 95242 h 3762376"/>
                <a:gd name="connsiteX1097" fmla="*/ 5805466 w 6270621"/>
                <a:gd name="connsiteY1097" fmla="*/ 111114 h 3762376"/>
                <a:gd name="connsiteX1098" fmla="*/ 5826636 w 6270621"/>
                <a:gd name="connsiteY1098" fmla="*/ 105823 h 3762376"/>
                <a:gd name="connsiteX1099" fmla="*/ 5879561 w 6270621"/>
                <a:gd name="connsiteY1099" fmla="*/ 105823 h 3762376"/>
                <a:gd name="connsiteX1100" fmla="*/ 5911316 w 6270621"/>
                <a:gd name="connsiteY1100" fmla="*/ 116405 h 3762376"/>
                <a:gd name="connsiteX1101" fmla="*/ 5906023 w 6270621"/>
                <a:gd name="connsiteY1101" fmla="*/ 158731 h 3762376"/>
                <a:gd name="connsiteX1102" fmla="*/ 5874268 w 6270621"/>
                <a:gd name="connsiteY1102" fmla="*/ 169313 h 3762376"/>
                <a:gd name="connsiteX1103" fmla="*/ 5895438 w 6270621"/>
                <a:gd name="connsiteY1103" fmla="*/ 179894 h 3762376"/>
                <a:gd name="connsiteX1104" fmla="*/ 5916608 w 6270621"/>
                <a:gd name="connsiteY1104" fmla="*/ 211638 h 3762376"/>
                <a:gd name="connsiteX1105" fmla="*/ 5911316 w 6270621"/>
                <a:gd name="connsiteY1105" fmla="*/ 216929 h 3762376"/>
                <a:gd name="connsiteX1106" fmla="*/ 5879561 w 6270621"/>
                <a:gd name="connsiteY1106" fmla="*/ 216929 h 3762376"/>
                <a:gd name="connsiteX1107" fmla="*/ 5863683 w 6270621"/>
                <a:gd name="connsiteY1107" fmla="*/ 195766 h 3762376"/>
                <a:gd name="connsiteX1108" fmla="*/ 5858391 w 6270621"/>
                <a:gd name="connsiteY1108" fmla="*/ 216929 h 3762376"/>
                <a:gd name="connsiteX1109" fmla="*/ 5837221 w 6270621"/>
                <a:gd name="connsiteY1109" fmla="*/ 206348 h 3762376"/>
                <a:gd name="connsiteX1110" fmla="*/ 5816051 w 6270621"/>
                <a:gd name="connsiteY1110" fmla="*/ 185185 h 3762376"/>
                <a:gd name="connsiteX1111" fmla="*/ 5794881 w 6270621"/>
                <a:gd name="connsiteY1111" fmla="*/ 201057 h 3762376"/>
                <a:gd name="connsiteX1112" fmla="*/ 5773711 w 6270621"/>
                <a:gd name="connsiteY1112" fmla="*/ 185185 h 3762376"/>
                <a:gd name="connsiteX1113" fmla="*/ 5763126 w 6270621"/>
                <a:gd name="connsiteY1113" fmla="*/ 158731 h 3762376"/>
                <a:gd name="connsiteX1114" fmla="*/ 5757833 w 6270621"/>
                <a:gd name="connsiteY1114" fmla="*/ 179894 h 3762376"/>
                <a:gd name="connsiteX1115" fmla="*/ 5773711 w 6270621"/>
                <a:gd name="connsiteY1115" fmla="*/ 206348 h 3762376"/>
                <a:gd name="connsiteX1116" fmla="*/ 5773711 w 6270621"/>
                <a:gd name="connsiteY1116" fmla="*/ 243383 h 3762376"/>
                <a:gd name="connsiteX1117" fmla="*/ 5731371 w 6270621"/>
                <a:gd name="connsiteY1117" fmla="*/ 269837 h 3762376"/>
                <a:gd name="connsiteX1118" fmla="*/ 5768418 w 6270621"/>
                <a:gd name="connsiteY1118" fmla="*/ 269837 h 3762376"/>
                <a:gd name="connsiteX1119" fmla="*/ 5789588 w 6270621"/>
                <a:gd name="connsiteY1119" fmla="*/ 301582 h 3762376"/>
                <a:gd name="connsiteX1120" fmla="*/ 5805466 w 6270621"/>
                <a:gd name="connsiteY1120" fmla="*/ 306872 h 3762376"/>
                <a:gd name="connsiteX1121" fmla="*/ 5831928 w 6270621"/>
                <a:gd name="connsiteY1121" fmla="*/ 317454 h 3762376"/>
                <a:gd name="connsiteX1122" fmla="*/ 5831928 w 6270621"/>
                <a:gd name="connsiteY1122" fmla="*/ 343907 h 3762376"/>
                <a:gd name="connsiteX1123" fmla="*/ 5810758 w 6270621"/>
                <a:gd name="connsiteY1123" fmla="*/ 338617 h 3762376"/>
                <a:gd name="connsiteX1124" fmla="*/ 5784296 w 6270621"/>
                <a:gd name="connsiteY1124" fmla="*/ 365070 h 3762376"/>
                <a:gd name="connsiteX1125" fmla="*/ 5741956 w 6270621"/>
                <a:gd name="connsiteY1125" fmla="*/ 465595 h 3762376"/>
                <a:gd name="connsiteX1126" fmla="*/ 5741956 w 6270621"/>
                <a:gd name="connsiteY1126" fmla="*/ 492049 h 3762376"/>
                <a:gd name="connsiteX1127" fmla="*/ 5715493 w 6270621"/>
                <a:gd name="connsiteY1127" fmla="*/ 476176 h 3762376"/>
                <a:gd name="connsiteX1128" fmla="*/ 5694323 w 6270621"/>
                <a:gd name="connsiteY1128" fmla="*/ 481467 h 3762376"/>
                <a:gd name="connsiteX1129" fmla="*/ 5689031 w 6270621"/>
                <a:gd name="connsiteY1129" fmla="*/ 497339 h 3762376"/>
                <a:gd name="connsiteX1130" fmla="*/ 5678446 w 6270621"/>
                <a:gd name="connsiteY1130" fmla="*/ 518502 h 3762376"/>
                <a:gd name="connsiteX1131" fmla="*/ 5673154 w 6270621"/>
                <a:gd name="connsiteY1131" fmla="*/ 481467 h 3762376"/>
                <a:gd name="connsiteX1132" fmla="*/ 5662569 w 6270621"/>
                <a:gd name="connsiteY1132" fmla="*/ 486758 h 3762376"/>
                <a:gd name="connsiteX1133" fmla="*/ 5657276 w 6270621"/>
                <a:gd name="connsiteY1133" fmla="*/ 529084 h 3762376"/>
                <a:gd name="connsiteX1134" fmla="*/ 5636106 w 6270621"/>
                <a:gd name="connsiteY1134" fmla="*/ 513212 h 3762376"/>
                <a:gd name="connsiteX1135" fmla="*/ 5620229 w 6270621"/>
                <a:gd name="connsiteY1135" fmla="*/ 523793 h 3762376"/>
                <a:gd name="connsiteX1136" fmla="*/ 5636106 w 6270621"/>
                <a:gd name="connsiteY1136" fmla="*/ 576701 h 3762376"/>
                <a:gd name="connsiteX1137" fmla="*/ 5636106 w 6270621"/>
                <a:gd name="connsiteY1137" fmla="*/ 603155 h 3762376"/>
                <a:gd name="connsiteX1138" fmla="*/ 5641399 w 6270621"/>
                <a:gd name="connsiteY1138" fmla="*/ 613736 h 3762376"/>
                <a:gd name="connsiteX1139" fmla="*/ 5657276 w 6270621"/>
                <a:gd name="connsiteY1139" fmla="*/ 608445 h 3762376"/>
                <a:gd name="connsiteX1140" fmla="*/ 5667861 w 6270621"/>
                <a:gd name="connsiteY1140" fmla="*/ 624318 h 3762376"/>
                <a:gd name="connsiteX1141" fmla="*/ 5678446 w 6270621"/>
                <a:gd name="connsiteY1141" fmla="*/ 645481 h 3762376"/>
                <a:gd name="connsiteX1142" fmla="*/ 5689031 w 6270621"/>
                <a:gd name="connsiteY1142" fmla="*/ 650771 h 3762376"/>
                <a:gd name="connsiteX1143" fmla="*/ 5704908 w 6270621"/>
                <a:gd name="connsiteY1143" fmla="*/ 671935 h 3762376"/>
                <a:gd name="connsiteX1144" fmla="*/ 5699616 w 6270621"/>
                <a:gd name="connsiteY1144" fmla="*/ 677225 h 3762376"/>
                <a:gd name="connsiteX1145" fmla="*/ 5683739 w 6270621"/>
                <a:gd name="connsiteY1145" fmla="*/ 661353 h 3762376"/>
                <a:gd name="connsiteX1146" fmla="*/ 5683739 w 6270621"/>
                <a:gd name="connsiteY1146" fmla="*/ 682516 h 3762376"/>
                <a:gd name="connsiteX1147" fmla="*/ 5699616 w 6270621"/>
                <a:gd name="connsiteY1147" fmla="*/ 730133 h 3762376"/>
                <a:gd name="connsiteX1148" fmla="*/ 5689031 w 6270621"/>
                <a:gd name="connsiteY1148" fmla="*/ 746005 h 3762376"/>
                <a:gd name="connsiteX1149" fmla="*/ 5673154 w 6270621"/>
                <a:gd name="connsiteY1149" fmla="*/ 746005 h 3762376"/>
                <a:gd name="connsiteX1150" fmla="*/ 5678446 w 6270621"/>
                <a:gd name="connsiteY1150" fmla="*/ 777750 h 3762376"/>
                <a:gd name="connsiteX1151" fmla="*/ 5667861 w 6270621"/>
                <a:gd name="connsiteY1151" fmla="*/ 793622 h 3762376"/>
                <a:gd name="connsiteX1152" fmla="*/ 5683739 w 6270621"/>
                <a:gd name="connsiteY1152" fmla="*/ 825367 h 3762376"/>
                <a:gd name="connsiteX1153" fmla="*/ 5678446 w 6270621"/>
                <a:gd name="connsiteY1153" fmla="*/ 846530 h 3762376"/>
                <a:gd name="connsiteX1154" fmla="*/ 5678446 w 6270621"/>
                <a:gd name="connsiteY1154" fmla="*/ 878274 h 3762376"/>
                <a:gd name="connsiteX1155" fmla="*/ 5662569 w 6270621"/>
                <a:gd name="connsiteY1155" fmla="*/ 862402 h 3762376"/>
                <a:gd name="connsiteX1156" fmla="*/ 5620229 w 6270621"/>
                <a:gd name="connsiteY1156" fmla="*/ 793622 h 3762376"/>
                <a:gd name="connsiteX1157" fmla="*/ 5567304 w 6270621"/>
                <a:gd name="connsiteY1157" fmla="*/ 719551 h 3762376"/>
                <a:gd name="connsiteX1158" fmla="*/ 5556719 w 6270621"/>
                <a:gd name="connsiteY1158" fmla="*/ 687807 h 3762376"/>
                <a:gd name="connsiteX1159" fmla="*/ 5567304 w 6270621"/>
                <a:gd name="connsiteY1159" fmla="*/ 666644 h 3762376"/>
                <a:gd name="connsiteX1160" fmla="*/ 5551426 w 6270621"/>
                <a:gd name="connsiteY1160" fmla="*/ 645481 h 3762376"/>
                <a:gd name="connsiteX1161" fmla="*/ 5562011 w 6270621"/>
                <a:gd name="connsiteY1161" fmla="*/ 640190 h 3762376"/>
                <a:gd name="connsiteX1162" fmla="*/ 5583181 w 6270621"/>
                <a:gd name="connsiteY1162" fmla="*/ 581992 h 3762376"/>
                <a:gd name="connsiteX1163" fmla="*/ 5588474 w 6270621"/>
                <a:gd name="connsiteY1163" fmla="*/ 507921 h 3762376"/>
                <a:gd name="connsiteX1164" fmla="*/ 5609644 w 6270621"/>
                <a:gd name="connsiteY1164" fmla="*/ 497339 h 3762376"/>
                <a:gd name="connsiteX1165" fmla="*/ 5604351 w 6270621"/>
                <a:gd name="connsiteY1165" fmla="*/ 465595 h 3762376"/>
                <a:gd name="connsiteX1166" fmla="*/ 5593766 w 6270621"/>
                <a:gd name="connsiteY1166" fmla="*/ 439141 h 3762376"/>
                <a:gd name="connsiteX1167" fmla="*/ 5609644 w 6270621"/>
                <a:gd name="connsiteY1167" fmla="*/ 417978 h 3762376"/>
                <a:gd name="connsiteX1168" fmla="*/ 5583181 w 6270621"/>
                <a:gd name="connsiteY1168" fmla="*/ 423269 h 3762376"/>
                <a:gd name="connsiteX1169" fmla="*/ 5572596 w 6270621"/>
                <a:gd name="connsiteY1169" fmla="*/ 444432 h 3762376"/>
                <a:gd name="connsiteX1170" fmla="*/ 5588474 w 6270621"/>
                <a:gd name="connsiteY1170" fmla="*/ 455013 h 3762376"/>
                <a:gd name="connsiteX1171" fmla="*/ 5588474 w 6270621"/>
                <a:gd name="connsiteY1171" fmla="*/ 470886 h 3762376"/>
                <a:gd name="connsiteX1172" fmla="*/ 5572596 w 6270621"/>
                <a:gd name="connsiteY1172" fmla="*/ 476176 h 3762376"/>
                <a:gd name="connsiteX1173" fmla="*/ 5572596 w 6270621"/>
                <a:gd name="connsiteY1173" fmla="*/ 502630 h 3762376"/>
                <a:gd name="connsiteX1174" fmla="*/ 5562011 w 6270621"/>
                <a:gd name="connsiteY1174" fmla="*/ 518502 h 3762376"/>
                <a:gd name="connsiteX1175" fmla="*/ 5535549 w 6270621"/>
                <a:gd name="connsiteY1175" fmla="*/ 497339 h 3762376"/>
                <a:gd name="connsiteX1176" fmla="*/ 5524964 w 6270621"/>
                <a:gd name="connsiteY1176" fmla="*/ 460304 h 3762376"/>
                <a:gd name="connsiteX1177" fmla="*/ 5482624 w 6270621"/>
                <a:gd name="connsiteY1177" fmla="*/ 507921 h 3762376"/>
                <a:gd name="connsiteX1178" fmla="*/ 5482624 w 6270621"/>
                <a:gd name="connsiteY1178" fmla="*/ 550247 h 3762376"/>
                <a:gd name="connsiteX1179" fmla="*/ 5482624 w 6270621"/>
                <a:gd name="connsiteY1179" fmla="*/ 581992 h 3762376"/>
                <a:gd name="connsiteX1180" fmla="*/ 5509086 w 6270621"/>
                <a:gd name="connsiteY1180" fmla="*/ 587282 h 3762376"/>
                <a:gd name="connsiteX1181" fmla="*/ 5487916 w 6270621"/>
                <a:gd name="connsiteY1181" fmla="*/ 608445 h 3762376"/>
                <a:gd name="connsiteX1182" fmla="*/ 5445576 w 6270621"/>
                <a:gd name="connsiteY1182" fmla="*/ 624318 h 3762376"/>
                <a:gd name="connsiteX1183" fmla="*/ 5424406 w 6270621"/>
                <a:gd name="connsiteY1183" fmla="*/ 608445 h 3762376"/>
                <a:gd name="connsiteX1184" fmla="*/ 5392651 w 6270621"/>
                <a:gd name="connsiteY1184" fmla="*/ 608445 h 3762376"/>
                <a:gd name="connsiteX1185" fmla="*/ 5387359 w 6270621"/>
                <a:gd name="connsiteY1185" fmla="*/ 629608 h 3762376"/>
                <a:gd name="connsiteX1186" fmla="*/ 5360896 w 6270621"/>
                <a:gd name="connsiteY1186" fmla="*/ 640190 h 3762376"/>
                <a:gd name="connsiteX1187" fmla="*/ 5313264 w 6270621"/>
                <a:gd name="connsiteY1187" fmla="*/ 640190 h 3762376"/>
                <a:gd name="connsiteX1188" fmla="*/ 5281509 w 6270621"/>
                <a:gd name="connsiteY1188" fmla="*/ 656062 h 3762376"/>
                <a:gd name="connsiteX1189" fmla="*/ 5265631 w 6270621"/>
                <a:gd name="connsiteY1189" fmla="*/ 746005 h 3762376"/>
                <a:gd name="connsiteX1190" fmla="*/ 5255046 w 6270621"/>
                <a:gd name="connsiteY1190" fmla="*/ 788331 h 3762376"/>
                <a:gd name="connsiteX1191" fmla="*/ 5244461 w 6270621"/>
                <a:gd name="connsiteY1191" fmla="*/ 820076 h 3762376"/>
                <a:gd name="connsiteX1192" fmla="*/ 5223291 w 6270621"/>
                <a:gd name="connsiteY1192" fmla="*/ 846530 h 3762376"/>
                <a:gd name="connsiteX1193" fmla="*/ 5249754 w 6270621"/>
                <a:gd name="connsiteY1193" fmla="*/ 846530 h 3762376"/>
                <a:gd name="connsiteX1194" fmla="*/ 5286801 w 6270621"/>
                <a:gd name="connsiteY1194" fmla="*/ 867693 h 3762376"/>
                <a:gd name="connsiteX1195" fmla="*/ 5302679 w 6270621"/>
                <a:gd name="connsiteY1195" fmla="*/ 862402 h 3762376"/>
                <a:gd name="connsiteX1196" fmla="*/ 5297386 w 6270621"/>
                <a:gd name="connsiteY1196" fmla="*/ 841239 h 3762376"/>
                <a:gd name="connsiteX1197" fmla="*/ 5318556 w 6270621"/>
                <a:gd name="connsiteY1197" fmla="*/ 841239 h 3762376"/>
                <a:gd name="connsiteX1198" fmla="*/ 5355604 w 6270621"/>
                <a:gd name="connsiteY1198" fmla="*/ 867693 h 3762376"/>
                <a:gd name="connsiteX1199" fmla="*/ 5366189 w 6270621"/>
                <a:gd name="connsiteY1199" fmla="*/ 894147 h 3762376"/>
                <a:gd name="connsiteX1200" fmla="*/ 5387359 w 6270621"/>
                <a:gd name="connsiteY1200" fmla="*/ 910019 h 3762376"/>
                <a:gd name="connsiteX1201" fmla="*/ 5387359 w 6270621"/>
                <a:gd name="connsiteY1201" fmla="*/ 941764 h 3762376"/>
                <a:gd name="connsiteX1202" fmla="*/ 5419114 w 6270621"/>
                <a:gd name="connsiteY1202" fmla="*/ 1036997 h 3762376"/>
                <a:gd name="connsiteX1203" fmla="*/ 5403236 w 6270621"/>
                <a:gd name="connsiteY1203" fmla="*/ 1089905 h 3762376"/>
                <a:gd name="connsiteX1204" fmla="*/ 5403236 w 6270621"/>
                <a:gd name="connsiteY1204" fmla="*/ 1111068 h 3762376"/>
                <a:gd name="connsiteX1205" fmla="*/ 5397944 w 6270621"/>
                <a:gd name="connsiteY1205" fmla="*/ 1169266 h 3762376"/>
                <a:gd name="connsiteX1206" fmla="*/ 5376774 w 6270621"/>
                <a:gd name="connsiteY1206" fmla="*/ 1222174 h 3762376"/>
                <a:gd name="connsiteX1207" fmla="*/ 5345019 w 6270621"/>
                <a:gd name="connsiteY1207" fmla="*/ 1232755 h 3762376"/>
                <a:gd name="connsiteX1208" fmla="*/ 5329141 w 6270621"/>
                <a:gd name="connsiteY1208" fmla="*/ 1216883 h 3762376"/>
                <a:gd name="connsiteX1209" fmla="*/ 5318556 w 6270621"/>
                <a:gd name="connsiteY1209" fmla="*/ 1232755 h 3762376"/>
                <a:gd name="connsiteX1210" fmla="*/ 5329141 w 6270621"/>
                <a:gd name="connsiteY1210" fmla="*/ 1238046 h 3762376"/>
                <a:gd name="connsiteX1211" fmla="*/ 5318556 w 6270621"/>
                <a:gd name="connsiteY1211" fmla="*/ 1248628 h 3762376"/>
                <a:gd name="connsiteX1212" fmla="*/ 5313264 w 6270621"/>
                <a:gd name="connsiteY1212" fmla="*/ 1275081 h 3762376"/>
                <a:gd name="connsiteX1213" fmla="*/ 5313264 w 6270621"/>
                <a:gd name="connsiteY1213" fmla="*/ 1296245 h 3762376"/>
                <a:gd name="connsiteX1214" fmla="*/ 5297386 w 6270621"/>
                <a:gd name="connsiteY1214" fmla="*/ 1317408 h 3762376"/>
                <a:gd name="connsiteX1215" fmla="*/ 5297386 w 6270621"/>
                <a:gd name="connsiteY1215" fmla="*/ 1338571 h 3762376"/>
                <a:gd name="connsiteX1216" fmla="*/ 5323849 w 6270621"/>
                <a:gd name="connsiteY1216" fmla="*/ 1359734 h 3762376"/>
                <a:gd name="connsiteX1217" fmla="*/ 5366189 w 6270621"/>
                <a:gd name="connsiteY1217" fmla="*/ 1402060 h 3762376"/>
                <a:gd name="connsiteX1218" fmla="*/ 5366189 w 6270621"/>
                <a:gd name="connsiteY1218" fmla="*/ 1433804 h 3762376"/>
                <a:gd name="connsiteX1219" fmla="*/ 5350311 w 6270621"/>
                <a:gd name="connsiteY1219" fmla="*/ 1465549 h 3762376"/>
                <a:gd name="connsiteX1220" fmla="*/ 5318556 w 6270621"/>
                <a:gd name="connsiteY1220" fmla="*/ 1476130 h 3762376"/>
                <a:gd name="connsiteX1221" fmla="*/ 5307971 w 6270621"/>
                <a:gd name="connsiteY1221" fmla="*/ 1465549 h 3762376"/>
                <a:gd name="connsiteX1222" fmla="*/ 5302679 w 6270621"/>
                <a:gd name="connsiteY1222" fmla="*/ 1439095 h 3762376"/>
                <a:gd name="connsiteX1223" fmla="*/ 5297386 w 6270621"/>
                <a:gd name="connsiteY1223" fmla="*/ 1412641 h 3762376"/>
                <a:gd name="connsiteX1224" fmla="*/ 5297386 w 6270621"/>
                <a:gd name="connsiteY1224" fmla="*/ 1396769 h 3762376"/>
                <a:gd name="connsiteX1225" fmla="*/ 5281509 w 6270621"/>
                <a:gd name="connsiteY1225" fmla="*/ 1391478 h 3762376"/>
                <a:gd name="connsiteX1226" fmla="*/ 5255046 w 6270621"/>
                <a:gd name="connsiteY1226" fmla="*/ 1380897 h 3762376"/>
                <a:gd name="connsiteX1227" fmla="*/ 5249754 w 6270621"/>
                <a:gd name="connsiteY1227" fmla="*/ 1354443 h 3762376"/>
                <a:gd name="connsiteX1228" fmla="*/ 5255046 w 6270621"/>
                <a:gd name="connsiteY1228" fmla="*/ 1338571 h 3762376"/>
                <a:gd name="connsiteX1229" fmla="*/ 5233876 w 6270621"/>
                <a:gd name="connsiteY1229" fmla="*/ 1333280 h 3762376"/>
                <a:gd name="connsiteX1230" fmla="*/ 5202122 w 6270621"/>
                <a:gd name="connsiteY1230" fmla="*/ 1343861 h 3762376"/>
                <a:gd name="connsiteX1231" fmla="*/ 5186244 w 6270621"/>
                <a:gd name="connsiteY1231" fmla="*/ 1359734 h 3762376"/>
                <a:gd name="connsiteX1232" fmla="*/ 5175659 w 6270621"/>
                <a:gd name="connsiteY1232" fmla="*/ 1343861 h 3762376"/>
                <a:gd name="connsiteX1233" fmla="*/ 5180952 w 6270621"/>
                <a:gd name="connsiteY1233" fmla="*/ 1322698 h 3762376"/>
                <a:gd name="connsiteX1234" fmla="*/ 5180952 w 6270621"/>
                <a:gd name="connsiteY1234" fmla="*/ 1306826 h 3762376"/>
                <a:gd name="connsiteX1235" fmla="*/ 5159782 w 6270621"/>
                <a:gd name="connsiteY1235" fmla="*/ 1317408 h 3762376"/>
                <a:gd name="connsiteX1236" fmla="*/ 5143904 w 6270621"/>
                <a:gd name="connsiteY1236" fmla="*/ 1338571 h 3762376"/>
                <a:gd name="connsiteX1237" fmla="*/ 5133319 w 6270621"/>
                <a:gd name="connsiteY1237" fmla="*/ 1349152 h 3762376"/>
                <a:gd name="connsiteX1238" fmla="*/ 5133319 w 6270621"/>
                <a:gd name="connsiteY1238" fmla="*/ 1365024 h 3762376"/>
                <a:gd name="connsiteX1239" fmla="*/ 5112149 w 6270621"/>
                <a:gd name="connsiteY1239" fmla="*/ 1359734 h 3762376"/>
                <a:gd name="connsiteX1240" fmla="*/ 5106857 w 6270621"/>
                <a:gd name="connsiteY1240" fmla="*/ 1370315 h 3762376"/>
                <a:gd name="connsiteX1241" fmla="*/ 5122734 w 6270621"/>
                <a:gd name="connsiteY1241" fmla="*/ 1396769 h 3762376"/>
                <a:gd name="connsiteX1242" fmla="*/ 5133319 w 6270621"/>
                <a:gd name="connsiteY1242" fmla="*/ 1412641 h 3762376"/>
                <a:gd name="connsiteX1243" fmla="*/ 5170367 w 6270621"/>
                <a:gd name="connsiteY1243" fmla="*/ 1412641 h 3762376"/>
                <a:gd name="connsiteX1244" fmla="*/ 5180952 w 6270621"/>
                <a:gd name="connsiteY1244" fmla="*/ 1391478 h 3762376"/>
                <a:gd name="connsiteX1245" fmla="*/ 5196829 w 6270621"/>
                <a:gd name="connsiteY1245" fmla="*/ 1402060 h 3762376"/>
                <a:gd name="connsiteX1246" fmla="*/ 5223291 w 6270621"/>
                <a:gd name="connsiteY1246" fmla="*/ 1396769 h 3762376"/>
                <a:gd name="connsiteX1247" fmla="*/ 5223291 w 6270621"/>
                <a:gd name="connsiteY1247" fmla="*/ 1417932 h 3762376"/>
                <a:gd name="connsiteX1248" fmla="*/ 5196829 w 6270621"/>
                <a:gd name="connsiteY1248" fmla="*/ 1423223 h 3762376"/>
                <a:gd name="connsiteX1249" fmla="*/ 5175659 w 6270621"/>
                <a:gd name="connsiteY1249" fmla="*/ 1449677 h 3762376"/>
                <a:gd name="connsiteX1250" fmla="*/ 5180952 w 6270621"/>
                <a:gd name="connsiteY1250" fmla="*/ 1481421 h 3762376"/>
                <a:gd name="connsiteX1251" fmla="*/ 5217999 w 6270621"/>
                <a:gd name="connsiteY1251" fmla="*/ 1523747 h 3762376"/>
                <a:gd name="connsiteX1252" fmla="*/ 5233876 w 6270621"/>
                <a:gd name="connsiteY1252" fmla="*/ 1534329 h 3762376"/>
                <a:gd name="connsiteX1253" fmla="*/ 5260339 w 6270621"/>
                <a:gd name="connsiteY1253" fmla="*/ 1566073 h 3762376"/>
                <a:gd name="connsiteX1254" fmla="*/ 5244461 w 6270621"/>
                <a:gd name="connsiteY1254" fmla="*/ 1597818 h 3762376"/>
                <a:gd name="connsiteX1255" fmla="*/ 5270924 w 6270621"/>
                <a:gd name="connsiteY1255" fmla="*/ 1597818 h 3762376"/>
                <a:gd name="connsiteX1256" fmla="*/ 5270924 w 6270621"/>
                <a:gd name="connsiteY1256" fmla="*/ 1640144 h 3762376"/>
                <a:gd name="connsiteX1257" fmla="*/ 5255046 w 6270621"/>
                <a:gd name="connsiteY1257" fmla="*/ 1666598 h 3762376"/>
                <a:gd name="connsiteX1258" fmla="*/ 5255046 w 6270621"/>
                <a:gd name="connsiteY1258" fmla="*/ 1698342 h 3762376"/>
                <a:gd name="connsiteX1259" fmla="*/ 5223291 w 6270621"/>
                <a:gd name="connsiteY1259" fmla="*/ 1761831 h 3762376"/>
                <a:gd name="connsiteX1260" fmla="*/ 5186244 w 6270621"/>
                <a:gd name="connsiteY1260" fmla="*/ 1798867 h 3762376"/>
                <a:gd name="connsiteX1261" fmla="*/ 5101564 w 6270621"/>
                <a:gd name="connsiteY1261" fmla="*/ 1835902 h 3762376"/>
                <a:gd name="connsiteX1262" fmla="*/ 5085687 w 6270621"/>
                <a:gd name="connsiteY1262" fmla="*/ 1857065 h 3762376"/>
                <a:gd name="connsiteX1263" fmla="*/ 5096272 w 6270621"/>
                <a:gd name="connsiteY1263" fmla="*/ 1883519 h 3762376"/>
                <a:gd name="connsiteX1264" fmla="*/ 5112149 w 6270621"/>
                <a:gd name="connsiteY1264" fmla="*/ 1899391 h 3762376"/>
                <a:gd name="connsiteX1265" fmla="*/ 5096272 w 6270621"/>
                <a:gd name="connsiteY1265" fmla="*/ 1931136 h 3762376"/>
                <a:gd name="connsiteX1266" fmla="*/ 5075102 w 6270621"/>
                <a:gd name="connsiteY1266" fmla="*/ 1925845 h 3762376"/>
                <a:gd name="connsiteX1267" fmla="*/ 5064517 w 6270621"/>
                <a:gd name="connsiteY1267" fmla="*/ 1899391 h 3762376"/>
                <a:gd name="connsiteX1268" fmla="*/ 5075102 w 6270621"/>
                <a:gd name="connsiteY1268" fmla="*/ 1883519 h 3762376"/>
                <a:gd name="connsiteX1269" fmla="*/ 5075102 w 6270621"/>
                <a:gd name="connsiteY1269" fmla="*/ 1851774 h 3762376"/>
                <a:gd name="connsiteX1270" fmla="*/ 5064517 w 6270621"/>
                <a:gd name="connsiteY1270" fmla="*/ 1835902 h 3762376"/>
                <a:gd name="connsiteX1271" fmla="*/ 5032762 w 6270621"/>
                <a:gd name="connsiteY1271" fmla="*/ 1841193 h 3762376"/>
                <a:gd name="connsiteX1272" fmla="*/ 5022177 w 6270621"/>
                <a:gd name="connsiteY1272" fmla="*/ 1867647 h 3762376"/>
                <a:gd name="connsiteX1273" fmla="*/ 5001007 w 6270621"/>
                <a:gd name="connsiteY1273" fmla="*/ 1878228 h 3762376"/>
                <a:gd name="connsiteX1274" fmla="*/ 5001007 w 6270621"/>
                <a:gd name="connsiteY1274" fmla="*/ 1909973 h 3762376"/>
                <a:gd name="connsiteX1275" fmla="*/ 5022177 w 6270621"/>
                <a:gd name="connsiteY1275" fmla="*/ 1936426 h 3762376"/>
                <a:gd name="connsiteX1276" fmla="*/ 5032762 w 6270621"/>
                <a:gd name="connsiteY1276" fmla="*/ 1957589 h 3762376"/>
                <a:gd name="connsiteX1277" fmla="*/ 5048639 w 6270621"/>
                <a:gd name="connsiteY1277" fmla="*/ 1962880 h 3762376"/>
                <a:gd name="connsiteX1278" fmla="*/ 5085687 w 6270621"/>
                <a:gd name="connsiteY1278" fmla="*/ 2005206 h 3762376"/>
                <a:gd name="connsiteX1279" fmla="*/ 5096272 w 6270621"/>
                <a:gd name="connsiteY1279" fmla="*/ 2052823 h 3762376"/>
                <a:gd name="connsiteX1280" fmla="*/ 5096272 w 6270621"/>
                <a:gd name="connsiteY1280" fmla="*/ 2095149 h 3762376"/>
                <a:gd name="connsiteX1281" fmla="*/ 5075102 w 6270621"/>
                <a:gd name="connsiteY1281" fmla="*/ 2111022 h 3762376"/>
                <a:gd name="connsiteX1282" fmla="*/ 5048639 w 6270621"/>
                <a:gd name="connsiteY1282" fmla="*/ 2121603 h 3762376"/>
                <a:gd name="connsiteX1283" fmla="*/ 5043347 w 6270621"/>
                <a:gd name="connsiteY1283" fmla="*/ 2142766 h 3762376"/>
                <a:gd name="connsiteX1284" fmla="*/ 5016884 w 6270621"/>
                <a:gd name="connsiteY1284" fmla="*/ 2163929 h 3762376"/>
                <a:gd name="connsiteX1285" fmla="*/ 5001007 w 6270621"/>
                <a:gd name="connsiteY1285" fmla="*/ 2148057 h 3762376"/>
                <a:gd name="connsiteX1286" fmla="*/ 5001007 w 6270621"/>
                <a:gd name="connsiteY1286" fmla="*/ 2126894 h 3762376"/>
                <a:gd name="connsiteX1287" fmla="*/ 4990422 w 6270621"/>
                <a:gd name="connsiteY1287" fmla="*/ 2111022 h 3762376"/>
                <a:gd name="connsiteX1288" fmla="*/ 4974544 w 6270621"/>
                <a:gd name="connsiteY1288" fmla="*/ 2105731 h 3762376"/>
                <a:gd name="connsiteX1289" fmla="*/ 4969252 w 6270621"/>
                <a:gd name="connsiteY1289" fmla="*/ 2079277 h 3762376"/>
                <a:gd name="connsiteX1290" fmla="*/ 4942789 w 6270621"/>
                <a:gd name="connsiteY1290" fmla="*/ 2063405 h 3762376"/>
                <a:gd name="connsiteX1291" fmla="*/ 4926912 w 6270621"/>
                <a:gd name="connsiteY1291" fmla="*/ 2063405 h 3762376"/>
                <a:gd name="connsiteX1292" fmla="*/ 4921619 w 6270621"/>
                <a:gd name="connsiteY1292" fmla="*/ 2042242 h 3762376"/>
                <a:gd name="connsiteX1293" fmla="*/ 4911035 w 6270621"/>
                <a:gd name="connsiteY1293" fmla="*/ 2031660 h 3762376"/>
                <a:gd name="connsiteX1294" fmla="*/ 4900450 w 6270621"/>
                <a:gd name="connsiteY1294" fmla="*/ 2047532 h 3762376"/>
                <a:gd name="connsiteX1295" fmla="*/ 4905742 w 6270621"/>
                <a:gd name="connsiteY1295" fmla="*/ 2073986 h 3762376"/>
                <a:gd name="connsiteX1296" fmla="*/ 4900450 w 6270621"/>
                <a:gd name="connsiteY1296" fmla="*/ 2105731 h 3762376"/>
                <a:gd name="connsiteX1297" fmla="*/ 4900450 w 6270621"/>
                <a:gd name="connsiteY1297" fmla="*/ 2137475 h 3762376"/>
                <a:gd name="connsiteX1298" fmla="*/ 4926912 w 6270621"/>
                <a:gd name="connsiteY1298" fmla="*/ 2185092 h 3762376"/>
                <a:gd name="connsiteX1299" fmla="*/ 4958667 w 6270621"/>
                <a:gd name="connsiteY1299" fmla="*/ 2222127 h 3762376"/>
                <a:gd name="connsiteX1300" fmla="*/ 4985129 w 6270621"/>
                <a:gd name="connsiteY1300" fmla="*/ 2248581 h 3762376"/>
                <a:gd name="connsiteX1301" fmla="*/ 4985129 w 6270621"/>
                <a:gd name="connsiteY1301" fmla="*/ 2285617 h 3762376"/>
                <a:gd name="connsiteX1302" fmla="*/ 5001007 w 6270621"/>
                <a:gd name="connsiteY1302" fmla="*/ 2333233 h 3762376"/>
                <a:gd name="connsiteX1303" fmla="*/ 4995714 w 6270621"/>
                <a:gd name="connsiteY1303" fmla="*/ 2338524 h 3762376"/>
                <a:gd name="connsiteX1304" fmla="*/ 4974544 w 6270621"/>
                <a:gd name="connsiteY1304" fmla="*/ 2327943 h 3762376"/>
                <a:gd name="connsiteX1305" fmla="*/ 4937497 w 6270621"/>
                <a:gd name="connsiteY1305" fmla="*/ 2301489 h 3762376"/>
                <a:gd name="connsiteX1306" fmla="*/ 4926912 w 6270621"/>
                <a:gd name="connsiteY1306" fmla="*/ 2264454 h 3762376"/>
                <a:gd name="connsiteX1307" fmla="*/ 4926912 w 6270621"/>
                <a:gd name="connsiteY1307" fmla="*/ 2227418 h 3762376"/>
                <a:gd name="connsiteX1308" fmla="*/ 4895157 w 6270621"/>
                <a:gd name="connsiteY1308" fmla="*/ 2185092 h 3762376"/>
                <a:gd name="connsiteX1309" fmla="*/ 4879280 w 6270621"/>
                <a:gd name="connsiteY1309" fmla="*/ 2174511 h 3762376"/>
                <a:gd name="connsiteX1310" fmla="*/ 4879280 w 6270621"/>
                <a:gd name="connsiteY1310" fmla="*/ 2163929 h 3762376"/>
                <a:gd name="connsiteX1311" fmla="*/ 4879280 w 6270621"/>
                <a:gd name="connsiteY1311" fmla="*/ 2132185 h 3762376"/>
                <a:gd name="connsiteX1312" fmla="*/ 4879280 w 6270621"/>
                <a:gd name="connsiteY1312" fmla="*/ 2100440 h 3762376"/>
                <a:gd name="connsiteX1313" fmla="*/ 4868695 w 6270621"/>
                <a:gd name="connsiteY1313" fmla="*/ 2079277 h 3762376"/>
                <a:gd name="connsiteX1314" fmla="*/ 4879280 w 6270621"/>
                <a:gd name="connsiteY1314" fmla="*/ 2068695 h 3762376"/>
                <a:gd name="connsiteX1315" fmla="*/ 4873987 w 6270621"/>
                <a:gd name="connsiteY1315" fmla="*/ 2058114 h 3762376"/>
                <a:gd name="connsiteX1316" fmla="*/ 4852817 w 6270621"/>
                <a:gd name="connsiteY1316" fmla="*/ 2031660 h 3762376"/>
                <a:gd name="connsiteX1317" fmla="*/ 4842232 w 6270621"/>
                <a:gd name="connsiteY1317" fmla="*/ 1978753 h 3762376"/>
                <a:gd name="connsiteX1318" fmla="*/ 4826355 w 6270621"/>
                <a:gd name="connsiteY1318" fmla="*/ 1957589 h 3762376"/>
                <a:gd name="connsiteX1319" fmla="*/ 4826355 w 6270621"/>
                <a:gd name="connsiteY1319" fmla="*/ 1978753 h 3762376"/>
                <a:gd name="connsiteX1320" fmla="*/ 4794600 w 6270621"/>
                <a:gd name="connsiteY1320" fmla="*/ 1999916 h 3762376"/>
                <a:gd name="connsiteX1321" fmla="*/ 4784015 w 6270621"/>
                <a:gd name="connsiteY1321" fmla="*/ 1984043 h 3762376"/>
                <a:gd name="connsiteX1322" fmla="*/ 4784015 w 6270621"/>
                <a:gd name="connsiteY1322" fmla="*/ 1947008 h 3762376"/>
                <a:gd name="connsiteX1323" fmla="*/ 4762845 w 6270621"/>
                <a:gd name="connsiteY1323" fmla="*/ 1920554 h 3762376"/>
                <a:gd name="connsiteX1324" fmla="*/ 4725797 w 6270621"/>
                <a:gd name="connsiteY1324" fmla="*/ 1883519 h 3762376"/>
                <a:gd name="connsiteX1325" fmla="*/ 4725797 w 6270621"/>
                <a:gd name="connsiteY1325" fmla="*/ 1862356 h 3762376"/>
                <a:gd name="connsiteX1326" fmla="*/ 4704627 w 6270621"/>
                <a:gd name="connsiteY1326" fmla="*/ 1851774 h 3762376"/>
                <a:gd name="connsiteX1327" fmla="*/ 4667580 w 6270621"/>
                <a:gd name="connsiteY1327" fmla="*/ 1862356 h 3762376"/>
                <a:gd name="connsiteX1328" fmla="*/ 4646410 w 6270621"/>
                <a:gd name="connsiteY1328" fmla="*/ 1851774 h 3762376"/>
                <a:gd name="connsiteX1329" fmla="*/ 4625240 w 6270621"/>
                <a:gd name="connsiteY1329" fmla="*/ 1872937 h 3762376"/>
                <a:gd name="connsiteX1330" fmla="*/ 4630532 w 6270621"/>
                <a:gd name="connsiteY1330" fmla="*/ 1888810 h 3762376"/>
                <a:gd name="connsiteX1331" fmla="*/ 4593485 w 6270621"/>
                <a:gd name="connsiteY1331" fmla="*/ 1915263 h 3762376"/>
                <a:gd name="connsiteX1332" fmla="*/ 4561730 w 6270621"/>
                <a:gd name="connsiteY1332" fmla="*/ 1957589 h 3762376"/>
                <a:gd name="connsiteX1333" fmla="*/ 4540560 w 6270621"/>
                <a:gd name="connsiteY1333" fmla="*/ 1989334 h 3762376"/>
                <a:gd name="connsiteX1334" fmla="*/ 4514098 w 6270621"/>
                <a:gd name="connsiteY1334" fmla="*/ 1994625 h 3762376"/>
                <a:gd name="connsiteX1335" fmla="*/ 4514098 w 6270621"/>
                <a:gd name="connsiteY1335" fmla="*/ 2052823 h 3762376"/>
                <a:gd name="connsiteX1336" fmla="*/ 4514098 w 6270621"/>
                <a:gd name="connsiteY1336" fmla="*/ 2079277 h 3762376"/>
                <a:gd name="connsiteX1337" fmla="*/ 4508805 w 6270621"/>
                <a:gd name="connsiteY1337" fmla="*/ 2111022 h 3762376"/>
                <a:gd name="connsiteX1338" fmla="*/ 4514098 w 6270621"/>
                <a:gd name="connsiteY1338" fmla="*/ 2132185 h 3762376"/>
                <a:gd name="connsiteX1339" fmla="*/ 4482343 w 6270621"/>
                <a:gd name="connsiteY1339" fmla="*/ 2163929 h 3762376"/>
                <a:gd name="connsiteX1340" fmla="*/ 4482343 w 6270621"/>
                <a:gd name="connsiteY1340" fmla="*/ 2179801 h 3762376"/>
                <a:gd name="connsiteX1341" fmla="*/ 4461173 w 6270621"/>
                <a:gd name="connsiteY1341" fmla="*/ 2190383 h 3762376"/>
                <a:gd name="connsiteX1342" fmla="*/ 4440003 w 6270621"/>
                <a:gd name="connsiteY1342" fmla="*/ 2158638 h 3762376"/>
                <a:gd name="connsiteX1343" fmla="*/ 4440003 w 6270621"/>
                <a:gd name="connsiteY1343" fmla="*/ 2142766 h 3762376"/>
                <a:gd name="connsiteX1344" fmla="*/ 4429418 w 6270621"/>
                <a:gd name="connsiteY1344" fmla="*/ 2126894 h 3762376"/>
                <a:gd name="connsiteX1345" fmla="*/ 4413540 w 6270621"/>
                <a:gd name="connsiteY1345" fmla="*/ 2105731 h 3762376"/>
                <a:gd name="connsiteX1346" fmla="*/ 4402955 w 6270621"/>
                <a:gd name="connsiteY1346" fmla="*/ 2058114 h 3762376"/>
                <a:gd name="connsiteX1347" fmla="*/ 4392370 w 6270621"/>
                <a:gd name="connsiteY1347" fmla="*/ 2042242 h 3762376"/>
                <a:gd name="connsiteX1348" fmla="*/ 4334153 w 6270621"/>
                <a:gd name="connsiteY1348" fmla="*/ 1931136 h 3762376"/>
                <a:gd name="connsiteX1349" fmla="*/ 4344738 w 6270621"/>
                <a:gd name="connsiteY1349" fmla="*/ 1888810 h 3762376"/>
                <a:gd name="connsiteX1350" fmla="*/ 4339445 w 6270621"/>
                <a:gd name="connsiteY1350" fmla="*/ 1862356 h 3762376"/>
                <a:gd name="connsiteX1351" fmla="*/ 4323568 w 6270621"/>
                <a:gd name="connsiteY1351" fmla="*/ 1894100 h 3762376"/>
                <a:gd name="connsiteX1352" fmla="*/ 4291813 w 6270621"/>
                <a:gd name="connsiteY1352" fmla="*/ 1899391 h 3762376"/>
                <a:gd name="connsiteX1353" fmla="*/ 4281228 w 6270621"/>
                <a:gd name="connsiteY1353" fmla="*/ 1883519 h 3762376"/>
                <a:gd name="connsiteX1354" fmla="*/ 4260058 w 6270621"/>
                <a:gd name="connsiteY1354" fmla="*/ 1867647 h 3762376"/>
                <a:gd name="connsiteX1355" fmla="*/ 4281228 w 6270621"/>
                <a:gd name="connsiteY1355" fmla="*/ 1851774 h 3762376"/>
                <a:gd name="connsiteX1356" fmla="*/ 4249473 w 6270621"/>
                <a:gd name="connsiteY1356" fmla="*/ 1846484 h 3762376"/>
                <a:gd name="connsiteX1357" fmla="*/ 4249473 w 6270621"/>
                <a:gd name="connsiteY1357" fmla="*/ 1830611 h 3762376"/>
                <a:gd name="connsiteX1358" fmla="*/ 4233596 w 6270621"/>
                <a:gd name="connsiteY1358" fmla="*/ 1835902 h 3762376"/>
                <a:gd name="connsiteX1359" fmla="*/ 4228303 w 6270621"/>
                <a:gd name="connsiteY1359" fmla="*/ 1825321 h 3762376"/>
                <a:gd name="connsiteX1360" fmla="*/ 4207133 w 6270621"/>
                <a:gd name="connsiteY1360" fmla="*/ 1814739 h 3762376"/>
                <a:gd name="connsiteX1361" fmla="*/ 4191256 w 6270621"/>
                <a:gd name="connsiteY1361" fmla="*/ 1793576 h 3762376"/>
                <a:gd name="connsiteX1362" fmla="*/ 4133038 w 6270621"/>
                <a:gd name="connsiteY1362" fmla="*/ 1798867 h 3762376"/>
                <a:gd name="connsiteX1363" fmla="*/ 4058943 w 6270621"/>
                <a:gd name="connsiteY1363" fmla="*/ 1809448 h 3762376"/>
                <a:gd name="connsiteX1364" fmla="*/ 4016603 w 6270621"/>
                <a:gd name="connsiteY1364" fmla="*/ 1793576 h 3762376"/>
                <a:gd name="connsiteX1365" fmla="*/ 4011311 w 6270621"/>
                <a:gd name="connsiteY1365" fmla="*/ 1777704 h 3762376"/>
                <a:gd name="connsiteX1366" fmla="*/ 4000726 w 6270621"/>
                <a:gd name="connsiteY1366" fmla="*/ 1761831 h 3762376"/>
                <a:gd name="connsiteX1367" fmla="*/ 3968971 w 6270621"/>
                <a:gd name="connsiteY1367" fmla="*/ 1777704 h 3762376"/>
                <a:gd name="connsiteX1368" fmla="*/ 3947801 w 6270621"/>
                <a:gd name="connsiteY1368" fmla="*/ 1782994 h 3762376"/>
                <a:gd name="connsiteX1369" fmla="*/ 3910754 w 6270621"/>
                <a:gd name="connsiteY1369" fmla="*/ 1756541 h 3762376"/>
                <a:gd name="connsiteX1370" fmla="*/ 3894876 w 6270621"/>
                <a:gd name="connsiteY1370" fmla="*/ 1761831 h 3762376"/>
                <a:gd name="connsiteX1371" fmla="*/ 3884291 w 6270621"/>
                <a:gd name="connsiteY1371" fmla="*/ 1745959 h 3762376"/>
                <a:gd name="connsiteX1372" fmla="*/ 3863121 w 6270621"/>
                <a:gd name="connsiteY1372" fmla="*/ 1708924 h 3762376"/>
                <a:gd name="connsiteX1373" fmla="*/ 3847244 w 6270621"/>
                <a:gd name="connsiteY1373" fmla="*/ 1703633 h 3762376"/>
                <a:gd name="connsiteX1374" fmla="*/ 3820781 w 6270621"/>
                <a:gd name="connsiteY1374" fmla="*/ 1724796 h 3762376"/>
                <a:gd name="connsiteX1375" fmla="*/ 3836659 w 6270621"/>
                <a:gd name="connsiteY1375" fmla="*/ 1745959 h 3762376"/>
                <a:gd name="connsiteX1376" fmla="*/ 3873706 w 6270621"/>
                <a:gd name="connsiteY1376" fmla="*/ 1798867 h 3762376"/>
                <a:gd name="connsiteX1377" fmla="*/ 3910754 w 6270621"/>
                <a:gd name="connsiteY1377" fmla="*/ 1846484 h 3762376"/>
                <a:gd name="connsiteX1378" fmla="*/ 3958386 w 6270621"/>
                <a:gd name="connsiteY1378" fmla="*/ 1835902 h 3762376"/>
                <a:gd name="connsiteX1379" fmla="*/ 3974263 w 6270621"/>
                <a:gd name="connsiteY1379" fmla="*/ 1809448 h 3762376"/>
                <a:gd name="connsiteX1380" fmla="*/ 3995433 w 6270621"/>
                <a:gd name="connsiteY1380" fmla="*/ 1782994 h 3762376"/>
                <a:gd name="connsiteX1381" fmla="*/ 4006018 w 6270621"/>
                <a:gd name="connsiteY1381" fmla="*/ 1835902 h 3762376"/>
                <a:gd name="connsiteX1382" fmla="*/ 4037773 w 6270621"/>
                <a:gd name="connsiteY1382" fmla="*/ 1841193 h 3762376"/>
                <a:gd name="connsiteX1383" fmla="*/ 4074821 w 6270621"/>
                <a:gd name="connsiteY1383" fmla="*/ 1867647 h 3762376"/>
                <a:gd name="connsiteX1384" fmla="*/ 4074821 w 6270621"/>
                <a:gd name="connsiteY1384" fmla="*/ 1899391 h 3762376"/>
                <a:gd name="connsiteX1385" fmla="*/ 4058943 w 6270621"/>
                <a:gd name="connsiteY1385" fmla="*/ 1909973 h 3762376"/>
                <a:gd name="connsiteX1386" fmla="*/ 4058943 w 6270621"/>
                <a:gd name="connsiteY1386" fmla="*/ 1925845 h 3762376"/>
                <a:gd name="connsiteX1387" fmla="*/ 4048358 w 6270621"/>
                <a:gd name="connsiteY1387" fmla="*/ 1925845 h 3762376"/>
                <a:gd name="connsiteX1388" fmla="*/ 4043066 w 6270621"/>
                <a:gd name="connsiteY1388" fmla="*/ 1952299 h 3762376"/>
                <a:gd name="connsiteX1389" fmla="*/ 4021896 w 6270621"/>
                <a:gd name="connsiteY1389" fmla="*/ 1962880 h 3762376"/>
                <a:gd name="connsiteX1390" fmla="*/ 4021896 w 6270621"/>
                <a:gd name="connsiteY1390" fmla="*/ 1978753 h 3762376"/>
                <a:gd name="connsiteX1391" fmla="*/ 4000726 w 6270621"/>
                <a:gd name="connsiteY1391" fmla="*/ 1984043 h 3762376"/>
                <a:gd name="connsiteX1392" fmla="*/ 4000726 w 6270621"/>
                <a:gd name="connsiteY1392" fmla="*/ 1999916 h 3762376"/>
                <a:gd name="connsiteX1393" fmla="*/ 3953093 w 6270621"/>
                <a:gd name="connsiteY1393" fmla="*/ 2010497 h 3762376"/>
                <a:gd name="connsiteX1394" fmla="*/ 3942509 w 6270621"/>
                <a:gd name="connsiteY1394" fmla="*/ 2036951 h 3762376"/>
                <a:gd name="connsiteX1395" fmla="*/ 3889584 w 6270621"/>
                <a:gd name="connsiteY1395" fmla="*/ 2047532 h 3762376"/>
                <a:gd name="connsiteX1396" fmla="*/ 3873706 w 6270621"/>
                <a:gd name="connsiteY1396" fmla="*/ 2063405 h 3762376"/>
                <a:gd name="connsiteX1397" fmla="*/ 3815489 w 6270621"/>
                <a:gd name="connsiteY1397" fmla="*/ 2084568 h 3762376"/>
                <a:gd name="connsiteX1398" fmla="*/ 3789026 w 6270621"/>
                <a:gd name="connsiteY1398" fmla="*/ 2095149 h 3762376"/>
                <a:gd name="connsiteX1399" fmla="*/ 3773149 w 6270621"/>
                <a:gd name="connsiteY1399" fmla="*/ 2095149 h 3762376"/>
                <a:gd name="connsiteX1400" fmla="*/ 3757271 w 6270621"/>
                <a:gd name="connsiteY1400" fmla="*/ 2079277 h 3762376"/>
                <a:gd name="connsiteX1401" fmla="*/ 3757271 w 6270621"/>
                <a:gd name="connsiteY1401" fmla="*/ 2063405 h 3762376"/>
                <a:gd name="connsiteX1402" fmla="*/ 3741394 w 6270621"/>
                <a:gd name="connsiteY1402" fmla="*/ 2042242 h 3762376"/>
                <a:gd name="connsiteX1403" fmla="*/ 3746686 w 6270621"/>
                <a:gd name="connsiteY1403" fmla="*/ 2021079 h 3762376"/>
                <a:gd name="connsiteX1404" fmla="*/ 3699054 w 6270621"/>
                <a:gd name="connsiteY1404" fmla="*/ 1941717 h 3762376"/>
                <a:gd name="connsiteX1405" fmla="*/ 3672591 w 6270621"/>
                <a:gd name="connsiteY1405" fmla="*/ 1931136 h 3762376"/>
                <a:gd name="connsiteX1406" fmla="*/ 3667299 w 6270621"/>
                <a:gd name="connsiteY1406" fmla="*/ 1920554 h 3762376"/>
                <a:gd name="connsiteX1407" fmla="*/ 3651421 w 6270621"/>
                <a:gd name="connsiteY1407" fmla="*/ 1862356 h 3762376"/>
                <a:gd name="connsiteX1408" fmla="*/ 3624959 w 6270621"/>
                <a:gd name="connsiteY1408" fmla="*/ 1851774 h 3762376"/>
                <a:gd name="connsiteX1409" fmla="*/ 3614374 w 6270621"/>
                <a:gd name="connsiteY1409" fmla="*/ 1830611 h 3762376"/>
                <a:gd name="connsiteX1410" fmla="*/ 3598497 w 6270621"/>
                <a:gd name="connsiteY1410" fmla="*/ 1814739 h 3762376"/>
                <a:gd name="connsiteX1411" fmla="*/ 3582619 w 6270621"/>
                <a:gd name="connsiteY1411" fmla="*/ 1782994 h 3762376"/>
                <a:gd name="connsiteX1412" fmla="*/ 3561449 w 6270621"/>
                <a:gd name="connsiteY1412" fmla="*/ 1772413 h 3762376"/>
                <a:gd name="connsiteX1413" fmla="*/ 3556157 w 6270621"/>
                <a:gd name="connsiteY1413" fmla="*/ 1735378 h 3762376"/>
                <a:gd name="connsiteX1414" fmla="*/ 3550864 w 6270621"/>
                <a:gd name="connsiteY1414" fmla="*/ 1751250 h 3762376"/>
                <a:gd name="connsiteX1415" fmla="*/ 3550864 w 6270621"/>
                <a:gd name="connsiteY1415" fmla="*/ 1788285 h 3762376"/>
                <a:gd name="connsiteX1416" fmla="*/ 3534987 w 6270621"/>
                <a:gd name="connsiteY1416" fmla="*/ 1767122 h 3762376"/>
                <a:gd name="connsiteX1417" fmla="*/ 3524402 w 6270621"/>
                <a:gd name="connsiteY1417" fmla="*/ 1745959 h 3762376"/>
                <a:gd name="connsiteX1418" fmla="*/ 3513817 w 6270621"/>
                <a:gd name="connsiteY1418" fmla="*/ 1719505 h 3762376"/>
                <a:gd name="connsiteX1419" fmla="*/ 3503232 w 6270621"/>
                <a:gd name="connsiteY1419" fmla="*/ 1724796 h 3762376"/>
                <a:gd name="connsiteX1420" fmla="*/ 3519109 w 6270621"/>
                <a:gd name="connsiteY1420" fmla="*/ 1772413 h 3762376"/>
                <a:gd name="connsiteX1421" fmla="*/ 3540279 w 6270621"/>
                <a:gd name="connsiteY1421" fmla="*/ 1788285 h 3762376"/>
                <a:gd name="connsiteX1422" fmla="*/ 3545572 w 6270621"/>
                <a:gd name="connsiteY1422" fmla="*/ 1809448 h 3762376"/>
                <a:gd name="connsiteX1423" fmla="*/ 3587912 w 6270621"/>
                <a:gd name="connsiteY1423" fmla="*/ 1851774 h 3762376"/>
                <a:gd name="connsiteX1424" fmla="*/ 3577327 w 6270621"/>
                <a:gd name="connsiteY1424" fmla="*/ 1862356 h 3762376"/>
                <a:gd name="connsiteX1425" fmla="*/ 3619667 w 6270621"/>
                <a:gd name="connsiteY1425" fmla="*/ 1904682 h 3762376"/>
                <a:gd name="connsiteX1426" fmla="*/ 3630252 w 6270621"/>
                <a:gd name="connsiteY1426" fmla="*/ 1973462 h 3762376"/>
                <a:gd name="connsiteX1427" fmla="*/ 3656714 w 6270621"/>
                <a:gd name="connsiteY1427" fmla="*/ 1989334 h 3762376"/>
                <a:gd name="connsiteX1428" fmla="*/ 3677884 w 6270621"/>
                <a:gd name="connsiteY1428" fmla="*/ 2042242 h 3762376"/>
                <a:gd name="connsiteX1429" fmla="*/ 3741394 w 6270621"/>
                <a:gd name="connsiteY1429" fmla="*/ 2084568 h 3762376"/>
                <a:gd name="connsiteX1430" fmla="*/ 3757271 w 6270621"/>
                <a:gd name="connsiteY1430" fmla="*/ 2100440 h 3762376"/>
                <a:gd name="connsiteX1431" fmla="*/ 3751979 w 6270621"/>
                <a:gd name="connsiteY1431" fmla="*/ 2116312 h 3762376"/>
                <a:gd name="connsiteX1432" fmla="*/ 3767856 w 6270621"/>
                <a:gd name="connsiteY1432" fmla="*/ 2142766 h 3762376"/>
                <a:gd name="connsiteX1433" fmla="*/ 3789026 w 6270621"/>
                <a:gd name="connsiteY1433" fmla="*/ 2148057 h 3762376"/>
                <a:gd name="connsiteX1434" fmla="*/ 3810196 w 6270621"/>
                <a:gd name="connsiteY1434" fmla="*/ 2137475 h 3762376"/>
                <a:gd name="connsiteX1435" fmla="*/ 3831366 w 6270621"/>
                <a:gd name="connsiteY1435" fmla="*/ 2137475 h 3762376"/>
                <a:gd name="connsiteX1436" fmla="*/ 3841951 w 6270621"/>
                <a:gd name="connsiteY1436" fmla="*/ 2126894 h 3762376"/>
                <a:gd name="connsiteX1437" fmla="*/ 3873706 w 6270621"/>
                <a:gd name="connsiteY1437" fmla="*/ 2126894 h 3762376"/>
                <a:gd name="connsiteX1438" fmla="*/ 3910754 w 6270621"/>
                <a:gd name="connsiteY1438" fmla="*/ 2111022 h 3762376"/>
                <a:gd name="connsiteX1439" fmla="*/ 3921339 w 6270621"/>
                <a:gd name="connsiteY1439" fmla="*/ 2121603 h 3762376"/>
                <a:gd name="connsiteX1440" fmla="*/ 3916046 w 6270621"/>
                <a:gd name="connsiteY1440" fmla="*/ 2158638 h 3762376"/>
                <a:gd name="connsiteX1441" fmla="*/ 3894876 w 6270621"/>
                <a:gd name="connsiteY1441" fmla="*/ 2200964 h 3762376"/>
                <a:gd name="connsiteX1442" fmla="*/ 3894876 w 6270621"/>
                <a:gd name="connsiteY1442" fmla="*/ 2227418 h 3762376"/>
                <a:gd name="connsiteX1443" fmla="*/ 3857829 w 6270621"/>
                <a:gd name="connsiteY1443" fmla="*/ 2280326 h 3762376"/>
                <a:gd name="connsiteX1444" fmla="*/ 3751979 w 6270621"/>
                <a:gd name="connsiteY1444" fmla="*/ 2375559 h 3762376"/>
                <a:gd name="connsiteX1445" fmla="*/ 3741394 w 6270621"/>
                <a:gd name="connsiteY1445" fmla="*/ 2402013 h 3762376"/>
                <a:gd name="connsiteX1446" fmla="*/ 3720224 w 6270621"/>
                <a:gd name="connsiteY1446" fmla="*/ 2407304 h 3762376"/>
                <a:gd name="connsiteX1447" fmla="*/ 3693761 w 6270621"/>
                <a:gd name="connsiteY1447" fmla="*/ 2454921 h 3762376"/>
                <a:gd name="connsiteX1448" fmla="*/ 3677884 w 6270621"/>
                <a:gd name="connsiteY1448" fmla="*/ 2491956 h 3762376"/>
                <a:gd name="connsiteX1449" fmla="*/ 3688469 w 6270621"/>
                <a:gd name="connsiteY1449" fmla="*/ 2513119 h 3762376"/>
                <a:gd name="connsiteX1450" fmla="*/ 3683176 w 6270621"/>
                <a:gd name="connsiteY1450" fmla="*/ 2550155 h 3762376"/>
                <a:gd name="connsiteX1451" fmla="*/ 3704346 w 6270621"/>
                <a:gd name="connsiteY1451" fmla="*/ 2597771 h 3762376"/>
                <a:gd name="connsiteX1452" fmla="*/ 3704346 w 6270621"/>
                <a:gd name="connsiteY1452" fmla="*/ 2640097 h 3762376"/>
                <a:gd name="connsiteX1453" fmla="*/ 3699054 w 6270621"/>
                <a:gd name="connsiteY1453" fmla="*/ 2677133 h 3762376"/>
                <a:gd name="connsiteX1454" fmla="*/ 3704346 w 6270621"/>
                <a:gd name="connsiteY1454" fmla="*/ 2693005 h 3762376"/>
                <a:gd name="connsiteX1455" fmla="*/ 3683176 w 6270621"/>
                <a:gd name="connsiteY1455" fmla="*/ 2719459 h 3762376"/>
                <a:gd name="connsiteX1456" fmla="*/ 3640837 w 6270621"/>
                <a:gd name="connsiteY1456" fmla="*/ 2730040 h 3762376"/>
                <a:gd name="connsiteX1457" fmla="*/ 3603789 w 6270621"/>
                <a:gd name="connsiteY1457" fmla="*/ 2767076 h 3762376"/>
                <a:gd name="connsiteX1458" fmla="*/ 3577327 w 6270621"/>
                <a:gd name="connsiteY1458" fmla="*/ 2804111 h 3762376"/>
                <a:gd name="connsiteX1459" fmla="*/ 3587912 w 6270621"/>
                <a:gd name="connsiteY1459" fmla="*/ 2857019 h 3762376"/>
                <a:gd name="connsiteX1460" fmla="*/ 3572034 w 6270621"/>
                <a:gd name="connsiteY1460" fmla="*/ 2904635 h 3762376"/>
                <a:gd name="connsiteX1461" fmla="*/ 3524402 w 6270621"/>
                <a:gd name="connsiteY1461" fmla="*/ 2925798 h 3762376"/>
                <a:gd name="connsiteX1462" fmla="*/ 3524402 w 6270621"/>
                <a:gd name="connsiteY1462" fmla="*/ 2978706 h 3762376"/>
                <a:gd name="connsiteX1463" fmla="*/ 3497939 w 6270621"/>
                <a:gd name="connsiteY1463" fmla="*/ 2999869 h 3762376"/>
                <a:gd name="connsiteX1464" fmla="*/ 3476769 w 6270621"/>
                <a:gd name="connsiteY1464" fmla="*/ 3036904 h 3762376"/>
                <a:gd name="connsiteX1465" fmla="*/ 3429137 w 6270621"/>
                <a:gd name="connsiteY1465" fmla="*/ 3079231 h 3762376"/>
                <a:gd name="connsiteX1466" fmla="*/ 3392089 w 6270621"/>
                <a:gd name="connsiteY1466" fmla="*/ 3110975 h 3762376"/>
                <a:gd name="connsiteX1467" fmla="*/ 3328580 w 6270621"/>
                <a:gd name="connsiteY1467" fmla="*/ 3116266 h 3762376"/>
                <a:gd name="connsiteX1468" fmla="*/ 3291532 w 6270621"/>
                <a:gd name="connsiteY1468" fmla="*/ 3121557 h 3762376"/>
                <a:gd name="connsiteX1469" fmla="*/ 3270362 w 6270621"/>
                <a:gd name="connsiteY1469" fmla="*/ 3132138 h 3762376"/>
                <a:gd name="connsiteX1470" fmla="*/ 3228022 w 6270621"/>
                <a:gd name="connsiteY1470" fmla="*/ 3110975 h 3762376"/>
                <a:gd name="connsiteX1471" fmla="*/ 3228022 w 6270621"/>
                <a:gd name="connsiteY1471" fmla="*/ 3100394 h 3762376"/>
                <a:gd name="connsiteX1472" fmla="*/ 3222730 w 6270621"/>
                <a:gd name="connsiteY1472" fmla="*/ 3079231 h 3762376"/>
                <a:gd name="connsiteX1473" fmla="*/ 3228022 w 6270621"/>
                <a:gd name="connsiteY1473" fmla="*/ 3068649 h 3762376"/>
                <a:gd name="connsiteX1474" fmla="*/ 3228022 w 6270621"/>
                <a:gd name="connsiteY1474" fmla="*/ 3047486 h 3762376"/>
                <a:gd name="connsiteX1475" fmla="*/ 3206852 w 6270621"/>
                <a:gd name="connsiteY1475" fmla="*/ 3026323 h 3762376"/>
                <a:gd name="connsiteX1476" fmla="*/ 3196267 w 6270621"/>
                <a:gd name="connsiteY1476" fmla="*/ 2978706 h 3762376"/>
                <a:gd name="connsiteX1477" fmla="*/ 3175097 w 6270621"/>
                <a:gd name="connsiteY1477" fmla="*/ 2962834 h 3762376"/>
                <a:gd name="connsiteX1478" fmla="*/ 3175097 w 6270621"/>
                <a:gd name="connsiteY1478" fmla="*/ 2931089 h 3762376"/>
                <a:gd name="connsiteX1479" fmla="*/ 3164512 w 6270621"/>
                <a:gd name="connsiteY1479" fmla="*/ 2894054 h 3762376"/>
                <a:gd name="connsiteX1480" fmla="*/ 3153927 w 6270621"/>
                <a:gd name="connsiteY1480" fmla="*/ 2830565 h 3762376"/>
                <a:gd name="connsiteX1481" fmla="*/ 3143342 w 6270621"/>
                <a:gd name="connsiteY1481" fmla="*/ 2809402 h 3762376"/>
                <a:gd name="connsiteX1482" fmla="*/ 3138050 w 6270621"/>
                <a:gd name="connsiteY1482" fmla="*/ 2782948 h 3762376"/>
                <a:gd name="connsiteX1483" fmla="*/ 3116880 w 6270621"/>
                <a:gd name="connsiteY1483" fmla="*/ 2761785 h 3762376"/>
                <a:gd name="connsiteX1484" fmla="*/ 3111587 w 6270621"/>
                <a:gd name="connsiteY1484" fmla="*/ 2730040 h 3762376"/>
                <a:gd name="connsiteX1485" fmla="*/ 3122173 w 6270621"/>
                <a:gd name="connsiteY1485" fmla="*/ 2677133 h 3762376"/>
                <a:gd name="connsiteX1486" fmla="*/ 3153927 w 6270621"/>
                <a:gd name="connsiteY1486" fmla="*/ 2629516 h 3762376"/>
                <a:gd name="connsiteX1487" fmla="*/ 3159220 w 6270621"/>
                <a:gd name="connsiteY1487" fmla="*/ 2603062 h 3762376"/>
                <a:gd name="connsiteX1488" fmla="*/ 3138050 w 6270621"/>
                <a:gd name="connsiteY1488" fmla="*/ 2566027 h 3762376"/>
                <a:gd name="connsiteX1489" fmla="*/ 3148635 w 6270621"/>
                <a:gd name="connsiteY1489" fmla="*/ 2539573 h 3762376"/>
                <a:gd name="connsiteX1490" fmla="*/ 3138050 w 6270621"/>
                <a:gd name="connsiteY1490" fmla="*/ 2502538 h 3762376"/>
                <a:gd name="connsiteX1491" fmla="*/ 3116880 w 6270621"/>
                <a:gd name="connsiteY1491" fmla="*/ 2486665 h 3762376"/>
                <a:gd name="connsiteX1492" fmla="*/ 3101002 w 6270621"/>
                <a:gd name="connsiteY1492" fmla="*/ 2449630 h 3762376"/>
                <a:gd name="connsiteX1493" fmla="*/ 3063955 w 6270621"/>
                <a:gd name="connsiteY1493" fmla="*/ 2417886 h 3762376"/>
                <a:gd name="connsiteX1494" fmla="*/ 3058662 w 6270621"/>
                <a:gd name="connsiteY1494" fmla="*/ 2391432 h 3762376"/>
                <a:gd name="connsiteX1495" fmla="*/ 3079833 w 6270621"/>
                <a:gd name="connsiteY1495" fmla="*/ 2317361 h 3762376"/>
                <a:gd name="connsiteX1496" fmla="*/ 3074540 w 6270621"/>
                <a:gd name="connsiteY1496" fmla="*/ 2290907 h 3762376"/>
                <a:gd name="connsiteX1497" fmla="*/ 3048078 w 6270621"/>
                <a:gd name="connsiteY1497" fmla="*/ 2275035 h 3762376"/>
                <a:gd name="connsiteX1498" fmla="*/ 3000445 w 6270621"/>
                <a:gd name="connsiteY1498" fmla="*/ 2280326 h 3762376"/>
                <a:gd name="connsiteX1499" fmla="*/ 2984568 w 6270621"/>
                <a:gd name="connsiteY1499" fmla="*/ 2259163 h 3762376"/>
                <a:gd name="connsiteX1500" fmla="*/ 2958106 w 6270621"/>
                <a:gd name="connsiteY1500" fmla="*/ 2238000 h 3762376"/>
                <a:gd name="connsiteX1501" fmla="*/ 2884011 w 6270621"/>
                <a:gd name="connsiteY1501" fmla="*/ 2253872 h 3762376"/>
                <a:gd name="connsiteX1502" fmla="*/ 2846963 w 6270621"/>
                <a:gd name="connsiteY1502" fmla="*/ 2275035 h 3762376"/>
                <a:gd name="connsiteX1503" fmla="*/ 2815208 w 6270621"/>
                <a:gd name="connsiteY1503" fmla="*/ 2264454 h 3762376"/>
                <a:gd name="connsiteX1504" fmla="*/ 2778161 w 6270621"/>
                <a:gd name="connsiteY1504" fmla="*/ 2259163 h 3762376"/>
                <a:gd name="connsiteX1505" fmla="*/ 2741113 w 6270621"/>
                <a:gd name="connsiteY1505" fmla="*/ 2285617 h 3762376"/>
                <a:gd name="connsiteX1506" fmla="*/ 2714651 w 6270621"/>
                <a:gd name="connsiteY1506" fmla="*/ 2285617 h 3762376"/>
                <a:gd name="connsiteX1507" fmla="*/ 2640556 w 6270621"/>
                <a:gd name="connsiteY1507" fmla="*/ 2227418 h 3762376"/>
                <a:gd name="connsiteX1508" fmla="*/ 2619386 w 6270621"/>
                <a:gd name="connsiteY1508" fmla="*/ 2227418 h 3762376"/>
                <a:gd name="connsiteX1509" fmla="*/ 2603509 w 6270621"/>
                <a:gd name="connsiteY1509" fmla="*/ 2185092 h 3762376"/>
                <a:gd name="connsiteX1510" fmla="*/ 2561169 w 6270621"/>
                <a:gd name="connsiteY1510" fmla="*/ 2126894 h 3762376"/>
                <a:gd name="connsiteX1511" fmla="*/ 2539999 w 6270621"/>
                <a:gd name="connsiteY1511" fmla="*/ 2116312 h 3762376"/>
                <a:gd name="connsiteX1512" fmla="*/ 2534706 w 6270621"/>
                <a:gd name="connsiteY1512" fmla="*/ 2079277 h 3762376"/>
                <a:gd name="connsiteX1513" fmla="*/ 2524121 w 6270621"/>
                <a:gd name="connsiteY1513" fmla="*/ 2058114 h 3762376"/>
                <a:gd name="connsiteX1514" fmla="*/ 2545291 w 6270621"/>
                <a:gd name="connsiteY1514" fmla="*/ 2042242 h 3762376"/>
                <a:gd name="connsiteX1515" fmla="*/ 2545291 w 6270621"/>
                <a:gd name="connsiteY1515" fmla="*/ 2015788 h 3762376"/>
                <a:gd name="connsiteX1516" fmla="*/ 2550584 w 6270621"/>
                <a:gd name="connsiteY1516" fmla="*/ 1994625 h 3762376"/>
                <a:gd name="connsiteX1517" fmla="*/ 2539999 w 6270621"/>
                <a:gd name="connsiteY1517" fmla="*/ 1962880 h 3762376"/>
                <a:gd name="connsiteX1518" fmla="*/ 2550584 w 6270621"/>
                <a:gd name="connsiteY1518" fmla="*/ 1947008 h 3762376"/>
                <a:gd name="connsiteX1519" fmla="*/ 2534706 w 6270621"/>
                <a:gd name="connsiteY1519" fmla="*/ 1941717 h 3762376"/>
                <a:gd name="connsiteX1520" fmla="*/ 2529413 w 6270621"/>
                <a:gd name="connsiteY1520" fmla="*/ 1920554 h 3762376"/>
                <a:gd name="connsiteX1521" fmla="*/ 2550584 w 6270621"/>
                <a:gd name="connsiteY1521" fmla="*/ 1899391 h 3762376"/>
                <a:gd name="connsiteX1522" fmla="*/ 2555876 w 6270621"/>
                <a:gd name="connsiteY1522" fmla="*/ 1867647 h 3762376"/>
                <a:gd name="connsiteX1523" fmla="*/ 2582339 w 6270621"/>
                <a:gd name="connsiteY1523" fmla="*/ 1851774 h 3762376"/>
                <a:gd name="connsiteX1524" fmla="*/ 2582339 w 6270621"/>
                <a:gd name="connsiteY1524" fmla="*/ 1825321 h 3762376"/>
                <a:gd name="connsiteX1525" fmla="*/ 2603509 w 6270621"/>
                <a:gd name="connsiteY1525" fmla="*/ 1809448 h 3762376"/>
                <a:gd name="connsiteX1526" fmla="*/ 2614094 w 6270621"/>
                <a:gd name="connsiteY1526" fmla="*/ 1782994 h 3762376"/>
                <a:gd name="connsiteX1527" fmla="*/ 2645849 w 6270621"/>
                <a:gd name="connsiteY1527" fmla="*/ 1777704 h 3762376"/>
                <a:gd name="connsiteX1528" fmla="*/ 2677604 w 6270621"/>
                <a:gd name="connsiteY1528" fmla="*/ 1756541 h 3762376"/>
                <a:gd name="connsiteX1529" fmla="*/ 2677604 w 6270621"/>
                <a:gd name="connsiteY1529" fmla="*/ 1730087 h 3762376"/>
                <a:gd name="connsiteX1530" fmla="*/ 2688189 w 6270621"/>
                <a:gd name="connsiteY1530" fmla="*/ 1682470 h 3762376"/>
                <a:gd name="connsiteX1531" fmla="*/ 2730529 w 6270621"/>
                <a:gd name="connsiteY1531" fmla="*/ 1650725 h 3762376"/>
                <a:gd name="connsiteX1532" fmla="*/ 2751698 w 6270621"/>
                <a:gd name="connsiteY1532" fmla="*/ 1624272 h 3762376"/>
                <a:gd name="connsiteX1533" fmla="*/ 2762283 w 6270621"/>
                <a:gd name="connsiteY1533" fmla="*/ 1597818 h 3762376"/>
                <a:gd name="connsiteX1534" fmla="*/ 2735821 w 6270621"/>
                <a:gd name="connsiteY1534" fmla="*/ 1576655 h 3762376"/>
                <a:gd name="connsiteX1535" fmla="*/ 2704066 w 6270621"/>
                <a:gd name="connsiteY1535" fmla="*/ 1581946 h 3762376"/>
                <a:gd name="connsiteX1536" fmla="*/ 2698773 w 6270621"/>
                <a:gd name="connsiteY1536" fmla="*/ 1566073 h 3762376"/>
                <a:gd name="connsiteX1537" fmla="*/ 2698773 w 6270621"/>
                <a:gd name="connsiteY1537" fmla="*/ 1523747 h 3762376"/>
                <a:gd name="connsiteX1538" fmla="*/ 2704066 w 6270621"/>
                <a:gd name="connsiteY1538" fmla="*/ 1476130 h 3762376"/>
                <a:gd name="connsiteX1539" fmla="*/ 2704066 w 6270621"/>
                <a:gd name="connsiteY1539" fmla="*/ 1428514 h 3762376"/>
                <a:gd name="connsiteX1540" fmla="*/ 2730529 w 6270621"/>
                <a:gd name="connsiteY1540" fmla="*/ 1412641 h 3762376"/>
                <a:gd name="connsiteX1541" fmla="*/ 2762283 w 6270621"/>
                <a:gd name="connsiteY1541" fmla="*/ 1423223 h 3762376"/>
                <a:gd name="connsiteX1542" fmla="*/ 2841670 w 6270621"/>
                <a:gd name="connsiteY1542" fmla="*/ 1423223 h 3762376"/>
                <a:gd name="connsiteX1543" fmla="*/ 2862841 w 6270621"/>
                <a:gd name="connsiteY1543" fmla="*/ 1380897 h 3762376"/>
                <a:gd name="connsiteX1544" fmla="*/ 2862841 w 6270621"/>
                <a:gd name="connsiteY1544" fmla="*/ 1359734 h 3762376"/>
                <a:gd name="connsiteX1545" fmla="*/ 2836378 w 6270621"/>
                <a:gd name="connsiteY1545" fmla="*/ 1322698 h 3762376"/>
                <a:gd name="connsiteX1546" fmla="*/ 2809916 w 6270621"/>
                <a:gd name="connsiteY1546" fmla="*/ 1306826 h 3762376"/>
                <a:gd name="connsiteX1547" fmla="*/ 2794038 w 6270621"/>
                <a:gd name="connsiteY1547" fmla="*/ 1296245 h 3762376"/>
                <a:gd name="connsiteX1548" fmla="*/ 2799330 w 6270621"/>
                <a:gd name="connsiteY1548" fmla="*/ 1280372 h 3762376"/>
                <a:gd name="connsiteX1549" fmla="*/ 2831085 w 6270621"/>
                <a:gd name="connsiteY1549" fmla="*/ 1285663 h 3762376"/>
                <a:gd name="connsiteX1550" fmla="*/ 2841670 w 6270621"/>
                <a:gd name="connsiteY1550" fmla="*/ 1275081 h 3762376"/>
                <a:gd name="connsiteX1551" fmla="*/ 2836378 w 6270621"/>
                <a:gd name="connsiteY1551" fmla="*/ 1259209 h 3762376"/>
                <a:gd name="connsiteX1552" fmla="*/ 2820501 w 6270621"/>
                <a:gd name="connsiteY1552" fmla="*/ 1238046 h 3762376"/>
                <a:gd name="connsiteX1553" fmla="*/ 2788746 w 6270621"/>
                <a:gd name="connsiteY1553" fmla="*/ 1243337 h 3762376"/>
                <a:gd name="connsiteX1554" fmla="*/ 2783453 w 6270621"/>
                <a:gd name="connsiteY1554" fmla="*/ 1232755 h 3762376"/>
                <a:gd name="connsiteX1555" fmla="*/ 2815208 w 6270621"/>
                <a:gd name="connsiteY1555" fmla="*/ 1216883 h 3762376"/>
                <a:gd name="connsiteX1556" fmla="*/ 2778161 w 6270621"/>
                <a:gd name="connsiteY1556" fmla="*/ 1206302 h 3762376"/>
                <a:gd name="connsiteX1557" fmla="*/ 2794038 w 6270621"/>
                <a:gd name="connsiteY1557" fmla="*/ 1179848 h 3762376"/>
                <a:gd name="connsiteX1558" fmla="*/ 2809916 w 6270621"/>
                <a:gd name="connsiteY1558" fmla="*/ 1158685 h 3762376"/>
                <a:gd name="connsiteX1559" fmla="*/ 2815208 w 6270621"/>
                <a:gd name="connsiteY1559" fmla="*/ 1121649 h 3762376"/>
                <a:gd name="connsiteX1560" fmla="*/ 2788746 w 6270621"/>
                <a:gd name="connsiteY1560" fmla="*/ 1116359 h 3762376"/>
                <a:gd name="connsiteX1561" fmla="*/ 2767576 w 6270621"/>
                <a:gd name="connsiteY1561" fmla="*/ 1079323 h 3762376"/>
                <a:gd name="connsiteX1562" fmla="*/ 2767576 w 6270621"/>
                <a:gd name="connsiteY1562" fmla="*/ 1042288 h 3762376"/>
                <a:gd name="connsiteX1563" fmla="*/ 2788746 w 6270621"/>
                <a:gd name="connsiteY1563" fmla="*/ 1015834 h 3762376"/>
                <a:gd name="connsiteX1564" fmla="*/ 2825793 w 6270621"/>
                <a:gd name="connsiteY1564" fmla="*/ 1005253 h 3762376"/>
                <a:gd name="connsiteX1565" fmla="*/ 2815208 w 6270621"/>
                <a:gd name="connsiteY1565" fmla="*/ 1031706 h 3762376"/>
                <a:gd name="connsiteX1566" fmla="*/ 2841670 w 6270621"/>
                <a:gd name="connsiteY1566" fmla="*/ 1052870 h 3762376"/>
                <a:gd name="connsiteX1567" fmla="*/ 2825793 w 6270621"/>
                <a:gd name="connsiteY1567" fmla="*/ 1089905 h 3762376"/>
                <a:gd name="connsiteX1568" fmla="*/ 2873426 w 6270621"/>
                <a:gd name="connsiteY1568" fmla="*/ 1158685 h 3762376"/>
                <a:gd name="connsiteX1569" fmla="*/ 2899888 w 6270621"/>
                <a:gd name="connsiteY1569" fmla="*/ 1185139 h 3762376"/>
                <a:gd name="connsiteX1570" fmla="*/ 2899888 w 6270621"/>
                <a:gd name="connsiteY1570" fmla="*/ 1222174 h 3762376"/>
                <a:gd name="connsiteX1571" fmla="*/ 2846963 w 6270621"/>
                <a:gd name="connsiteY1571" fmla="*/ 1253918 h 3762376"/>
                <a:gd name="connsiteX1572" fmla="*/ 2873426 w 6270621"/>
                <a:gd name="connsiteY1572" fmla="*/ 1269791 h 3762376"/>
                <a:gd name="connsiteX1573" fmla="*/ 2947520 w 6270621"/>
                <a:gd name="connsiteY1573" fmla="*/ 1216883 h 3762376"/>
                <a:gd name="connsiteX1574" fmla="*/ 2958106 w 6270621"/>
                <a:gd name="connsiteY1574" fmla="*/ 1179848 h 3762376"/>
                <a:gd name="connsiteX1575" fmla="*/ 2995153 w 6270621"/>
                <a:gd name="connsiteY1575" fmla="*/ 1153394 h 3762376"/>
                <a:gd name="connsiteX1576" fmla="*/ 3032200 w 6270621"/>
                <a:gd name="connsiteY1576" fmla="*/ 1142812 h 3762376"/>
                <a:gd name="connsiteX1577" fmla="*/ 3016323 w 6270621"/>
                <a:gd name="connsiteY1577" fmla="*/ 1116359 h 3762376"/>
                <a:gd name="connsiteX1578" fmla="*/ 3011030 w 6270621"/>
                <a:gd name="connsiteY1578" fmla="*/ 1084614 h 3762376"/>
                <a:gd name="connsiteX1579" fmla="*/ 3032200 w 6270621"/>
                <a:gd name="connsiteY1579" fmla="*/ 1074033 h 3762376"/>
                <a:gd name="connsiteX1580" fmla="*/ 3032200 w 6270621"/>
                <a:gd name="connsiteY1580" fmla="*/ 1047579 h 3762376"/>
                <a:gd name="connsiteX1581" fmla="*/ 3053370 w 6270621"/>
                <a:gd name="connsiteY1581" fmla="*/ 1031706 h 3762376"/>
                <a:gd name="connsiteX1582" fmla="*/ 3069248 w 6270621"/>
                <a:gd name="connsiteY1582" fmla="*/ 1111068 h 3762376"/>
                <a:gd name="connsiteX1583" fmla="*/ 3101002 w 6270621"/>
                <a:gd name="connsiteY1583" fmla="*/ 1089905 h 3762376"/>
                <a:gd name="connsiteX1584" fmla="*/ 3074540 w 6270621"/>
                <a:gd name="connsiteY1584" fmla="*/ 1036997 h 3762376"/>
                <a:gd name="connsiteX1585" fmla="*/ 3063955 w 6270621"/>
                <a:gd name="connsiteY1585" fmla="*/ 984090 h 3762376"/>
                <a:gd name="connsiteX1586" fmla="*/ 3005738 w 6270621"/>
                <a:gd name="connsiteY1586" fmla="*/ 1036997 h 3762376"/>
                <a:gd name="connsiteX1587" fmla="*/ 2973983 w 6270621"/>
                <a:gd name="connsiteY1587" fmla="*/ 1021125 h 3762376"/>
                <a:gd name="connsiteX1588" fmla="*/ 2958106 w 6270621"/>
                <a:gd name="connsiteY1588" fmla="*/ 957636 h 3762376"/>
                <a:gd name="connsiteX1589" fmla="*/ 2968690 w 6270621"/>
                <a:gd name="connsiteY1589" fmla="*/ 894147 h 3762376"/>
                <a:gd name="connsiteX1590" fmla="*/ 3074540 w 6270621"/>
                <a:gd name="connsiteY1590" fmla="*/ 809494 h 3762376"/>
                <a:gd name="connsiteX1591" fmla="*/ 3101002 w 6270621"/>
                <a:gd name="connsiteY1591" fmla="*/ 751296 h 3762376"/>
                <a:gd name="connsiteX1592" fmla="*/ 3127465 w 6270621"/>
                <a:gd name="connsiteY1592" fmla="*/ 703679 h 3762376"/>
                <a:gd name="connsiteX1593" fmla="*/ 3148635 w 6270621"/>
                <a:gd name="connsiteY1593" fmla="*/ 671935 h 3762376"/>
                <a:gd name="connsiteX1594" fmla="*/ 3185682 w 6270621"/>
                <a:gd name="connsiteY1594" fmla="*/ 661353 h 3762376"/>
                <a:gd name="connsiteX1595" fmla="*/ 3201560 w 6270621"/>
                <a:gd name="connsiteY1595" fmla="*/ 634899 h 3762376"/>
                <a:gd name="connsiteX1596" fmla="*/ 3217437 w 6270621"/>
                <a:gd name="connsiteY1596" fmla="*/ 634899 h 3762376"/>
                <a:gd name="connsiteX1597" fmla="*/ 3233315 w 6270621"/>
                <a:gd name="connsiteY1597" fmla="*/ 656062 h 3762376"/>
                <a:gd name="connsiteX1598" fmla="*/ 3243900 w 6270621"/>
                <a:gd name="connsiteY1598" fmla="*/ 634899 h 3762376"/>
                <a:gd name="connsiteX1599" fmla="*/ 3291532 w 6270621"/>
                <a:gd name="connsiteY1599" fmla="*/ 619027 h 3762376"/>
                <a:gd name="connsiteX1600" fmla="*/ 3344457 w 6270621"/>
                <a:gd name="connsiteY1600" fmla="*/ 656062 h 3762376"/>
                <a:gd name="connsiteX1601" fmla="*/ 3370919 w 6270621"/>
                <a:gd name="connsiteY1601" fmla="*/ 645481 h 3762376"/>
                <a:gd name="connsiteX1602" fmla="*/ 3392089 w 6270621"/>
                <a:gd name="connsiteY1602" fmla="*/ 666644 h 3762376"/>
                <a:gd name="connsiteX1603" fmla="*/ 3429137 w 6270621"/>
                <a:gd name="connsiteY1603" fmla="*/ 661353 h 3762376"/>
                <a:gd name="connsiteX1604" fmla="*/ 3497939 w 6270621"/>
                <a:gd name="connsiteY1604" fmla="*/ 693098 h 3762376"/>
                <a:gd name="connsiteX1605" fmla="*/ 3519109 w 6270621"/>
                <a:gd name="connsiteY1605" fmla="*/ 719551 h 3762376"/>
                <a:gd name="connsiteX1606" fmla="*/ 3519109 w 6270621"/>
                <a:gd name="connsiteY1606" fmla="*/ 746005 h 3762376"/>
                <a:gd name="connsiteX1607" fmla="*/ 3487354 w 6270621"/>
                <a:gd name="connsiteY1607" fmla="*/ 761877 h 3762376"/>
                <a:gd name="connsiteX1608" fmla="*/ 3429137 w 6270621"/>
                <a:gd name="connsiteY1608" fmla="*/ 751296 h 3762376"/>
                <a:gd name="connsiteX1609" fmla="*/ 3397382 w 6270621"/>
                <a:gd name="connsiteY1609" fmla="*/ 735424 h 3762376"/>
                <a:gd name="connsiteX1610" fmla="*/ 3370919 w 6270621"/>
                <a:gd name="connsiteY1610" fmla="*/ 730133 h 3762376"/>
                <a:gd name="connsiteX1611" fmla="*/ 3397382 w 6270621"/>
                <a:gd name="connsiteY1611" fmla="*/ 756587 h 3762376"/>
                <a:gd name="connsiteX1612" fmla="*/ 3429137 w 6270621"/>
                <a:gd name="connsiteY1612" fmla="*/ 777750 h 3762376"/>
                <a:gd name="connsiteX1613" fmla="*/ 3434429 w 6270621"/>
                <a:gd name="connsiteY1613" fmla="*/ 809494 h 3762376"/>
                <a:gd name="connsiteX1614" fmla="*/ 3466184 w 6270621"/>
                <a:gd name="connsiteY1614" fmla="*/ 830658 h 3762376"/>
                <a:gd name="connsiteX1615" fmla="*/ 3497939 w 6270621"/>
                <a:gd name="connsiteY1615" fmla="*/ 825367 h 3762376"/>
                <a:gd name="connsiteX1616" fmla="*/ 3487354 w 6270621"/>
                <a:gd name="connsiteY1616" fmla="*/ 809494 h 3762376"/>
                <a:gd name="connsiteX1617" fmla="*/ 3460892 w 6270621"/>
                <a:gd name="connsiteY1617" fmla="*/ 788331 h 3762376"/>
                <a:gd name="connsiteX1618" fmla="*/ 3476769 w 6270621"/>
                <a:gd name="connsiteY1618" fmla="*/ 788331 h 3762376"/>
                <a:gd name="connsiteX1619" fmla="*/ 3503232 w 6270621"/>
                <a:gd name="connsiteY1619" fmla="*/ 804204 h 3762376"/>
                <a:gd name="connsiteX1620" fmla="*/ 3529694 w 6270621"/>
                <a:gd name="connsiteY1620" fmla="*/ 788331 h 3762376"/>
                <a:gd name="connsiteX1621" fmla="*/ 3513817 w 6270621"/>
                <a:gd name="connsiteY1621" fmla="*/ 767168 h 3762376"/>
                <a:gd name="connsiteX1622" fmla="*/ 3529694 w 6270621"/>
                <a:gd name="connsiteY1622" fmla="*/ 751296 h 3762376"/>
                <a:gd name="connsiteX1623" fmla="*/ 3540279 w 6270621"/>
                <a:gd name="connsiteY1623" fmla="*/ 735424 h 3762376"/>
                <a:gd name="connsiteX1624" fmla="*/ 3545572 w 6270621"/>
                <a:gd name="connsiteY1624" fmla="*/ 735424 h 3762376"/>
                <a:gd name="connsiteX1625" fmla="*/ 3577327 w 6270621"/>
                <a:gd name="connsiteY1625" fmla="*/ 756587 h 3762376"/>
                <a:gd name="connsiteX1626" fmla="*/ 3577327 w 6270621"/>
                <a:gd name="connsiteY1626" fmla="*/ 735424 h 3762376"/>
                <a:gd name="connsiteX1627" fmla="*/ 3572034 w 6270621"/>
                <a:gd name="connsiteY1627" fmla="*/ 719551 h 3762376"/>
                <a:gd name="connsiteX1628" fmla="*/ 3556157 w 6270621"/>
                <a:gd name="connsiteY1628" fmla="*/ 687807 h 3762376"/>
                <a:gd name="connsiteX1629" fmla="*/ 3550864 w 6270621"/>
                <a:gd name="connsiteY1629" fmla="*/ 666644 h 3762376"/>
                <a:gd name="connsiteX1630" fmla="*/ 3566742 w 6270621"/>
                <a:gd name="connsiteY1630" fmla="*/ 666644 h 3762376"/>
                <a:gd name="connsiteX1631" fmla="*/ 3598497 w 6270621"/>
                <a:gd name="connsiteY1631" fmla="*/ 671935 h 3762376"/>
                <a:gd name="connsiteX1632" fmla="*/ 3603789 w 6270621"/>
                <a:gd name="connsiteY1632" fmla="*/ 693098 h 3762376"/>
                <a:gd name="connsiteX1633" fmla="*/ 3593204 w 6270621"/>
                <a:gd name="connsiteY1633" fmla="*/ 687807 h 3762376"/>
                <a:gd name="connsiteX1634" fmla="*/ 3577327 w 6270621"/>
                <a:gd name="connsiteY1634" fmla="*/ 703679 h 3762376"/>
                <a:gd name="connsiteX1635" fmla="*/ 3598497 w 6270621"/>
                <a:gd name="connsiteY1635" fmla="*/ 719551 h 3762376"/>
                <a:gd name="connsiteX1636" fmla="*/ 3624959 w 6270621"/>
                <a:gd name="connsiteY1636" fmla="*/ 724842 h 3762376"/>
                <a:gd name="connsiteX1637" fmla="*/ 3624959 w 6270621"/>
                <a:gd name="connsiteY1637" fmla="*/ 703679 h 3762376"/>
                <a:gd name="connsiteX1638" fmla="*/ 3640837 w 6270621"/>
                <a:gd name="connsiteY1638" fmla="*/ 677225 h 3762376"/>
                <a:gd name="connsiteX1639" fmla="*/ 3688469 w 6270621"/>
                <a:gd name="connsiteY1639" fmla="*/ 656062 h 3762376"/>
                <a:gd name="connsiteX1640" fmla="*/ 3699054 w 6270621"/>
                <a:gd name="connsiteY1640" fmla="*/ 634899 h 3762376"/>
                <a:gd name="connsiteX1641" fmla="*/ 3714931 w 6270621"/>
                <a:gd name="connsiteY1641" fmla="*/ 629608 h 3762376"/>
                <a:gd name="connsiteX1642" fmla="*/ 3699054 w 6270621"/>
                <a:gd name="connsiteY1642" fmla="*/ 671935 h 3762376"/>
                <a:gd name="connsiteX1643" fmla="*/ 3720224 w 6270621"/>
                <a:gd name="connsiteY1643" fmla="*/ 661353 h 3762376"/>
                <a:gd name="connsiteX1644" fmla="*/ 3757271 w 6270621"/>
                <a:gd name="connsiteY1644" fmla="*/ 640190 h 3762376"/>
                <a:gd name="connsiteX1645" fmla="*/ 3789026 w 6270621"/>
                <a:gd name="connsiteY1645" fmla="*/ 634899 h 3762376"/>
                <a:gd name="connsiteX1646" fmla="*/ 3804904 w 6270621"/>
                <a:gd name="connsiteY1646" fmla="*/ 634899 h 3762376"/>
                <a:gd name="connsiteX1647" fmla="*/ 3799611 w 6270621"/>
                <a:gd name="connsiteY1647" fmla="*/ 608445 h 3762376"/>
                <a:gd name="connsiteX1648" fmla="*/ 3725516 w 6270621"/>
                <a:gd name="connsiteY1648" fmla="*/ 581992 h 3762376"/>
                <a:gd name="connsiteX1649" fmla="*/ 3688469 w 6270621"/>
                <a:gd name="connsiteY1649" fmla="*/ 581992 h 3762376"/>
                <a:gd name="connsiteX1650" fmla="*/ 3677884 w 6270621"/>
                <a:gd name="connsiteY1650" fmla="*/ 571410 h 3762376"/>
                <a:gd name="connsiteX1651" fmla="*/ 3651421 w 6270621"/>
                <a:gd name="connsiteY1651" fmla="*/ 566119 h 3762376"/>
                <a:gd name="connsiteX1652" fmla="*/ 3640837 w 6270621"/>
                <a:gd name="connsiteY1652" fmla="*/ 539666 h 3762376"/>
                <a:gd name="connsiteX1653" fmla="*/ 3667299 w 6270621"/>
                <a:gd name="connsiteY1653" fmla="*/ 529084 h 3762376"/>
                <a:gd name="connsiteX1654" fmla="*/ 3662006 w 6270621"/>
                <a:gd name="connsiteY1654" fmla="*/ 502630 h 3762376"/>
                <a:gd name="connsiteX1655" fmla="*/ 3677884 w 6270621"/>
                <a:gd name="connsiteY1655" fmla="*/ 465595 h 3762376"/>
                <a:gd name="connsiteX1656" fmla="*/ 3693761 w 6270621"/>
                <a:gd name="connsiteY1656" fmla="*/ 439141 h 3762376"/>
                <a:gd name="connsiteX1657" fmla="*/ 3683176 w 6270621"/>
                <a:gd name="connsiteY1657" fmla="*/ 428560 h 3762376"/>
                <a:gd name="connsiteX1658" fmla="*/ 3683176 w 6270621"/>
                <a:gd name="connsiteY1658" fmla="*/ 417978 h 3762376"/>
                <a:gd name="connsiteX1659" fmla="*/ 3699054 w 6270621"/>
                <a:gd name="connsiteY1659" fmla="*/ 417978 h 3762376"/>
                <a:gd name="connsiteX1660" fmla="*/ 3709639 w 6270621"/>
                <a:gd name="connsiteY1660" fmla="*/ 396815 h 3762376"/>
                <a:gd name="connsiteX1661" fmla="*/ 3751979 w 6270621"/>
                <a:gd name="connsiteY1661" fmla="*/ 370361 h 3762376"/>
                <a:gd name="connsiteX1662" fmla="*/ 3815489 w 6270621"/>
                <a:gd name="connsiteY1662" fmla="*/ 343907 h 3762376"/>
                <a:gd name="connsiteX1663" fmla="*/ 3820781 w 6270621"/>
                <a:gd name="connsiteY1663" fmla="*/ 328035 h 3762376"/>
                <a:gd name="connsiteX1664" fmla="*/ 3847244 w 6270621"/>
                <a:gd name="connsiteY1664" fmla="*/ 322744 h 3762376"/>
                <a:gd name="connsiteX1665" fmla="*/ 3841951 w 6270621"/>
                <a:gd name="connsiteY1665" fmla="*/ 354489 h 3762376"/>
                <a:gd name="connsiteX1666" fmla="*/ 3820781 w 6270621"/>
                <a:gd name="connsiteY1666" fmla="*/ 365070 h 3762376"/>
                <a:gd name="connsiteX1667" fmla="*/ 3778441 w 6270621"/>
                <a:gd name="connsiteY1667" fmla="*/ 396815 h 3762376"/>
                <a:gd name="connsiteX1668" fmla="*/ 3725516 w 6270621"/>
                <a:gd name="connsiteY1668" fmla="*/ 444432 h 3762376"/>
                <a:gd name="connsiteX1669" fmla="*/ 3704346 w 6270621"/>
                <a:gd name="connsiteY1669" fmla="*/ 502630 h 3762376"/>
                <a:gd name="connsiteX1670" fmla="*/ 3699054 w 6270621"/>
                <a:gd name="connsiteY1670" fmla="*/ 544956 h 3762376"/>
                <a:gd name="connsiteX1671" fmla="*/ 3741394 w 6270621"/>
                <a:gd name="connsiteY1671" fmla="*/ 576701 h 3762376"/>
                <a:gd name="connsiteX1672" fmla="*/ 3799611 w 6270621"/>
                <a:gd name="connsiteY1672" fmla="*/ 597864 h 3762376"/>
                <a:gd name="connsiteX1673" fmla="*/ 3831366 w 6270621"/>
                <a:gd name="connsiteY1673" fmla="*/ 597864 h 3762376"/>
                <a:gd name="connsiteX1674" fmla="*/ 3847244 w 6270621"/>
                <a:gd name="connsiteY1674" fmla="*/ 592573 h 3762376"/>
                <a:gd name="connsiteX1675" fmla="*/ 3878999 w 6270621"/>
                <a:gd name="connsiteY1675" fmla="*/ 608445 h 3762376"/>
                <a:gd name="connsiteX1676" fmla="*/ 3905461 w 6270621"/>
                <a:gd name="connsiteY1676" fmla="*/ 608445 h 3762376"/>
                <a:gd name="connsiteX1677" fmla="*/ 3942509 w 6270621"/>
                <a:gd name="connsiteY1677" fmla="*/ 634899 h 3762376"/>
                <a:gd name="connsiteX1678" fmla="*/ 3931924 w 6270621"/>
                <a:gd name="connsiteY1678" fmla="*/ 608445 h 3762376"/>
                <a:gd name="connsiteX1679" fmla="*/ 3910754 w 6270621"/>
                <a:gd name="connsiteY1679" fmla="*/ 581992 h 3762376"/>
                <a:gd name="connsiteX1680" fmla="*/ 3894876 w 6270621"/>
                <a:gd name="connsiteY1680" fmla="*/ 587282 h 3762376"/>
                <a:gd name="connsiteX1681" fmla="*/ 3889584 w 6270621"/>
                <a:gd name="connsiteY1681" fmla="*/ 566119 h 3762376"/>
                <a:gd name="connsiteX1682" fmla="*/ 3894876 w 6270621"/>
                <a:gd name="connsiteY1682" fmla="*/ 550247 h 3762376"/>
                <a:gd name="connsiteX1683" fmla="*/ 3878999 w 6270621"/>
                <a:gd name="connsiteY1683" fmla="*/ 534375 h 3762376"/>
                <a:gd name="connsiteX1684" fmla="*/ 3884291 w 6270621"/>
                <a:gd name="connsiteY1684" fmla="*/ 523793 h 3762376"/>
                <a:gd name="connsiteX1685" fmla="*/ 3905461 w 6270621"/>
                <a:gd name="connsiteY1685" fmla="*/ 513212 h 3762376"/>
                <a:gd name="connsiteX1686" fmla="*/ 3900169 w 6270621"/>
                <a:gd name="connsiteY1686" fmla="*/ 486758 h 3762376"/>
                <a:gd name="connsiteX1687" fmla="*/ 3905461 w 6270621"/>
                <a:gd name="connsiteY1687" fmla="*/ 455013 h 3762376"/>
                <a:gd name="connsiteX1688" fmla="*/ 3931924 w 6270621"/>
                <a:gd name="connsiteY1688" fmla="*/ 455013 h 3762376"/>
                <a:gd name="connsiteX1689" fmla="*/ 3958386 w 6270621"/>
                <a:gd name="connsiteY1689" fmla="*/ 465595 h 3762376"/>
                <a:gd name="connsiteX1690" fmla="*/ 3953093 w 6270621"/>
                <a:gd name="connsiteY1690" fmla="*/ 507921 h 3762376"/>
                <a:gd name="connsiteX1691" fmla="*/ 3979556 w 6270621"/>
                <a:gd name="connsiteY1691" fmla="*/ 518502 h 3762376"/>
                <a:gd name="connsiteX1692" fmla="*/ 3990141 w 6270621"/>
                <a:gd name="connsiteY1692" fmla="*/ 566119 h 3762376"/>
                <a:gd name="connsiteX1693" fmla="*/ 4016603 w 6270621"/>
                <a:gd name="connsiteY1693" fmla="*/ 597864 h 3762376"/>
                <a:gd name="connsiteX1694" fmla="*/ 4016603 w 6270621"/>
                <a:gd name="connsiteY1694" fmla="*/ 619027 h 3762376"/>
                <a:gd name="connsiteX1695" fmla="*/ 4011311 w 6270621"/>
                <a:gd name="connsiteY1695" fmla="*/ 656062 h 3762376"/>
                <a:gd name="connsiteX1696" fmla="*/ 3995433 w 6270621"/>
                <a:gd name="connsiteY1696" fmla="*/ 671935 h 3762376"/>
                <a:gd name="connsiteX1697" fmla="*/ 3979556 w 6270621"/>
                <a:gd name="connsiteY1697" fmla="*/ 671935 h 3762376"/>
                <a:gd name="connsiteX1698" fmla="*/ 3968971 w 6270621"/>
                <a:gd name="connsiteY1698" fmla="*/ 682516 h 3762376"/>
                <a:gd name="connsiteX1699" fmla="*/ 4021896 w 6270621"/>
                <a:gd name="connsiteY1699" fmla="*/ 682516 h 3762376"/>
                <a:gd name="connsiteX1700" fmla="*/ 4032481 w 6270621"/>
                <a:gd name="connsiteY1700" fmla="*/ 656062 h 3762376"/>
                <a:gd name="connsiteX1701" fmla="*/ 4043066 w 6270621"/>
                <a:gd name="connsiteY1701" fmla="*/ 634899 h 3762376"/>
                <a:gd name="connsiteX1702" fmla="*/ 4032481 w 6270621"/>
                <a:gd name="connsiteY1702" fmla="*/ 603155 h 3762376"/>
                <a:gd name="connsiteX1703" fmla="*/ 4053651 w 6270621"/>
                <a:gd name="connsiteY1703" fmla="*/ 587282 h 3762376"/>
                <a:gd name="connsiteX1704" fmla="*/ 4069528 w 6270621"/>
                <a:gd name="connsiteY1704" fmla="*/ 597864 h 3762376"/>
                <a:gd name="connsiteX1705" fmla="*/ 4085406 w 6270621"/>
                <a:gd name="connsiteY1705" fmla="*/ 629608 h 3762376"/>
                <a:gd name="connsiteX1706" fmla="*/ 4117161 w 6270621"/>
                <a:gd name="connsiteY1706" fmla="*/ 640190 h 3762376"/>
                <a:gd name="connsiteX1707" fmla="*/ 4133038 w 6270621"/>
                <a:gd name="connsiteY1707" fmla="*/ 634899 h 3762376"/>
                <a:gd name="connsiteX1708" fmla="*/ 4095991 w 6270621"/>
                <a:gd name="connsiteY1708" fmla="*/ 619027 h 3762376"/>
                <a:gd name="connsiteX1709" fmla="*/ 4085406 w 6270621"/>
                <a:gd name="connsiteY1709" fmla="*/ 592573 h 3762376"/>
                <a:gd name="connsiteX1710" fmla="*/ 4053651 w 6270621"/>
                <a:gd name="connsiteY1710" fmla="*/ 576701 h 3762376"/>
                <a:gd name="connsiteX1711" fmla="*/ 4021896 w 6270621"/>
                <a:gd name="connsiteY1711" fmla="*/ 587282 h 3762376"/>
                <a:gd name="connsiteX1712" fmla="*/ 4011311 w 6270621"/>
                <a:gd name="connsiteY1712" fmla="*/ 576701 h 3762376"/>
                <a:gd name="connsiteX1713" fmla="*/ 4011311 w 6270621"/>
                <a:gd name="connsiteY1713" fmla="*/ 560829 h 3762376"/>
                <a:gd name="connsiteX1714" fmla="*/ 4000726 w 6270621"/>
                <a:gd name="connsiteY1714" fmla="*/ 550247 h 3762376"/>
                <a:gd name="connsiteX1715" fmla="*/ 4000726 w 6270621"/>
                <a:gd name="connsiteY1715" fmla="*/ 529084 h 3762376"/>
                <a:gd name="connsiteX1716" fmla="*/ 3979556 w 6270621"/>
                <a:gd name="connsiteY1716" fmla="*/ 507921 h 3762376"/>
                <a:gd name="connsiteX1717" fmla="*/ 3984848 w 6270621"/>
                <a:gd name="connsiteY1717" fmla="*/ 481467 h 3762376"/>
                <a:gd name="connsiteX1718" fmla="*/ 3995433 w 6270621"/>
                <a:gd name="connsiteY1718" fmla="*/ 460304 h 3762376"/>
                <a:gd name="connsiteX1719" fmla="*/ 3990141 w 6270621"/>
                <a:gd name="connsiteY1719" fmla="*/ 449723 h 3762376"/>
                <a:gd name="connsiteX1720" fmla="*/ 3995433 w 6270621"/>
                <a:gd name="connsiteY1720" fmla="*/ 444432 h 3762376"/>
                <a:gd name="connsiteX1721" fmla="*/ 4016603 w 6270621"/>
                <a:gd name="connsiteY1721" fmla="*/ 465595 h 3762376"/>
                <a:gd name="connsiteX1722" fmla="*/ 4048358 w 6270621"/>
                <a:gd name="connsiteY1722" fmla="*/ 470886 h 3762376"/>
                <a:gd name="connsiteX1723" fmla="*/ 4037773 w 6270621"/>
                <a:gd name="connsiteY1723" fmla="*/ 449723 h 3762376"/>
                <a:gd name="connsiteX1724" fmla="*/ 4053651 w 6270621"/>
                <a:gd name="connsiteY1724" fmla="*/ 439141 h 3762376"/>
                <a:gd name="connsiteX1725" fmla="*/ 4085406 w 6270621"/>
                <a:gd name="connsiteY1725" fmla="*/ 460304 h 3762376"/>
                <a:gd name="connsiteX1726" fmla="*/ 4127746 w 6270621"/>
                <a:gd name="connsiteY1726" fmla="*/ 470886 h 3762376"/>
                <a:gd name="connsiteX1727" fmla="*/ 4133038 w 6270621"/>
                <a:gd name="connsiteY1727" fmla="*/ 513212 h 3762376"/>
                <a:gd name="connsiteX1728" fmla="*/ 4154208 w 6270621"/>
                <a:gd name="connsiteY1728" fmla="*/ 539666 h 3762376"/>
                <a:gd name="connsiteX1729" fmla="*/ 4170086 w 6270621"/>
                <a:gd name="connsiteY1729" fmla="*/ 534375 h 3762376"/>
                <a:gd name="connsiteX1730" fmla="*/ 4148916 w 6270621"/>
                <a:gd name="connsiteY1730" fmla="*/ 507921 h 3762376"/>
                <a:gd name="connsiteX1731" fmla="*/ 4148916 w 6270621"/>
                <a:gd name="connsiteY1731" fmla="*/ 486758 h 3762376"/>
                <a:gd name="connsiteX1732" fmla="*/ 4133038 w 6270621"/>
                <a:gd name="connsiteY1732" fmla="*/ 455013 h 3762376"/>
                <a:gd name="connsiteX1733" fmla="*/ 4090698 w 6270621"/>
                <a:gd name="connsiteY1733" fmla="*/ 444432 h 3762376"/>
                <a:gd name="connsiteX1734" fmla="*/ 4074821 w 6270621"/>
                <a:gd name="connsiteY1734" fmla="*/ 428560 h 3762376"/>
                <a:gd name="connsiteX1735" fmla="*/ 4069528 w 6270621"/>
                <a:gd name="connsiteY1735" fmla="*/ 407397 h 3762376"/>
                <a:gd name="connsiteX1736" fmla="*/ 4085406 w 6270621"/>
                <a:gd name="connsiteY1736" fmla="*/ 391524 h 3762376"/>
                <a:gd name="connsiteX1737" fmla="*/ 4122453 w 6270621"/>
                <a:gd name="connsiteY1737" fmla="*/ 380943 h 3762376"/>
                <a:gd name="connsiteX1738" fmla="*/ 4143623 w 6270621"/>
                <a:gd name="connsiteY1738" fmla="*/ 370361 h 3762376"/>
                <a:gd name="connsiteX1739" fmla="*/ 4148916 w 6270621"/>
                <a:gd name="connsiteY1739" fmla="*/ 396815 h 3762376"/>
                <a:gd name="connsiteX1740" fmla="*/ 4164793 w 6270621"/>
                <a:gd name="connsiteY1740" fmla="*/ 365070 h 3762376"/>
                <a:gd name="connsiteX1741" fmla="*/ 4143623 w 6270621"/>
                <a:gd name="connsiteY1741" fmla="*/ 349198 h 3762376"/>
                <a:gd name="connsiteX1742" fmla="*/ 4138331 w 6270621"/>
                <a:gd name="connsiteY1742" fmla="*/ 328035 h 3762376"/>
                <a:gd name="connsiteX1743" fmla="*/ 4154208 w 6270621"/>
                <a:gd name="connsiteY1743" fmla="*/ 312163 h 3762376"/>
                <a:gd name="connsiteX1744" fmla="*/ 4164793 w 6270621"/>
                <a:gd name="connsiteY1744" fmla="*/ 291000 h 3762376"/>
                <a:gd name="connsiteX1745" fmla="*/ 4191256 w 6270621"/>
                <a:gd name="connsiteY1745" fmla="*/ 285709 h 3762376"/>
                <a:gd name="connsiteX1746" fmla="*/ 4249473 w 6270621"/>
                <a:gd name="connsiteY1746" fmla="*/ 238092 h 3762376"/>
                <a:gd name="connsiteX1747" fmla="*/ 4265350 w 6270621"/>
                <a:gd name="connsiteY1747" fmla="*/ 248674 h 3762376"/>
                <a:gd name="connsiteX1748" fmla="*/ 4307690 w 6270621"/>
                <a:gd name="connsiteY1748" fmla="*/ 243383 h 3762376"/>
                <a:gd name="connsiteX1749" fmla="*/ 4281228 w 6270621"/>
                <a:gd name="connsiteY1749" fmla="*/ 222220 h 3762376"/>
                <a:gd name="connsiteX1750" fmla="*/ 4307690 w 6270621"/>
                <a:gd name="connsiteY1750" fmla="*/ 211638 h 3762376"/>
                <a:gd name="connsiteX1751" fmla="*/ 4334153 w 6270621"/>
                <a:gd name="connsiteY1751" fmla="*/ 211638 h 3762376"/>
                <a:gd name="connsiteX1752" fmla="*/ 4339445 w 6270621"/>
                <a:gd name="connsiteY1752" fmla="*/ 201057 h 3762376"/>
                <a:gd name="connsiteX1753" fmla="*/ 4323568 w 6270621"/>
                <a:gd name="connsiteY1753" fmla="*/ 206348 h 3762376"/>
                <a:gd name="connsiteX1754" fmla="*/ 4307690 w 6270621"/>
                <a:gd name="connsiteY1754" fmla="*/ 190476 h 3762376"/>
                <a:gd name="connsiteX1755" fmla="*/ 4312983 w 6270621"/>
                <a:gd name="connsiteY1755" fmla="*/ 164022 h 3762376"/>
                <a:gd name="connsiteX1756" fmla="*/ 4323568 w 6270621"/>
                <a:gd name="connsiteY1756" fmla="*/ 142859 h 3762376"/>
                <a:gd name="connsiteX1757" fmla="*/ 4339445 w 6270621"/>
                <a:gd name="connsiteY1757" fmla="*/ 142859 h 3762376"/>
                <a:gd name="connsiteX1758" fmla="*/ 4350030 w 6270621"/>
                <a:gd name="connsiteY1758" fmla="*/ 174603 h 3762376"/>
                <a:gd name="connsiteX1759" fmla="*/ 4365908 w 6270621"/>
                <a:gd name="connsiteY1759" fmla="*/ 179894 h 3762376"/>
                <a:gd name="connsiteX1760" fmla="*/ 4387078 w 6270621"/>
                <a:gd name="connsiteY1760" fmla="*/ 179894 h 3762376"/>
                <a:gd name="connsiteX1761" fmla="*/ 4429418 w 6270621"/>
                <a:gd name="connsiteY1761" fmla="*/ 164022 h 3762376"/>
                <a:gd name="connsiteX1762" fmla="*/ 4461173 w 6270621"/>
                <a:gd name="connsiteY1762" fmla="*/ 153440 h 3762376"/>
                <a:gd name="connsiteX1763" fmla="*/ 4503513 w 6270621"/>
                <a:gd name="connsiteY1763" fmla="*/ 164022 h 3762376"/>
                <a:gd name="connsiteX1764" fmla="*/ 4508805 w 6270621"/>
                <a:gd name="connsiteY1764" fmla="*/ 185185 h 3762376"/>
                <a:gd name="connsiteX1765" fmla="*/ 4482343 w 6270621"/>
                <a:gd name="connsiteY1765" fmla="*/ 190476 h 3762376"/>
                <a:gd name="connsiteX1766" fmla="*/ 4508805 w 6270621"/>
                <a:gd name="connsiteY1766" fmla="*/ 201057 h 3762376"/>
                <a:gd name="connsiteX1767" fmla="*/ 4508805 w 6270621"/>
                <a:gd name="connsiteY1767" fmla="*/ 238092 h 3762376"/>
                <a:gd name="connsiteX1768" fmla="*/ 4482343 w 6270621"/>
                <a:gd name="connsiteY1768" fmla="*/ 259256 h 3762376"/>
                <a:gd name="connsiteX1769" fmla="*/ 4440003 w 6270621"/>
                <a:gd name="connsiteY1769" fmla="*/ 301582 h 3762376"/>
                <a:gd name="connsiteX1770" fmla="*/ 4418833 w 6270621"/>
                <a:gd name="connsiteY1770" fmla="*/ 343907 h 3762376"/>
                <a:gd name="connsiteX1771" fmla="*/ 4434710 w 6270621"/>
                <a:gd name="connsiteY1771" fmla="*/ 333326 h 3762376"/>
                <a:gd name="connsiteX1772" fmla="*/ 4445295 w 6270621"/>
                <a:gd name="connsiteY1772" fmla="*/ 322744 h 3762376"/>
                <a:gd name="connsiteX1773" fmla="*/ 4466465 w 6270621"/>
                <a:gd name="connsiteY1773" fmla="*/ 306872 h 3762376"/>
                <a:gd name="connsiteX1774" fmla="*/ 4487635 w 6270621"/>
                <a:gd name="connsiteY1774" fmla="*/ 296291 h 3762376"/>
                <a:gd name="connsiteX1775" fmla="*/ 4482343 w 6270621"/>
                <a:gd name="connsiteY1775" fmla="*/ 285709 h 3762376"/>
                <a:gd name="connsiteX1776" fmla="*/ 4487635 w 6270621"/>
                <a:gd name="connsiteY1776" fmla="*/ 269837 h 3762376"/>
                <a:gd name="connsiteX1777" fmla="*/ 4519390 w 6270621"/>
                <a:gd name="connsiteY1777" fmla="*/ 269837 h 3762376"/>
                <a:gd name="connsiteX1778" fmla="*/ 4535268 w 6270621"/>
                <a:gd name="connsiteY1778" fmla="*/ 264546 h 3762376"/>
                <a:gd name="connsiteX1779" fmla="*/ 4556438 w 6270621"/>
                <a:gd name="connsiteY1779" fmla="*/ 269837 h 3762376"/>
                <a:gd name="connsiteX1780" fmla="*/ 4598777 w 6270621"/>
                <a:gd name="connsiteY1780" fmla="*/ 259256 h 3762376"/>
                <a:gd name="connsiteX1781" fmla="*/ 4619947 w 6270621"/>
                <a:gd name="connsiteY1781" fmla="*/ 253965 h 3762376"/>
                <a:gd name="connsiteX1782" fmla="*/ 4630532 w 6270621"/>
                <a:gd name="connsiteY1782" fmla="*/ 269837 h 3762376"/>
                <a:gd name="connsiteX1783" fmla="*/ 4672872 w 6270621"/>
                <a:gd name="connsiteY1783" fmla="*/ 253965 h 3762376"/>
                <a:gd name="connsiteX1784" fmla="*/ 4694042 w 6270621"/>
                <a:gd name="connsiteY1784" fmla="*/ 248674 h 3762376"/>
                <a:gd name="connsiteX1785" fmla="*/ 4699335 w 6270621"/>
                <a:gd name="connsiteY1785" fmla="*/ 243383 h 3762376"/>
                <a:gd name="connsiteX1786" fmla="*/ 4678165 w 6270621"/>
                <a:gd name="connsiteY1786" fmla="*/ 238092 h 3762376"/>
                <a:gd name="connsiteX1787" fmla="*/ 4683457 w 6270621"/>
                <a:gd name="connsiteY1787" fmla="*/ 222220 h 3762376"/>
                <a:gd name="connsiteX1788" fmla="*/ 4688750 w 6270621"/>
                <a:gd name="connsiteY1788" fmla="*/ 206348 h 3762376"/>
                <a:gd name="connsiteX1789" fmla="*/ 4725797 w 6270621"/>
                <a:gd name="connsiteY1789" fmla="*/ 211638 h 3762376"/>
                <a:gd name="connsiteX1790" fmla="*/ 4762845 w 6270621"/>
                <a:gd name="connsiteY1790" fmla="*/ 206348 h 3762376"/>
                <a:gd name="connsiteX1791" fmla="*/ 4784015 w 6270621"/>
                <a:gd name="connsiteY1791" fmla="*/ 216929 h 3762376"/>
                <a:gd name="connsiteX1792" fmla="*/ 4773430 w 6270621"/>
                <a:gd name="connsiteY1792" fmla="*/ 232802 h 3762376"/>
                <a:gd name="connsiteX1793" fmla="*/ 4757552 w 6270621"/>
                <a:gd name="connsiteY1793" fmla="*/ 248674 h 3762376"/>
                <a:gd name="connsiteX1794" fmla="*/ 4752260 w 6270621"/>
                <a:gd name="connsiteY1794" fmla="*/ 253965 h 3762376"/>
                <a:gd name="connsiteX1795" fmla="*/ 4773430 w 6270621"/>
                <a:gd name="connsiteY1795" fmla="*/ 253965 h 3762376"/>
                <a:gd name="connsiteX1796" fmla="*/ 4836940 w 6270621"/>
                <a:gd name="connsiteY1796" fmla="*/ 280419 h 3762376"/>
                <a:gd name="connsiteX1797" fmla="*/ 4868695 w 6270621"/>
                <a:gd name="connsiteY1797" fmla="*/ 285709 h 3762376"/>
                <a:gd name="connsiteX1798" fmla="*/ 4873987 w 6270621"/>
                <a:gd name="connsiteY1798" fmla="*/ 275128 h 3762376"/>
                <a:gd name="connsiteX1799" fmla="*/ 4858110 w 6270621"/>
                <a:gd name="connsiteY1799" fmla="*/ 253965 h 3762376"/>
                <a:gd name="connsiteX1800" fmla="*/ 4863402 w 6270621"/>
                <a:gd name="connsiteY1800" fmla="*/ 238092 h 3762376"/>
                <a:gd name="connsiteX1801" fmla="*/ 4884572 w 6270621"/>
                <a:gd name="connsiteY1801" fmla="*/ 259256 h 3762376"/>
                <a:gd name="connsiteX1802" fmla="*/ 4905742 w 6270621"/>
                <a:gd name="connsiteY1802" fmla="*/ 253965 h 3762376"/>
                <a:gd name="connsiteX1803" fmla="*/ 4921619 w 6270621"/>
                <a:gd name="connsiteY1803" fmla="*/ 253965 h 3762376"/>
                <a:gd name="connsiteX1804" fmla="*/ 4916327 w 6270621"/>
                <a:gd name="connsiteY1804" fmla="*/ 248674 h 3762376"/>
                <a:gd name="connsiteX1805" fmla="*/ 4916327 w 6270621"/>
                <a:gd name="connsiteY1805" fmla="*/ 232802 h 3762376"/>
                <a:gd name="connsiteX1806" fmla="*/ 4942789 w 6270621"/>
                <a:gd name="connsiteY1806" fmla="*/ 238092 h 3762376"/>
                <a:gd name="connsiteX1807" fmla="*/ 4974544 w 6270621"/>
                <a:gd name="connsiteY1807" fmla="*/ 238092 h 3762376"/>
                <a:gd name="connsiteX1808" fmla="*/ 4974544 w 6270621"/>
                <a:gd name="connsiteY1808" fmla="*/ 216929 h 3762376"/>
                <a:gd name="connsiteX1809" fmla="*/ 4974544 w 6270621"/>
                <a:gd name="connsiteY1809" fmla="*/ 190476 h 3762376"/>
                <a:gd name="connsiteX1810" fmla="*/ 4953374 w 6270621"/>
                <a:gd name="connsiteY1810" fmla="*/ 190476 h 3762376"/>
                <a:gd name="connsiteX1811" fmla="*/ 4963959 w 6270621"/>
                <a:gd name="connsiteY1811" fmla="*/ 164022 h 3762376"/>
                <a:gd name="connsiteX1812" fmla="*/ 5001007 w 6270621"/>
                <a:gd name="connsiteY1812" fmla="*/ 153440 h 3762376"/>
                <a:gd name="connsiteX1813" fmla="*/ 5059224 w 6270621"/>
                <a:gd name="connsiteY1813" fmla="*/ 148150 h 3762376"/>
                <a:gd name="connsiteX1814" fmla="*/ 5064517 w 6270621"/>
                <a:gd name="connsiteY1814" fmla="*/ 179894 h 3762376"/>
                <a:gd name="connsiteX1815" fmla="*/ 5080394 w 6270621"/>
                <a:gd name="connsiteY1815" fmla="*/ 190476 h 3762376"/>
                <a:gd name="connsiteX1816" fmla="*/ 5090979 w 6270621"/>
                <a:gd name="connsiteY1816" fmla="*/ 169313 h 3762376"/>
                <a:gd name="connsiteX1817" fmla="*/ 5085687 w 6270621"/>
                <a:gd name="connsiteY1817" fmla="*/ 142859 h 3762376"/>
                <a:gd name="connsiteX1818" fmla="*/ 5112149 w 6270621"/>
                <a:gd name="connsiteY1818" fmla="*/ 137568 h 3762376"/>
                <a:gd name="connsiteX1819" fmla="*/ 5133319 w 6270621"/>
                <a:gd name="connsiteY1819" fmla="*/ 148150 h 3762376"/>
                <a:gd name="connsiteX1820" fmla="*/ 5128027 w 6270621"/>
                <a:gd name="connsiteY1820" fmla="*/ 158731 h 3762376"/>
                <a:gd name="connsiteX1821" fmla="*/ 5165074 w 6270621"/>
                <a:gd name="connsiteY1821" fmla="*/ 158731 h 3762376"/>
                <a:gd name="connsiteX1822" fmla="*/ 5212707 w 6270621"/>
                <a:gd name="connsiteY1822" fmla="*/ 174603 h 3762376"/>
                <a:gd name="connsiteX1823" fmla="*/ 5217999 w 6270621"/>
                <a:gd name="connsiteY1823" fmla="*/ 158731 h 3762376"/>
                <a:gd name="connsiteX1824" fmla="*/ 5255046 w 6270621"/>
                <a:gd name="connsiteY1824" fmla="*/ 132277 h 3762376"/>
                <a:gd name="connsiteX1825" fmla="*/ 5286801 w 6270621"/>
                <a:gd name="connsiteY1825" fmla="*/ 121696 h 3762376"/>
                <a:gd name="connsiteX1826" fmla="*/ 5329141 w 6270621"/>
                <a:gd name="connsiteY1826" fmla="*/ 126986 h 3762376"/>
                <a:gd name="connsiteX1827" fmla="*/ 5329141 w 6270621"/>
                <a:gd name="connsiteY1827" fmla="*/ 158731 h 3762376"/>
                <a:gd name="connsiteX1828" fmla="*/ 5366189 w 6270621"/>
                <a:gd name="connsiteY1828" fmla="*/ 179894 h 3762376"/>
                <a:gd name="connsiteX1829" fmla="*/ 5376774 w 6270621"/>
                <a:gd name="connsiteY1829" fmla="*/ 158731 h 3762376"/>
                <a:gd name="connsiteX1830" fmla="*/ 5397944 w 6270621"/>
                <a:gd name="connsiteY1830" fmla="*/ 148150 h 3762376"/>
                <a:gd name="connsiteX1831" fmla="*/ 5456161 w 6270621"/>
                <a:gd name="connsiteY1831" fmla="*/ 132277 h 3762376"/>
                <a:gd name="connsiteX1832" fmla="*/ 5456161 w 6270621"/>
                <a:gd name="connsiteY1832" fmla="*/ 116405 h 3762376"/>
                <a:gd name="connsiteX1833" fmla="*/ 5477331 w 6270621"/>
                <a:gd name="connsiteY1833" fmla="*/ 132277 h 3762376"/>
                <a:gd name="connsiteX1834" fmla="*/ 5519671 w 6270621"/>
                <a:gd name="connsiteY1834" fmla="*/ 142859 h 3762376"/>
                <a:gd name="connsiteX1835" fmla="*/ 5524964 w 6270621"/>
                <a:gd name="connsiteY1835" fmla="*/ 137568 h 3762376"/>
                <a:gd name="connsiteX1836" fmla="*/ 5519671 w 6270621"/>
                <a:gd name="connsiteY1836" fmla="*/ 111114 h 3762376"/>
                <a:gd name="connsiteX1837" fmla="*/ 5503794 w 6270621"/>
                <a:gd name="connsiteY1837" fmla="*/ 105823 h 3762376"/>
                <a:gd name="connsiteX1838" fmla="*/ 5493209 w 6270621"/>
                <a:gd name="connsiteY1838" fmla="*/ 84660 h 3762376"/>
                <a:gd name="connsiteX1839" fmla="*/ 5514379 w 6270621"/>
                <a:gd name="connsiteY1839" fmla="*/ 68788 h 3762376"/>
                <a:gd name="connsiteX1840" fmla="*/ 5540841 w 6270621"/>
                <a:gd name="connsiteY1840" fmla="*/ 74079 h 3762376"/>
                <a:gd name="connsiteX1841" fmla="*/ 5614936 w 6270621"/>
                <a:gd name="connsiteY1841" fmla="*/ 58207 h 3762376"/>
                <a:gd name="connsiteX1842" fmla="*/ 5657276 w 6270621"/>
                <a:gd name="connsiteY1842" fmla="*/ 47625 h 3762376"/>
                <a:gd name="connsiteX1843" fmla="*/ 5059358 w 6270621"/>
                <a:gd name="connsiteY1843" fmla="*/ 0 h 3762376"/>
                <a:gd name="connsiteX1844" fmla="*/ 5079996 w 6270621"/>
                <a:gd name="connsiteY1844" fmla="*/ 11113 h 3762376"/>
                <a:gd name="connsiteX1845" fmla="*/ 5054596 w 6270621"/>
                <a:gd name="connsiteY1845" fmla="*/ 36513 h 3762376"/>
                <a:gd name="connsiteX1846" fmla="*/ 4995858 w 6270621"/>
                <a:gd name="connsiteY1846" fmla="*/ 42863 h 3762376"/>
                <a:gd name="connsiteX1847" fmla="*/ 4959346 w 6270621"/>
                <a:gd name="connsiteY1847" fmla="*/ 52388 h 3762376"/>
                <a:gd name="connsiteX1848" fmla="*/ 4932358 w 6270621"/>
                <a:gd name="connsiteY1848" fmla="*/ 31750 h 3762376"/>
                <a:gd name="connsiteX1849" fmla="*/ 4932358 w 6270621"/>
                <a:gd name="connsiteY1849" fmla="*/ 63500 h 3762376"/>
                <a:gd name="connsiteX1850" fmla="*/ 4911721 w 6270621"/>
                <a:gd name="connsiteY1850" fmla="*/ 84138 h 3762376"/>
                <a:gd name="connsiteX1851" fmla="*/ 4895846 w 6270621"/>
                <a:gd name="connsiteY1851" fmla="*/ 106363 h 3762376"/>
                <a:gd name="connsiteX1852" fmla="*/ 4848221 w 6270621"/>
                <a:gd name="connsiteY1852" fmla="*/ 84138 h 3762376"/>
                <a:gd name="connsiteX1853" fmla="*/ 4848221 w 6270621"/>
                <a:gd name="connsiteY1853" fmla="*/ 52388 h 3762376"/>
                <a:gd name="connsiteX1854" fmla="*/ 4864096 w 6270621"/>
                <a:gd name="connsiteY1854" fmla="*/ 42863 h 3762376"/>
                <a:gd name="connsiteX1855" fmla="*/ 4900608 w 6270621"/>
                <a:gd name="connsiteY1855" fmla="*/ 47625 h 3762376"/>
                <a:gd name="connsiteX1856" fmla="*/ 4884733 w 6270621"/>
                <a:gd name="connsiteY1856" fmla="*/ 20638 h 3762376"/>
                <a:gd name="connsiteX1857" fmla="*/ 4900608 w 6270621"/>
                <a:gd name="connsiteY1857" fmla="*/ 15875 h 3762376"/>
                <a:gd name="connsiteX1858" fmla="*/ 4921246 w 6270621"/>
                <a:gd name="connsiteY1858" fmla="*/ 20638 h 3762376"/>
                <a:gd name="connsiteX1859" fmla="*/ 4948233 w 6270621"/>
                <a:gd name="connsiteY1859" fmla="*/ 11113 h 3762376"/>
                <a:gd name="connsiteX1860" fmla="*/ 4979983 w 6270621"/>
                <a:gd name="connsiteY1860" fmla="*/ 11113 h 3762376"/>
                <a:gd name="connsiteX1861" fmla="*/ 5027608 w 6270621"/>
                <a:gd name="connsiteY1861" fmla="*/ 11113 h 3762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</a:cxnLst>
              <a:rect l="l" t="t" r="r" b="b"/>
              <a:pathLst>
                <a:path w="6270621" h="3762376">
                  <a:moveTo>
                    <a:pt x="6122983" y="3598863"/>
                  </a:moveTo>
                  <a:lnTo>
                    <a:pt x="6138858" y="3630613"/>
                  </a:lnTo>
                  <a:lnTo>
                    <a:pt x="6111871" y="3662363"/>
                  </a:lnTo>
                  <a:lnTo>
                    <a:pt x="6022971" y="3746501"/>
                  </a:lnTo>
                  <a:lnTo>
                    <a:pt x="5975346" y="3762376"/>
                  </a:lnTo>
                  <a:lnTo>
                    <a:pt x="5927721" y="3751264"/>
                  </a:lnTo>
                  <a:lnTo>
                    <a:pt x="5921371" y="3735389"/>
                  </a:lnTo>
                  <a:lnTo>
                    <a:pt x="6027734" y="3678238"/>
                  </a:lnTo>
                  <a:lnTo>
                    <a:pt x="6107108" y="3608388"/>
                  </a:lnTo>
                  <a:close/>
                  <a:moveTo>
                    <a:pt x="5567359" y="3503613"/>
                  </a:moveTo>
                  <a:lnTo>
                    <a:pt x="5594347" y="3519488"/>
                  </a:lnTo>
                  <a:lnTo>
                    <a:pt x="5641971" y="3513138"/>
                  </a:lnTo>
                  <a:lnTo>
                    <a:pt x="5626096" y="3540126"/>
                  </a:lnTo>
                  <a:lnTo>
                    <a:pt x="5610221" y="3576638"/>
                  </a:lnTo>
                  <a:lnTo>
                    <a:pt x="5578472" y="3598863"/>
                  </a:lnTo>
                  <a:lnTo>
                    <a:pt x="5567359" y="3587751"/>
                  </a:lnTo>
                  <a:lnTo>
                    <a:pt x="5551484" y="3560763"/>
                  </a:lnTo>
                  <a:lnTo>
                    <a:pt x="5567359" y="3551238"/>
                  </a:lnTo>
                  <a:lnTo>
                    <a:pt x="5567359" y="3524251"/>
                  </a:lnTo>
                  <a:close/>
                  <a:moveTo>
                    <a:pt x="6212678" y="3408363"/>
                  </a:moveTo>
                  <a:cubicBezTo>
                    <a:pt x="6212678" y="3408363"/>
                    <a:pt x="6212678" y="3408363"/>
                    <a:pt x="6223213" y="3434693"/>
                  </a:cubicBezTo>
                  <a:cubicBezTo>
                    <a:pt x="6223213" y="3434693"/>
                    <a:pt x="6223213" y="3434693"/>
                    <a:pt x="6233748" y="3466288"/>
                  </a:cubicBezTo>
                  <a:cubicBezTo>
                    <a:pt x="6233748" y="3466288"/>
                    <a:pt x="6233748" y="3466288"/>
                    <a:pt x="6244283" y="3476819"/>
                  </a:cubicBezTo>
                  <a:cubicBezTo>
                    <a:pt x="6244283" y="3476819"/>
                    <a:pt x="6244283" y="3513680"/>
                    <a:pt x="6244283" y="3518946"/>
                  </a:cubicBezTo>
                  <a:cubicBezTo>
                    <a:pt x="6244283" y="3524212"/>
                    <a:pt x="6270621" y="3518946"/>
                    <a:pt x="6270621" y="3518946"/>
                  </a:cubicBezTo>
                  <a:cubicBezTo>
                    <a:pt x="6270621" y="3518946"/>
                    <a:pt x="6270621" y="3518946"/>
                    <a:pt x="6270621" y="3540010"/>
                  </a:cubicBezTo>
                  <a:cubicBezTo>
                    <a:pt x="6270621" y="3540010"/>
                    <a:pt x="6270621" y="3540010"/>
                    <a:pt x="6244283" y="3566339"/>
                  </a:cubicBezTo>
                  <a:cubicBezTo>
                    <a:pt x="6244283" y="3566339"/>
                    <a:pt x="6244283" y="3566339"/>
                    <a:pt x="6217945" y="3576871"/>
                  </a:cubicBezTo>
                  <a:cubicBezTo>
                    <a:pt x="6217945" y="3576871"/>
                    <a:pt x="6217945" y="3576871"/>
                    <a:pt x="6207410" y="3597934"/>
                  </a:cubicBezTo>
                  <a:cubicBezTo>
                    <a:pt x="6207410" y="3597934"/>
                    <a:pt x="6207410" y="3597934"/>
                    <a:pt x="6170537" y="3624263"/>
                  </a:cubicBezTo>
                  <a:cubicBezTo>
                    <a:pt x="6170537" y="3624263"/>
                    <a:pt x="6170537" y="3624263"/>
                    <a:pt x="6175805" y="3608466"/>
                  </a:cubicBezTo>
                  <a:cubicBezTo>
                    <a:pt x="6175805" y="3608466"/>
                    <a:pt x="6175805" y="3608466"/>
                    <a:pt x="6165269" y="3587402"/>
                  </a:cubicBezTo>
                  <a:cubicBezTo>
                    <a:pt x="6165269" y="3587402"/>
                    <a:pt x="6165269" y="3587402"/>
                    <a:pt x="6154734" y="3566339"/>
                  </a:cubicBezTo>
                  <a:cubicBezTo>
                    <a:pt x="6154734" y="3566339"/>
                    <a:pt x="6154734" y="3566339"/>
                    <a:pt x="6181072" y="3540010"/>
                  </a:cubicBezTo>
                  <a:cubicBezTo>
                    <a:pt x="6181072" y="3540010"/>
                    <a:pt x="6181072" y="3540010"/>
                    <a:pt x="6207410" y="3529478"/>
                  </a:cubicBezTo>
                  <a:cubicBezTo>
                    <a:pt x="6207410" y="3529478"/>
                    <a:pt x="6207410" y="3529478"/>
                    <a:pt x="6202143" y="3508414"/>
                  </a:cubicBezTo>
                  <a:cubicBezTo>
                    <a:pt x="6202143" y="3508414"/>
                    <a:pt x="6202143" y="3508414"/>
                    <a:pt x="6207410" y="3476819"/>
                  </a:cubicBezTo>
                  <a:cubicBezTo>
                    <a:pt x="6207410" y="3476819"/>
                    <a:pt x="6207410" y="3476819"/>
                    <a:pt x="6202143" y="3418895"/>
                  </a:cubicBezTo>
                  <a:close/>
                  <a:moveTo>
                    <a:pt x="5768070" y="2667000"/>
                  </a:moveTo>
                  <a:cubicBezTo>
                    <a:pt x="5768070" y="2667000"/>
                    <a:pt x="5768070" y="2667000"/>
                    <a:pt x="5783924" y="2677577"/>
                  </a:cubicBezTo>
                  <a:cubicBezTo>
                    <a:pt x="5783924" y="2677577"/>
                    <a:pt x="5783924" y="2677577"/>
                    <a:pt x="5783924" y="2762187"/>
                  </a:cubicBezTo>
                  <a:cubicBezTo>
                    <a:pt x="5783924" y="2762187"/>
                    <a:pt x="5783924" y="2762187"/>
                    <a:pt x="5815633" y="2772764"/>
                  </a:cubicBezTo>
                  <a:cubicBezTo>
                    <a:pt x="5815633" y="2772764"/>
                    <a:pt x="5805064" y="2815069"/>
                    <a:pt x="5810349" y="2815069"/>
                  </a:cubicBezTo>
                  <a:cubicBezTo>
                    <a:pt x="5810349" y="2820357"/>
                    <a:pt x="5815633" y="2857374"/>
                    <a:pt x="5815633" y="2857374"/>
                  </a:cubicBezTo>
                  <a:cubicBezTo>
                    <a:pt x="5815633" y="2857374"/>
                    <a:pt x="5815633" y="2857374"/>
                    <a:pt x="5810349" y="2889103"/>
                  </a:cubicBezTo>
                  <a:cubicBezTo>
                    <a:pt x="5810349" y="2889103"/>
                    <a:pt x="5810349" y="2889103"/>
                    <a:pt x="5842058" y="2926120"/>
                  </a:cubicBezTo>
                  <a:cubicBezTo>
                    <a:pt x="5842058" y="2926120"/>
                    <a:pt x="5842058" y="2926120"/>
                    <a:pt x="5852627" y="2973714"/>
                  </a:cubicBezTo>
                  <a:cubicBezTo>
                    <a:pt x="5852627" y="2973714"/>
                    <a:pt x="5852627" y="2973714"/>
                    <a:pt x="5863197" y="2994866"/>
                  </a:cubicBezTo>
                  <a:cubicBezTo>
                    <a:pt x="5863197" y="2994866"/>
                    <a:pt x="5863197" y="2994866"/>
                    <a:pt x="5868482" y="3021307"/>
                  </a:cubicBezTo>
                  <a:cubicBezTo>
                    <a:pt x="5868482" y="3021307"/>
                    <a:pt x="5868482" y="3021307"/>
                    <a:pt x="5889621" y="3063613"/>
                  </a:cubicBezTo>
                  <a:cubicBezTo>
                    <a:pt x="5889621" y="3063613"/>
                    <a:pt x="5889621" y="3063613"/>
                    <a:pt x="5889621" y="3127071"/>
                  </a:cubicBezTo>
                  <a:cubicBezTo>
                    <a:pt x="5889621" y="3127071"/>
                    <a:pt x="5889621" y="3127071"/>
                    <a:pt x="5879052" y="3179952"/>
                  </a:cubicBezTo>
                  <a:cubicBezTo>
                    <a:pt x="5879052" y="3179952"/>
                    <a:pt x="5879052" y="3179952"/>
                    <a:pt x="5820918" y="3291004"/>
                  </a:cubicBezTo>
                  <a:cubicBezTo>
                    <a:pt x="5820918" y="3291004"/>
                    <a:pt x="5820918" y="3291004"/>
                    <a:pt x="5757500" y="3354462"/>
                  </a:cubicBezTo>
                  <a:cubicBezTo>
                    <a:pt x="5757500" y="3354462"/>
                    <a:pt x="5757500" y="3354462"/>
                    <a:pt x="5741646" y="3375614"/>
                  </a:cubicBezTo>
                  <a:cubicBezTo>
                    <a:pt x="5741646" y="3375614"/>
                    <a:pt x="5741646" y="3375614"/>
                    <a:pt x="5709937" y="3433784"/>
                  </a:cubicBezTo>
                  <a:cubicBezTo>
                    <a:pt x="5709937" y="3433784"/>
                    <a:pt x="5709937" y="3433784"/>
                    <a:pt x="5678228" y="3428496"/>
                  </a:cubicBezTo>
                  <a:cubicBezTo>
                    <a:pt x="5678228" y="3428496"/>
                    <a:pt x="5678228" y="3428496"/>
                    <a:pt x="5662373" y="3439072"/>
                  </a:cubicBezTo>
                  <a:cubicBezTo>
                    <a:pt x="5662373" y="3439072"/>
                    <a:pt x="5662373" y="3439072"/>
                    <a:pt x="5625379" y="3465513"/>
                  </a:cubicBezTo>
                  <a:cubicBezTo>
                    <a:pt x="5625379" y="3465513"/>
                    <a:pt x="5625379" y="3465513"/>
                    <a:pt x="5609525" y="3433784"/>
                  </a:cubicBezTo>
                  <a:cubicBezTo>
                    <a:pt x="5609525" y="3433784"/>
                    <a:pt x="5609525" y="3433784"/>
                    <a:pt x="5572531" y="3439072"/>
                  </a:cubicBezTo>
                  <a:cubicBezTo>
                    <a:pt x="5572531" y="3439072"/>
                    <a:pt x="5572531" y="3439072"/>
                    <a:pt x="5530252" y="3417920"/>
                  </a:cubicBezTo>
                  <a:cubicBezTo>
                    <a:pt x="5530252" y="3417920"/>
                    <a:pt x="5530252" y="3417920"/>
                    <a:pt x="5514398" y="3396767"/>
                  </a:cubicBezTo>
                  <a:cubicBezTo>
                    <a:pt x="5514398" y="3396767"/>
                    <a:pt x="5514398" y="3396767"/>
                    <a:pt x="5524967" y="3375614"/>
                  </a:cubicBezTo>
                  <a:cubicBezTo>
                    <a:pt x="5524967" y="3375614"/>
                    <a:pt x="5524967" y="3375614"/>
                    <a:pt x="5524967" y="3343885"/>
                  </a:cubicBezTo>
                  <a:cubicBezTo>
                    <a:pt x="5524967" y="3343885"/>
                    <a:pt x="5524967" y="3343885"/>
                    <a:pt x="5519683" y="3333309"/>
                  </a:cubicBezTo>
                  <a:cubicBezTo>
                    <a:pt x="5519683" y="3333309"/>
                    <a:pt x="5519683" y="3333309"/>
                    <a:pt x="5530252" y="3301580"/>
                  </a:cubicBezTo>
                  <a:cubicBezTo>
                    <a:pt x="5530252" y="3301580"/>
                    <a:pt x="5530252" y="3301580"/>
                    <a:pt x="5509113" y="3322733"/>
                  </a:cubicBezTo>
                  <a:cubicBezTo>
                    <a:pt x="5509113" y="3322733"/>
                    <a:pt x="5509113" y="3322733"/>
                    <a:pt x="5498543" y="3343885"/>
                  </a:cubicBezTo>
                  <a:cubicBezTo>
                    <a:pt x="5498543" y="3343885"/>
                    <a:pt x="5498543" y="3343885"/>
                    <a:pt x="5477404" y="3349174"/>
                  </a:cubicBezTo>
                  <a:cubicBezTo>
                    <a:pt x="5477404" y="3349174"/>
                    <a:pt x="5477404" y="3349174"/>
                    <a:pt x="5472119" y="3338597"/>
                  </a:cubicBezTo>
                  <a:cubicBezTo>
                    <a:pt x="5472119" y="3338597"/>
                    <a:pt x="5472119" y="3338597"/>
                    <a:pt x="5503828" y="3306868"/>
                  </a:cubicBezTo>
                  <a:cubicBezTo>
                    <a:pt x="5503828" y="3306868"/>
                    <a:pt x="5503828" y="3306868"/>
                    <a:pt x="5524967" y="3280427"/>
                  </a:cubicBezTo>
                  <a:cubicBezTo>
                    <a:pt x="5524967" y="3280427"/>
                    <a:pt x="5524967" y="3280427"/>
                    <a:pt x="5530252" y="3253987"/>
                  </a:cubicBezTo>
                  <a:cubicBezTo>
                    <a:pt x="5530252" y="3253987"/>
                    <a:pt x="5530252" y="3253987"/>
                    <a:pt x="5487973" y="3291004"/>
                  </a:cubicBezTo>
                  <a:cubicBezTo>
                    <a:pt x="5487973" y="3291004"/>
                    <a:pt x="5487973" y="3291004"/>
                    <a:pt x="5472119" y="3312156"/>
                  </a:cubicBezTo>
                  <a:cubicBezTo>
                    <a:pt x="5472119" y="3312156"/>
                    <a:pt x="5472119" y="3312156"/>
                    <a:pt x="5461549" y="3301580"/>
                  </a:cubicBezTo>
                  <a:cubicBezTo>
                    <a:pt x="5461549" y="3301580"/>
                    <a:pt x="5461549" y="3301580"/>
                    <a:pt x="5461549" y="3269851"/>
                  </a:cubicBezTo>
                  <a:cubicBezTo>
                    <a:pt x="5461549" y="3269851"/>
                    <a:pt x="5461549" y="3269851"/>
                    <a:pt x="5450980" y="3227546"/>
                  </a:cubicBezTo>
                  <a:cubicBezTo>
                    <a:pt x="5450980" y="3227546"/>
                    <a:pt x="5450980" y="3227546"/>
                    <a:pt x="5419271" y="3201105"/>
                  </a:cubicBezTo>
                  <a:cubicBezTo>
                    <a:pt x="5419271" y="3201105"/>
                    <a:pt x="5419271" y="3201105"/>
                    <a:pt x="5371707" y="3201105"/>
                  </a:cubicBezTo>
                  <a:cubicBezTo>
                    <a:pt x="5371707" y="3201105"/>
                    <a:pt x="5371707" y="3201105"/>
                    <a:pt x="5339998" y="3216969"/>
                  </a:cubicBezTo>
                  <a:cubicBezTo>
                    <a:pt x="5339998" y="3216969"/>
                    <a:pt x="5339998" y="3216969"/>
                    <a:pt x="5324143" y="3206393"/>
                  </a:cubicBezTo>
                  <a:cubicBezTo>
                    <a:pt x="5324143" y="3206393"/>
                    <a:pt x="5324143" y="3206393"/>
                    <a:pt x="5260725" y="3222258"/>
                  </a:cubicBezTo>
                  <a:cubicBezTo>
                    <a:pt x="5260725" y="3222258"/>
                    <a:pt x="5260725" y="3222258"/>
                    <a:pt x="5239586" y="3248698"/>
                  </a:cubicBezTo>
                  <a:cubicBezTo>
                    <a:pt x="5239586" y="3248698"/>
                    <a:pt x="5239586" y="3248698"/>
                    <a:pt x="5176168" y="3238122"/>
                  </a:cubicBezTo>
                  <a:cubicBezTo>
                    <a:pt x="5176168" y="3238122"/>
                    <a:pt x="5176168" y="3238122"/>
                    <a:pt x="5118034" y="3259275"/>
                  </a:cubicBezTo>
                  <a:cubicBezTo>
                    <a:pt x="5118034" y="3259275"/>
                    <a:pt x="5118034" y="3259275"/>
                    <a:pt x="5086325" y="3253987"/>
                  </a:cubicBezTo>
                  <a:cubicBezTo>
                    <a:pt x="5086325" y="3253987"/>
                    <a:pt x="5086325" y="3253987"/>
                    <a:pt x="5070471" y="3232834"/>
                  </a:cubicBezTo>
                  <a:cubicBezTo>
                    <a:pt x="5070471" y="3232834"/>
                    <a:pt x="5070471" y="3232834"/>
                    <a:pt x="5091610" y="3211681"/>
                  </a:cubicBezTo>
                  <a:cubicBezTo>
                    <a:pt x="5091610" y="3211681"/>
                    <a:pt x="5091610" y="3211681"/>
                    <a:pt x="5118034" y="3169376"/>
                  </a:cubicBezTo>
                  <a:cubicBezTo>
                    <a:pt x="5118034" y="3169376"/>
                    <a:pt x="5118034" y="3169376"/>
                    <a:pt x="5107465" y="3142935"/>
                  </a:cubicBezTo>
                  <a:cubicBezTo>
                    <a:pt x="5107465" y="3142935"/>
                    <a:pt x="5107465" y="3142935"/>
                    <a:pt x="5107465" y="3063613"/>
                  </a:cubicBezTo>
                  <a:cubicBezTo>
                    <a:pt x="5107465" y="3063613"/>
                    <a:pt x="5107465" y="3063613"/>
                    <a:pt x="5118034" y="3010731"/>
                  </a:cubicBezTo>
                  <a:cubicBezTo>
                    <a:pt x="5118034" y="3010731"/>
                    <a:pt x="5118034" y="3010731"/>
                    <a:pt x="5128604" y="2936697"/>
                  </a:cubicBezTo>
                  <a:lnTo>
                    <a:pt x="5181452" y="2894391"/>
                  </a:lnTo>
                  <a:cubicBezTo>
                    <a:pt x="5181452" y="2894391"/>
                    <a:pt x="5181452" y="2894391"/>
                    <a:pt x="5244870" y="2867951"/>
                  </a:cubicBezTo>
                  <a:cubicBezTo>
                    <a:pt x="5244870" y="2867951"/>
                    <a:pt x="5244870" y="2867951"/>
                    <a:pt x="5281864" y="2867951"/>
                  </a:cubicBezTo>
                  <a:cubicBezTo>
                    <a:pt x="5281864" y="2867951"/>
                    <a:pt x="5281864" y="2867951"/>
                    <a:pt x="5313573" y="2852086"/>
                  </a:cubicBezTo>
                  <a:cubicBezTo>
                    <a:pt x="5313573" y="2852086"/>
                    <a:pt x="5313573" y="2852086"/>
                    <a:pt x="5329428" y="2836222"/>
                  </a:cubicBezTo>
                  <a:cubicBezTo>
                    <a:pt x="5329428" y="2836222"/>
                    <a:pt x="5329428" y="2836222"/>
                    <a:pt x="5329428" y="2804493"/>
                  </a:cubicBezTo>
                  <a:cubicBezTo>
                    <a:pt x="5329428" y="2804493"/>
                    <a:pt x="5329428" y="2804493"/>
                    <a:pt x="5350567" y="2783340"/>
                  </a:cubicBezTo>
                  <a:cubicBezTo>
                    <a:pt x="5350567" y="2783340"/>
                    <a:pt x="5350567" y="2783340"/>
                    <a:pt x="5350567" y="2799204"/>
                  </a:cubicBezTo>
                  <a:cubicBezTo>
                    <a:pt x="5350567" y="2799204"/>
                    <a:pt x="5350567" y="2799204"/>
                    <a:pt x="5361137" y="2820357"/>
                  </a:cubicBezTo>
                  <a:cubicBezTo>
                    <a:pt x="5361137" y="2820357"/>
                    <a:pt x="5361137" y="2820357"/>
                    <a:pt x="5366422" y="2788628"/>
                  </a:cubicBezTo>
                  <a:cubicBezTo>
                    <a:pt x="5366422" y="2788628"/>
                    <a:pt x="5366422" y="2788628"/>
                    <a:pt x="5382277" y="2788628"/>
                  </a:cubicBezTo>
                  <a:cubicBezTo>
                    <a:pt x="5382277" y="2788628"/>
                    <a:pt x="5382277" y="2788628"/>
                    <a:pt x="5382277" y="2772764"/>
                  </a:cubicBezTo>
                  <a:cubicBezTo>
                    <a:pt x="5382277" y="2772764"/>
                    <a:pt x="5382277" y="2772764"/>
                    <a:pt x="5419271" y="2741035"/>
                  </a:cubicBezTo>
                  <a:cubicBezTo>
                    <a:pt x="5419271" y="2741035"/>
                    <a:pt x="5419271" y="2741035"/>
                    <a:pt x="5445695" y="2719882"/>
                  </a:cubicBezTo>
                  <a:cubicBezTo>
                    <a:pt x="5445695" y="2719882"/>
                    <a:pt x="5445695" y="2719882"/>
                    <a:pt x="5466834" y="2751611"/>
                  </a:cubicBezTo>
                  <a:cubicBezTo>
                    <a:pt x="5466834" y="2751611"/>
                    <a:pt x="5466834" y="2751611"/>
                    <a:pt x="5456264" y="2778052"/>
                  </a:cubicBezTo>
                  <a:cubicBezTo>
                    <a:pt x="5456264" y="2778052"/>
                    <a:pt x="5456264" y="2778052"/>
                    <a:pt x="5498543" y="2767475"/>
                  </a:cubicBezTo>
                  <a:cubicBezTo>
                    <a:pt x="5498543" y="2767475"/>
                    <a:pt x="5498543" y="2767475"/>
                    <a:pt x="5487973" y="2741035"/>
                  </a:cubicBezTo>
                  <a:cubicBezTo>
                    <a:pt x="5487973" y="2741035"/>
                    <a:pt x="5503828" y="2719882"/>
                    <a:pt x="5503828" y="2725170"/>
                  </a:cubicBezTo>
                  <a:cubicBezTo>
                    <a:pt x="5503828" y="2725170"/>
                    <a:pt x="5524967" y="2688153"/>
                    <a:pt x="5524967" y="2688153"/>
                  </a:cubicBezTo>
                  <a:cubicBezTo>
                    <a:pt x="5524967" y="2688153"/>
                    <a:pt x="5524967" y="2688153"/>
                    <a:pt x="5577816" y="2677577"/>
                  </a:cubicBezTo>
                  <a:cubicBezTo>
                    <a:pt x="5577816" y="2677577"/>
                    <a:pt x="5577816" y="2677577"/>
                    <a:pt x="5620094" y="2698729"/>
                  </a:cubicBezTo>
                  <a:cubicBezTo>
                    <a:pt x="5620094" y="2698729"/>
                    <a:pt x="5620094" y="2698729"/>
                    <a:pt x="5641234" y="2688153"/>
                  </a:cubicBezTo>
                  <a:cubicBezTo>
                    <a:pt x="5641234" y="2688153"/>
                    <a:pt x="5641234" y="2688153"/>
                    <a:pt x="5657088" y="2704017"/>
                  </a:cubicBezTo>
                  <a:cubicBezTo>
                    <a:pt x="5657088" y="2704017"/>
                    <a:pt x="5657088" y="2704017"/>
                    <a:pt x="5630664" y="2735746"/>
                  </a:cubicBezTo>
                  <a:cubicBezTo>
                    <a:pt x="5630664" y="2735746"/>
                    <a:pt x="5630664" y="2735746"/>
                    <a:pt x="5614810" y="2772764"/>
                  </a:cubicBezTo>
                  <a:cubicBezTo>
                    <a:pt x="5614810" y="2772764"/>
                    <a:pt x="5614810" y="2772764"/>
                    <a:pt x="5651803" y="2820357"/>
                  </a:cubicBezTo>
                  <a:cubicBezTo>
                    <a:pt x="5651803" y="2820357"/>
                    <a:pt x="5651803" y="2820357"/>
                    <a:pt x="5683513" y="2852086"/>
                  </a:cubicBezTo>
                  <a:cubicBezTo>
                    <a:pt x="5683513" y="2852086"/>
                    <a:pt x="5683513" y="2852086"/>
                    <a:pt x="5704652" y="2852086"/>
                  </a:cubicBezTo>
                  <a:cubicBezTo>
                    <a:pt x="5704652" y="2852086"/>
                    <a:pt x="5704652" y="2852086"/>
                    <a:pt x="5715222" y="2830933"/>
                  </a:cubicBezTo>
                  <a:cubicBezTo>
                    <a:pt x="5715222" y="2830933"/>
                    <a:pt x="5715222" y="2830933"/>
                    <a:pt x="5731076" y="2762187"/>
                  </a:cubicBezTo>
                  <a:cubicBezTo>
                    <a:pt x="5731076" y="2762187"/>
                    <a:pt x="5731076" y="2762187"/>
                    <a:pt x="5757500" y="2693441"/>
                  </a:cubicBezTo>
                  <a:cubicBezTo>
                    <a:pt x="5757500" y="2693441"/>
                    <a:pt x="5757500" y="2693441"/>
                    <a:pt x="5768070" y="2667000"/>
                  </a:cubicBezTo>
                  <a:close/>
                  <a:moveTo>
                    <a:pt x="3889371" y="2630488"/>
                  </a:moveTo>
                  <a:lnTo>
                    <a:pt x="3900484" y="2671763"/>
                  </a:lnTo>
                  <a:lnTo>
                    <a:pt x="3900484" y="2709863"/>
                  </a:lnTo>
                  <a:lnTo>
                    <a:pt x="3878259" y="2725738"/>
                  </a:lnTo>
                  <a:lnTo>
                    <a:pt x="3884609" y="2751138"/>
                  </a:lnTo>
                  <a:lnTo>
                    <a:pt x="3830634" y="2873376"/>
                  </a:lnTo>
                  <a:lnTo>
                    <a:pt x="3805234" y="2921001"/>
                  </a:lnTo>
                  <a:lnTo>
                    <a:pt x="3767134" y="2921001"/>
                  </a:lnTo>
                  <a:lnTo>
                    <a:pt x="3751259" y="2894014"/>
                  </a:lnTo>
                  <a:lnTo>
                    <a:pt x="3751259" y="2836864"/>
                  </a:lnTo>
                  <a:lnTo>
                    <a:pt x="3778246" y="2809876"/>
                  </a:lnTo>
                  <a:lnTo>
                    <a:pt x="3767134" y="2746376"/>
                  </a:lnTo>
                  <a:lnTo>
                    <a:pt x="3778246" y="2719388"/>
                  </a:lnTo>
                  <a:lnTo>
                    <a:pt x="3814759" y="2714626"/>
                  </a:lnTo>
                  <a:lnTo>
                    <a:pt x="3846509" y="2682876"/>
                  </a:lnTo>
                  <a:close/>
                  <a:moveTo>
                    <a:pt x="5038721" y="2519363"/>
                  </a:moveTo>
                  <a:lnTo>
                    <a:pt x="5064121" y="2519363"/>
                  </a:lnTo>
                  <a:lnTo>
                    <a:pt x="5091109" y="2535238"/>
                  </a:lnTo>
                  <a:lnTo>
                    <a:pt x="5133971" y="2528888"/>
                  </a:lnTo>
                  <a:lnTo>
                    <a:pt x="5165721" y="2535238"/>
                  </a:lnTo>
                  <a:lnTo>
                    <a:pt x="5186358" y="2560639"/>
                  </a:lnTo>
                  <a:lnTo>
                    <a:pt x="5206996" y="2571751"/>
                  </a:lnTo>
                  <a:lnTo>
                    <a:pt x="5197471" y="2587626"/>
                  </a:lnTo>
                  <a:lnTo>
                    <a:pt x="5095871" y="2560639"/>
                  </a:lnTo>
                  <a:lnTo>
                    <a:pt x="5027609" y="2540001"/>
                  </a:lnTo>
                  <a:close/>
                  <a:moveTo>
                    <a:pt x="5594346" y="2386013"/>
                  </a:moveTo>
                  <a:lnTo>
                    <a:pt x="5619746" y="2386013"/>
                  </a:lnTo>
                  <a:lnTo>
                    <a:pt x="5619746" y="2424113"/>
                  </a:lnTo>
                  <a:lnTo>
                    <a:pt x="5641971" y="2455863"/>
                  </a:lnTo>
                  <a:lnTo>
                    <a:pt x="5667371" y="2433638"/>
                  </a:lnTo>
                  <a:lnTo>
                    <a:pt x="5694359" y="2408238"/>
                  </a:lnTo>
                  <a:lnTo>
                    <a:pt x="5768971" y="2455863"/>
                  </a:lnTo>
                  <a:lnTo>
                    <a:pt x="5841996" y="2487613"/>
                  </a:lnTo>
                  <a:lnTo>
                    <a:pt x="5853109" y="2519363"/>
                  </a:lnTo>
                  <a:lnTo>
                    <a:pt x="5905496" y="2535238"/>
                  </a:lnTo>
                  <a:lnTo>
                    <a:pt x="5953121" y="2524126"/>
                  </a:lnTo>
                  <a:lnTo>
                    <a:pt x="5968996" y="2497138"/>
                  </a:lnTo>
                  <a:lnTo>
                    <a:pt x="5991221" y="2503488"/>
                  </a:lnTo>
                  <a:lnTo>
                    <a:pt x="5959471" y="2544763"/>
                  </a:lnTo>
                  <a:lnTo>
                    <a:pt x="5911846" y="2544763"/>
                  </a:lnTo>
                  <a:lnTo>
                    <a:pt x="5873746" y="2551113"/>
                  </a:lnTo>
                  <a:lnTo>
                    <a:pt x="5889621" y="2587626"/>
                  </a:lnTo>
                  <a:lnTo>
                    <a:pt x="5905496" y="2624138"/>
                  </a:lnTo>
                  <a:lnTo>
                    <a:pt x="5948359" y="2655888"/>
                  </a:lnTo>
                  <a:lnTo>
                    <a:pt x="5927721" y="2678113"/>
                  </a:lnTo>
                  <a:lnTo>
                    <a:pt x="5880096" y="2667001"/>
                  </a:lnTo>
                  <a:lnTo>
                    <a:pt x="5864221" y="2635251"/>
                  </a:lnTo>
                  <a:lnTo>
                    <a:pt x="5864221" y="2608263"/>
                  </a:lnTo>
                  <a:lnTo>
                    <a:pt x="5837234" y="2576513"/>
                  </a:lnTo>
                  <a:lnTo>
                    <a:pt x="5826121" y="2587626"/>
                  </a:lnTo>
                  <a:lnTo>
                    <a:pt x="5784846" y="2598738"/>
                  </a:lnTo>
                  <a:lnTo>
                    <a:pt x="5800721" y="2619376"/>
                  </a:lnTo>
                  <a:lnTo>
                    <a:pt x="5746746" y="2624138"/>
                  </a:lnTo>
                  <a:lnTo>
                    <a:pt x="5705471" y="2587626"/>
                  </a:lnTo>
                  <a:lnTo>
                    <a:pt x="5705471" y="2566988"/>
                  </a:lnTo>
                  <a:lnTo>
                    <a:pt x="5705471" y="2524126"/>
                  </a:lnTo>
                  <a:lnTo>
                    <a:pt x="5662609" y="2497138"/>
                  </a:lnTo>
                  <a:lnTo>
                    <a:pt x="5614984" y="2476501"/>
                  </a:lnTo>
                  <a:lnTo>
                    <a:pt x="5587996" y="2481263"/>
                  </a:lnTo>
                  <a:lnTo>
                    <a:pt x="5583234" y="2460626"/>
                  </a:lnTo>
                  <a:lnTo>
                    <a:pt x="5572121" y="2444751"/>
                  </a:lnTo>
                  <a:lnTo>
                    <a:pt x="5599109" y="2428876"/>
                  </a:lnTo>
                  <a:lnTo>
                    <a:pt x="5556246" y="2392363"/>
                  </a:lnTo>
                  <a:close/>
                  <a:moveTo>
                    <a:pt x="5356030" y="2333625"/>
                  </a:moveTo>
                  <a:cubicBezTo>
                    <a:pt x="5356030" y="2333625"/>
                    <a:pt x="5356030" y="2333625"/>
                    <a:pt x="5408735" y="2349546"/>
                  </a:cubicBezTo>
                  <a:cubicBezTo>
                    <a:pt x="5408735" y="2349546"/>
                    <a:pt x="5408735" y="2349546"/>
                    <a:pt x="5440358" y="2333625"/>
                  </a:cubicBezTo>
                  <a:lnTo>
                    <a:pt x="5424547" y="2360159"/>
                  </a:lnTo>
                  <a:cubicBezTo>
                    <a:pt x="5424547" y="2360159"/>
                    <a:pt x="5424547" y="2360159"/>
                    <a:pt x="5392924" y="2360159"/>
                  </a:cubicBezTo>
                  <a:cubicBezTo>
                    <a:pt x="5392924" y="2360159"/>
                    <a:pt x="5392924" y="2360159"/>
                    <a:pt x="5356030" y="2360159"/>
                  </a:cubicBezTo>
                  <a:cubicBezTo>
                    <a:pt x="5356030" y="2360159"/>
                    <a:pt x="5356030" y="2360159"/>
                    <a:pt x="5340219" y="2392000"/>
                  </a:cubicBezTo>
                  <a:cubicBezTo>
                    <a:pt x="5340219" y="2392000"/>
                    <a:pt x="5340219" y="2392000"/>
                    <a:pt x="5382383" y="2423841"/>
                  </a:cubicBezTo>
                  <a:cubicBezTo>
                    <a:pt x="5382383" y="2423841"/>
                    <a:pt x="5382383" y="2423841"/>
                    <a:pt x="5398194" y="2476909"/>
                  </a:cubicBezTo>
                  <a:cubicBezTo>
                    <a:pt x="5398194" y="2476909"/>
                    <a:pt x="5398194" y="2476909"/>
                    <a:pt x="5387653" y="2498136"/>
                  </a:cubicBezTo>
                  <a:cubicBezTo>
                    <a:pt x="5387653" y="2498136"/>
                    <a:pt x="5387653" y="2498136"/>
                    <a:pt x="5361301" y="2492829"/>
                  </a:cubicBezTo>
                  <a:cubicBezTo>
                    <a:pt x="5361301" y="2492829"/>
                    <a:pt x="5361301" y="2492829"/>
                    <a:pt x="5361301" y="2460988"/>
                  </a:cubicBezTo>
                  <a:cubicBezTo>
                    <a:pt x="5361301" y="2460988"/>
                    <a:pt x="5361301" y="2460988"/>
                    <a:pt x="5340219" y="2429148"/>
                  </a:cubicBezTo>
                  <a:cubicBezTo>
                    <a:pt x="5340219" y="2429148"/>
                    <a:pt x="5340219" y="2429148"/>
                    <a:pt x="5345489" y="2466295"/>
                  </a:cubicBezTo>
                  <a:cubicBezTo>
                    <a:pt x="5345489" y="2466295"/>
                    <a:pt x="5345489" y="2466295"/>
                    <a:pt x="5329678" y="2508750"/>
                  </a:cubicBezTo>
                  <a:cubicBezTo>
                    <a:pt x="5329678" y="2508750"/>
                    <a:pt x="5324407" y="2519363"/>
                    <a:pt x="5313866" y="2503443"/>
                  </a:cubicBezTo>
                  <a:cubicBezTo>
                    <a:pt x="5313866" y="2503443"/>
                    <a:pt x="5313866" y="2503443"/>
                    <a:pt x="5313866" y="2460988"/>
                  </a:cubicBezTo>
                  <a:cubicBezTo>
                    <a:pt x="5313866" y="2460988"/>
                    <a:pt x="5313866" y="2460988"/>
                    <a:pt x="5308596" y="2434454"/>
                  </a:cubicBezTo>
                  <a:cubicBezTo>
                    <a:pt x="5308596" y="2434454"/>
                    <a:pt x="5308596" y="2434454"/>
                    <a:pt x="5319137" y="2407920"/>
                  </a:cubicBezTo>
                  <a:cubicBezTo>
                    <a:pt x="5319137" y="2407920"/>
                    <a:pt x="5319137" y="2407920"/>
                    <a:pt x="5324407" y="2370773"/>
                  </a:cubicBezTo>
                  <a:cubicBezTo>
                    <a:pt x="5324407" y="2370773"/>
                    <a:pt x="5324407" y="2370773"/>
                    <a:pt x="5356030" y="2333625"/>
                  </a:cubicBezTo>
                  <a:close/>
                  <a:moveTo>
                    <a:pt x="4816471" y="2233613"/>
                  </a:moveTo>
                  <a:lnTo>
                    <a:pt x="4848221" y="2233613"/>
                  </a:lnTo>
                  <a:lnTo>
                    <a:pt x="4921246" y="2312988"/>
                  </a:lnTo>
                  <a:lnTo>
                    <a:pt x="4952996" y="2333626"/>
                  </a:lnTo>
                  <a:lnTo>
                    <a:pt x="4991096" y="2381251"/>
                  </a:lnTo>
                  <a:lnTo>
                    <a:pt x="5016496" y="2417763"/>
                  </a:lnTo>
                  <a:lnTo>
                    <a:pt x="5032371" y="2433638"/>
                  </a:lnTo>
                  <a:lnTo>
                    <a:pt x="5027608" y="2471738"/>
                  </a:lnTo>
                  <a:lnTo>
                    <a:pt x="5027608" y="2503488"/>
                  </a:lnTo>
                  <a:lnTo>
                    <a:pt x="4991096" y="2492376"/>
                  </a:lnTo>
                  <a:lnTo>
                    <a:pt x="4952996" y="2455863"/>
                  </a:lnTo>
                  <a:lnTo>
                    <a:pt x="4905371" y="2360613"/>
                  </a:lnTo>
                  <a:lnTo>
                    <a:pt x="4884733" y="2322513"/>
                  </a:lnTo>
                  <a:lnTo>
                    <a:pt x="4864096" y="2301876"/>
                  </a:lnTo>
                  <a:lnTo>
                    <a:pt x="4825996" y="2254251"/>
                  </a:lnTo>
                  <a:close/>
                  <a:moveTo>
                    <a:pt x="5254621" y="2195513"/>
                  </a:moveTo>
                  <a:lnTo>
                    <a:pt x="5308596" y="2238376"/>
                  </a:lnTo>
                  <a:lnTo>
                    <a:pt x="5286371" y="2259013"/>
                  </a:lnTo>
                  <a:lnTo>
                    <a:pt x="5276846" y="2259013"/>
                  </a:lnTo>
                  <a:lnTo>
                    <a:pt x="5281608" y="2322513"/>
                  </a:lnTo>
                  <a:lnTo>
                    <a:pt x="5308596" y="2349501"/>
                  </a:lnTo>
                  <a:lnTo>
                    <a:pt x="5286371" y="2354263"/>
                  </a:lnTo>
                  <a:lnTo>
                    <a:pt x="5260971" y="2381251"/>
                  </a:lnTo>
                  <a:lnTo>
                    <a:pt x="5260971" y="2401889"/>
                  </a:lnTo>
                  <a:lnTo>
                    <a:pt x="5238746" y="2455864"/>
                  </a:lnTo>
                  <a:lnTo>
                    <a:pt x="5222871" y="2476501"/>
                  </a:lnTo>
                  <a:lnTo>
                    <a:pt x="5206996" y="2449514"/>
                  </a:lnTo>
                  <a:lnTo>
                    <a:pt x="5159371" y="2433639"/>
                  </a:lnTo>
                  <a:lnTo>
                    <a:pt x="5133971" y="2433639"/>
                  </a:lnTo>
                  <a:lnTo>
                    <a:pt x="5111746" y="2381251"/>
                  </a:lnTo>
                  <a:lnTo>
                    <a:pt x="5102221" y="2354263"/>
                  </a:lnTo>
                  <a:lnTo>
                    <a:pt x="5118096" y="2338388"/>
                  </a:lnTo>
                  <a:lnTo>
                    <a:pt x="5154608" y="2333626"/>
                  </a:lnTo>
                  <a:lnTo>
                    <a:pt x="5154608" y="2306638"/>
                  </a:lnTo>
                  <a:lnTo>
                    <a:pt x="5186358" y="2286001"/>
                  </a:lnTo>
                  <a:lnTo>
                    <a:pt x="5206996" y="2249488"/>
                  </a:lnTo>
                  <a:lnTo>
                    <a:pt x="5233983" y="2243138"/>
                  </a:lnTo>
                  <a:close/>
                  <a:moveTo>
                    <a:pt x="5307572" y="1900238"/>
                  </a:moveTo>
                  <a:lnTo>
                    <a:pt x="5339526" y="1900238"/>
                  </a:lnTo>
                  <a:cubicBezTo>
                    <a:pt x="5339526" y="1900238"/>
                    <a:pt x="5339526" y="1900238"/>
                    <a:pt x="5339526" y="1968917"/>
                  </a:cubicBezTo>
                  <a:cubicBezTo>
                    <a:pt x="5339526" y="1968917"/>
                    <a:pt x="5350178" y="2000615"/>
                    <a:pt x="5350178" y="2000615"/>
                  </a:cubicBezTo>
                  <a:cubicBezTo>
                    <a:pt x="5355504" y="2000615"/>
                    <a:pt x="5392785" y="2021747"/>
                    <a:pt x="5392785" y="2021747"/>
                  </a:cubicBezTo>
                  <a:cubicBezTo>
                    <a:pt x="5392785" y="2021747"/>
                    <a:pt x="5392785" y="2021747"/>
                    <a:pt x="5430066" y="2058728"/>
                  </a:cubicBezTo>
                  <a:cubicBezTo>
                    <a:pt x="5430066" y="2058728"/>
                    <a:pt x="5430066" y="2058728"/>
                    <a:pt x="5435391" y="2106275"/>
                  </a:cubicBezTo>
                  <a:cubicBezTo>
                    <a:pt x="5435391" y="2106275"/>
                    <a:pt x="5435391" y="2106275"/>
                    <a:pt x="5456695" y="2137973"/>
                  </a:cubicBezTo>
                  <a:cubicBezTo>
                    <a:pt x="5456695" y="2137973"/>
                    <a:pt x="5456695" y="2137973"/>
                    <a:pt x="5467346" y="2185520"/>
                  </a:cubicBezTo>
                  <a:cubicBezTo>
                    <a:pt x="5467346" y="2185520"/>
                    <a:pt x="5467346" y="2185520"/>
                    <a:pt x="5451369" y="2196086"/>
                  </a:cubicBezTo>
                  <a:cubicBezTo>
                    <a:pt x="5451369" y="2196086"/>
                    <a:pt x="5451369" y="2196086"/>
                    <a:pt x="5451369" y="2222501"/>
                  </a:cubicBezTo>
                  <a:cubicBezTo>
                    <a:pt x="5451369" y="2222501"/>
                    <a:pt x="5451369" y="2222501"/>
                    <a:pt x="5392785" y="2196086"/>
                  </a:cubicBezTo>
                  <a:cubicBezTo>
                    <a:pt x="5392785" y="2196086"/>
                    <a:pt x="5392785" y="2196086"/>
                    <a:pt x="5371482" y="2137973"/>
                  </a:cubicBezTo>
                  <a:cubicBezTo>
                    <a:pt x="5371482" y="2137973"/>
                    <a:pt x="5371482" y="2137973"/>
                    <a:pt x="5371482" y="2111558"/>
                  </a:cubicBezTo>
                  <a:cubicBezTo>
                    <a:pt x="5371482" y="2111558"/>
                    <a:pt x="5371482" y="2111558"/>
                    <a:pt x="5350178" y="2064011"/>
                  </a:cubicBezTo>
                  <a:cubicBezTo>
                    <a:pt x="5350178" y="2064011"/>
                    <a:pt x="5350178" y="2064011"/>
                    <a:pt x="5328875" y="2016464"/>
                  </a:cubicBezTo>
                  <a:cubicBezTo>
                    <a:pt x="5328875" y="2016464"/>
                    <a:pt x="5328875" y="2016464"/>
                    <a:pt x="5302246" y="1979483"/>
                  </a:cubicBezTo>
                  <a:cubicBezTo>
                    <a:pt x="5302246" y="1979483"/>
                    <a:pt x="5302246" y="1979483"/>
                    <a:pt x="5307572" y="1900238"/>
                  </a:cubicBezTo>
                  <a:close/>
                  <a:moveTo>
                    <a:pt x="5487984" y="1127125"/>
                  </a:moveTo>
                  <a:lnTo>
                    <a:pt x="5508621" y="1127125"/>
                  </a:lnTo>
                  <a:lnTo>
                    <a:pt x="5535609" y="1147763"/>
                  </a:lnTo>
                  <a:lnTo>
                    <a:pt x="5556246" y="1154113"/>
                  </a:lnTo>
                  <a:lnTo>
                    <a:pt x="5578471" y="1138238"/>
                  </a:lnTo>
                  <a:lnTo>
                    <a:pt x="5587996" y="1131888"/>
                  </a:lnTo>
                  <a:lnTo>
                    <a:pt x="5587996" y="1158875"/>
                  </a:lnTo>
                  <a:lnTo>
                    <a:pt x="5587996" y="1185863"/>
                  </a:lnTo>
                  <a:lnTo>
                    <a:pt x="5546721" y="1195388"/>
                  </a:lnTo>
                  <a:lnTo>
                    <a:pt x="5556246" y="1217613"/>
                  </a:lnTo>
                  <a:lnTo>
                    <a:pt x="5556246" y="1227138"/>
                  </a:lnTo>
                  <a:lnTo>
                    <a:pt x="5514971" y="1206500"/>
                  </a:lnTo>
                  <a:lnTo>
                    <a:pt x="5508621" y="1227138"/>
                  </a:lnTo>
                  <a:lnTo>
                    <a:pt x="5535609" y="1243013"/>
                  </a:lnTo>
                  <a:lnTo>
                    <a:pt x="5535609" y="1265238"/>
                  </a:lnTo>
                  <a:lnTo>
                    <a:pt x="5567359" y="1312863"/>
                  </a:lnTo>
                  <a:lnTo>
                    <a:pt x="5567359" y="1338263"/>
                  </a:lnTo>
                  <a:lnTo>
                    <a:pt x="5578471" y="1417638"/>
                  </a:lnTo>
                  <a:lnTo>
                    <a:pt x="5535609" y="1460501"/>
                  </a:lnTo>
                  <a:lnTo>
                    <a:pt x="5472109" y="1497013"/>
                  </a:lnTo>
                  <a:lnTo>
                    <a:pt x="5440359" y="1512888"/>
                  </a:lnTo>
                  <a:lnTo>
                    <a:pt x="5440359" y="1544638"/>
                  </a:lnTo>
                  <a:lnTo>
                    <a:pt x="5424484" y="1560513"/>
                  </a:lnTo>
                  <a:lnTo>
                    <a:pt x="5403847" y="1535113"/>
                  </a:lnTo>
                  <a:lnTo>
                    <a:pt x="5392734" y="1503363"/>
                  </a:lnTo>
                  <a:lnTo>
                    <a:pt x="5413372" y="1497013"/>
                  </a:lnTo>
                  <a:lnTo>
                    <a:pt x="5403847" y="1476376"/>
                  </a:lnTo>
                  <a:lnTo>
                    <a:pt x="5419722" y="1449388"/>
                  </a:lnTo>
                  <a:lnTo>
                    <a:pt x="5435597" y="1433513"/>
                  </a:lnTo>
                  <a:lnTo>
                    <a:pt x="5483222" y="1423988"/>
                  </a:lnTo>
                  <a:lnTo>
                    <a:pt x="5492746" y="1385888"/>
                  </a:lnTo>
                  <a:lnTo>
                    <a:pt x="5524496" y="1365250"/>
                  </a:lnTo>
                  <a:lnTo>
                    <a:pt x="5524496" y="1290638"/>
                  </a:lnTo>
                  <a:lnTo>
                    <a:pt x="5508621" y="1243013"/>
                  </a:lnTo>
                  <a:lnTo>
                    <a:pt x="5476872" y="1217613"/>
                  </a:lnTo>
                  <a:lnTo>
                    <a:pt x="5487984" y="1195388"/>
                  </a:lnTo>
                  <a:lnTo>
                    <a:pt x="5503859" y="1169988"/>
                  </a:lnTo>
                  <a:close/>
                  <a:moveTo>
                    <a:pt x="2757484" y="1106488"/>
                  </a:moveTo>
                  <a:lnTo>
                    <a:pt x="2767009" y="1127126"/>
                  </a:lnTo>
                  <a:lnTo>
                    <a:pt x="2762246" y="1174751"/>
                  </a:lnTo>
                  <a:lnTo>
                    <a:pt x="2735259" y="1201739"/>
                  </a:lnTo>
                  <a:lnTo>
                    <a:pt x="2698747" y="1206501"/>
                  </a:lnTo>
                  <a:lnTo>
                    <a:pt x="2678109" y="1195389"/>
                  </a:lnTo>
                  <a:lnTo>
                    <a:pt x="2703509" y="1158876"/>
                  </a:lnTo>
                  <a:lnTo>
                    <a:pt x="2687634" y="1138238"/>
                  </a:lnTo>
                  <a:lnTo>
                    <a:pt x="2698747" y="1127126"/>
                  </a:lnTo>
                  <a:lnTo>
                    <a:pt x="2719384" y="1138238"/>
                  </a:lnTo>
                  <a:lnTo>
                    <a:pt x="2719384" y="1116013"/>
                  </a:lnTo>
                  <a:close/>
                  <a:moveTo>
                    <a:pt x="5365746" y="825500"/>
                  </a:moveTo>
                  <a:lnTo>
                    <a:pt x="5376859" y="825500"/>
                  </a:lnTo>
                  <a:lnTo>
                    <a:pt x="5381621" y="841375"/>
                  </a:lnTo>
                  <a:lnTo>
                    <a:pt x="5403846" y="862013"/>
                  </a:lnTo>
                  <a:lnTo>
                    <a:pt x="5419721" y="900113"/>
                  </a:lnTo>
                  <a:lnTo>
                    <a:pt x="5456234" y="957263"/>
                  </a:lnTo>
                  <a:lnTo>
                    <a:pt x="5483221" y="995363"/>
                  </a:lnTo>
                  <a:lnTo>
                    <a:pt x="5456234" y="984250"/>
                  </a:lnTo>
                  <a:lnTo>
                    <a:pt x="5472109" y="1031876"/>
                  </a:lnTo>
                  <a:lnTo>
                    <a:pt x="5499096" y="1079501"/>
                  </a:lnTo>
                  <a:lnTo>
                    <a:pt x="5492746" y="1106488"/>
                  </a:lnTo>
                  <a:lnTo>
                    <a:pt x="5472109" y="1074738"/>
                  </a:lnTo>
                  <a:lnTo>
                    <a:pt x="5467346" y="1042988"/>
                  </a:lnTo>
                  <a:lnTo>
                    <a:pt x="5440359" y="1004888"/>
                  </a:lnTo>
                  <a:lnTo>
                    <a:pt x="5419721" y="973138"/>
                  </a:lnTo>
                  <a:lnTo>
                    <a:pt x="5419721" y="947738"/>
                  </a:lnTo>
                  <a:lnTo>
                    <a:pt x="5408609" y="925513"/>
                  </a:lnTo>
                  <a:lnTo>
                    <a:pt x="5381621" y="884238"/>
                  </a:lnTo>
                  <a:lnTo>
                    <a:pt x="5376859" y="857250"/>
                  </a:lnTo>
                  <a:lnTo>
                    <a:pt x="5365746" y="846138"/>
                  </a:lnTo>
                  <a:close/>
                  <a:moveTo>
                    <a:pt x="3243900" y="783040"/>
                  </a:moveTo>
                  <a:cubicBezTo>
                    <a:pt x="3243900" y="783040"/>
                    <a:pt x="3243900" y="783040"/>
                    <a:pt x="3217437" y="804204"/>
                  </a:cubicBezTo>
                  <a:cubicBezTo>
                    <a:pt x="3217437" y="804204"/>
                    <a:pt x="3217437" y="804204"/>
                    <a:pt x="3212145" y="841239"/>
                  </a:cubicBezTo>
                  <a:cubicBezTo>
                    <a:pt x="3212145" y="841239"/>
                    <a:pt x="3190975" y="867693"/>
                    <a:pt x="3190975" y="867693"/>
                  </a:cubicBezTo>
                  <a:cubicBezTo>
                    <a:pt x="3185682" y="862402"/>
                    <a:pt x="3153927" y="894147"/>
                    <a:pt x="3153927" y="894147"/>
                  </a:cubicBezTo>
                  <a:cubicBezTo>
                    <a:pt x="3153927" y="894147"/>
                    <a:pt x="3153927" y="894147"/>
                    <a:pt x="3153927" y="936473"/>
                  </a:cubicBezTo>
                  <a:cubicBezTo>
                    <a:pt x="3153927" y="936473"/>
                    <a:pt x="3153927" y="936473"/>
                    <a:pt x="3185682" y="957636"/>
                  </a:cubicBezTo>
                  <a:cubicBezTo>
                    <a:pt x="3185682" y="957636"/>
                    <a:pt x="3185682" y="957636"/>
                    <a:pt x="3190975" y="984090"/>
                  </a:cubicBezTo>
                  <a:cubicBezTo>
                    <a:pt x="3190975" y="984090"/>
                    <a:pt x="3190975" y="984090"/>
                    <a:pt x="3159220" y="1010543"/>
                  </a:cubicBezTo>
                  <a:cubicBezTo>
                    <a:pt x="3159220" y="1010543"/>
                    <a:pt x="3159220" y="1010543"/>
                    <a:pt x="3169805" y="1058160"/>
                  </a:cubicBezTo>
                  <a:cubicBezTo>
                    <a:pt x="3169805" y="1058160"/>
                    <a:pt x="3169805" y="1058160"/>
                    <a:pt x="3148635" y="1079323"/>
                  </a:cubicBezTo>
                  <a:cubicBezTo>
                    <a:pt x="3148635" y="1079323"/>
                    <a:pt x="3148635" y="1079323"/>
                    <a:pt x="3122173" y="1095196"/>
                  </a:cubicBezTo>
                  <a:cubicBezTo>
                    <a:pt x="3122173" y="1095196"/>
                    <a:pt x="3122173" y="1095196"/>
                    <a:pt x="3095710" y="1111068"/>
                  </a:cubicBezTo>
                  <a:cubicBezTo>
                    <a:pt x="3095710" y="1111068"/>
                    <a:pt x="3095710" y="1111068"/>
                    <a:pt x="3085125" y="1132231"/>
                  </a:cubicBezTo>
                  <a:cubicBezTo>
                    <a:pt x="3085125" y="1132231"/>
                    <a:pt x="3085125" y="1132231"/>
                    <a:pt x="3111587" y="1137522"/>
                  </a:cubicBezTo>
                  <a:cubicBezTo>
                    <a:pt x="3111587" y="1137522"/>
                    <a:pt x="3111587" y="1137522"/>
                    <a:pt x="3127465" y="1148103"/>
                  </a:cubicBezTo>
                  <a:cubicBezTo>
                    <a:pt x="3127465" y="1148103"/>
                    <a:pt x="3127465" y="1148103"/>
                    <a:pt x="3169805" y="1121649"/>
                  </a:cubicBezTo>
                  <a:cubicBezTo>
                    <a:pt x="3169805" y="1121649"/>
                    <a:pt x="3169805" y="1121649"/>
                    <a:pt x="3196267" y="1105777"/>
                  </a:cubicBezTo>
                  <a:cubicBezTo>
                    <a:pt x="3196267" y="1105777"/>
                    <a:pt x="3196267" y="1105777"/>
                    <a:pt x="3206852" y="1126940"/>
                  </a:cubicBezTo>
                  <a:cubicBezTo>
                    <a:pt x="3206852" y="1126940"/>
                    <a:pt x="3206852" y="1126940"/>
                    <a:pt x="3228022" y="1116359"/>
                  </a:cubicBezTo>
                  <a:cubicBezTo>
                    <a:pt x="3228022" y="1116359"/>
                    <a:pt x="3228022" y="1116359"/>
                    <a:pt x="3243900" y="1100486"/>
                  </a:cubicBezTo>
                  <a:cubicBezTo>
                    <a:pt x="3243900" y="1100486"/>
                    <a:pt x="3243900" y="1100486"/>
                    <a:pt x="3233315" y="1063451"/>
                  </a:cubicBezTo>
                  <a:cubicBezTo>
                    <a:pt x="3233315" y="1063451"/>
                    <a:pt x="3233315" y="1063451"/>
                    <a:pt x="3259777" y="1031706"/>
                  </a:cubicBezTo>
                  <a:cubicBezTo>
                    <a:pt x="3259777" y="1031706"/>
                    <a:pt x="3259777" y="1031706"/>
                    <a:pt x="3270362" y="1058160"/>
                  </a:cubicBezTo>
                  <a:cubicBezTo>
                    <a:pt x="3270362" y="1058160"/>
                    <a:pt x="3270362" y="1058160"/>
                    <a:pt x="3286240" y="1058160"/>
                  </a:cubicBezTo>
                  <a:cubicBezTo>
                    <a:pt x="3286240" y="1058160"/>
                    <a:pt x="3286240" y="1058160"/>
                    <a:pt x="3286240" y="1010543"/>
                  </a:cubicBezTo>
                  <a:cubicBezTo>
                    <a:pt x="3286240" y="1010543"/>
                    <a:pt x="3286240" y="1010543"/>
                    <a:pt x="3270362" y="1010543"/>
                  </a:cubicBezTo>
                  <a:cubicBezTo>
                    <a:pt x="3270362" y="1010543"/>
                    <a:pt x="3270362" y="1010543"/>
                    <a:pt x="3265070" y="994671"/>
                  </a:cubicBezTo>
                  <a:cubicBezTo>
                    <a:pt x="3265070" y="994671"/>
                    <a:pt x="3265070" y="994671"/>
                    <a:pt x="3286240" y="978799"/>
                  </a:cubicBezTo>
                  <a:cubicBezTo>
                    <a:pt x="3286240" y="978799"/>
                    <a:pt x="3286240" y="978799"/>
                    <a:pt x="3328580" y="978799"/>
                  </a:cubicBezTo>
                  <a:lnTo>
                    <a:pt x="3381504" y="957636"/>
                  </a:lnTo>
                  <a:cubicBezTo>
                    <a:pt x="3381504" y="957636"/>
                    <a:pt x="3381504" y="957636"/>
                    <a:pt x="3339165" y="936473"/>
                  </a:cubicBezTo>
                  <a:cubicBezTo>
                    <a:pt x="3339165" y="936473"/>
                    <a:pt x="3339165" y="936473"/>
                    <a:pt x="3307410" y="941764"/>
                  </a:cubicBezTo>
                  <a:cubicBezTo>
                    <a:pt x="3307410" y="941764"/>
                    <a:pt x="3307410" y="941764"/>
                    <a:pt x="3270362" y="962927"/>
                  </a:cubicBezTo>
                  <a:cubicBezTo>
                    <a:pt x="3270362" y="962927"/>
                    <a:pt x="3270362" y="962927"/>
                    <a:pt x="3238607" y="952345"/>
                  </a:cubicBezTo>
                  <a:cubicBezTo>
                    <a:pt x="3238607" y="952345"/>
                    <a:pt x="3238607" y="952345"/>
                    <a:pt x="3233315" y="915310"/>
                  </a:cubicBezTo>
                  <a:cubicBezTo>
                    <a:pt x="3233315" y="915310"/>
                    <a:pt x="3233315" y="915310"/>
                    <a:pt x="3222730" y="878274"/>
                  </a:cubicBezTo>
                  <a:cubicBezTo>
                    <a:pt x="3222730" y="878274"/>
                    <a:pt x="3222730" y="878274"/>
                    <a:pt x="3233315" y="862402"/>
                  </a:cubicBezTo>
                  <a:cubicBezTo>
                    <a:pt x="3233315" y="862402"/>
                    <a:pt x="3233315" y="862402"/>
                    <a:pt x="3270362" y="814785"/>
                  </a:cubicBezTo>
                  <a:cubicBezTo>
                    <a:pt x="3270362" y="814785"/>
                    <a:pt x="3270362" y="814785"/>
                    <a:pt x="3270362" y="788331"/>
                  </a:cubicBezTo>
                  <a:cubicBezTo>
                    <a:pt x="3270362" y="788331"/>
                    <a:pt x="3270362" y="788331"/>
                    <a:pt x="3265070" y="783040"/>
                  </a:cubicBezTo>
                  <a:cubicBezTo>
                    <a:pt x="3265070" y="783040"/>
                    <a:pt x="3265070" y="783040"/>
                    <a:pt x="3243900" y="783040"/>
                  </a:cubicBezTo>
                  <a:close/>
                  <a:moveTo>
                    <a:pt x="1528761" y="671513"/>
                  </a:moveTo>
                  <a:lnTo>
                    <a:pt x="1571094" y="703450"/>
                  </a:lnTo>
                  <a:cubicBezTo>
                    <a:pt x="1571094" y="703450"/>
                    <a:pt x="1571094" y="703450"/>
                    <a:pt x="1571094" y="719418"/>
                  </a:cubicBezTo>
                  <a:cubicBezTo>
                    <a:pt x="1571094" y="719418"/>
                    <a:pt x="1571094" y="719418"/>
                    <a:pt x="1592261" y="751355"/>
                  </a:cubicBezTo>
                  <a:cubicBezTo>
                    <a:pt x="1592261" y="751355"/>
                    <a:pt x="1592261" y="751355"/>
                    <a:pt x="1565803" y="756678"/>
                  </a:cubicBezTo>
                  <a:cubicBezTo>
                    <a:pt x="1565803" y="756678"/>
                    <a:pt x="1565803" y="756678"/>
                    <a:pt x="1549927" y="740710"/>
                  </a:cubicBezTo>
                  <a:cubicBezTo>
                    <a:pt x="1549927" y="740710"/>
                    <a:pt x="1549927" y="740710"/>
                    <a:pt x="1539344" y="730064"/>
                  </a:cubicBezTo>
                  <a:cubicBezTo>
                    <a:pt x="1539344" y="730064"/>
                    <a:pt x="1539344" y="730064"/>
                    <a:pt x="1518178" y="751355"/>
                  </a:cubicBezTo>
                  <a:cubicBezTo>
                    <a:pt x="1518178" y="751355"/>
                    <a:pt x="1518178" y="751355"/>
                    <a:pt x="1497011" y="762001"/>
                  </a:cubicBezTo>
                  <a:cubicBezTo>
                    <a:pt x="1497011" y="762001"/>
                    <a:pt x="1497011" y="762001"/>
                    <a:pt x="1497011" y="746032"/>
                  </a:cubicBezTo>
                  <a:cubicBezTo>
                    <a:pt x="1497011" y="746032"/>
                    <a:pt x="1497011" y="746032"/>
                    <a:pt x="1481136" y="735387"/>
                  </a:cubicBezTo>
                  <a:cubicBezTo>
                    <a:pt x="1481136" y="735387"/>
                    <a:pt x="1523469" y="676836"/>
                    <a:pt x="1528761" y="671513"/>
                  </a:cubicBezTo>
                  <a:close/>
                  <a:moveTo>
                    <a:pt x="1708147" y="614363"/>
                  </a:moveTo>
                  <a:lnTo>
                    <a:pt x="1719260" y="623888"/>
                  </a:lnTo>
                  <a:lnTo>
                    <a:pt x="1708147" y="639763"/>
                  </a:lnTo>
                  <a:lnTo>
                    <a:pt x="1692272" y="650876"/>
                  </a:lnTo>
                  <a:lnTo>
                    <a:pt x="1676398" y="646113"/>
                  </a:lnTo>
                  <a:lnTo>
                    <a:pt x="1682748" y="619125"/>
                  </a:lnTo>
                  <a:close/>
                  <a:moveTo>
                    <a:pt x="1385886" y="487363"/>
                  </a:moveTo>
                  <a:lnTo>
                    <a:pt x="1406523" y="508000"/>
                  </a:lnTo>
                  <a:lnTo>
                    <a:pt x="1406523" y="534988"/>
                  </a:lnTo>
                  <a:lnTo>
                    <a:pt x="1354137" y="508000"/>
                  </a:lnTo>
                  <a:close/>
                  <a:moveTo>
                    <a:pt x="1619249" y="385763"/>
                  </a:moveTo>
                  <a:lnTo>
                    <a:pt x="1645707" y="385763"/>
                  </a:lnTo>
                  <a:cubicBezTo>
                    <a:pt x="1645707" y="385763"/>
                    <a:pt x="1645707" y="385763"/>
                    <a:pt x="1608666" y="412221"/>
                  </a:cubicBezTo>
                  <a:cubicBezTo>
                    <a:pt x="1608666" y="412221"/>
                    <a:pt x="1608666" y="412221"/>
                    <a:pt x="1598083" y="459846"/>
                  </a:cubicBezTo>
                  <a:cubicBezTo>
                    <a:pt x="1598083" y="459846"/>
                    <a:pt x="1598083" y="459846"/>
                    <a:pt x="1619249" y="470430"/>
                  </a:cubicBezTo>
                  <a:cubicBezTo>
                    <a:pt x="1619249" y="470430"/>
                    <a:pt x="1619249" y="470430"/>
                    <a:pt x="1629832" y="417513"/>
                  </a:cubicBezTo>
                  <a:cubicBezTo>
                    <a:pt x="1629832" y="417513"/>
                    <a:pt x="1629832" y="417513"/>
                    <a:pt x="1677457" y="401638"/>
                  </a:cubicBezTo>
                  <a:cubicBezTo>
                    <a:pt x="1677457" y="401638"/>
                    <a:pt x="1677457" y="401638"/>
                    <a:pt x="1693332" y="417513"/>
                  </a:cubicBezTo>
                  <a:cubicBezTo>
                    <a:pt x="1693332" y="417513"/>
                    <a:pt x="1693332" y="417513"/>
                    <a:pt x="1735665" y="422805"/>
                  </a:cubicBezTo>
                  <a:cubicBezTo>
                    <a:pt x="1735665" y="422805"/>
                    <a:pt x="1735665" y="422805"/>
                    <a:pt x="1751541" y="470430"/>
                  </a:cubicBezTo>
                  <a:cubicBezTo>
                    <a:pt x="1751541" y="470430"/>
                    <a:pt x="1751541" y="470430"/>
                    <a:pt x="1783291" y="518055"/>
                  </a:cubicBezTo>
                  <a:cubicBezTo>
                    <a:pt x="1783291" y="518055"/>
                    <a:pt x="1783291" y="518055"/>
                    <a:pt x="1846791" y="576263"/>
                  </a:cubicBezTo>
                  <a:cubicBezTo>
                    <a:pt x="1846791" y="576263"/>
                    <a:pt x="1846791" y="576263"/>
                    <a:pt x="1841499" y="618596"/>
                  </a:cubicBezTo>
                  <a:cubicBezTo>
                    <a:pt x="1841499" y="618596"/>
                    <a:pt x="1841499" y="618596"/>
                    <a:pt x="1852083" y="634471"/>
                  </a:cubicBezTo>
                  <a:cubicBezTo>
                    <a:pt x="1852083" y="634471"/>
                    <a:pt x="1852083" y="634471"/>
                    <a:pt x="1889121" y="682096"/>
                  </a:cubicBezTo>
                  <a:cubicBezTo>
                    <a:pt x="1889121" y="682096"/>
                    <a:pt x="1889121" y="682096"/>
                    <a:pt x="1920871" y="687388"/>
                  </a:cubicBezTo>
                  <a:cubicBezTo>
                    <a:pt x="1920871" y="687388"/>
                    <a:pt x="1920871" y="687388"/>
                    <a:pt x="1894413" y="729721"/>
                  </a:cubicBezTo>
                  <a:cubicBezTo>
                    <a:pt x="1894413" y="729721"/>
                    <a:pt x="1894413" y="729721"/>
                    <a:pt x="1862666" y="756180"/>
                  </a:cubicBezTo>
                  <a:cubicBezTo>
                    <a:pt x="1862666" y="756180"/>
                    <a:pt x="1862666" y="756180"/>
                    <a:pt x="1852083" y="729721"/>
                  </a:cubicBezTo>
                  <a:cubicBezTo>
                    <a:pt x="1852083" y="729721"/>
                    <a:pt x="1852083" y="729721"/>
                    <a:pt x="1825624" y="697971"/>
                  </a:cubicBezTo>
                  <a:cubicBezTo>
                    <a:pt x="1825624" y="697971"/>
                    <a:pt x="1825624" y="697971"/>
                    <a:pt x="1804457" y="724430"/>
                  </a:cubicBezTo>
                  <a:cubicBezTo>
                    <a:pt x="1804457" y="724430"/>
                    <a:pt x="1804457" y="724430"/>
                    <a:pt x="1841499" y="772055"/>
                  </a:cubicBezTo>
                  <a:cubicBezTo>
                    <a:pt x="1841499" y="772055"/>
                    <a:pt x="1841499" y="772055"/>
                    <a:pt x="1841499" y="803805"/>
                  </a:cubicBezTo>
                  <a:cubicBezTo>
                    <a:pt x="1841499" y="803805"/>
                    <a:pt x="1841499" y="803805"/>
                    <a:pt x="1815041" y="824971"/>
                  </a:cubicBezTo>
                  <a:cubicBezTo>
                    <a:pt x="1815041" y="824971"/>
                    <a:pt x="1815041" y="824971"/>
                    <a:pt x="1793874" y="793221"/>
                  </a:cubicBezTo>
                  <a:cubicBezTo>
                    <a:pt x="1793874" y="793221"/>
                    <a:pt x="1793874" y="793221"/>
                    <a:pt x="1772708" y="787930"/>
                  </a:cubicBezTo>
                  <a:cubicBezTo>
                    <a:pt x="1772708" y="787930"/>
                    <a:pt x="1772708" y="787930"/>
                    <a:pt x="1804457" y="846138"/>
                  </a:cubicBezTo>
                  <a:cubicBezTo>
                    <a:pt x="1804457" y="846138"/>
                    <a:pt x="1804457" y="846138"/>
                    <a:pt x="1788583" y="846138"/>
                  </a:cubicBezTo>
                  <a:cubicBezTo>
                    <a:pt x="1788583" y="846138"/>
                    <a:pt x="1788583" y="846138"/>
                    <a:pt x="1730374" y="809096"/>
                  </a:cubicBezTo>
                  <a:cubicBezTo>
                    <a:pt x="1730374" y="809096"/>
                    <a:pt x="1730374" y="809096"/>
                    <a:pt x="1703916" y="761471"/>
                  </a:cubicBezTo>
                  <a:cubicBezTo>
                    <a:pt x="1703916" y="761471"/>
                    <a:pt x="1703916" y="761471"/>
                    <a:pt x="1682749" y="735013"/>
                  </a:cubicBezTo>
                  <a:cubicBezTo>
                    <a:pt x="1682749" y="735013"/>
                    <a:pt x="1682749" y="735013"/>
                    <a:pt x="1640416" y="756180"/>
                  </a:cubicBezTo>
                  <a:cubicBezTo>
                    <a:pt x="1640416" y="756180"/>
                    <a:pt x="1640416" y="756180"/>
                    <a:pt x="1629832" y="729721"/>
                  </a:cubicBezTo>
                  <a:cubicBezTo>
                    <a:pt x="1629832" y="729721"/>
                    <a:pt x="1629832" y="729721"/>
                    <a:pt x="1656291" y="713846"/>
                  </a:cubicBezTo>
                  <a:cubicBezTo>
                    <a:pt x="1656291" y="713846"/>
                    <a:pt x="1656291" y="713846"/>
                    <a:pt x="1698624" y="713846"/>
                  </a:cubicBezTo>
                  <a:cubicBezTo>
                    <a:pt x="1698624" y="713846"/>
                    <a:pt x="1698624" y="713846"/>
                    <a:pt x="1709208" y="687388"/>
                  </a:cubicBezTo>
                  <a:cubicBezTo>
                    <a:pt x="1709208" y="687388"/>
                    <a:pt x="1709208" y="687388"/>
                    <a:pt x="1751541" y="660930"/>
                  </a:cubicBezTo>
                  <a:cubicBezTo>
                    <a:pt x="1751541" y="660930"/>
                    <a:pt x="1751541" y="660930"/>
                    <a:pt x="1751541" y="629180"/>
                  </a:cubicBezTo>
                  <a:cubicBezTo>
                    <a:pt x="1751541" y="629180"/>
                    <a:pt x="1751541" y="629180"/>
                    <a:pt x="1714499" y="570971"/>
                  </a:cubicBezTo>
                  <a:cubicBezTo>
                    <a:pt x="1714499" y="570971"/>
                    <a:pt x="1693332" y="528638"/>
                    <a:pt x="1693332" y="533930"/>
                  </a:cubicBezTo>
                  <a:cubicBezTo>
                    <a:pt x="1688041" y="533930"/>
                    <a:pt x="1645707" y="539221"/>
                    <a:pt x="1645707" y="539221"/>
                  </a:cubicBezTo>
                  <a:cubicBezTo>
                    <a:pt x="1645707" y="539221"/>
                    <a:pt x="1645707" y="539221"/>
                    <a:pt x="1576916" y="507471"/>
                  </a:cubicBezTo>
                  <a:cubicBezTo>
                    <a:pt x="1576916" y="507471"/>
                    <a:pt x="1576916" y="507471"/>
                    <a:pt x="1539874" y="496888"/>
                  </a:cubicBezTo>
                  <a:cubicBezTo>
                    <a:pt x="1539874" y="496888"/>
                    <a:pt x="1539874" y="496888"/>
                    <a:pt x="1539874" y="465138"/>
                  </a:cubicBezTo>
                  <a:cubicBezTo>
                    <a:pt x="1539874" y="465138"/>
                    <a:pt x="1539874" y="465138"/>
                    <a:pt x="1555749" y="412221"/>
                  </a:cubicBezTo>
                  <a:cubicBezTo>
                    <a:pt x="1555749" y="412221"/>
                    <a:pt x="1555749" y="412221"/>
                    <a:pt x="1619249" y="385763"/>
                  </a:cubicBezTo>
                  <a:close/>
                  <a:moveTo>
                    <a:pt x="1517649" y="349250"/>
                  </a:moveTo>
                  <a:lnTo>
                    <a:pt x="1571623" y="365125"/>
                  </a:lnTo>
                  <a:lnTo>
                    <a:pt x="1539874" y="396875"/>
                  </a:lnTo>
                  <a:lnTo>
                    <a:pt x="1501774" y="407988"/>
                  </a:lnTo>
                  <a:lnTo>
                    <a:pt x="1481136" y="407988"/>
                  </a:lnTo>
                  <a:lnTo>
                    <a:pt x="1470024" y="385763"/>
                  </a:lnTo>
                  <a:lnTo>
                    <a:pt x="1476374" y="365125"/>
                  </a:lnTo>
                  <a:close/>
                  <a:moveTo>
                    <a:pt x="1412345" y="328613"/>
                  </a:moveTo>
                  <a:lnTo>
                    <a:pt x="1459970" y="328613"/>
                  </a:lnTo>
                  <a:cubicBezTo>
                    <a:pt x="1459970" y="328613"/>
                    <a:pt x="1459970" y="328613"/>
                    <a:pt x="1465262" y="354807"/>
                  </a:cubicBezTo>
                  <a:cubicBezTo>
                    <a:pt x="1465262" y="354807"/>
                    <a:pt x="1465262" y="354807"/>
                    <a:pt x="1438803" y="360045"/>
                  </a:cubicBezTo>
                  <a:cubicBezTo>
                    <a:pt x="1438803" y="360045"/>
                    <a:pt x="1444095" y="396717"/>
                    <a:pt x="1444095" y="401955"/>
                  </a:cubicBezTo>
                  <a:cubicBezTo>
                    <a:pt x="1444095" y="401955"/>
                    <a:pt x="1428220" y="412433"/>
                    <a:pt x="1428220" y="412433"/>
                  </a:cubicBezTo>
                  <a:cubicBezTo>
                    <a:pt x="1428220" y="412433"/>
                    <a:pt x="1396470" y="422910"/>
                    <a:pt x="1396470" y="428149"/>
                  </a:cubicBezTo>
                  <a:cubicBezTo>
                    <a:pt x="1396470" y="433388"/>
                    <a:pt x="1391178" y="401955"/>
                    <a:pt x="1391178" y="401955"/>
                  </a:cubicBezTo>
                  <a:cubicBezTo>
                    <a:pt x="1391178" y="401955"/>
                    <a:pt x="1391178" y="401955"/>
                    <a:pt x="1370012" y="381000"/>
                  </a:cubicBezTo>
                  <a:cubicBezTo>
                    <a:pt x="1370012" y="381000"/>
                    <a:pt x="1370012" y="381000"/>
                    <a:pt x="1375303" y="354807"/>
                  </a:cubicBezTo>
                  <a:cubicBezTo>
                    <a:pt x="1375303" y="354807"/>
                    <a:pt x="1375303" y="354807"/>
                    <a:pt x="1396470" y="354807"/>
                  </a:cubicBezTo>
                  <a:cubicBezTo>
                    <a:pt x="1396470" y="354807"/>
                    <a:pt x="1396470" y="354807"/>
                    <a:pt x="1412345" y="328613"/>
                  </a:cubicBezTo>
                  <a:close/>
                  <a:moveTo>
                    <a:pt x="1343023" y="301625"/>
                  </a:moveTo>
                  <a:lnTo>
                    <a:pt x="1358898" y="312738"/>
                  </a:lnTo>
                  <a:lnTo>
                    <a:pt x="1338260" y="333375"/>
                  </a:lnTo>
                  <a:lnTo>
                    <a:pt x="1317623" y="306388"/>
                  </a:lnTo>
                  <a:close/>
                  <a:moveTo>
                    <a:pt x="1512885" y="285750"/>
                  </a:moveTo>
                  <a:lnTo>
                    <a:pt x="1533523" y="301625"/>
                  </a:lnTo>
                  <a:cubicBezTo>
                    <a:pt x="1533523" y="301625"/>
                    <a:pt x="1528364" y="322792"/>
                    <a:pt x="1528364" y="328083"/>
                  </a:cubicBezTo>
                  <a:cubicBezTo>
                    <a:pt x="1528364" y="333375"/>
                    <a:pt x="1502567" y="317500"/>
                    <a:pt x="1502567" y="317500"/>
                  </a:cubicBezTo>
                  <a:cubicBezTo>
                    <a:pt x="1502567" y="317500"/>
                    <a:pt x="1502567" y="317500"/>
                    <a:pt x="1492248" y="301625"/>
                  </a:cubicBezTo>
                  <a:cubicBezTo>
                    <a:pt x="1492248" y="301625"/>
                    <a:pt x="1492248" y="301625"/>
                    <a:pt x="1512885" y="285750"/>
                  </a:cubicBezTo>
                  <a:close/>
                  <a:moveTo>
                    <a:pt x="1476373" y="227013"/>
                  </a:moveTo>
                  <a:lnTo>
                    <a:pt x="1492248" y="238126"/>
                  </a:lnTo>
                  <a:lnTo>
                    <a:pt x="1497011" y="258763"/>
                  </a:lnTo>
                  <a:lnTo>
                    <a:pt x="1485898" y="285751"/>
                  </a:lnTo>
                  <a:lnTo>
                    <a:pt x="1470023" y="301626"/>
                  </a:lnTo>
                  <a:lnTo>
                    <a:pt x="1438273" y="290514"/>
                  </a:lnTo>
                  <a:lnTo>
                    <a:pt x="1449386" y="265113"/>
                  </a:lnTo>
                  <a:lnTo>
                    <a:pt x="1449386" y="238126"/>
                  </a:lnTo>
                  <a:close/>
                  <a:moveTo>
                    <a:pt x="1068915" y="201613"/>
                  </a:moveTo>
                  <a:lnTo>
                    <a:pt x="1116540" y="201613"/>
                  </a:lnTo>
                  <a:cubicBezTo>
                    <a:pt x="1116540" y="201613"/>
                    <a:pt x="1116540" y="201613"/>
                    <a:pt x="1132415" y="233250"/>
                  </a:cubicBezTo>
                  <a:cubicBezTo>
                    <a:pt x="1132415" y="233250"/>
                    <a:pt x="1132415" y="233250"/>
                    <a:pt x="1158874" y="227977"/>
                  </a:cubicBezTo>
                  <a:cubicBezTo>
                    <a:pt x="1158874" y="227977"/>
                    <a:pt x="1158874" y="227977"/>
                    <a:pt x="1190624" y="259614"/>
                  </a:cubicBezTo>
                  <a:cubicBezTo>
                    <a:pt x="1190624" y="259614"/>
                    <a:pt x="1190624" y="259614"/>
                    <a:pt x="1201207" y="285978"/>
                  </a:cubicBezTo>
                  <a:cubicBezTo>
                    <a:pt x="1201207" y="285978"/>
                    <a:pt x="1201207" y="285978"/>
                    <a:pt x="1201207" y="307068"/>
                  </a:cubicBezTo>
                  <a:cubicBezTo>
                    <a:pt x="1201207" y="307068"/>
                    <a:pt x="1201207" y="307068"/>
                    <a:pt x="1238249" y="312341"/>
                  </a:cubicBezTo>
                  <a:cubicBezTo>
                    <a:pt x="1238249" y="312341"/>
                    <a:pt x="1238249" y="312341"/>
                    <a:pt x="1259415" y="317614"/>
                  </a:cubicBezTo>
                  <a:cubicBezTo>
                    <a:pt x="1259415" y="317614"/>
                    <a:pt x="1259415" y="317614"/>
                    <a:pt x="1264707" y="354523"/>
                  </a:cubicBezTo>
                  <a:cubicBezTo>
                    <a:pt x="1264707" y="354523"/>
                    <a:pt x="1264707" y="354523"/>
                    <a:pt x="1280582" y="365069"/>
                  </a:cubicBezTo>
                  <a:cubicBezTo>
                    <a:pt x="1280582" y="365069"/>
                    <a:pt x="1280582" y="365069"/>
                    <a:pt x="1280582" y="338705"/>
                  </a:cubicBezTo>
                  <a:cubicBezTo>
                    <a:pt x="1280582" y="338705"/>
                    <a:pt x="1280582" y="338705"/>
                    <a:pt x="1296457" y="317614"/>
                  </a:cubicBezTo>
                  <a:cubicBezTo>
                    <a:pt x="1296457" y="317614"/>
                    <a:pt x="1296457" y="317614"/>
                    <a:pt x="1322916" y="343978"/>
                  </a:cubicBezTo>
                  <a:cubicBezTo>
                    <a:pt x="1322916" y="343978"/>
                    <a:pt x="1322916" y="343978"/>
                    <a:pt x="1322916" y="407251"/>
                  </a:cubicBezTo>
                  <a:cubicBezTo>
                    <a:pt x="1322916" y="407251"/>
                    <a:pt x="1312332" y="412524"/>
                    <a:pt x="1307040" y="412524"/>
                  </a:cubicBezTo>
                  <a:cubicBezTo>
                    <a:pt x="1301749" y="412524"/>
                    <a:pt x="1317624" y="428342"/>
                    <a:pt x="1317624" y="428342"/>
                  </a:cubicBezTo>
                  <a:cubicBezTo>
                    <a:pt x="1317624" y="428342"/>
                    <a:pt x="1317624" y="428342"/>
                    <a:pt x="1349374" y="454706"/>
                  </a:cubicBezTo>
                  <a:cubicBezTo>
                    <a:pt x="1349374" y="454706"/>
                    <a:pt x="1349374" y="454706"/>
                    <a:pt x="1333499" y="475797"/>
                  </a:cubicBezTo>
                  <a:cubicBezTo>
                    <a:pt x="1333499" y="475797"/>
                    <a:pt x="1333499" y="475797"/>
                    <a:pt x="1312332" y="496888"/>
                  </a:cubicBezTo>
                  <a:cubicBezTo>
                    <a:pt x="1312332" y="496888"/>
                    <a:pt x="1312332" y="496888"/>
                    <a:pt x="1275291" y="496888"/>
                  </a:cubicBezTo>
                  <a:cubicBezTo>
                    <a:pt x="1275291" y="496888"/>
                    <a:pt x="1275291" y="496888"/>
                    <a:pt x="1254124" y="470524"/>
                  </a:cubicBezTo>
                  <a:cubicBezTo>
                    <a:pt x="1254124" y="470524"/>
                    <a:pt x="1254124" y="470524"/>
                    <a:pt x="1227665" y="481070"/>
                  </a:cubicBezTo>
                  <a:cubicBezTo>
                    <a:pt x="1227665" y="481070"/>
                    <a:pt x="1227665" y="481070"/>
                    <a:pt x="1174748" y="481070"/>
                  </a:cubicBezTo>
                  <a:cubicBezTo>
                    <a:pt x="1174748" y="481070"/>
                    <a:pt x="1174748" y="481070"/>
                    <a:pt x="1137707" y="475797"/>
                  </a:cubicBezTo>
                  <a:cubicBezTo>
                    <a:pt x="1137707" y="475797"/>
                    <a:pt x="1137707" y="475797"/>
                    <a:pt x="1127123" y="459978"/>
                  </a:cubicBezTo>
                  <a:cubicBezTo>
                    <a:pt x="1127123" y="459978"/>
                    <a:pt x="1127123" y="459978"/>
                    <a:pt x="1132415" y="444160"/>
                  </a:cubicBezTo>
                  <a:cubicBezTo>
                    <a:pt x="1132415" y="444160"/>
                    <a:pt x="1132415" y="444160"/>
                    <a:pt x="1116540" y="428342"/>
                  </a:cubicBezTo>
                  <a:cubicBezTo>
                    <a:pt x="1116540" y="428342"/>
                    <a:pt x="1116540" y="428342"/>
                    <a:pt x="1095373" y="417796"/>
                  </a:cubicBezTo>
                  <a:cubicBezTo>
                    <a:pt x="1095373" y="417796"/>
                    <a:pt x="1095373" y="417796"/>
                    <a:pt x="1095373" y="396705"/>
                  </a:cubicBezTo>
                  <a:cubicBezTo>
                    <a:pt x="1095373" y="396705"/>
                    <a:pt x="1095373" y="396705"/>
                    <a:pt x="1127123" y="386160"/>
                  </a:cubicBezTo>
                  <a:cubicBezTo>
                    <a:pt x="1127123" y="386160"/>
                    <a:pt x="1127123" y="386160"/>
                    <a:pt x="1164165" y="407251"/>
                  </a:cubicBezTo>
                  <a:cubicBezTo>
                    <a:pt x="1164165" y="407251"/>
                    <a:pt x="1164165" y="407251"/>
                    <a:pt x="1174748" y="396705"/>
                  </a:cubicBezTo>
                  <a:cubicBezTo>
                    <a:pt x="1174748" y="396705"/>
                    <a:pt x="1174748" y="396705"/>
                    <a:pt x="1105957" y="370341"/>
                  </a:cubicBezTo>
                  <a:cubicBezTo>
                    <a:pt x="1105957" y="370341"/>
                    <a:pt x="1105957" y="370341"/>
                    <a:pt x="1100665" y="359796"/>
                  </a:cubicBezTo>
                  <a:cubicBezTo>
                    <a:pt x="1100665" y="359796"/>
                    <a:pt x="1100665" y="359796"/>
                    <a:pt x="1132415" y="349250"/>
                  </a:cubicBezTo>
                  <a:cubicBezTo>
                    <a:pt x="1132415" y="349250"/>
                    <a:pt x="1132415" y="349250"/>
                    <a:pt x="1100665" y="333432"/>
                  </a:cubicBezTo>
                  <a:cubicBezTo>
                    <a:pt x="1100665" y="333432"/>
                    <a:pt x="1100665" y="333432"/>
                    <a:pt x="1121832" y="317614"/>
                  </a:cubicBezTo>
                  <a:cubicBezTo>
                    <a:pt x="1121832" y="317614"/>
                    <a:pt x="1121832" y="317614"/>
                    <a:pt x="1132415" y="296523"/>
                  </a:cubicBezTo>
                  <a:cubicBezTo>
                    <a:pt x="1132415" y="296523"/>
                    <a:pt x="1132415" y="296523"/>
                    <a:pt x="1058332" y="333432"/>
                  </a:cubicBezTo>
                  <a:cubicBezTo>
                    <a:pt x="1058332" y="333432"/>
                    <a:pt x="1058332" y="333432"/>
                    <a:pt x="1026582" y="333432"/>
                  </a:cubicBezTo>
                  <a:cubicBezTo>
                    <a:pt x="1026582" y="333432"/>
                    <a:pt x="1026582" y="333432"/>
                    <a:pt x="1015999" y="285978"/>
                  </a:cubicBezTo>
                  <a:cubicBezTo>
                    <a:pt x="1015999" y="285978"/>
                    <a:pt x="1015999" y="285978"/>
                    <a:pt x="1042457" y="254341"/>
                  </a:cubicBezTo>
                  <a:cubicBezTo>
                    <a:pt x="1042457" y="254341"/>
                    <a:pt x="1042457" y="254341"/>
                    <a:pt x="1074207" y="249068"/>
                  </a:cubicBezTo>
                  <a:cubicBezTo>
                    <a:pt x="1074207" y="249068"/>
                    <a:pt x="1074207" y="249068"/>
                    <a:pt x="1068915" y="201613"/>
                  </a:cubicBezTo>
                  <a:close/>
                  <a:moveTo>
                    <a:pt x="2408234" y="147638"/>
                  </a:moveTo>
                  <a:lnTo>
                    <a:pt x="2428871" y="158751"/>
                  </a:lnTo>
                  <a:lnTo>
                    <a:pt x="2528884" y="169863"/>
                  </a:lnTo>
                  <a:lnTo>
                    <a:pt x="2555872" y="179388"/>
                  </a:lnTo>
                  <a:lnTo>
                    <a:pt x="2551109" y="201613"/>
                  </a:lnTo>
                  <a:lnTo>
                    <a:pt x="2571747" y="211138"/>
                  </a:lnTo>
                  <a:lnTo>
                    <a:pt x="2508247" y="217488"/>
                  </a:lnTo>
                  <a:lnTo>
                    <a:pt x="2455859" y="206375"/>
                  </a:lnTo>
                  <a:lnTo>
                    <a:pt x="2460622" y="227013"/>
                  </a:lnTo>
                  <a:lnTo>
                    <a:pt x="2433634" y="242888"/>
                  </a:lnTo>
                  <a:lnTo>
                    <a:pt x="2439984" y="254000"/>
                  </a:lnTo>
                  <a:lnTo>
                    <a:pt x="2449509" y="242888"/>
                  </a:lnTo>
                  <a:lnTo>
                    <a:pt x="2492372" y="238126"/>
                  </a:lnTo>
                  <a:lnTo>
                    <a:pt x="2535234" y="227013"/>
                  </a:lnTo>
                  <a:lnTo>
                    <a:pt x="2528884" y="242888"/>
                  </a:lnTo>
                  <a:lnTo>
                    <a:pt x="2508247" y="254000"/>
                  </a:lnTo>
                  <a:lnTo>
                    <a:pt x="2513009" y="265113"/>
                  </a:lnTo>
                  <a:lnTo>
                    <a:pt x="2528884" y="254000"/>
                  </a:lnTo>
                  <a:lnTo>
                    <a:pt x="2560634" y="249238"/>
                  </a:lnTo>
                  <a:lnTo>
                    <a:pt x="2566984" y="227013"/>
                  </a:lnTo>
                  <a:lnTo>
                    <a:pt x="2576509" y="222251"/>
                  </a:lnTo>
                  <a:lnTo>
                    <a:pt x="2598734" y="242888"/>
                  </a:lnTo>
                  <a:lnTo>
                    <a:pt x="2571747" y="258763"/>
                  </a:lnTo>
                  <a:lnTo>
                    <a:pt x="2555872" y="296863"/>
                  </a:lnTo>
                  <a:lnTo>
                    <a:pt x="2587622" y="274638"/>
                  </a:lnTo>
                  <a:lnTo>
                    <a:pt x="2608260" y="249238"/>
                  </a:lnTo>
                  <a:lnTo>
                    <a:pt x="2646359" y="265113"/>
                  </a:lnTo>
                  <a:lnTo>
                    <a:pt x="2655884" y="249238"/>
                  </a:lnTo>
                  <a:lnTo>
                    <a:pt x="2703509" y="249238"/>
                  </a:lnTo>
                  <a:lnTo>
                    <a:pt x="2719384" y="265113"/>
                  </a:lnTo>
                  <a:lnTo>
                    <a:pt x="2693984" y="269875"/>
                  </a:lnTo>
                  <a:lnTo>
                    <a:pt x="2671759" y="285751"/>
                  </a:lnTo>
                  <a:lnTo>
                    <a:pt x="2635247" y="301625"/>
                  </a:lnTo>
                  <a:lnTo>
                    <a:pt x="2646359" y="328613"/>
                  </a:lnTo>
                  <a:lnTo>
                    <a:pt x="2624134" y="328613"/>
                  </a:lnTo>
                  <a:lnTo>
                    <a:pt x="2603497" y="349250"/>
                  </a:lnTo>
                  <a:lnTo>
                    <a:pt x="2603497" y="376238"/>
                  </a:lnTo>
                  <a:lnTo>
                    <a:pt x="2619372" y="385763"/>
                  </a:lnTo>
                  <a:lnTo>
                    <a:pt x="2619372" y="401638"/>
                  </a:lnTo>
                  <a:lnTo>
                    <a:pt x="2603497" y="396875"/>
                  </a:lnTo>
                  <a:lnTo>
                    <a:pt x="2598734" y="407988"/>
                  </a:lnTo>
                  <a:lnTo>
                    <a:pt x="2614609" y="417513"/>
                  </a:lnTo>
                  <a:lnTo>
                    <a:pt x="2624134" y="417513"/>
                  </a:lnTo>
                  <a:lnTo>
                    <a:pt x="2635247" y="412750"/>
                  </a:lnTo>
                  <a:lnTo>
                    <a:pt x="2635247" y="439738"/>
                  </a:lnTo>
                  <a:lnTo>
                    <a:pt x="2592384" y="423863"/>
                  </a:lnTo>
                  <a:lnTo>
                    <a:pt x="2576509" y="433388"/>
                  </a:lnTo>
                  <a:lnTo>
                    <a:pt x="2603497" y="460375"/>
                  </a:lnTo>
                  <a:lnTo>
                    <a:pt x="2608260" y="476250"/>
                  </a:lnTo>
                  <a:lnTo>
                    <a:pt x="2587622" y="503238"/>
                  </a:lnTo>
                  <a:lnTo>
                    <a:pt x="2566984" y="519113"/>
                  </a:lnTo>
                  <a:lnTo>
                    <a:pt x="2598734" y="534988"/>
                  </a:lnTo>
                  <a:lnTo>
                    <a:pt x="2587622" y="550863"/>
                  </a:lnTo>
                  <a:lnTo>
                    <a:pt x="2551109" y="544513"/>
                  </a:lnTo>
                  <a:lnTo>
                    <a:pt x="2519359" y="528638"/>
                  </a:lnTo>
                  <a:lnTo>
                    <a:pt x="2519359" y="555625"/>
                  </a:lnTo>
                  <a:lnTo>
                    <a:pt x="2487609" y="544513"/>
                  </a:lnTo>
                  <a:lnTo>
                    <a:pt x="2513009" y="582613"/>
                  </a:lnTo>
                  <a:lnTo>
                    <a:pt x="2551109" y="598488"/>
                  </a:lnTo>
                  <a:lnTo>
                    <a:pt x="2560634" y="623888"/>
                  </a:lnTo>
                  <a:lnTo>
                    <a:pt x="2560634" y="650875"/>
                  </a:lnTo>
                  <a:lnTo>
                    <a:pt x="2524121" y="639763"/>
                  </a:lnTo>
                  <a:lnTo>
                    <a:pt x="2513009" y="619125"/>
                  </a:lnTo>
                  <a:lnTo>
                    <a:pt x="2476497" y="630238"/>
                  </a:lnTo>
                  <a:lnTo>
                    <a:pt x="2460622" y="646113"/>
                  </a:lnTo>
                  <a:lnTo>
                    <a:pt x="2497134" y="655638"/>
                  </a:lnTo>
                  <a:lnTo>
                    <a:pt x="2535234" y="666750"/>
                  </a:lnTo>
                  <a:lnTo>
                    <a:pt x="2487609" y="703263"/>
                  </a:lnTo>
                  <a:lnTo>
                    <a:pt x="2433634" y="719138"/>
                  </a:lnTo>
                  <a:lnTo>
                    <a:pt x="2392359" y="719138"/>
                  </a:lnTo>
                  <a:lnTo>
                    <a:pt x="2370134" y="741363"/>
                  </a:lnTo>
                  <a:lnTo>
                    <a:pt x="2333622" y="777875"/>
                  </a:lnTo>
                  <a:lnTo>
                    <a:pt x="2290759" y="788988"/>
                  </a:lnTo>
                  <a:lnTo>
                    <a:pt x="2249485" y="798513"/>
                  </a:lnTo>
                  <a:lnTo>
                    <a:pt x="2233609" y="830263"/>
                  </a:lnTo>
                  <a:lnTo>
                    <a:pt x="2201859" y="889001"/>
                  </a:lnTo>
                  <a:lnTo>
                    <a:pt x="2163759" y="941388"/>
                  </a:lnTo>
                  <a:lnTo>
                    <a:pt x="2163759" y="957263"/>
                  </a:lnTo>
                  <a:lnTo>
                    <a:pt x="2138359" y="947738"/>
                  </a:lnTo>
                  <a:lnTo>
                    <a:pt x="2122485" y="925513"/>
                  </a:lnTo>
                  <a:lnTo>
                    <a:pt x="2095497" y="925513"/>
                  </a:lnTo>
                  <a:lnTo>
                    <a:pt x="2063747" y="884238"/>
                  </a:lnTo>
                  <a:lnTo>
                    <a:pt x="2052634" y="841376"/>
                  </a:lnTo>
                  <a:lnTo>
                    <a:pt x="2047872" y="782638"/>
                  </a:lnTo>
                  <a:lnTo>
                    <a:pt x="2047872" y="735013"/>
                  </a:lnTo>
                  <a:lnTo>
                    <a:pt x="2063747" y="687388"/>
                  </a:lnTo>
                  <a:lnTo>
                    <a:pt x="2090734" y="655638"/>
                  </a:lnTo>
                  <a:lnTo>
                    <a:pt x="2111372" y="630238"/>
                  </a:lnTo>
                  <a:lnTo>
                    <a:pt x="2100259" y="592138"/>
                  </a:lnTo>
                  <a:lnTo>
                    <a:pt x="2095497" y="566738"/>
                  </a:lnTo>
                  <a:lnTo>
                    <a:pt x="2079622" y="544513"/>
                  </a:lnTo>
                  <a:lnTo>
                    <a:pt x="2068509" y="566738"/>
                  </a:lnTo>
                  <a:lnTo>
                    <a:pt x="2052634" y="566738"/>
                  </a:lnTo>
                  <a:lnTo>
                    <a:pt x="2058984" y="539750"/>
                  </a:lnTo>
                  <a:lnTo>
                    <a:pt x="2068509" y="523875"/>
                  </a:lnTo>
                  <a:lnTo>
                    <a:pt x="2068509" y="496888"/>
                  </a:lnTo>
                  <a:lnTo>
                    <a:pt x="2058984" y="455613"/>
                  </a:lnTo>
                  <a:lnTo>
                    <a:pt x="2043109" y="444500"/>
                  </a:lnTo>
                  <a:lnTo>
                    <a:pt x="2036759" y="401638"/>
                  </a:lnTo>
                  <a:lnTo>
                    <a:pt x="2005009" y="381000"/>
                  </a:lnTo>
                  <a:lnTo>
                    <a:pt x="1979609" y="365125"/>
                  </a:lnTo>
                  <a:lnTo>
                    <a:pt x="1952622" y="376238"/>
                  </a:lnTo>
                  <a:lnTo>
                    <a:pt x="1925634" y="376238"/>
                  </a:lnTo>
                  <a:lnTo>
                    <a:pt x="1916109" y="354013"/>
                  </a:lnTo>
                  <a:lnTo>
                    <a:pt x="1900234" y="349250"/>
                  </a:lnTo>
                  <a:lnTo>
                    <a:pt x="1904997" y="333376"/>
                  </a:lnTo>
                  <a:lnTo>
                    <a:pt x="1936747" y="333376"/>
                  </a:lnTo>
                  <a:lnTo>
                    <a:pt x="1941509" y="328613"/>
                  </a:lnTo>
                  <a:lnTo>
                    <a:pt x="1920872" y="328613"/>
                  </a:lnTo>
                  <a:lnTo>
                    <a:pt x="1900234" y="317501"/>
                  </a:lnTo>
                  <a:lnTo>
                    <a:pt x="1884361" y="301625"/>
                  </a:lnTo>
                  <a:lnTo>
                    <a:pt x="1916109" y="306388"/>
                  </a:lnTo>
                  <a:lnTo>
                    <a:pt x="1936747" y="301625"/>
                  </a:lnTo>
                  <a:lnTo>
                    <a:pt x="1968497" y="301625"/>
                  </a:lnTo>
                  <a:lnTo>
                    <a:pt x="1952622" y="290513"/>
                  </a:lnTo>
                  <a:lnTo>
                    <a:pt x="1920872" y="290513"/>
                  </a:lnTo>
                  <a:lnTo>
                    <a:pt x="1900234" y="274638"/>
                  </a:lnTo>
                  <a:lnTo>
                    <a:pt x="1889122" y="254000"/>
                  </a:lnTo>
                  <a:lnTo>
                    <a:pt x="1920872" y="249238"/>
                  </a:lnTo>
                  <a:lnTo>
                    <a:pt x="1973259" y="242888"/>
                  </a:lnTo>
                  <a:lnTo>
                    <a:pt x="2016122" y="227013"/>
                  </a:lnTo>
                  <a:lnTo>
                    <a:pt x="1979609" y="222251"/>
                  </a:lnTo>
                  <a:lnTo>
                    <a:pt x="1973259" y="206375"/>
                  </a:lnTo>
                  <a:lnTo>
                    <a:pt x="2000247" y="195263"/>
                  </a:lnTo>
                  <a:lnTo>
                    <a:pt x="2020884" y="195263"/>
                  </a:lnTo>
                  <a:lnTo>
                    <a:pt x="2047872" y="195263"/>
                  </a:lnTo>
                  <a:lnTo>
                    <a:pt x="2058984" y="174626"/>
                  </a:lnTo>
                  <a:lnTo>
                    <a:pt x="2090734" y="163513"/>
                  </a:lnTo>
                  <a:lnTo>
                    <a:pt x="2154234" y="169863"/>
                  </a:lnTo>
                  <a:lnTo>
                    <a:pt x="2163759" y="201613"/>
                  </a:lnTo>
                  <a:lnTo>
                    <a:pt x="2185985" y="190501"/>
                  </a:lnTo>
                  <a:lnTo>
                    <a:pt x="2217734" y="201613"/>
                  </a:lnTo>
                  <a:lnTo>
                    <a:pt x="2206622" y="174626"/>
                  </a:lnTo>
                  <a:lnTo>
                    <a:pt x="2222496" y="169863"/>
                  </a:lnTo>
                  <a:lnTo>
                    <a:pt x="2238371" y="185738"/>
                  </a:lnTo>
                  <a:lnTo>
                    <a:pt x="2259009" y="185738"/>
                  </a:lnTo>
                  <a:lnTo>
                    <a:pt x="2274884" y="206375"/>
                  </a:lnTo>
                  <a:lnTo>
                    <a:pt x="2290759" y="211138"/>
                  </a:lnTo>
                  <a:lnTo>
                    <a:pt x="2290759" y="195263"/>
                  </a:lnTo>
                  <a:lnTo>
                    <a:pt x="2317747" y="190501"/>
                  </a:lnTo>
                  <a:lnTo>
                    <a:pt x="2312984" y="185738"/>
                  </a:lnTo>
                  <a:lnTo>
                    <a:pt x="2285996" y="174626"/>
                  </a:lnTo>
                  <a:lnTo>
                    <a:pt x="2301872" y="158751"/>
                  </a:lnTo>
                  <a:lnTo>
                    <a:pt x="2328859" y="153988"/>
                  </a:lnTo>
                  <a:lnTo>
                    <a:pt x="2328859" y="169863"/>
                  </a:lnTo>
                  <a:lnTo>
                    <a:pt x="2376484" y="179388"/>
                  </a:lnTo>
                  <a:lnTo>
                    <a:pt x="2365372" y="163513"/>
                  </a:lnTo>
                  <a:lnTo>
                    <a:pt x="2376484" y="158751"/>
                  </a:lnTo>
                  <a:lnTo>
                    <a:pt x="2397122" y="158751"/>
                  </a:lnTo>
                  <a:close/>
                  <a:moveTo>
                    <a:pt x="1544780" y="142875"/>
                  </a:moveTo>
                  <a:cubicBezTo>
                    <a:pt x="1544780" y="142875"/>
                    <a:pt x="1544780" y="142875"/>
                    <a:pt x="1571479" y="158750"/>
                  </a:cubicBezTo>
                  <a:cubicBezTo>
                    <a:pt x="1571479" y="158750"/>
                    <a:pt x="1582158" y="179917"/>
                    <a:pt x="1582158" y="179917"/>
                  </a:cubicBezTo>
                  <a:cubicBezTo>
                    <a:pt x="1587498" y="185208"/>
                    <a:pt x="1544780" y="190500"/>
                    <a:pt x="1544780" y="190500"/>
                  </a:cubicBezTo>
                  <a:cubicBezTo>
                    <a:pt x="1544780" y="190500"/>
                    <a:pt x="1544780" y="190500"/>
                    <a:pt x="1528761" y="174625"/>
                  </a:cubicBezTo>
                  <a:cubicBezTo>
                    <a:pt x="1528761" y="174625"/>
                    <a:pt x="1528761" y="174625"/>
                    <a:pt x="1544780" y="169333"/>
                  </a:cubicBezTo>
                  <a:cubicBezTo>
                    <a:pt x="1544780" y="169333"/>
                    <a:pt x="1544780" y="169333"/>
                    <a:pt x="1534101" y="153459"/>
                  </a:cubicBezTo>
                  <a:close/>
                  <a:moveTo>
                    <a:pt x="465552" y="138113"/>
                  </a:moveTo>
                  <a:cubicBezTo>
                    <a:pt x="465552" y="138113"/>
                    <a:pt x="465552" y="138113"/>
                    <a:pt x="534327" y="159280"/>
                  </a:cubicBezTo>
                  <a:cubicBezTo>
                    <a:pt x="534327" y="159280"/>
                    <a:pt x="534327" y="159280"/>
                    <a:pt x="613683" y="201613"/>
                  </a:cubicBezTo>
                  <a:cubicBezTo>
                    <a:pt x="613683" y="201613"/>
                    <a:pt x="613683" y="201613"/>
                    <a:pt x="708909" y="275697"/>
                  </a:cubicBezTo>
                  <a:cubicBezTo>
                    <a:pt x="708909" y="275697"/>
                    <a:pt x="708909" y="275697"/>
                    <a:pt x="798846" y="355071"/>
                  </a:cubicBezTo>
                  <a:lnTo>
                    <a:pt x="825298" y="328613"/>
                  </a:lnTo>
                  <a:cubicBezTo>
                    <a:pt x="825298" y="328613"/>
                    <a:pt x="825298" y="328613"/>
                    <a:pt x="894073" y="323321"/>
                  </a:cubicBezTo>
                  <a:cubicBezTo>
                    <a:pt x="894073" y="323321"/>
                    <a:pt x="894073" y="323321"/>
                    <a:pt x="957557" y="370946"/>
                  </a:cubicBezTo>
                  <a:cubicBezTo>
                    <a:pt x="957557" y="370946"/>
                    <a:pt x="957557" y="370946"/>
                    <a:pt x="1015751" y="381530"/>
                  </a:cubicBezTo>
                  <a:cubicBezTo>
                    <a:pt x="1015751" y="381530"/>
                    <a:pt x="1015751" y="381530"/>
                    <a:pt x="1073945" y="434446"/>
                  </a:cubicBezTo>
                  <a:cubicBezTo>
                    <a:pt x="1073945" y="434446"/>
                    <a:pt x="1073945" y="434446"/>
                    <a:pt x="1100397" y="450321"/>
                  </a:cubicBezTo>
                  <a:cubicBezTo>
                    <a:pt x="1100397" y="450321"/>
                    <a:pt x="1100397" y="450321"/>
                    <a:pt x="1105687" y="476780"/>
                  </a:cubicBezTo>
                  <a:cubicBezTo>
                    <a:pt x="1105687" y="476780"/>
                    <a:pt x="1105687" y="476780"/>
                    <a:pt x="1089816" y="492655"/>
                  </a:cubicBezTo>
                  <a:cubicBezTo>
                    <a:pt x="1089816" y="492655"/>
                    <a:pt x="1089816" y="492655"/>
                    <a:pt x="1158591" y="503238"/>
                  </a:cubicBezTo>
                  <a:cubicBezTo>
                    <a:pt x="1158591" y="503238"/>
                    <a:pt x="1158591" y="503238"/>
                    <a:pt x="1174462" y="519113"/>
                  </a:cubicBezTo>
                  <a:cubicBezTo>
                    <a:pt x="1174462" y="519113"/>
                    <a:pt x="1174462" y="519113"/>
                    <a:pt x="1195623" y="545571"/>
                  </a:cubicBezTo>
                  <a:cubicBezTo>
                    <a:pt x="1195623" y="545571"/>
                    <a:pt x="1195623" y="545571"/>
                    <a:pt x="1211495" y="497946"/>
                  </a:cubicBezTo>
                  <a:cubicBezTo>
                    <a:pt x="1211495" y="497946"/>
                    <a:pt x="1211495" y="497946"/>
                    <a:pt x="1243237" y="492655"/>
                  </a:cubicBezTo>
                  <a:cubicBezTo>
                    <a:pt x="1243237" y="492655"/>
                    <a:pt x="1243237" y="492655"/>
                    <a:pt x="1253818" y="519113"/>
                  </a:cubicBezTo>
                  <a:cubicBezTo>
                    <a:pt x="1253818" y="519113"/>
                    <a:pt x="1253818" y="519113"/>
                    <a:pt x="1301431" y="545571"/>
                  </a:cubicBezTo>
                  <a:cubicBezTo>
                    <a:pt x="1301431" y="545571"/>
                    <a:pt x="1301431" y="545571"/>
                    <a:pt x="1349045" y="556155"/>
                  </a:cubicBezTo>
                  <a:cubicBezTo>
                    <a:pt x="1349045" y="556155"/>
                    <a:pt x="1349045" y="556155"/>
                    <a:pt x="1349045" y="540280"/>
                  </a:cubicBezTo>
                  <a:cubicBezTo>
                    <a:pt x="1349045" y="540280"/>
                    <a:pt x="1349045" y="540280"/>
                    <a:pt x="1375497" y="540280"/>
                  </a:cubicBezTo>
                  <a:cubicBezTo>
                    <a:pt x="1375497" y="540280"/>
                    <a:pt x="1375497" y="540280"/>
                    <a:pt x="1386078" y="582613"/>
                  </a:cubicBezTo>
                  <a:cubicBezTo>
                    <a:pt x="1386078" y="582613"/>
                    <a:pt x="1386078" y="582613"/>
                    <a:pt x="1433690" y="550863"/>
                  </a:cubicBezTo>
                  <a:cubicBezTo>
                    <a:pt x="1433690" y="550863"/>
                    <a:pt x="1433690" y="550863"/>
                    <a:pt x="1438981" y="513821"/>
                  </a:cubicBezTo>
                  <a:cubicBezTo>
                    <a:pt x="1438981" y="513821"/>
                    <a:pt x="1438981" y="513821"/>
                    <a:pt x="1423110" y="487363"/>
                  </a:cubicBezTo>
                  <a:cubicBezTo>
                    <a:pt x="1423110" y="487363"/>
                    <a:pt x="1423110" y="487363"/>
                    <a:pt x="1428400" y="445030"/>
                  </a:cubicBezTo>
                  <a:cubicBezTo>
                    <a:pt x="1428400" y="445030"/>
                    <a:pt x="1428400" y="445030"/>
                    <a:pt x="1470723" y="418571"/>
                  </a:cubicBezTo>
                  <a:cubicBezTo>
                    <a:pt x="1470723" y="418571"/>
                    <a:pt x="1470723" y="418571"/>
                    <a:pt x="1486594" y="450321"/>
                  </a:cubicBezTo>
                  <a:cubicBezTo>
                    <a:pt x="1486594" y="450321"/>
                    <a:pt x="1486594" y="450321"/>
                    <a:pt x="1486594" y="508530"/>
                  </a:cubicBezTo>
                  <a:cubicBezTo>
                    <a:pt x="1486594" y="508530"/>
                    <a:pt x="1486594" y="508530"/>
                    <a:pt x="1491885" y="572030"/>
                  </a:cubicBezTo>
                  <a:cubicBezTo>
                    <a:pt x="1491885" y="572030"/>
                    <a:pt x="1491885" y="572030"/>
                    <a:pt x="1513046" y="540280"/>
                  </a:cubicBezTo>
                  <a:cubicBezTo>
                    <a:pt x="1513046" y="540280"/>
                    <a:pt x="1513046" y="540280"/>
                    <a:pt x="1528917" y="550863"/>
                  </a:cubicBezTo>
                  <a:cubicBezTo>
                    <a:pt x="1528917" y="550863"/>
                    <a:pt x="1528917" y="550863"/>
                    <a:pt x="1513046" y="582613"/>
                  </a:cubicBezTo>
                  <a:cubicBezTo>
                    <a:pt x="1513046" y="582613"/>
                    <a:pt x="1513046" y="582613"/>
                    <a:pt x="1518337" y="614363"/>
                  </a:cubicBezTo>
                  <a:cubicBezTo>
                    <a:pt x="1518337" y="614363"/>
                    <a:pt x="1518337" y="614363"/>
                    <a:pt x="1565950" y="582613"/>
                  </a:cubicBezTo>
                  <a:cubicBezTo>
                    <a:pt x="1571240" y="582613"/>
                    <a:pt x="1581821" y="540280"/>
                    <a:pt x="1581821" y="540280"/>
                  </a:cubicBezTo>
                  <a:cubicBezTo>
                    <a:pt x="1581821" y="540280"/>
                    <a:pt x="1581821" y="540280"/>
                    <a:pt x="1629435" y="561446"/>
                  </a:cubicBezTo>
                  <a:cubicBezTo>
                    <a:pt x="1629435" y="561446"/>
                    <a:pt x="1629435" y="561446"/>
                    <a:pt x="1602983" y="646113"/>
                  </a:cubicBezTo>
                  <a:cubicBezTo>
                    <a:pt x="1602983" y="646113"/>
                    <a:pt x="1602983" y="646113"/>
                    <a:pt x="1550079" y="656696"/>
                  </a:cubicBezTo>
                  <a:cubicBezTo>
                    <a:pt x="1550079" y="656696"/>
                    <a:pt x="1550079" y="656696"/>
                    <a:pt x="1518337" y="646113"/>
                  </a:cubicBezTo>
                  <a:cubicBezTo>
                    <a:pt x="1518337" y="646113"/>
                    <a:pt x="1518337" y="646113"/>
                    <a:pt x="1470723" y="709613"/>
                  </a:cubicBezTo>
                  <a:cubicBezTo>
                    <a:pt x="1470723" y="709613"/>
                    <a:pt x="1470723" y="709613"/>
                    <a:pt x="1359625" y="746655"/>
                  </a:cubicBezTo>
                  <a:cubicBezTo>
                    <a:pt x="1359625" y="746655"/>
                    <a:pt x="1359625" y="746655"/>
                    <a:pt x="1296141" y="826030"/>
                  </a:cubicBezTo>
                  <a:cubicBezTo>
                    <a:pt x="1296141" y="826030"/>
                    <a:pt x="1296141" y="826030"/>
                    <a:pt x="1301431" y="937155"/>
                  </a:cubicBezTo>
                  <a:cubicBezTo>
                    <a:pt x="1301431" y="937155"/>
                    <a:pt x="1301431" y="937155"/>
                    <a:pt x="1333173" y="931863"/>
                  </a:cubicBezTo>
                  <a:cubicBezTo>
                    <a:pt x="1333173" y="931863"/>
                    <a:pt x="1333173" y="931863"/>
                    <a:pt x="1407239" y="995363"/>
                  </a:cubicBezTo>
                  <a:cubicBezTo>
                    <a:pt x="1407239" y="995363"/>
                    <a:pt x="1407239" y="995363"/>
                    <a:pt x="1454852" y="1011238"/>
                  </a:cubicBezTo>
                  <a:cubicBezTo>
                    <a:pt x="1454852" y="1011238"/>
                    <a:pt x="1454852" y="1011238"/>
                    <a:pt x="1433690" y="1095905"/>
                  </a:cubicBezTo>
                  <a:cubicBezTo>
                    <a:pt x="1433690" y="1095905"/>
                    <a:pt x="1433690" y="1095905"/>
                    <a:pt x="1465433" y="1122363"/>
                  </a:cubicBezTo>
                  <a:cubicBezTo>
                    <a:pt x="1465433" y="1122363"/>
                    <a:pt x="1465433" y="1122363"/>
                    <a:pt x="1497175" y="1085321"/>
                  </a:cubicBezTo>
                  <a:cubicBezTo>
                    <a:pt x="1497175" y="1085321"/>
                    <a:pt x="1497175" y="1085321"/>
                    <a:pt x="1502465" y="1037696"/>
                  </a:cubicBezTo>
                  <a:cubicBezTo>
                    <a:pt x="1502465" y="1037696"/>
                    <a:pt x="1502465" y="1037696"/>
                    <a:pt x="1560659" y="1021821"/>
                  </a:cubicBezTo>
                  <a:cubicBezTo>
                    <a:pt x="1560659" y="1021821"/>
                    <a:pt x="1560659" y="1021821"/>
                    <a:pt x="1576531" y="958321"/>
                  </a:cubicBezTo>
                  <a:cubicBezTo>
                    <a:pt x="1576531" y="958321"/>
                    <a:pt x="1576531" y="958321"/>
                    <a:pt x="1560659" y="915988"/>
                  </a:cubicBezTo>
                  <a:cubicBezTo>
                    <a:pt x="1560659" y="915988"/>
                    <a:pt x="1560659" y="915988"/>
                    <a:pt x="1587112" y="878946"/>
                  </a:cubicBezTo>
                  <a:cubicBezTo>
                    <a:pt x="1587112" y="878946"/>
                    <a:pt x="1587112" y="878946"/>
                    <a:pt x="1608273" y="799571"/>
                  </a:cubicBezTo>
                  <a:cubicBezTo>
                    <a:pt x="1608273" y="799571"/>
                    <a:pt x="1608273" y="799571"/>
                    <a:pt x="1671758" y="810155"/>
                  </a:cubicBezTo>
                  <a:cubicBezTo>
                    <a:pt x="1671758" y="810155"/>
                    <a:pt x="1671758" y="810155"/>
                    <a:pt x="1719371" y="868363"/>
                  </a:cubicBezTo>
                  <a:cubicBezTo>
                    <a:pt x="1719371" y="868363"/>
                    <a:pt x="1719371" y="868363"/>
                    <a:pt x="1719371" y="942446"/>
                  </a:cubicBezTo>
                  <a:cubicBezTo>
                    <a:pt x="1719371" y="942446"/>
                    <a:pt x="1719371" y="942446"/>
                    <a:pt x="1761694" y="958321"/>
                  </a:cubicBezTo>
                  <a:cubicBezTo>
                    <a:pt x="1761694" y="958321"/>
                    <a:pt x="1761694" y="958321"/>
                    <a:pt x="1809307" y="905405"/>
                  </a:cubicBezTo>
                  <a:cubicBezTo>
                    <a:pt x="1809307" y="905405"/>
                    <a:pt x="1809307" y="905405"/>
                    <a:pt x="1825178" y="937155"/>
                  </a:cubicBezTo>
                  <a:cubicBezTo>
                    <a:pt x="1825178" y="937155"/>
                    <a:pt x="1825178" y="937155"/>
                    <a:pt x="1841050" y="1027113"/>
                  </a:cubicBezTo>
                  <a:cubicBezTo>
                    <a:pt x="1841050" y="1027113"/>
                    <a:pt x="1841050" y="1027113"/>
                    <a:pt x="1899241" y="1090613"/>
                  </a:cubicBezTo>
                  <a:cubicBezTo>
                    <a:pt x="1899241" y="1090613"/>
                    <a:pt x="1899241" y="1090613"/>
                    <a:pt x="1899241" y="1175280"/>
                  </a:cubicBezTo>
                  <a:cubicBezTo>
                    <a:pt x="1899241" y="1175280"/>
                    <a:pt x="1899241" y="1175280"/>
                    <a:pt x="1867502" y="1233488"/>
                  </a:cubicBezTo>
                  <a:cubicBezTo>
                    <a:pt x="1867502" y="1233488"/>
                    <a:pt x="1867502" y="1233488"/>
                    <a:pt x="1915112" y="1233488"/>
                  </a:cubicBezTo>
                  <a:cubicBezTo>
                    <a:pt x="1915112" y="1233488"/>
                    <a:pt x="1915112" y="1233488"/>
                    <a:pt x="1920402" y="1291697"/>
                  </a:cubicBezTo>
                  <a:cubicBezTo>
                    <a:pt x="1920402" y="1291697"/>
                    <a:pt x="1920402" y="1291697"/>
                    <a:pt x="1835760" y="1259947"/>
                  </a:cubicBezTo>
                  <a:cubicBezTo>
                    <a:pt x="1835760" y="1259947"/>
                    <a:pt x="1825178" y="1249363"/>
                    <a:pt x="1825178" y="1238780"/>
                  </a:cubicBezTo>
                  <a:cubicBezTo>
                    <a:pt x="1825178" y="1233488"/>
                    <a:pt x="1872792" y="1180571"/>
                    <a:pt x="1872792" y="1180571"/>
                  </a:cubicBezTo>
                  <a:cubicBezTo>
                    <a:pt x="1872792" y="1180571"/>
                    <a:pt x="1872792" y="1180571"/>
                    <a:pt x="1793436" y="1180571"/>
                  </a:cubicBezTo>
                  <a:cubicBezTo>
                    <a:pt x="1793436" y="1180571"/>
                    <a:pt x="1793436" y="1180571"/>
                    <a:pt x="1698210" y="1185863"/>
                  </a:cubicBezTo>
                  <a:cubicBezTo>
                    <a:pt x="1698210" y="1185863"/>
                    <a:pt x="1698210" y="1185863"/>
                    <a:pt x="1714081" y="1217613"/>
                  </a:cubicBezTo>
                  <a:cubicBezTo>
                    <a:pt x="1714081" y="1217613"/>
                    <a:pt x="1714081" y="1217613"/>
                    <a:pt x="1714081" y="1270530"/>
                  </a:cubicBezTo>
                  <a:cubicBezTo>
                    <a:pt x="1714081" y="1270530"/>
                    <a:pt x="1714081" y="1270530"/>
                    <a:pt x="1766984" y="1312863"/>
                  </a:cubicBezTo>
                  <a:cubicBezTo>
                    <a:pt x="1766984" y="1312863"/>
                    <a:pt x="1766984" y="1312863"/>
                    <a:pt x="1729952" y="1349905"/>
                  </a:cubicBezTo>
                  <a:cubicBezTo>
                    <a:pt x="1729952" y="1349905"/>
                    <a:pt x="1729952" y="1349905"/>
                    <a:pt x="1666467" y="1365780"/>
                  </a:cubicBezTo>
                  <a:cubicBezTo>
                    <a:pt x="1666467" y="1365780"/>
                    <a:pt x="1666467" y="1365780"/>
                    <a:pt x="1645306" y="1334030"/>
                  </a:cubicBezTo>
                  <a:cubicBezTo>
                    <a:pt x="1645306" y="1334030"/>
                    <a:pt x="1645306" y="1334030"/>
                    <a:pt x="1581821" y="1360488"/>
                  </a:cubicBezTo>
                  <a:cubicBezTo>
                    <a:pt x="1581821" y="1360488"/>
                    <a:pt x="1581821" y="1360488"/>
                    <a:pt x="1565950" y="1402822"/>
                  </a:cubicBezTo>
                  <a:cubicBezTo>
                    <a:pt x="1565950" y="1402822"/>
                    <a:pt x="1565950" y="1402822"/>
                    <a:pt x="1523627" y="1418697"/>
                  </a:cubicBezTo>
                  <a:cubicBezTo>
                    <a:pt x="1523627" y="1418697"/>
                    <a:pt x="1523627" y="1418697"/>
                    <a:pt x="1470723" y="1461030"/>
                  </a:cubicBezTo>
                  <a:cubicBezTo>
                    <a:pt x="1470723" y="1461030"/>
                    <a:pt x="1470723" y="1461030"/>
                    <a:pt x="1417820" y="1561572"/>
                  </a:cubicBezTo>
                  <a:cubicBezTo>
                    <a:pt x="1417820" y="1561572"/>
                    <a:pt x="1417820" y="1561572"/>
                    <a:pt x="1359625" y="1582738"/>
                  </a:cubicBezTo>
                  <a:cubicBezTo>
                    <a:pt x="1359625" y="1582738"/>
                    <a:pt x="1359625" y="1582738"/>
                    <a:pt x="1280270" y="1677988"/>
                  </a:cubicBezTo>
                  <a:cubicBezTo>
                    <a:pt x="1280270" y="1677988"/>
                    <a:pt x="1280270" y="1677988"/>
                    <a:pt x="1301431" y="1762655"/>
                  </a:cubicBezTo>
                  <a:cubicBezTo>
                    <a:pt x="1301431" y="1762655"/>
                    <a:pt x="1301431" y="1762655"/>
                    <a:pt x="1274979" y="1804988"/>
                  </a:cubicBezTo>
                  <a:cubicBezTo>
                    <a:pt x="1274979" y="1804988"/>
                    <a:pt x="1274979" y="1804988"/>
                    <a:pt x="1264399" y="1783822"/>
                  </a:cubicBezTo>
                  <a:cubicBezTo>
                    <a:pt x="1264399" y="1783822"/>
                    <a:pt x="1264399" y="1783822"/>
                    <a:pt x="1248528" y="1746780"/>
                  </a:cubicBezTo>
                  <a:cubicBezTo>
                    <a:pt x="1248528" y="1746780"/>
                    <a:pt x="1248528" y="1746780"/>
                    <a:pt x="1253818" y="1709738"/>
                  </a:cubicBezTo>
                  <a:cubicBezTo>
                    <a:pt x="1253818" y="1709738"/>
                    <a:pt x="1253818" y="1709738"/>
                    <a:pt x="1232657" y="1672697"/>
                  </a:cubicBezTo>
                  <a:cubicBezTo>
                    <a:pt x="1232657" y="1672697"/>
                    <a:pt x="1232657" y="1672697"/>
                    <a:pt x="1200914" y="1677988"/>
                  </a:cubicBezTo>
                  <a:cubicBezTo>
                    <a:pt x="1200914" y="1677988"/>
                    <a:pt x="1200914" y="1677988"/>
                    <a:pt x="1163882" y="1667405"/>
                  </a:cubicBezTo>
                  <a:cubicBezTo>
                    <a:pt x="1163882" y="1667405"/>
                    <a:pt x="1163882" y="1667405"/>
                    <a:pt x="1121558" y="1662113"/>
                  </a:cubicBezTo>
                  <a:cubicBezTo>
                    <a:pt x="1121558" y="1662113"/>
                    <a:pt x="1121558" y="1662113"/>
                    <a:pt x="1095106" y="1693863"/>
                  </a:cubicBezTo>
                  <a:cubicBezTo>
                    <a:pt x="1095106" y="1693863"/>
                    <a:pt x="1058074" y="1677988"/>
                    <a:pt x="1058074" y="1667405"/>
                  </a:cubicBezTo>
                  <a:cubicBezTo>
                    <a:pt x="1058074" y="1662113"/>
                    <a:pt x="1005170" y="1677988"/>
                    <a:pt x="1005170" y="1677988"/>
                  </a:cubicBezTo>
                  <a:cubicBezTo>
                    <a:pt x="1005170" y="1677988"/>
                    <a:pt x="1005170" y="1677988"/>
                    <a:pt x="968138" y="1699155"/>
                  </a:cubicBezTo>
                  <a:cubicBezTo>
                    <a:pt x="968138" y="1699155"/>
                    <a:pt x="968138" y="1699155"/>
                    <a:pt x="936395" y="1773238"/>
                  </a:cubicBezTo>
                  <a:cubicBezTo>
                    <a:pt x="936395" y="1773238"/>
                    <a:pt x="936395" y="1773238"/>
                    <a:pt x="915234" y="1842030"/>
                  </a:cubicBezTo>
                  <a:cubicBezTo>
                    <a:pt x="915234" y="1842030"/>
                    <a:pt x="915234" y="1842030"/>
                    <a:pt x="946976" y="1937280"/>
                  </a:cubicBezTo>
                  <a:cubicBezTo>
                    <a:pt x="946976" y="1937280"/>
                    <a:pt x="946976" y="1937280"/>
                    <a:pt x="1015751" y="1947863"/>
                  </a:cubicBezTo>
                  <a:cubicBezTo>
                    <a:pt x="1015751" y="1947863"/>
                    <a:pt x="1015751" y="1947863"/>
                    <a:pt x="1058074" y="1916113"/>
                  </a:cubicBezTo>
                  <a:cubicBezTo>
                    <a:pt x="1058074" y="1916113"/>
                    <a:pt x="1058074" y="1916113"/>
                    <a:pt x="1079236" y="1889655"/>
                  </a:cubicBezTo>
                  <a:cubicBezTo>
                    <a:pt x="1079236" y="1889655"/>
                    <a:pt x="1079236" y="1889655"/>
                    <a:pt x="1116268" y="1873780"/>
                  </a:cubicBezTo>
                  <a:cubicBezTo>
                    <a:pt x="1116268" y="1873780"/>
                    <a:pt x="1116268" y="1873780"/>
                    <a:pt x="1132139" y="1905530"/>
                  </a:cubicBezTo>
                  <a:cubicBezTo>
                    <a:pt x="1132139" y="1905530"/>
                    <a:pt x="1132139" y="1905530"/>
                    <a:pt x="1105687" y="1958447"/>
                  </a:cubicBezTo>
                  <a:cubicBezTo>
                    <a:pt x="1105687" y="1958447"/>
                    <a:pt x="1105687" y="1958447"/>
                    <a:pt x="1079236" y="2006072"/>
                  </a:cubicBezTo>
                  <a:cubicBezTo>
                    <a:pt x="1079236" y="2006072"/>
                    <a:pt x="1079236" y="2006072"/>
                    <a:pt x="1137430" y="2027238"/>
                  </a:cubicBezTo>
                  <a:cubicBezTo>
                    <a:pt x="1137430" y="2027238"/>
                    <a:pt x="1137430" y="2027238"/>
                    <a:pt x="1179752" y="2032530"/>
                  </a:cubicBezTo>
                  <a:cubicBezTo>
                    <a:pt x="1179752" y="2032530"/>
                    <a:pt x="1179752" y="2032530"/>
                    <a:pt x="1163882" y="2106613"/>
                  </a:cubicBezTo>
                  <a:cubicBezTo>
                    <a:pt x="1163882" y="2106613"/>
                    <a:pt x="1163882" y="2106613"/>
                    <a:pt x="1185043" y="2154238"/>
                  </a:cubicBezTo>
                  <a:cubicBezTo>
                    <a:pt x="1185043" y="2154238"/>
                    <a:pt x="1185043" y="2154238"/>
                    <a:pt x="1227366" y="2175405"/>
                  </a:cubicBezTo>
                  <a:cubicBezTo>
                    <a:pt x="1227366" y="2175405"/>
                    <a:pt x="1227366" y="2175405"/>
                    <a:pt x="1280270" y="2164822"/>
                  </a:cubicBezTo>
                  <a:cubicBezTo>
                    <a:pt x="1280270" y="2164822"/>
                    <a:pt x="1280270" y="2164822"/>
                    <a:pt x="1317302" y="2180697"/>
                  </a:cubicBezTo>
                  <a:cubicBezTo>
                    <a:pt x="1317302" y="2180697"/>
                    <a:pt x="1317302" y="2180697"/>
                    <a:pt x="1364916" y="2127780"/>
                  </a:cubicBezTo>
                  <a:cubicBezTo>
                    <a:pt x="1364916" y="2127780"/>
                    <a:pt x="1364916" y="2127780"/>
                    <a:pt x="1417820" y="2133072"/>
                  </a:cubicBezTo>
                  <a:cubicBezTo>
                    <a:pt x="1417820" y="2133072"/>
                    <a:pt x="1417820" y="2133072"/>
                    <a:pt x="1444271" y="2111905"/>
                  </a:cubicBezTo>
                  <a:cubicBezTo>
                    <a:pt x="1444271" y="2111905"/>
                    <a:pt x="1444271" y="2111905"/>
                    <a:pt x="1476013" y="2148947"/>
                  </a:cubicBezTo>
                  <a:cubicBezTo>
                    <a:pt x="1476013" y="2148947"/>
                    <a:pt x="1476013" y="2148947"/>
                    <a:pt x="1518337" y="2138363"/>
                  </a:cubicBezTo>
                  <a:cubicBezTo>
                    <a:pt x="1518337" y="2138363"/>
                    <a:pt x="1518337" y="2138363"/>
                    <a:pt x="1550079" y="2154238"/>
                  </a:cubicBezTo>
                  <a:cubicBezTo>
                    <a:pt x="1550079" y="2154238"/>
                    <a:pt x="1550079" y="2154238"/>
                    <a:pt x="1592402" y="2143655"/>
                  </a:cubicBezTo>
                  <a:cubicBezTo>
                    <a:pt x="1592402" y="2143655"/>
                    <a:pt x="1592402" y="2143655"/>
                    <a:pt x="1640015" y="2180697"/>
                  </a:cubicBezTo>
                  <a:cubicBezTo>
                    <a:pt x="1640015" y="2180697"/>
                    <a:pt x="1640015" y="2180697"/>
                    <a:pt x="1698210" y="2238905"/>
                  </a:cubicBezTo>
                  <a:cubicBezTo>
                    <a:pt x="1698210" y="2238905"/>
                    <a:pt x="1698210" y="2238905"/>
                    <a:pt x="1756404" y="2238905"/>
                  </a:cubicBezTo>
                  <a:cubicBezTo>
                    <a:pt x="1756404" y="2238905"/>
                    <a:pt x="1756404" y="2238905"/>
                    <a:pt x="1825178" y="2275946"/>
                  </a:cubicBezTo>
                  <a:cubicBezTo>
                    <a:pt x="1825178" y="2275946"/>
                    <a:pt x="1825178" y="2275946"/>
                    <a:pt x="1851631" y="2344738"/>
                  </a:cubicBezTo>
                  <a:cubicBezTo>
                    <a:pt x="1851631" y="2344738"/>
                    <a:pt x="1851631" y="2344738"/>
                    <a:pt x="1835760" y="2381780"/>
                  </a:cubicBezTo>
                  <a:cubicBezTo>
                    <a:pt x="1835760" y="2381780"/>
                    <a:pt x="1835760" y="2381780"/>
                    <a:pt x="1920402" y="2392363"/>
                  </a:cubicBezTo>
                  <a:cubicBezTo>
                    <a:pt x="1920402" y="2392363"/>
                    <a:pt x="1920402" y="2392363"/>
                    <a:pt x="1962725" y="2439988"/>
                  </a:cubicBezTo>
                  <a:cubicBezTo>
                    <a:pt x="1962725" y="2439988"/>
                    <a:pt x="1962725" y="2439988"/>
                    <a:pt x="2042080" y="2439988"/>
                  </a:cubicBezTo>
                  <a:cubicBezTo>
                    <a:pt x="2042080" y="2439988"/>
                    <a:pt x="2042080" y="2439988"/>
                    <a:pt x="2100275" y="2482321"/>
                  </a:cubicBezTo>
                  <a:cubicBezTo>
                    <a:pt x="2100275" y="2482321"/>
                    <a:pt x="2100275" y="2482321"/>
                    <a:pt x="2147888" y="2477030"/>
                  </a:cubicBezTo>
                  <a:cubicBezTo>
                    <a:pt x="2147888" y="2477030"/>
                    <a:pt x="2147888" y="2477030"/>
                    <a:pt x="2163759" y="2519363"/>
                  </a:cubicBezTo>
                  <a:cubicBezTo>
                    <a:pt x="2163759" y="2519363"/>
                    <a:pt x="2163759" y="2519363"/>
                    <a:pt x="2153179" y="2588155"/>
                  </a:cubicBezTo>
                  <a:cubicBezTo>
                    <a:pt x="2153179" y="2588155"/>
                    <a:pt x="2153179" y="2588155"/>
                    <a:pt x="2094984" y="2662238"/>
                  </a:cubicBezTo>
                  <a:cubicBezTo>
                    <a:pt x="2094984" y="2662238"/>
                    <a:pt x="2094984" y="2662238"/>
                    <a:pt x="2094984" y="2731030"/>
                  </a:cubicBezTo>
                  <a:cubicBezTo>
                    <a:pt x="2094984" y="2731030"/>
                    <a:pt x="2094984" y="2731030"/>
                    <a:pt x="2068533" y="2799821"/>
                  </a:cubicBezTo>
                  <a:cubicBezTo>
                    <a:pt x="2068533" y="2799821"/>
                    <a:pt x="2068533" y="2799821"/>
                    <a:pt x="2047371" y="2858030"/>
                  </a:cubicBezTo>
                  <a:cubicBezTo>
                    <a:pt x="2047371" y="2858030"/>
                    <a:pt x="2047371" y="2858030"/>
                    <a:pt x="1999757" y="2873905"/>
                  </a:cubicBezTo>
                  <a:cubicBezTo>
                    <a:pt x="1999757" y="2873905"/>
                    <a:pt x="1999757" y="2873905"/>
                    <a:pt x="1952144" y="2895071"/>
                  </a:cubicBezTo>
                  <a:cubicBezTo>
                    <a:pt x="1952144" y="2895071"/>
                    <a:pt x="1952144" y="2895071"/>
                    <a:pt x="1915112" y="2942696"/>
                  </a:cubicBezTo>
                  <a:cubicBezTo>
                    <a:pt x="1915112" y="2942696"/>
                    <a:pt x="1915112" y="2942696"/>
                    <a:pt x="1915112" y="2990321"/>
                  </a:cubicBezTo>
                  <a:cubicBezTo>
                    <a:pt x="1915112" y="2990321"/>
                    <a:pt x="1915112" y="2990321"/>
                    <a:pt x="1867502" y="3069696"/>
                  </a:cubicBezTo>
                  <a:cubicBezTo>
                    <a:pt x="1867502" y="3069696"/>
                    <a:pt x="1867502" y="3069696"/>
                    <a:pt x="1825178" y="3154363"/>
                  </a:cubicBezTo>
                  <a:cubicBezTo>
                    <a:pt x="1825178" y="3154363"/>
                    <a:pt x="1825178" y="3154363"/>
                    <a:pt x="1745823" y="3138488"/>
                  </a:cubicBezTo>
                  <a:cubicBezTo>
                    <a:pt x="1745823" y="3138488"/>
                    <a:pt x="1745823" y="3138488"/>
                    <a:pt x="1793436" y="3191405"/>
                  </a:cubicBezTo>
                  <a:cubicBezTo>
                    <a:pt x="1793436" y="3191405"/>
                    <a:pt x="1793436" y="3191405"/>
                    <a:pt x="1772275" y="3244321"/>
                  </a:cubicBezTo>
                  <a:cubicBezTo>
                    <a:pt x="1772275" y="3244321"/>
                    <a:pt x="1772275" y="3244321"/>
                    <a:pt x="1714081" y="3265488"/>
                  </a:cubicBezTo>
                  <a:cubicBezTo>
                    <a:pt x="1714081" y="3265488"/>
                    <a:pt x="1714081" y="3265488"/>
                    <a:pt x="1698210" y="3318405"/>
                  </a:cubicBezTo>
                  <a:cubicBezTo>
                    <a:pt x="1698210" y="3318405"/>
                    <a:pt x="1698210" y="3318405"/>
                    <a:pt x="1655887" y="3334280"/>
                  </a:cubicBezTo>
                  <a:cubicBezTo>
                    <a:pt x="1655887" y="3334280"/>
                    <a:pt x="1655887" y="3334280"/>
                    <a:pt x="1671758" y="3403071"/>
                  </a:cubicBezTo>
                  <a:cubicBezTo>
                    <a:pt x="1671758" y="3403071"/>
                    <a:pt x="1671758" y="3403071"/>
                    <a:pt x="1640015" y="3445405"/>
                  </a:cubicBezTo>
                  <a:cubicBezTo>
                    <a:pt x="1640015" y="3445405"/>
                    <a:pt x="1640015" y="3445405"/>
                    <a:pt x="1677048" y="3498321"/>
                  </a:cubicBezTo>
                  <a:cubicBezTo>
                    <a:pt x="1677048" y="3498321"/>
                    <a:pt x="1677048" y="3498321"/>
                    <a:pt x="1640015" y="3577696"/>
                  </a:cubicBezTo>
                  <a:cubicBezTo>
                    <a:pt x="1640015" y="3577696"/>
                    <a:pt x="1640015" y="3577696"/>
                    <a:pt x="1650596" y="3635905"/>
                  </a:cubicBezTo>
                  <a:cubicBezTo>
                    <a:pt x="1650596" y="3635905"/>
                    <a:pt x="1650596" y="3635905"/>
                    <a:pt x="1735242" y="3694113"/>
                  </a:cubicBezTo>
                  <a:cubicBezTo>
                    <a:pt x="1735242" y="3694113"/>
                    <a:pt x="1735242" y="3694113"/>
                    <a:pt x="1634725" y="3694113"/>
                  </a:cubicBezTo>
                  <a:cubicBezTo>
                    <a:pt x="1634725" y="3694113"/>
                    <a:pt x="1634725" y="3694113"/>
                    <a:pt x="1565950" y="3625321"/>
                  </a:cubicBezTo>
                  <a:cubicBezTo>
                    <a:pt x="1565950" y="3625321"/>
                    <a:pt x="1565950" y="3625321"/>
                    <a:pt x="1523627" y="3545946"/>
                  </a:cubicBezTo>
                  <a:cubicBezTo>
                    <a:pt x="1523627" y="3545946"/>
                    <a:pt x="1523627" y="3545946"/>
                    <a:pt x="1523627" y="3429530"/>
                  </a:cubicBezTo>
                  <a:cubicBezTo>
                    <a:pt x="1523627" y="3429530"/>
                    <a:pt x="1523627" y="3429530"/>
                    <a:pt x="1491885" y="3344863"/>
                  </a:cubicBezTo>
                  <a:cubicBezTo>
                    <a:pt x="1491885" y="3344863"/>
                    <a:pt x="1491885" y="3344863"/>
                    <a:pt x="1476013" y="3265488"/>
                  </a:cubicBezTo>
                  <a:cubicBezTo>
                    <a:pt x="1476013" y="3265488"/>
                    <a:pt x="1476013" y="3265488"/>
                    <a:pt x="1491885" y="3170238"/>
                  </a:cubicBezTo>
                  <a:cubicBezTo>
                    <a:pt x="1491885" y="3170238"/>
                    <a:pt x="1491885" y="3170238"/>
                    <a:pt x="1470723" y="2895071"/>
                  </a:cubicBezTo>
                  <a:cubicBezTo>
                    <a:pt x="1470723" y="2895071"/>
                    <a:pt x="1470723" y="2895071"/>
                    <a:pt x="1454852" y="2789238"/>
                  </a:cubicBezTo>
                  <a:cubicBezTo>
                    <a:pt x="1454852" y="2789238"/>
                    <a:pt x="1454852" y="2789238"/>
                    <a:pt x="1354335" y="2725738"/>
                  </a:cubicBezTo>
                  <a:cubicBezTo>
                    <a:pt x="1354335" y="2725738"/>
                    <a:pt x="1354335" y="2725738"/>
                    <a:pt x="1296141" y="2651655"/>
                  </a:cubicBezTo>
                  <a:cubicBezTo>
                    <a:pt x="1296141" y="2651655"/>
                    <a:pt x="1296141" y="2651655"/>
                    <a:pt x="1248528" y="2529946"/>
                  </a:cubicBezTo>
                  <a:cubicBezTo>
                    <a:pt x="1248528" y="2529946"/>
                    <a:pt x="1248528" y="2529946"/>
                    <a:pt x="1222076" y="2529946"/>
                  </a:cubicBezTo>
                  <a:cubicBezTo>
                    <a:pt x="1222076" y="2529946"/>
                    <a:pt x="1222076" y="2529946"/>
                    <a:pt x="1211495" y="2477030"/>
                  </a:cubicBezTo>
                  <a:cubicBezTo>
                    <a:pt x="1211495" y="2477030"/>
                    <a:pt x="1211495" y="2477030"/>
                    <a:pt x="1237947" y="2445280"/>
                  </a:cubicBezTo>
                  <a:cubicBezTo>
                    <a:pt x="1237947" y="2445280"/>
                    <a:pt x="1237947" y="2445280"/>
                    <a:pt x="1227366" y="2392363"/>
                  </a:cubicBezTo>
                  <a:cubicBezTo>
                    <a:pt x="1227366" y="2392363"/>
                    <a:pt x="1227366" y="2392363"/>
                    <a:pt x="1280270" y="2323571"/>
                  </a:cubicBezTo>
                  <a:cubicBezTo>
                    <a:pt x="1280270" y="2323571"/>
                    <a:pt x="1280270" y="2323571"/>
                    <a:pt x="1296141" y="2223030"/>
                  </a:cubicBezTo>
                  <a:cubicBezTo>
                    <a:pt x="1296141" y="2223030"/>
                    <a:pt x="1296141" y="2223030"/>
                    <a:pt x="1280270" y="2185988"/>
                  </a:cubicBezTo>
                  <a:cubicBezTo>
                    <a:pt x="1280270" y="2185988"/>
                    <a:pt x="1280270" y="2185988"/>
                    <a:pt x="1259108" y="2180697"/>
                  </a:cubicBezTo>
                  <a:cubicBezTo>
                    <a:pt x="1259108" y="2180697"/>
                    <a:pt x="1259108" y="2180697"/>
                    <a:pt x="1227366" y="2212447"/>
                  </a:cubicBezTo>
                  <a:cubicBezTo>
                    <a:pt x="1227366" y="2212447"/>
                    <a:pt x="1227366" y="2212447"/>
                    <a:pt x="1179752" y="2185988"/>
                  </a:cubicBezTo>
                  <a:cubicBezTo>
                    <a:pt x="1179752" y="2185988"/>
                    <a:pt x="1179752" y="2185988"/>
                    <a:pt x="1116268" y="2127780"/>
                  </a:cubicBezTo>
                  <a:cubicBezTo>
                    <a:pt x="1116268" y="2127780"/>
                    <a:pt x="1116268" y="2127780"/>
                    <a:pt x="1073945" y="2053697"/>
                  </a:cubicBezTo>
                  <a:cubicBezTo>
                    <a:pt x="1073945" y="2053697"/>
                    <a:pt x="1073945" y="2053697"/>
                    <a:pt x="1010461" y="2053697"/>
                  </a:cubicBezTo>
                  <a:cubicBezTo>
                    <a:pt x="1010461" y="2053697"/>
                    <a:pt x="1010461" y="2053697"/>
                    <a:pt x="962847" y="1995488"/>
                  </a:cubicBezTo>
                  <a:cubicBezTo>
                    <a:pt x="962847" y="1995488"/>
                    <a:pt x="962847" y="1995488"/>
                    <a:pt x="915234" y="2006072"/>
                  </a:cubicBezTo>
                  <a:cubicBezTo>
                    <a:pt x="915234" y="2006072"/>
                    <a:pt x="915234" y="2006072"/>
                    <a:pt x="867620" y="1984905"/>
                  </a:cubicBezTo>
                  <a:cubicBezTo>
                    <a:pt x="867620" y="1984905"/>
                    <a:pt x="867620" y="1984905"/>
                    <a:pt x="830588" y="1947863"/>
                  </a:cubicBezTo>
                  <a:cubicBezTo>
                    <a:pt x="830588" y="1947863"/>
                    <a:pt x="830588" y="1947863"/>
                    <a:pt x="798846" y="1947863"/>
                  </a:cubicBezTo>
                  <a:cubicBezTo>
                    <a:pt x="798846" y="1947863"/>
                    <a:pt x="798846" y="1947863"/>
                    <a:pt x="756523" y="1900238"/>
                  </a:cubicBezTo>
                  <a:cubicBezTo>
                    <a:pt x="756523" y="1900238"/>
                    <a:pt x="756523" y="1900238"/>
                    <a:pt x="767104" y="1847322"/>
                  </a:cubicBezTo>
                  <a:cubicBezTo>
                    <a:pt x="767104" y="1847322"/>
                    <a:pt x="767104" y="1847322"/>
                    <a:pt x="708909" y="1720322"/>
                  </a:cubicBezTo>
                  <a:cubicBezTo>
                    <a:pt x="708909" y="1720322"/>
                    <a:pt x="708909" y="1720322"/>
                    <a:pt x="671877" y="1651530"/>
                  </a:cubicBezTo>
                  <a:cubicBezTo>
                    <a:pt x="671877" y="1651530"/>
                    <a:pt x="671877" y="1651530"/>
                    <a:pt x="671877" y="1603905"/>
                  </a:cubicBezTo>
                  <a:cubicBezTo>
                    <a:pt x="671877" y="1603905"/>
                    <a:pt x="671877" y="1603905"/>
                    <a:pt x="640135" y="1572155"/>
                  </a:cubicBezTo>
                  <a:cubicBezTo>
                    <a:pt x="640135" y="1572155"/>
                    <a:pt x="640135" y="1572155"/>
                    <a:pt x="645425" y="1646238"/>
                  </a:cubicBezTo>
                  <a:cubicBezTo>
                    <a:pt x="645425" y="1646238"/>
                    <a:pt x="645425" y="1646238"/>
                    <a:pt x="666586" y="1752072"/>
                  </a:cubicBezTo>
                  <a:cubicBezTo>
                    <a:pt x="666586" y="1752072"/>
                    <a:pt x="666586" y="1752072"/>
                    <a:pt x="682458" y="1826155"/>
                  </a:cubicBezTo>
                  <a:cubicBezTo>
                    <a:pt x="682458" y="1826155"/>
                    <a:pt x="682458" y="1826155"/>
                    <a:pt x="634844" y="1767947"/>
                  </a:cubicBezTo>
                  <a:cubicBezTo>
                    <a:pt x="634844" y="1767947"/>
                    <a:pt x="634844" y="1767947"/>
                    <a:pt x="645425" y="1725613"/>
                  </a:cubicBezTo>
                  <a:cubicBezTo>
                    <a:pt x="645425" y="1725613"/>
                    <a:pt x="645425" y="1725613"/>
                    <a:pt x="618973" y="1640947"/>
                  </a:cubicBezTo>
                  <a:cubicBezTo>
                    <a:pt x="618973" y="1640947"/>
                    <a:pt x="618973" y="1640947"/>
                    <a:pt x="597812" y="1535113"/>
                  </a:cubicBezTo>
                  <a:cubicBezTo>
                    <a:pt x="597812" y="1535113"/>
                    <a:pt x="597812" y="1535113"/>
                    <a:pt x="560779" y="1482197"/>
                  </a:cubicBezTo>
                  <a:cubicBezTo>
                    <a:pt x="560779" y="1482197"/>
                    <a:pt x="560779" y="1482197"/>
                    <a:pt x="529037" y="1386947"/>
                  </a:cubicBezTo>
                  <a:cubicBezTo>
                    <a:pt x="529037" y="1386947"/>
                    <a:pt x="529037" y="1386947"/>
                    <a:pt x="566069" y="1233488"/>
                  </a:cubicBezTo>
                  <a:cubicBezTo>
                    <a:pt x="566069" y="1233488"/>
                    <a:pt x="566069" y="1233488"/>
                    <a:pt x="634844" y="1117071"/>
                  </a:cubicBezTo>
                  <a:cubicBezTo>
                    <a:pt x="634844" y="1117071"/>
                    <a:pt x="634844" y="1117071"/>
                    <a:pt x="618973" y="1011238"/>
                  </a:cubicBezTo>
                  <a:cubicBezTo>
                    <a:pt x="618973" y="1011238"/>
                    <a:pt x="618973" y="1011238"/>
                    <a:pt x="613683" y="836613"/>
                  </a:cubicBezTo>
                  <a:cubicBezTo>
                    <a:pt x="613683" y="836613"/>
                    <a:pt x="613683" y="836613"/>
                    <a:pt x="576650" y="714905"/>
                  </a:cubicBezTo>
                  <a:cubicBezTo>
                    <a:pt x="576650" y="714905"/>
                    <a:pt x="576650" y="714905"/>
                    <a:pt x="529037" y="640821"/>
                  </a:cubicBezTo>
                  <a:cubicBezTo>
                    <a:pt x="529037" y="640821"/>
                    <a:pt x="529037" y="640821"/>
                    <a:pt x="470843" y="609071"/>
                  </a:cubicBezTo>
                  <a:cubicBezTo>
                    <a:pt x="470843" y="609071"/>
                    <a:pt x="470843" y="609071"/>
                    <a:pt x="380907" y="598488"/>
                  </a:cubicBezTo>
                  <a:cubicBezTo>
                    <a:pt x="380907" y="598488"/>
                    <a:pt x="380907" y="598488"/>
                    <a:pt x="380907" y="561446"/>
                  </a:cubicBezTo>
                  <a:cubicBezTo>
                    <a:pt x="380907" y="561446"/>
                    <a:pt x="380907" y="561446"/>
                    <a:pt x="322712" y="566738"/>
                  </a:cubicBezTo>
                  <a:cubicBezTo>
                    <a:pt x="322712" y="566738"/>
                    <a:pt x="322712" y="566738"/>
                    <a:pt x="312132" y="635530"/>
                  </a:cubicBezTo>
                  <a:cubicBezTo>
                    <a:pt x="312132" y="635530"/>
                    <a:pt x="312132" y="635530"/>
                    <a:pt x="264518" y="656696"/>
                  </a:cubicBezTo>
                  <a:cubicBezTo>
                    <a:pt x="264518" y="656696"/>
                    <a:pt x="264518" y="656696"/>
                    <a:pt x="132259" y="714905"/>
                  </a:cubicBezTo>
                  <a:cubicBezTo>
                    <a:pt x="132259" y="714905"/>
                    <a:pt x="132259" y="714905"/>
                    <a:pt x="52904" y="714905"/>
                  </a:cubicBezTo>
                  <a:cubicBezTo>
                    <a:pt x="52904" y="714905"/>
                    <a:pt x="52904" y="714905"/>
                    <a:pt x="0" y="746655"/>
                  </a:cubicBezTo>
                  <a:cubicBezTo>
                    <a:pt x="0" y="746655"/>
                    <a:pt x="0" y="746655"/>
                    <a:pt x="47613" y="693738"/>
                  </a:cubicBezTo>
                  <a:cubicBezTo>
                    <a:pt x="47613" y="693738"/>
                    <a:pt x="47613" y="693738"/>
                    <a:pt x="116388" y="693738"/>
                  </a:cubicBezTo>
                  <a:cubicBezTo>
                    <a:pt x="116388" y="693738"/>
                    <a:pt x="116388" y="693738"/>
                    <a:pt x="211615" y="635530"/>
                  </a:cubicBezTo>
                  <a:cubicBezTo>
                    <a:pt x="211615" y="635530"/>
                    <a:pt x="211615" y="635530"/>
                    <a:pt x="222195" y="598488"/>
                  </a:cubicBezTo>
                  <a:cubicBezTo>
                    <a:pt x="222195" y="598488"/>
                    <a:pt x="222195" y="598488"/>
                    <a:pt x="169292" y="582613"/>
                  </a:cubicBezTo>
                  <a:cubicBezTo>
                    <a:pt x="169292" y="582613"/>
                    <a:pt x="169292" y="582613"/>
                    <a:pt x="148130" y="540280"/>
                  </a:cubicBezTo>
                  <a:cubicBezTo>
                    <a:pt x="148130" y="540280"/>
                    <a:pt x="148130" y="540280"/>
                    <a:pt x="132259" y="508530"/>
                  </a:cubicBezTo>
                  <a:cubicBezTo>
                    <a:pt x="132259" y="508530"/>
                    <a:pt x="132259" y="508530"/>
                    <a:pt x="153421" y="487363"/>
                  </a:cubicBezTo>
                  <a:cubicBezTo>
                    <a:pt x="153421" y="487363"/>
                    <a:pt x="153421" y="487363"/>
                    <a:pt x="153421" y="439738"/>
                  </a:cubicBezTo>
                  <a:cubicBezTo>
                    <a:pt x="153421" y="439738"/>
                    <a:pt x="190453" y="413280"/>
                    <a:pt x="190453" y="418571"/>
                  </a:cubicBezTo>
                  <a:cubicBezTo>
                    <a:pt x="190453" y="423863"/>
                    <a:pt x="269809" y="392113"/>
                    <a:pt x="269809" y="392113"/>
                  </a:cubicBezTo>
                  <a:cubicBezTo>
                    <a:pt x="269809" y="392113"/>
                    <a:pt x="301551" y="360363"/>
                    <a:pt x="275099" y="370946"/>
                  </a:cubicBezTo>
                  <a:cubicBezTo>
                    <a:pt x="275099" y="370946"/>
                    <a:pt x="275099" y="370946"/>
                    <a:pt x="232776" y="355071"/>
                  </a:cubicBezTo>
                  <a:cubicBezTo>
                    <a:pt x="232776" y="355071"/>
                    <a:pt x="232776" y="355071"/>
                    <a:pt x="211615" y="323321"/>
                  </a:cubicBezTo>
                  <a:cubicBezTo>
                    <a:pt x="211615" y="323321"/>
                    <a:pt x="211615" y="323321"/>
                    <a:pt x="211615" y="291572"/>
                  </a:cubicBezTo>
                  <a:cubicBezTo>
                    <a:pt x="211615" y="291572"/>
                    <a:pt x="211615" y="291572"/>
                    <a:pt x="280390" y="270405"/>
                  </a:cubicBezTo>
                  <a:cubicBezTo>
                    <a:pt x="280390" y="270405"/>
                    <a:pt x="280390" y="270405"/>
                    <a:pt x="322712" y="312738"/>
                  </a:cubicBezTo>
                  <a:cubicBezTo>
                    <a:pt x="322712" y="312738"/>
                    <a:pt x="322712" y="312738"/>
                    <a:pt x="333293" y="280988"/>
                  </a:cubicBezTo>
                  <a:cubicBezTo>
                    <a:pt x="333293" y="280988"/>
                    <a:pt x="333293" y="280988"/>
                    <a:pt x="312132" y="270405"/>
                  </a:cubicBezTo>
                  <a:cubicBezTo>
                    <a:pt x="312132" y="270405"/>
                    <a:pt x="312132" y="270405"/>
                    <a:pt x="312132" y="228072"/>
                  </a:cubicBezTo>
                  <a:cubicBezTo>
                    <a:pt x="312132" y="228072"/>
                    <a:pt x="312132" y="228072"/>
                    <a:pt x="280390" y="196322"/>
                  </a:cubicBezTo>
                  <a:cubicBezTo>
                    <a:pt x="280390" y="196322"/>
                    <a:pt x="280390" y="196322"/>
                    <a:pt x="306841" y="169863"/>
                  </a:cubicBezTo>
                  <a:cubicBezTo>
                    <a:pt x="306841" y="169863"/>
                    <a:pt x="306841" y="169863"/>
                    <a:pt x="359745" y="180446"/>
                  </a:cubicBezTo>
                  <a:cubicBezTo>
                    <a:pt x="359745" y="180446"/>
                    <a:pt x="359745" y="180446"/>
                    <a:pt x="380907" y="159280"/>
                  </a:cubicBezTo>
                  <a:cubicBezTo>
                    <a:pt x="380907" y="159280"/>
                    <a:pt x="380907" y="159280"/>
                    <a:pt x="465552" y="138113"/>
                  </a:cubicBezTo>
                  <a:close/>
                  <a:moveTo>
                    <a:pt x="4964109" y="106363"/>
                  </a:moveTo>
                  <a:lnTo>
                    <a:pt x="5000621" y="115888"/>
                  </a:lnTo>
                  <a:lnTo>
                    <a:pt x="5000621" y="131763"/>
                  </a:lnTo>
                  <a:lnTo>
                    <a:pt x="4948234" y="138113"/>
                  </a:lnTo>
                  <a:close/>
                  <a:moveTo>
                    <a:pt x="1222374" y="100013"/>
                  </a:moveTo>
                  <a:lnTo>
                    <a:pt x="1269999" y="111126"/>
                  </a:lnTo>
                  <a:lnTo>
                    <a:pt x="1258886" y="138113"/>
                  </a:lnTo>
                  <a:lnTo>
                    <a:pt x="1243011" y="147638"/>
                  </a:lnTo>
                  <a:lnTo>
                    <a:pt x="1227136" y="127001"/>
                  </a:lnTo>
                  <a:lnTo>
                    <a:pt x="1206499" y="142876"/>
                  </a:lnTo>
                  <a:lnTo>
                    <a:pt x="1231899" y="169863"/>
                  </a:lnTo>
                  <a:lnTo>
                    <a:pt x="1254124" y="158751"/>
                  </a:lnTo>
                  <a:lnTo>
                    <a:pt x="1279524" y="179388"/>
                  </a:lnTo>
                  <a:lnTo>
                    <a:pt x="1290636" y="222251"/>
                  </a:lnTo>
                  <a:lnTo>
                    <a:pt x="1322386" y="222251"/>
                  </a:lnTo>
                  <a:lnTo>
                    <a:pt x="1327149" y="201613"/>
                  </a:lnTo>
                  <a:lnTo>
                    <a:pt x="1327149" y="179388"/>
                  </a:lnTo>
                  <a:lnTo>
                    <a:pt x="1354137" y="174626"/>
                  </a:lnTo>
                  <a:lnTo>
                    <a:pt x="1349374" y="206375"/>
                  </a:lnTo>
                  <a:lnTo>
                    <a:pt x="1370011" y="217488"/>
                  </a:lnTo>
                  <a:lnTo>
                    <a:pt x="1374774" y="238126"/>
                  </a:lnTo>
                  <a:lnTo>
                    <a:pt x="1349374" y="265113"/>
                  </a:lnTo>
                  <a:lnTo>
                    <a:pt x="1311274" y="249238"/>
                  </a:lnTo>
                  <a:lnTo>
                    <a:pt x="1285874" y="265113"/>
                  </a:lnTo>
                  <a:lnTo>
                    <a:pt x="1254124" y="258763"/>
                  </a:lnTo>
                  <a:lnTo>
                    <a:pt x="1238249" y="242888"/>
                  </a:lnTo>
                  <a:lnTo>
                    <a:pt x="1238249" y="233363"/>
                  </a:lnTo>
                  <a:lnTo>
                    <a:pt x="1258886" y="233363"/>
                  </a:lnTo>
                  <a:lnTo>
                    <a:pt x="1247773" y="211138"/>
                  </a:lnTo>
                  <a:lnTo>
                    <a:pt x="1231899" y="217488"/>
                  </a:lnTo>
                  <a:lnTo>
                    <a:pt x="1200148" y="201613"/>
                  </a:lnTo>
                  <a:lnTo>
                    <a:pt x="1200148" y="185738"/>
                  </a:lnTo>
                  <a:lnTo>
                    <a:pt x="1222374" y="185738"/>
                  </a:lnTo>
                  <a:lnTo>
                    <a:pt x="1200148" y="158751"/>
                  </a:lnTo>
                  <a:lnTo>
                    <a:pt x="1168399" y="163513"/>
                  </a:lnTo>
                  <a:lnTo>
                    <a:pt x="1136649" y="142876"/>
                  </a:lnTo>
                  <a:lnTo>
                    <a:pt x="1142999" y="122238"/>
                  </a:lnTo>
                  <a:lnTo>
                    <a:pt x="1195386" y="115888"/>
                  </a:lnTo>
                  <a:close/>
                  <a:moveTo>
                    <a:pt x="1444624" y="100013"/>
                  </a:moveTo>
                  <a:lnTo>
                    <a:pt x="1476373" y="106363"/>
                  </a:lnTo>
                  <a:lnTo>
                    <a:pt x="1517649" y="142876"/>
                  </a:lnTo>
                  <a:lnTo>
                    <a:pt x="1512886" y="174626"/>
                  </a:lnTo>
                  <a:lnTo>
                    <a:pt x="1497011" y="174626"/>
                  </a:lnTo>
                  <a:lnTo>
                    <a:pt x="1485898" y="147638"/>
                  </a:lnTo>
                  <a:lnTo>
                    <a:pt x="1438273" y="142876"/>
                  </a:lnTo>
                  <a:lnTo>
                    <a:pt x="1438273" y="131763"/>
                  </a:lnTo>
                  <a:lnTo>
                    <a:pt x="1460498" y="131763"/>
                  </a:lnTo>
                  <a:lnTo>
                    <a:pt x="1454148" y="122238"/>
                  </a:lnTo>
                  <a:lnTo>
                    <a:pt x="1438273" y="111126"/>
                  </a:lnTo>
                  <a:close/>
                  <a:moveTo>
                    <a:pt x="4260846" y="95250"/>
                  </a:moveTo>
                  <a:lnTo>
                    <a:pt x="4297358" y="95250"/>
                  </a:lnTo>
                  <a:lnTo>
                    <a:pt x="4324346" y="106363"/>
                  </a:lnTo>
                  <a:lnTo>
                    <a:pt x="4324346" y="127001"/>
                  </a:lnTo>
                  <a:lnTo>
                    <a:pt x="4297358" y="138113"/>
                  </a:lnTo>
                  <a:lnTo>
                    <a:pt x="4286246" y="153988"/>
                  </a:lnTo>
                  <a:lnTo>
                    <a:pt x="4276721" y="147638"/>
                  </a:lnTo>
                  <a:lnTo>
                    <a:pt x="4270371" y="111125"/>
                  </a:lnTo>
                  <a:lnTo>
                    <a:pt x="4260846" y="100012"/>
                  </a:lnTo>
                  <a:close/>
                  <a:moveTo>
                    <a:pt x="1353606" y="84138"/>
                  </a:moveTo>
                  <a:cubicBezTo>
                    <a:pt x="1353606" y="84138"/>
                    <a:pt x="1353606" y="84138"/>
                    <a:pt x="1374773" y="94818"/>
                  </a:cubicBezTo>
                  <a:cubicBezTo>
                    <a:pt x="1374773" y="94818"/>
                    <a:pt x="1353606" y="137536"/>
                    <a:pt x="1353606" y="137536"/>
                  </a:cubicBezTo>
                  <a:cubicBezTo>
                    <a:pt x="1353606" y="137536"/>
                    <a:pt x="1316564" y="142876"/>
                    <a:pt x="1316564" y="142876"/>
                  </a:cubicBezTo>
                  <a:cubicBezTo>
                    <a:pt x="1316564" y="142876"/>
                    <a:pt x="1316564" y="142876"/>
                    <a:pt x="1311273" y="121517"/>
                  </a:cubicBezTo>
                  <a:lnTo>
                    <a:pt x="1316564" y="94818"/>
                  </a:lnTo>
                  <a:cubicBezTo>
                    <a:pt x="1316564" y="94818"/>
                    <a:pt x="1316564" y="94818"/>
                    <a:pt x="1353606" y="84138"/>
                  </a:cubicBezTo>
                  <a:close/>
                  <a:moveTo>
                    <a:pt x="4159246" y="79375"/>
                  </a:moveTo>
                  <a:lnTo>
                    <a:pt x="4190995" y="79375"/>
                  </a:lnTo>
                  <a:lnTo>
                    <a:pt x="4197345" y="95250"/>
                  </a:lnTo>
                  <a:lnTo>
                    <a:pt x="4217983" y="79375"/>
                  </a:lnTo>
                  <a:lnTo>
                    <a:pt x="4238620" y="84138"/>
                  </a:lnTo>
                  <a:lnTo>
                    <a:pt x="4249733" y="127001"/>
                  </a:lnTo>
                  <a:lnTo>
                    <a:pt x="4213220" y="138113"/>
                  </a:lnTo>
                  <a:lnTo>
                    <a:pt x="4122733" y="138113"/>
                  </a:lnTo>
                  <a:lnTo>
                    <a:pt x="4111621" y="131763"/>
                  </a:lnTo>
                  <a:lnTo>
                    <a:pt x="4122733" y="100013"/>
                  </a:lnTo>
                  <a:close/>
                  <a:moveTo>
                    <a:pt x="1635123" y="74613"/>
                  </a:moveTo>
                  <a:lnTo>
                    <a:pt x="1671635" y="127001"/>
                  </a:lnTo>
                  <a:lnTo>
                    <a:pt x="1703385" y="147638"/>
                  </a:lnTo>
                  <a:lnTo>
                    <a:pt x="1698622" y="163513"/>
                  </a:lnTo>
                  <a:lnTo>
                    <a:pt x="1682748" y="179388"/>
                  </a:lnTo>
                  <a:lnTo>
                    <a:pt x="1650998" y="190501"/>
                  </a:lnTo>
                  <a:lnTo>
                    <a:pt x="1628773" y="195263"/>
                  </a:lnTo>
                  <a:lnTo>
                    <a:pt x="1592261" y="158751"/>
                  </a:lnTo>
                  <a:lnTo>
                    <a:pt x="1624010" y="153988"/>
                  </a:lnTo>
                  <a:lnTo>
                    <a:pt x="1628773" y="138113"/>
                  </a:lnTo>
                  <a:lnTo>
                    <a:pt x="1603373" y="142876"/>
                  </a:lnTo>
                  <a:lnTo>
                    <a:pt x="1581148" y="131763"/>
                  </a:lnTo>
                  <a:lnTo>
                    <a:pt x="1581148" y="106363"/>
                  </a:lnTo>
                  <a:lnTo>
                    <a:pt x="1612898" y="106363"/>
                  </a:lnTo>
                  <a:lnTo>
                    <a:pt x="1608136" y="84138"/>
                  </a:lnTo>
                  <a:close/>
                  <a:moveTo>
                    <a:pt x="1777725" y="68263"/>
                  </a:moveTo>
                  <a:cubicBezTo>
                    <a:pt x="1825395" y="94813"/>
                    <a:pt x="1825395" y="94813"/>
                    <a:pt x="1825395" y="94813"/>
                  </a:cubicBezTo>
                  <a:cubicBezTo>
                    <a:pt x="1878363" y="84193"/>
                    <a:pt x="1878363" y="84193"/>
                    <a:pt x="1878363" y="84193"/>
                  </a:cubicBezTo>
                  <a:cubicBezTo>
                    <a:pt x="1931327" y="94813"/>
                    <a:pt x="1931327" y="94813"/>
                    <a:pt x="1931327" y="94813"/>
                  </a:cubicBezTo>
                  <a:cubicBezTo>
                    <a:pt x="2042559" y="131982"/>
                    <a:pt x="2042559" y="131982"/>
                    <a:pt x="2042559" y="131982"/>
                  </a:cubicBezTo>
                  <a:cubicBezTo>
                    <a:pt x="2063747" y="142602"/>
                    <a:pt x="2063747" y="142602"/>
                    <a:pt x="2063747" y="142602"/>
                  </a:cubicBezTo>
                  <a:cubicBezTo>
                    <a:pt x="2042559" y="158531"/>
                    <a:pt x="2042559" y="158531"/>
                    <a:pt x="2042559" y="158531"/>
                  </a:cubicBezTo>
                  <a:cubicBezTo>
                    <a:pt x="2005482" y="158531"/>
                    <a:pt x="2005482" y="158531"/>
                    <a:pt x="2005482" y="158531"/>
                  </a:cubicBezTo>
                  <a:cubicBezTo>
                    <a:pt x="1989592" y="174461"/>
                    <a:pt x="1989592" y="174461"/>
                    <a:pt x="1989592" y="174461"/>
                  </a:cubicBezTo>
                  <a:cubicBezTo>
                    <a:pt x="1941921" y="190391"/>
                    <a:pt x="1941921" y="190391"/>
                    <a:pt x="1941921" y="190391"/>
                  </a:cubicBezTo>
                  <a:cubicBezTo>
                    <a:pt x="1910141" y="211631"/>
                    <a:pt x="1910141" y="211631"/>
                    <a:pt x="1910141" y="211631"/>
                  </a:cubicBezTo>
                  <a:cubicBezTo>
                    <a:pt x="1825395" y="211631"/>
                    <a:pt x="1825395" y="211631"/>
                    <a:pt x="1825395" y="211631"/>
                  </a:cubicBezTo>
                  <a:cubicBezTo>
                    <a:pt x="1825395" y="227560"/>
                    <a:pt x="1825395" y="227560"/>
                    <a:pt x="1825395" y="227560"/>
                  </a:cubicBezTo>
                  <a:cubicBezTo>
                    <a:pt x="1857176" y="238180"/>
                    <a:pt x="1857176" y="238180"/>
                    <a:pt x="1857176" y="238180"/>
                  </a:cubicBezTo>
                  <a:cubicBezTo>
                    <a:pt x="1846582" y="254110"/>
                    <a:pt x="1846582" y="254110"/>
                    <a:pt x="1846582" y="254110"/>
                  </a:cubicBezTo>
                  <a:cubicBezTo>
                    <a:pt x="1809505" y="264730"/>
                    <a:pt x="1809505" y="264730"/>
                    <a:pt x="1809505" y="264730"/>
                  </a:cubicBezTo>
                  <a:cubicBezTo>
                    <a:pt x="1788318" y="280659"/>
                    <a:pt x="1788318" y="280659"/>
                    <a:pt x="1788318" y="280659"/>
                  </a:cubicBezTo>
                  <a:cubicBezTo>
                    <a:pt x="1767131" y="280659"/>
                    <a:pt x="1767131" y="280659"/>
                    <a:pt x="1767131" y="280659"/>
                  </a:cubicBezTo>
                  <a:cubicBezTo>
                    <a:pt x="1788318" y="301899"/>
                    <a:pt x="1788318" y="301899"/>
                    <a:pt x="1788318" y="301899"/>
                  </a:cubicBezTo>
                  <a:cubicBezTo>
                    <a:pt x="1772428" y="317829"/>
                    <a:pt x="1772428" y="317829"/>
                    <a:pt x="1772428" y="317829"/>
                  </a:cubicBezTo>
                  <a:cubicBezTo>
                    <a:pt x="1730053" y="301899"/>
                    <a:pt x="1730053" y="301899"/>
                    <a:pt x="1730053" y="301899"/>
                  </a:cubicBezTo>
                  <a:cubicBezTo>
                    <a:pt x="1613525" y="264730"/>
                    <a:pt x="1613525" y="264730"/>
                    <a:pt x="1613525" y="264730"/>
                  </a:cubicBezTo>
                  <a:cubicBezTo>
                    <a:pt x="1587041" y="275350"/>
                    <a:pt x="1587041" y="275350"/>
                    <a:pt x="1587041" y="275350"/>
                  </a:cubicBezTo>
                  <a:cubicBezTo>
                    <a:pt x="1592338" y="301899"/>
                    <a:pt x="1592338" y="301899"/>
                    <a:pt x="1592338" y="301899"/>
                  </a:cubicBezTo>
                  <a:cubicBezTo>
                    <a:pt x="1618822" y="317829"/>
                    <a:pt x="1618822" y="317829"/>
                    <a:pt x="1618822" y="317829"/>
                  </a:cubicBezTo>
                  <a:cubicBezTo>
                    <a:pt x="1666492" y="328449"/>
                    <a:pt x="1666492" y="328449"/>
                    <a:pt x="1666492" y="328449"/>
                  </a:cubicBezTo>
                  <a:cubicBezTo>
                    <a:pt x="1708867" y="323139"/>
                    <a:pt x="1708867" y="323139"/>
                    <a:pt x="1708867" y="323139"/>
                  </a:cubicBezTo>
                  <a:cubicBezTo>
                    <a:pt x="1740647" y="349688"/>
                    <a:pt x="1740647" y="349688"/>
                    <a:pt x="1740647" y="349688"/>
                  </a:cubicBezTo>
                  <a:cubicBezTo>
                    <a:pt x="1735350" y="370928"/>
                    <a:pt x="1735350" y="370928"/>
                    <a:pt x="1735350" y="370928"/>
                  </a:cubicBezTo>
                  <a:cubicBezTo>
                    <a:pt x="1708867" y="376238"/>
                    <a:pt x="1708867" y="376238"/>
                    <a:pt x="1708867" y="376238"/>
                  </a:cubicBezTo>
                  <a:cubicBezTo>
                    <a:pt x="1655899" y="365618"/>
                    <a:pt x="1655899" y="365618"/>
                    <a:pt x="1655899" y="365618"/>
                  </a:cubicBezTo>
                  <a:cubicBezTo>
                    <a:pt x="1592338" y="344378"/>
                    <a:pt x="1592338" y="344378"/>
                    <a:pt x="1592338" y="344378"/>
                  </a:cubicBezTo>
                  <a:cubicBezTo>
                    <a:pt x="1571151" y="354998"/>
                    <a:pt x="1571151" y="354998"/>
                    <a:pt x="1571151" y="354998"/>
                  </a:cubicBezTo>
                  <a:cubicBezTo>
                    <a:pt x="1571151" y="354998"/>
                    <a:pt x="1544667" y="323139"/>
                    <a:pt x="1544667" y="317829"/>
                  </a:cubicBezTo>
                  <a:cubicBezTo>
                    <a:pt x="1544667" y="317829"/>
                    <a:pt x="1555261" y="275350"/>
                    <a:pt x="1555261" y="275350"/>
                  </a:cubicBezTo>
                  <a:cubicBezTo>
                    <a:pt x="1528777" y="264730"/>
                    <a:pt x="1528777" y="264730"/>
                    <a:pt x="1528777" y="264730"/>
                  </a:cubicBezTo>
                  <a:cubicBezTo>
                    <a:pt x="1512887" y="232870"/>
                    <a:pt x="1512887" y="232870"/>
                    <a:pt x="1512887" y="232870"/>
                  </a:cubicBezTo>
                  <a:cubicBezTo>
                    <a:pt x="1549964" y="222251"/>
                    <a:pt x="1549964" y="222251"/>
                    <a:pt x="1549964" y="222251"/>
                  </a:cubicBezTo>
                  <a:cubicBezTo>
                    <a:pt x="1565854" y="248800"/>
                    <a:pt x="1565854" y="248800"/>
                    <a:pt x="1565854" y="248800"/>
                  </a:cubicBezTo>
                  <a:cubicBezTo>
                    <a:pt x="1597635" y="254110"/>
                    <a:pt x="1597635" y="254110"/>
                    <a:pt x="1597635" y="254110"/>
                  </a:cubicBezTo>
                  <a:cubicBezTo>
                    <a:pt x="1629415" y="248800"/>
                    <a:pt x="1629415" y="248800"/>
                    <a:pt x="1629415" y="248800"/>
                  </a:cubicBezTo>
                  <a:cubicBezTo>
                    <a:pt x="1661196" y="248800"/>
                    <a:pt x="1661196" y="248800"/>
                    <a:pt x="1661196" y="248800"/>
                  </a:cubicBezTo>
                  <a:cubicBezTo>
                    <a:pt x="1655899" y="232870"/>
                    <a:pt x="1655899" y="232870"/>
                    <a:pt x="1655899" y="232870"/>
                  </a:cubicBezTo>
                  <a:cubicBezTo>
                    <a:pt x="1682383" y="222251"/>
                    <a:pt x="1682383" y="222251"/>
                    <a:pt x="1682383" y="222251"/>
                  </a:cubicBezTo>
                  <a:cubicBezTo>
                    <a:pt x="1698273" y="243490"/>
                    <a:pt x="1698273" y="243490"/>
                    <a:pt x="1698273" y="243490"/>
                  </a:cubicBezTo>
                  <a:cubicBezTo>
                    <a:pt x="1719460" y="264730"/>
                    <a:pt x="1719460" y="264730"/>
                    <a:pt x="1719460" y="264730"/>
                  </a:cubicBezTo>
                  <a:cubicBezTo>
                    <a:pt x="1740647" y="264730"/>
                    <a:pt x="1740647" y="264730"/>
                    <a:pt x="1740647" y="264730"/>
                  </a:cubicBezTo>
                  <a:cubicBezTo>
                    <a:pt x="1740647" y="243490"/>
                    <a:pt x="1740647" y="243490"/>
                    <a:pt x="1740647" y="243490"/>
                  </a:cubicBezTo>
                  <a:cubicBezTo>
                    <a:pt x="1724757" y="243490"/>
                    <a:pt x="1724757" y="243490"/>
                    <a:pt x="1724757" y="243490"/>
                  </a:cubicBezTo>
                  <a:cubicBezTo>
                    <a:pt x="1708867" y="232870"/>
                    <a:pt x="1708867" y="232870"/>
                    <a:pt x="1708867" y="232870"/>
                  </a:cubicBezTo>
                  <a:cubicBezTo>
                    <a:pt x="1719460" y="216941"/>
                    <a:pt x="1719460" y="216941"/>
                    <a:pt x="1719460" y="216941"/>
                  </a:cubicBezTo>
                  <a:cubicBezTo>
                    <a:pt x="1677086" y="206321"/>
                    <a:pt x="1677086" y="206321"/>
                    <a:pt x="1677086" y="206321"/>
                  </a:cubicBezTo>
                  <a:cubicBezTo>
                    <a:pt x="1698273" y="190391"/>
                    <a:pt x="1698273" y="190391"/>
                    <a:pt x="1698273" y="190391"/>
                  </a:cubicBezTo>
                  <a:cubicBezTo>
                    <a:pt x="1735350" y="201011"/>
                    <a:pt x="1735350" y="201011"/>
                    <a:pt x="1735350" y="201011"/>
                  </a:cubicBezTo>
                  <a:cubicBezTo>
                    <a:pt x="1745944" y="190391"/>
                    <a:pt x="1745944" y="190391"/>
                    <a:pt x="1745944" y="190391"/>
                  </a:cubicBezTo>
                  <a:cubicBezTo>
                    <a:pt x="1724757" y="158531"/>
                    <a:pt x="1724757" y="158531"/>
                    <a:pt x="1724757" y="158531"/>
                  </a:cubicBezTo>
                  <a:cubicBezTo>
                    <a:pt x="1735350" y="147912"/>
                    <a:pt x="1735350" y="147912"/>
                    <a:pt x="1735350" y="147912"/>
                  </a:cubicBezTo>
                  <a:cubicBezTo>
                    <a:pt x="1761835" y="163841"/>
                    <a:pt x="1761835" y="163841"/>
                    <a:pt x="1761835" y="163841"/>
                  </a:cubicBezTo>
                  <a:cubicBezTo>
                    <a:pt x="1772428" y="179771"/>
                    <a:pt x="1772428" y="179771"/>
                    <a:pt x="1772428" y="179771"/>
                  </a:cubicBezTo>
                  <a:cubicBezTo>
                    <a:pt x="1788318" y="190391"/>
                    <a:pt x="1788318" y="190391"/>
                    <a:pt x="1788318" y="190391"/>
                  </a:cubicBezTo>
                  <a:cubicBezTo>
                    <a:pt x="1788318" y="174461"/>
                    <a:pt x="1788318" y="174461"/>
                    <a:pt x="1788318" y="174461"/>
                  </a:cubicBezTo>
                  <a:cubicBezTo>
                    <a:pt x="1825395" y="163841"/>
                    <a:pt x="1825395" y="163841"/>
                    <a:pt x="1825395" y="163841"/>
                  </a:cubicBezTo>
                  <a:cubicBezTo>
                    <a:pt x="1846582" y="153222"/>
                    <a:pt x="1846582" y="153222"/>
                    <a:pt x="1846582" y="153222"/>
                  </a:cubicBezTo>
                  <a:cubicBezTo>
                    <a:pt x="1846582" y="131982"/>
                    <a:pt x="1846582" y="131982"/>
                    <a:pt x="1846582" y="131982"/>
                  </a:cubicBezTo>
                  <a:cubicBezTo>
                    <a:pt x="1830692" y="131982"/>
                    <a:pt x="1830692" y="131982"/>
                    <a:pt x="1830692" y="131982"/>
                  </a:cubicBezTo>
                  <a:cubicBezTo>
                    <a:pt x="1804208" y="147912"/>
                    <a:pt x="1804208" y="147912"/>
                    <a:pt x="1804208" y="147912"/>
                  </a:cubicBezTo>
                  <a:cubicBezTo>
                    <a:pt x="1767131" y="142602"/>
                    <a:pt x="1767131" y="142602"/>
                    <a:pt x="1767131" y="142602"/>
                  </a:cubicBezTo>
                  <a:cubicBezTo>
                    <a:pt x="1745944" y="131982"/>
                    <a:pt x="1745944" y="131982"/>
                    <a:pt x="1745944" y="131982"/>
                  </a:cubicBezTo>
                  <a:cubicBezTo>
                    <a:pt x="1724757" y="131982"/>
                    <a:pt x="1724757" y="131982"/>
                    <a:pt x="1724757" y="131982"/>
                  </a:cubicBezTo>
                  <a:cubicBezTo>
                    <a:pt x="1703570" y="131982"/>
                    <a:pt x="1703570" y="131982"/>
                    <a:pt x="1703570" y="131982"/>
                  </a:cubicBezTo>
                  <a:cubicBezTo>
                    <a:pt x="1692976" y="110742"/>
                    <a:pt x="1692976" y="110742"/>
                    <a:pt x="1692976" y="110742"/>
                  </a:cubicBezTo>
                  <a:cubicBezTo>
                    <a:pt x="1692976" y="89503"/>
                    <a:pt x="1692976" y="89503"/>
                    <a:pt x="1692976" y="89503"/>
                  </a:cubicBezTo>
                  <a:cubicBezTo>
                    <a:pt x="1677086" y="84193"/>
                    <a:pt x="1677086" y="84193"/>
                    <a:pt x="1677086" y="84193"/>
                  </a:cubicBezTo>
                  <a:lnTo>
                    <a:pt x="1682383" y="78883"/>
                  </a:lnTo>
                  <a:cubicBezTo>
                    <a:pt x="1777725" y="68263"/>
                    <a:pt x="1777725" y="68263"/>
                    <a:pt x="1777725" y="68263"/>
                  </a:cubicBezTo>
                  <a:close/>
                  <a:moveTo>
                    <a:pt x="5657276" y="47625"/>
                  </a:moveTo>
                  <a:cubicBezTo>
                    <a:pt x="5657276" y="47625"/>
                    <a:pt x="5657276" y="47625"/>
                    <a:pt x="5673154" y="68788"/>
                  </a:cubicBezTo>
                  <a:cubicBezTo>
                    <a:pt x="5673154" y="68788"/>
                    <a:pt x="5673154" y="68788"/>
                    <a:pt x="5741956" y="89951"/>
                  </a:cubicBezTo>
                  <a:cubicBezTo>
                    <a:pt x="5741956" y="89951"/>
                    <a:pt x="5741956" y="89951"/>
                    <a:pt x="5789588" y="95242"/>
                  </a:cubicBezTo>
                  <a:cubicBezTo>
                    <a:pt x="5789588" y="95242"/>
                    <a:pt x="5789588" y="95242"/>
                    <a:pt x="5805466" y="111114"/>
                  </a:cubicBezTo>
                  <a:cubicBezTo>
                    <a:pt x="5805466" y="111114"/>
                    <a:pt x="5805466" y="111114"/>
                    <a:pt x="5826636" y="105823"/>
                  </a:cubicBezTo>
                  <a:cubicBezTo>
                    <a:pt x="5826636" y="105823"/>
                    <a:pt x="5826636" y="105823"/>
                    <a:pt x="5879561" y="105823"/>
                  </a:cubicBezTo>
                  <a:cubicBezTo>
                    <a:pt x="5879561" y="105823"/>
                    <a:pt x="5879561" y="105823"/>
                    <a:pt x="5911316" y="116405"/>
                  </a:cubicBezTo>
                  <a:cubicBezTo>
                    <a:pt x="5911316" y="116405"/>
                    <a:pt x="5911316" y="116405"/>
                    <a:pt x="5906023" y="158731"/>
                  </a:cubicBezTo>
                  <a:cubicBezTo>
                    <a:pt x="5906023" y="158731"/>
                    <a:pt x="5906023" y="158731"/>
                    <a:pt x="5874268" y="169313"/>
                  </a:cubicBezTo>
                  <a:cubicBezTo>
                    <a:pt x="5874268" y="169313"/>
                    <a:pt x="5874268" y="169313"/>
                    <a:pt x="5895438" y="179894"/>
                  </a:cubicBezTo>
                  <a:lnTo>
                    <a:pt x="5916608" y="211638"/>
                  </a:lnTo>
                  <a:cubicBezTo>
                    <a:pt x="5916608" y="211638"/>
                    <a:pt x="5916608" y="211638"/>
                    <a:pt x="5911316" y="216929"/>
                  </a:cubicBezTo>
                  <a:cubicBezTo>
                    <a:pt x="5911316" y="216929"/>
                    <a:pt x="5911316" y="216929"/>
                    <a:pt x="5879561" y="216929"/>
                  </a:cubicBezTo>
                  <a:cubicBezTo>
                    <a:pt x="5879561" y="216929"/>
                    <a:pt x="5879561" y="216929"/>
                    <a:pt x="5863683" y="195766"/>
                  </a:cubicBezTo>
                  <a:cubicBezTo>
                    <a:pt x="5863683" y="195766"/>
                    <a:pt x="5863683" y="195766"/>
                    <a:pt x="5858391" y="216929"/>
                  </a:cubicBezTo>
                  <a:cubicBezTo>
                    <a:pt x="5858391" y="216929"/>
                    <a:pt x="5858391" y="216929"/>
                    <a:pt x="5837221" y="206348"/>
                  </a:cubicBezTo>
                  <a:cubicBezTo>
                    <a:pt x="5837221" y="206348"/>
                    <a:pt x="5837221" y="206348"/>
                    <a:pt x="5816051" y="185185"/>
                  </a:cubicBezTo>
                  <a:cubicBezTo>
                    <a:pt x="5816051" y="185185"/>
                    <a:pt x="5816051" y="185185"/>
                    <a:pt x="5794881" y="201057"/>
                  </a:cubicBezTo>
                  <a:cubicBezTo>
                    <a:pt x="5794881" y="201057"/>
                    <a:pt x="5794881" y="201057"/>
                    <a:pt x="5773711" y="185185"/>
                  </a:cubicBezTo>
                  <a:cubicBezTo>
                    <a:pt x="5773711" y="185185"/>
                    <a:pt x="5773711" y="185185"/>
                    <a:pt x="5763126" y="158731"/>
                  </a:cubicBezTo>
                  <a:cubicBezTo>
                    <a:pt x="5763126" y="158731"/>
                    <a:pt x="5763126" y="158731"/>
                    <a:pt x="5757833" y="179894"/>
                  </a:cubicBezTo>
                  <a:cubicBezTo>
                    <a:pt x="5757833" y="179894"/>
                    <a:pt x="5757833" y="179894"/>
                    <a:pt x="5773711" y="206348"/>
                  </a:cubicBezTo>
                  <a:cubicBezTo>
                    <a:pt x="5773711" y="206348"/>
                    <a:pt x="5773711" y="206348"/>
                    <a:pt x="5773711" y="243383"/>
                  </a:cubicBezTo>
                  <a:cubicBezTo>
                    <a:pt x="5773711" y="243383"/>
                    <a:pt x="5773711" y="243383"/>
                    <a:pt x="5731371" y="269837"/>
                  </a:cubicBezTo>
                  <a:cubicBezTo>
                    <a:pt x="5731371" y="269837"/>
                    <a:pt x="5731371" y="269837"/>
                    <a:pt x="5768418" y="269837"/>
                  </a:cubicBezTo>
                  <a:cubicBezTo>
                    <a:pt x="5768418" y="269837"/>
                    <a:pt x="5768418" y="269837"/>
                    <a:pt x="5789588" y="301582"/>
                  </a:cubicBezTo>
                  <a:cubicBezTo>
                    <a:pt x="5789588" y="301582"/>
                    <a:pt x="5789588" y="301582"/>
                    <a:pt x="5805466" y="306872"/>
                  </a:cubicBezTo>
                  <a:cubicBezTo>
                    <a:pt x="5805466" y="306872"/>
                    <a:pt x="5805466" y="306872"/>
                    <a:pt x="5831928" y="317454"/>
                  </a:cubicBezTo>
                  <a:cubicBezTo>
                    <a:pt x="5831928" y="317454"/>
                    <a:pt x="5831928" y="317454"/>
                    <a:pt x="5831928" y="343907"/>
                  </a:cubicBezTo>
                  <a:cubicBezTo>
                    <a:pt x="5831928" y="343907"/>
                    <a:pt x="5831928" y="343907"/>
                    <a:pt x="5810758" y="338617"/>
                  </a:cubicBezTo>
                  <a:cubicBezTo>
                    <a:pt x="5810758" y="338617"/>
                    <a:pt x="5810758" y="338617"/>
                    <a:pt x="5784296" y="365070"/>
                  </a:cubicBezTo>
                  <a:cubicBezTo>
                    <a:pt x="5784296" y="365070"/>
                    <a:pt x="5784296" y="365070"/>
                    <a:pt x="5741956" y="465595"/>
                  </a:cubicBezTo>
                  <a:cubicBezTo>
                    <a:pt x="5741956" y="465595"/>
                    <a:pt x="5741956" y="465595"/>
                    <a:pt x="5741956" y="492049"/>
                  </a:cubicBezTo>
                  <a:cubicBezTo>
                    <a:pt x="5741956" y="492049"/>
                    <a:pt x="5741956" y="492049"/>
                    <a:pt x="5715493" y="476176"/>
                  </a:cubicBezTo>
                  <a:cubicBezTo>
                    <a:pt x="5715493" y="476176"/>
                    <a:pt x="5715493" y="476176"/>
                    <a:pt x="5694323" y="481467"/>
                  </a:cubicBezTo>
                  <a:cubicBezTo>
                    <a:pt x="5694323" y="481467"/>
                    <a:pt x="5694323" y="481467"/>
                    <a:pt x="5689031" y="497339"/>
                  </a:cubicBezTo>
                  <a:cubicBezTo>
                    <a:pt x="5689031" y="497339"/>
                    <a:pt x="5689031" y="497339"/>
                    <a:pt x="5678446" y="518502"/>
                  </a:cubicBezTo>
                  <a:cubicBezTo>
                    <a:pt x="5678446" y="518502"/>
                    <a:pt x="5678446" y="518502"/>
                    <a:pt x="5673154" y="481467"/>
                  </a:cubicBezTo>
                  <a:cubicBezTo>
                    <a:pt x="5673154" y="481467"/>
                    <a:pt x="5673154" y="481467"/>
                    <a:pt x="5662569" y="486758"/>
                  </a:cubicBezTo>
                  <a:cubicBezTo>
                    <a:pt x="5662569" y="486758"/>
                    <a:pt x="5662569" y="486758"/>
                    <a:pt x="5657276" y="529084"/>
                  </a:cubicBezTo>
                  <a:cubicBezTo>
                    <a:pt x="5657276" y="529084"/>
                    <a:pt x="5657276" y="529084"/>
                    <a:pt x="5636106" y="513212"/>
                  </a:cubicBezTo>
                  <a:cubicBezTo>
                    <a:pt x="5636106" y="513212"/>
                    <a:pt x="5636106" y="513212"/>
                    <a:pt x="5620229" y="523793"/>
                  </a:cubicBezTo>
                  <a:cubicBezTo>
                    <a:pt x="5620229" y="523793"/>
                    <a:pt x="5620229" y="523793"/>
                    <a:pt x="5636106" y="576701"/>
                  </a:cubicBezTo>
                  <a:cubicBezTo>
                    <a:pt x="5636106" y="576701"/>
                    <a:pt x="5636106" y="576701"/>
                    <a:pt x="5636106" y="603155"/>
                  </a:cubicBezTo>
                  <a:cubicBezTo>
                    <a:pt x="5636106" y="603155"/>
                    <a:pt x="5636106" y="603155"/>
                    <a:pt x="5641399" y="613736"/>
                  </a:cubicBezTo>
                  <a:cubicBezTo>
                    <a:pt x="5641399" y="613736"/>
                    <a:pt x="5641399" y="613736"/>
                    <a:pt x="5657276" y="608445"/>
                  </a:cubicBezTo>
                  <a:cubicBezTo>
                    <a:pt x="5657276" y="608445"/>
                    <a:pt x="5657276" y="608445"/>
                    <a:pt x="5667861" y="624318"/>
                  </a:cubicBezTo>
                  <a:cubicBezTo>
                    <a:pt x="5667861" y="624318"/>
                    <a:pt x="5678446" y="645481"/>
                    <a:pt x="5678446" y="645481"/>
                  </a:cubicBezTo>
                  <a:cubicBezTo>
                    <a:pt x="5683739" y="645481"/>
                    <a:pt x="5689031" y="650771"/>
                    <a:pt x="5689031" y="650771"/>
                  </a:cubicBezTo>
                  <a:cubicBezTo>
                    <a:pt x="5689031" y="650771"/>
                    <a:pt x="5689031" y="650771"/>
                    <a:pt x="5704908" y="671935"/>
                  </a:cubicBezTo>
                  <a:cubicBezTo>
                    <a:pt x="5704908" y="671935"/>
                    <a:pt x="5704908" y="671935"/>
                    <a:pt x="5699616" y="677225"/>
                  </a:cubicBezTo>
                  <a:cubicBezTo>
                    <a:pt x="5699616" y="677225"/>
                    <a:pt x="5699616" y="677225"/>
                    <a:pt x="5683739" y="661353"/>
                  </a:cubicBezTo>
                  <a:cubicBezTo>
                    <a:pt x="5683739" y="661353"/>
                    <a:pt x="5683739" y="661353"/>
                    <a:pt x="5683739" y="682516"/>
                  </a:cubicBezTo>
                  <a:cubicBezTo>
                    <a:pt x="5683739" y="682516"/>
                    <a:pt x="5683739" y="682516"/>
                    <a:pt x="5699616" y="730133"/>
                  </a:cubicBezTo>
                  <a:cubicBezTo>
                    <a:pt x="5699616" y="730133"/>
                    <a:pt x="5699616" y="730133"/>
                    <a:pt x="5689031" y="746005"/>
                  </a:cubicBezTo>
                  <a:cubicBezTo>
                    <a:pt x="5689031" y="746005"/>
                    <a:pt x="5689031" y="746005"/>
                    <a:pt x="5673154" y="746005"/>
                  </a:cubicBezTo>
                  <a:cubicBezTo>
                    <a:pt x="5673154" y="746005"/>
                    <a:pt x="5673154" y="746005"/>
                    <a:pt x="5678446" y="777750"/>
                  </a:cubicBezTo>
                  <a:cubicBezTo>
                    <a:pt x="5678446" y="777750"/>
                    <a:pt x="5678446" y="777750"/>
                    <a:pt x="5667861" y="793622"/>
                  </a:cubicBezTo>
                  <a:cubicBezTo>
                    <a:pt x="5667861" y="793622"/>
                    <a:pt x="5667861" y="793622"/>
                    <a:pt x="5683739" y="825367"/>
                  </a:cubicBezTo>
                  <a:cubicBezTo>
                    <a:pt x="5683739" y="825367"/>
                    <a:pt x="5683739" y="825367"/>
                    <a:pt x="5678446" y="846530"/>
                  </a:cubicBezTo>
                  <a:cubicBezTo>
                    <a:pt x="5678446" y="846530"/>
                    <a:pt x="5678446" y="846530"/>
                    <a:pt x="5678446" y="878274"/>
                  </a:cubicBezTo>
                  <a:cubicBezTo>
                    <a:pt x="5678446" y="878274"/>
                    <a:pt x="5678446" y="878274"/>
                    <a:pt x="5662569" y="862402"/>
                  </a:cubicBezTo>
                  <a:cubicBezTo>
                    <a:pt x="5662569" y="862402"/>
                    <a:pt x="5662569" y="862402"/>
                    <a:pt x="5620229" y="793622"/>
                  </a:cubicBezTo>
                  <a:cubicBezTo>
                    <a:pt x="5620229" y="793622"/>
                    <a:pt x="5620229" y="793622"/>
                    <a:pt x="5567304" y="719551"/>
                  </a:cubicBezTo>
                  <a:cubicBezTo>
                    <a:pt x="5567304" y="719551"/>
                    <a:pt x="5567304" y="719551"/>
                    <a:pt x="5556719" y="687807"/>
                  </a:cubicBezTo>
                  <a:cubicBezTo>
                    <a:pt x="5556719" y="687807"/>
                    <a:pt x="5556719" y="687807"/>
                    <a:pt x="5567304" y="666644"/>
                  </a:cubicBezTo>
                  <a:cubicBezTo>
                    <a:pt x="5567304" y="666644"/>
                    <a:pt x="5567304" y="666644"/>
                    <a:pt x="5551426" y="645481"/>
                  </a:cubicBezTo>
                  <a:cubicBezTo>
                    <a:pt x="5551426" y="645481"/>
                    <a:pt x="5551426" y="645481"/>
                    <a:pt x="5562011" y="640190"/>
                  </a:cubicBezTo>
                  <a:cubicBezTo>
                    <a:pt x="5562011" y="640190"/>
                    <a:pt x="5562011" y="640190"/>
                    <a:pt x="5583181" y="581992"/>
                  </a:cubicBezTo>
                  <a:cubicBezTo>
                    <a:pt x="5583181" y="581992"/>
                    <a:pt x="5583181" y="581992"/>
                    <a:pt x="5588474" y="507921"/>
                  </a:cubicBezTo>
                  <a:cubicBezTo>
                    <a:pt x="5588474" y="507921"/>
                    <a:pt x="5588474" y="507921"/>
                    <a:pt x="5609644" y="497339"/>
                  </a:cubicBezTo>
                  <a:cubicBezTo>
                    <a:pt x="5609644" y="497339"/>
                    <a:pt x="5609644" y="497339"/>
                    <a:pt x="5604351" y="465595"/>
                  </a:cubicBezTo>
                  <a:cubicBezTo>
                    <a:pt x="5604351" y="465595"/>
                    <a:pt x="5604351" y="465595"/>
                    <a:pt x="5593766" y="439141"/>
                  </a:cubicBezTo>
                  <a:cubicBezTo>
                    <a:pt x="5593766" y="439141"/>
                    <a:pt x="5593766" y="439141"/>
                    <a:pt x="5609644" y="417978"/>
                  </a:cubicBezTo>
                  <a:cubicBezTo>
                    <a:pt x="5609644" y="417978"/>
                    <a:pt x="5609644" y="417978"/>
                    <a:pt x="5583181" y="423269"/>
                  </a:cubicBezTo>
                  <a:cubicBezTo>
                    <a:pt x="5583181" y="423269"/>
                    <a:pt x="5583181" y="423269"/>
                    <a:pt x="5572596" y="444432"/>
                  </a:cubicBezTo>
                  <a:cubicBezTo>
                    <a:pt x="5572596" y="444432"/>
                    <a:pt x="5572596" y="444432"/>
                    <a:pt x="5588474" y="455013"/>
                  </a:cubicBezTo>
                  <a:cubicBezTo>
                    <a:pt x="5588474" y="455013"/>
                    <a:pt x="5588474" y="455013"/>
                    <a:pt x="5588474" y="470886"/>
                  </a:cubicBezTo>
                  <a:cubicBezTo>
                    <a:pt x="5588474" y="470886"/>
                    <a:pt x="5588474" y="470886"/>
                    <a:pt x="5572596" y="476176"/>
                  </a:cubicBezTo>
                  <a:cubicBezTo>
                    <a:pt x="5572596" y="476176"/>
                    <a:pt x="5572596" y="476176"/>
                    <a:pt x="5572596" y="502630"/>
                  </a:cubicBezTo>
                  <a:cubicBezTo>
                    <a:pt x="5572596" y="502630"/>
                    <a:pt x="5572596" y="502630"/>
                    <a:pt x="5562011" y="518502"/>
                  </a:cubicBezTo>
                  <a:cubicBezTo>
                    <a:pt x="5562011" y="518502"/>
                    <a:pt x="5562011" y="518502"/>
                    <a:pt x="5535549" y="497339"/>
                  </a:cubicBezTo>
                  <a:cubicBezTo>
                    <a:pt x="5535549" y="497339"/>
                    <a:pt x="5524964" y="460304"/>
                    <a:pt x="5524964" y="460304"/>
                  </a:cubicBezTo>
                  <a:cubicBezTo>
                    <a:pt x="5524964" y="455013"/>
                    <a:pt x="5482624" y="507921"/>
                    <a:pt x="5482624" y="507921"/>
                  </a:cubicBezTo>
                  <a:cubicBezTo>
                    <a:pt x="5482624" y="507921"/>
                    <a:pt x="5482624" y="507921"/>
                    <a:pt x="5482624" y="550247"/>
                  </a:cubicBezTo>
                  <a:cubicBezTo>
                    <a:pt x="5482624" y="550247"/>
                    <a:pt x="5482624" y="550247"/>
                    <a:pt x="5482624" y="581992"/>
                  </a:cubicBezTo>
                  <a:cubicBezTo>
                    <a:pt x="5482624" y="581992"/>
                    <a:pt x="5482624" y="581992"/>
                    <a:pt x="5509086" y="587282"/>
                  </a:cubicBezTo>
                  <a:cubicBezTo>
                    <a:pt x="5509086" y="587282"/>
                    <a:pt x="5509086" y="587282"/>
                    <a:pt x="5487916" y="608445"/>
                  </a:cubicBezTo>
                  <a:cubicBezTo>
                    <a:pt x="5487916" y="608445"/>
                    <a:pt x="5487916" y="608445"/>
                    <a:pt x="5445576" y="624318"/>
                  </a:cubicBezTo>
                  <a:cubicBezTo>
                    <a:pt x="5445576" y="624318"/>
                    <a:pt x="5445576" y="624318"/>
                    <a:pt x="5424406" y="608445"/>
                  </a:cubicBezTo>
                  <a:cubicBezTo>
                    <a:pt x="5424406" y="608445"/>
                    <a:pt x="5424406" y="608445"/>
                    <a:pt x="5392651" y="608445"/>
                  </a:cubicBezTo>
                  <a:cubicBezTo>
                    <a:pt x="5392651" y="608445"/>
                    <a:pt x="5392651" y="608445"/>
                    <a:pt x="5387359" y="629608"/>
                  </a:cubicBezTo>
                  <a:cubicBezTo>
                    <a:pt x="5387359" y="629608"/>
                    <a:pt x="5387359" y="629608"/>
                    <a:pt x="5360896" y="640190"/>
                  </a:cubicBezTo>
                  <a:cubicBezTo>
                    <a:pt x="5360896" y="640190"/>
                    <a:pt x="5360896" y="640190"/>
                    <a:pt x="5313264" y="640190"/>
                  </a:cubicBezTo>
                  <a:cubicBezTo>
                    <a:pt x="5313264" y="640190"/>
                    <a:pt x="5313264" y="640190"/>
                    <a:pt x="5281509" y="656062"/>
                  </a:cubicBezTo>
                  <a:cubicBezTo>
                    <a:pt x="5281509" y="656062"/>
                    <a:pt x="5281509" y="656062"/>
                    <a:pt x="5265631" y="746005"/>
                  </a:cubicBezTo>
                  <a:cubicBezTo>
                    <a:pt x="5265631" y="746005"/>
                    <a:pt x="5265631" y="746005"/>
                    <a:pt x="5255046" y="788331"/>
                  </a:cubicBezTo>
                  <a:cubicBezTo>
                    <a:pt x="5255046" y="788331"/>
                    <a:pt x="5255046" y="788331"/>
                    <a:pt x="5244461" y="820076"/>
                  </a:cubicBezTo>
                  <a:cubicBezTo>
                    <a:pt x="5244461" y="820076"/>
                    <a:pt x="5244461" y="820076"/>
                    <a:pt x="5223291" y="846530"/>
                  </a:cubicBezTo>
                  <a:cubicBezTo>
                    <a:pt x="5223291" y="846530"/>
                    <a:pt x="5223291" y="846530"/>
                    <a:pt x="5249754" y="846530"/>
                  </a:cubicBezTo>
                  <a:cubicBezTo>
                    <a:pt x="5249754" y="846530"/>
                    <a:pt x="5249754" y="846530"/>
                    <a:pt x="5286801" y="867693"/>
                  </a:cubicBezTo>
                  <a:cubicBezTo>
                    <a:pt x="5286801" y="867693"/>
                    <a:pt x="5286801" y="867693"/>
                    <a:pt x="5302679" y="862402"/>
                  </a:cubicBezTo>
                  <a:cubicBezTo>
                    <a:pt x="5302679" y="862402"/>
                    <a:pt x="5302679" y="862402"/>
                    <a:pt x="5297386" y="841239"/>
                  </a:cubicBezTo>
                  <a:cubicBezTo>
                    <a:pt x="5297386" y="841239"/>
                    <a:pt x="5297386" y="841239"/>
                    <a:pt x="5318556" y="841239"/>
                  </a:cubicBezTo>
                  <a:cubicBezTo>
                    <a:pt x="5318556" y="841239"/>
                    <a:pt x="5318556" y="841239"/>
                    <a:pt x="5355604" y="867693"/>
                  </a:cubicBezTo>
                  <a:cubicBezTo>
                    <a:pt x="5355604" y="867693"/>
                    <a:pt x="5355604" y="867693"/>
                    <a:pt x="5366189" y="894147"/>
                  </a:cubicBezTo>
                  <a:cubicBezTo>
                    <a:pt x="5366189" y="894147"/>
                    <a:pt x="5366189" y="894147"/>
                    <a:pt x="5387359" y="910019"/>
                  </a:cubicBezTo>
                  <a:cubicBezTo>
                    <a:pt x="5387359" y="910019"/>
                    <a:pt x="5387359" y="910019"/>
                    <a:pt x="5387359" y="941764"/>
                  </a:cubicBezTo>
                  <a:cubicBezTo>
                    <a:pt x="5387359" y="941764"/>
                    <a:pt x="5387359" y="941764"/>
                    <a:pt x="5419114" y="1036997"/>
                  </a:cubicBezTo>
                  <a:cubicBezTo>
                    <a:pt x="5419114" y="1036997"/>
                    <a:pt x="5419114" y="1036997"/>
                    <a:pt x="5403236" y="1089905"/>
                  </a:cubicBezTo>
                  <a:cubicBezTo>
                    <a:pt x="5403236" y="1089905"/>
                    <a:pt x="5403236" y="1089905"/>
                    <a:pt x="5403236" y="1111068"/>
                  </a:cubicBezTo>
                  <a:cubicBezTo>
                    <a:pt x="5403236" y="1111068"/>
                    <a:pt x="5403236" y="1111068"/>
                    <a:pt x="5397944" y="1169266"/>
                  </a:cubicBezTo>
                  <a:cubicBezTo>
                    <a:pt x="5397944" y="1169266"/>
                    <a:pt x="5397944" y="1169266"/>
                    <a:pt x="5376774" y="1222174"/>
                  </a:cubicBezTo>
                  <a:cubicBezTo>
                    <a:pt x="5376774" y="1222174"/>
                    <a:pt x="5376774" y="1222174"/>
                    <a:pt x="5345019" y="1232755"/>
                  </a:cubicBezTo>
                  <a:cubicBezTo>
                    <a:pt x="5345019" y="1232755"/>
                    <a:pt x="5345019" y="1232755"/>
                    <a:pt x="5329141" y="1216883"/>
                  </a:cubicBezTo>
                  <a:cubicBezTo>
                    <a:pt x="5329141" y="1216883"/>
                    <a:pt x="5329141" y="1216883"/>
                    <a:pt x="5318556" y="1232755"/>
                  </a:cubicBezTo>
                  <a:cubicBezTo>
                    <a:pt x="5318556" y="1232755"/>
                    <a:pt x="5318556" y="1232755"/>
                    <a:pt x="5329141" y="1238046"/>
                  </a:cubicBezTo>
                  <a:cubicBezTo>
                    <a:pt x="5329141" y="1238046"/>
                    <a:pt x="5329141" y="1238046"/>
                    <a:pt x="5318556" y="1248628"/>
                  </a:cubicBezTo>
                  <a:cubicBezTo>
                    <a:pt x="5318556" y="1248628"/>
                    <a:pt x="5318556" y="1248628"/>
                    <a:pt x="5313264" y="1275081"/>
                  </a:cubicBezTo>
                  <a:cubicBezTo>
                    <a:pt x="5313264" y="1275081"/>
                    <a:pt x="5313264" y="1275081"/>
                    <a:pt x="5313264" y="1296245"/>
                  </a:cubicBezTo>
                  <a:cubicBezTo>
                    <a:pt x="5313264" y="1296245"/>
                    <a:pt x="5313264" y="1296245"/>
                    <a:pt x="5297386" y="1317408"/>
                  </a:cubicBezTo>
                  <a:cubicBezTo>
                    <a:pt x="5297386" y="1317408"/>
                    <a:pt x="5297386" y="1317408"/>
                    <a:pt x="5297386" y="1338571"/>
                  </a:cubicBezTo>
                  <a:cubicBezTo>
                    <a:pt x="5297386" y="1338571"/>
                    <a:pt x="5297386" y="1338571"/>
                    <a:pt x="5323849" y="1359734"/>
                  </a:cubicBezTo>
                  <a:cubicBezTo>
                    <a:pt x="5323849" y="1359734"/>
                    <a:pt x="5323849" y="1359734"/>
                    <a:pt x="5366189" y="1402060"/>
                  </a:cubicBezTo>
                  <a:cubicBezTo>
                    <a:pt x="5366189" y="1402060"/>
                    <a:pt x="5366189" y="1402060"/>
                    <a:pt x="5366189" y="1433804"/>
                  </a:cubicBezTo>
                  <a:cubicBezTo>
                    <a:pt x="5366189" y="1433804"/>
                    <a:pt x="5366189" y="1433804"/>
                    <a:pt x="5350311" y="1465549"/>
                  </a:cubicBezTo>
                  <a:cubicBezTo>
                    <a:pt x="5350311" y="1465549"/>
                    <a:pt x="5350311" y="1465549"/>
                    <a:pt x="5318556" y="1476130"/>
                  </a:cubicBezTo>
                  <a:cubicBezTo>
                    <a:pt x="5318556" y="1476130"/>
                    <a:pt x="5318556" y="1476130"/>
                    <a:pt x="5307971" y="1465549"/>
                  </a:cubicBezTo>
                  <a:cubicBezTo>
                    <a:pt x="5307971" y="1465549"/>
                    <a:pt x="5307971" y="1465549"/>
                    <a:pt x="5302679" y="1439095"/>
                  </a:cubicBezTo>
                  <a:cubicBezTo>
                    <a:pt x="5302679" y="1439095"/>
                    <a:pt x="5302679" y="1439095"/>
                    <a:pt x="5297386" y="1412641"/>
                  </a:cubicBezTo>
                  <a:cubicBezTo>
                    <a:pt x="5297386" y="1412641"/>
                    <a:pt x="5297386" y="1412641"/>
                    <a:pt x="5297386" y="1396769"/>
                  </a:cubicBezTo>
                  <a:cubicBezTo>
                    <a:pt x="5297386" y="1396769"/>
                    <a:pt x="5297386" y="1396769"/>
                    <a:pt x="5281509" y="1391478"/>
                  </a:cubicBezTo>
                  <a:cubicBezTo>
                    <a:pt x="5281509" y="1391478"/>
                    <a:pt x="5281509" y="1391478"/>
                    <a:pt x="5255046" y="1380897"/>
                  </a:cubicBezTo>
                  <a:cubicBezTo>
                    <a:pt x="5255046" y="1380897"/>
                    <a:pt x="5255046" y="1380897"/>
                    <a:pt x="5249754" y="1354443"/>
                  </a:cubicBezTo>
                  <a:cubicBezTo>
                    <a:pt x="5249754" y="1354443"/>
                    <a:pt x="5249754" y="1354443"/>
                    <a:pt x="5255046" y="1338571"/>
                  </a:cubicBezTo>
                  <a:cubicBezTo>
                    <a:pt x="5255046" y="1338571"/>
                    <a:pt x="5255046" y="1338571"/>
                    <a:pt x="5233876" y="1333280"/>
                  </a:cubicBezTo>
                  <a:cubicBezTo>
                    <a:pt x="5233876" y="1333280"/>
                    <a:pt x="5233876" y="1333280"/>
                    <a:pt x="5202122" y="1343861"/>
                  </a:cubicBezTo>
                  <a:cubicBezTo>
                    <a:pt x="5202122" y="1343861"/>
                    <a:pt x="5202122" y="1343861"/>
                    <a:pt x="5186244" y="1359734"/>
                  </a:cubicBezTo>
                  <a:cubicBezTo>
                    <a:pt x="5186244" y="1359734"/>
                    <a:pt x="5186244" y="1359734"/>
                    <a:pt x="5175659" y="1343861"/>
                  </a:cubicBezTo>
                  <a:cubicBezTo>
                    <a:pt x="5175659" y="1343861"/>
                    <a:pt x="5175659" y="1343861"/>
                    <a:pt x="5180952" y="1322698"/>
                  </a:cubicBezTo>
                  <a:cubicBezTo>
                    <a:pt x="5180952" y="1322698"/>
                    <a:pt x="5180952" y="1322698"/>
                    <a:pt x="5180952" y="1306826"/>
                  </a:cubicBezTo>
                  <a:cubicBezTo>
                    <a:pt x="5180952" y="1306826"/>
                    <a:pt x="5180952" y="1306826"/>
                    <a:pt x="5159782" y="1317408"/>
                  </a:cubicBezTo>
                  <a:cubicBezTo>
                    <a:pt x="5159782" y="1317408"/>
                    <a:pt x="5159782" y="1317408"/>
                    <a:pt x="5143904" y="1338571"/>
                  </a:cubicBezTo>
                  <a:cubicBezTo>
                    <a:pt x="5143904" y="1338571"/>
                    <a:pt x="5143904" y="1338571"/>
                    <a:pt x="5133319" y="1349152"/>
                  </a:cubicBezTo>
                  <a:cubicBezTo>
                    <a:pt x="5133319" y="1349152"/>
                    <a:pt x="5133319" y="1349152"/>
                    <a:pt x="5133319" y="1365024"/>
                  </a:cubicBezTo>
                  <a:cubicBezTo>
                    <a:pt x="5133319" y="1365024"/>
                    <a:pt x="5133319" y="1365024"/>
                    <a:pt x="5112149" y="1359734"/>
                  </a:cubicBezTo>
                  <a:cubicBezTo>
                    <a:pt x="5112149" y="1359734"/>
                    <a:pt x="5112149" y="1359734"/>
                    <a:pt x="5106857" y="1370315"/>
                  </a:cubicBezTo>
                  <a:cubicBezTo>
                    <a:pt x="5106857" y="1370315"/>
                    <a:pt x="5106857" y="1370315"/>
                    <a:pt x="5122734" y="1396769"/>
                  </a:cubicBezTo>
                  <a:cubicBezTo>
                    <a:pt x="5122734" y="1396769"/>
                    <a:pt x="5122734" y="1396769"/>
                    <a:pt x="5133319" y="1412641"/>
                  </a:cubicBezTo>
                  <a:cubicBezTo>
                    <a:pt x="5133319" y="1412641"/>
                    <a:pt x="5133319" y="1412641"/>
                    <a:pt x="5170367" y="1412641"/>
                  </a:cubicBezTo>
                  <a:cubicBezTo>
                    <a:pt x="5170367" y="1412641"/>
                    <a:pt x="5170367" y="1412641"/>
                    <a:pt x="5180952" y="1391478"/>
                  </a:cubicBezTo>
                  <a:cubicBezTo>
                    <a:pt x="5180952" y="1391478"/>
                    <a:pt x="5180952" y="1391478"/>
                    <a:pt x="5196829" y="1402060"/>
                  </a:cubicBezTo>
                  <a:cubicBezTo>
                    <a:pt x="5196829" y="1402060"/>
                    <a:pt x="5196829" y="1402060"/>
                    <a:pt x="5223291" y="1396769"/>
                  </a:cubicBezTo>
                  <a:cubicBezTo>
                    <a:pt x="5223291" y="1396769"/>
                    <a:pt x="5223291" y="1396769"/>
                    <a:pt x="5223291" y="1417932"/>
                  </a:cubicBezTo>
                  <a:cubicBezTo>
                    <a:pt x="5223291" y="1417932"/>
                    <a:pt x="5223291" y="1417932"/>
                    <a:pt x="5196829" y="1423223"/>
                  </a:cubicBezTo>
                  <a:cubicBezTo>
                    <a:pt x="5196829" y="1423223"/>
                    <a:pt x="5196829" y="1423223"/>
                    <a:pt x="5175659" y="1449677"/>
                  </a:cubicBezTo>
                  <a:cubicBezTo>
                    <a:pt x="5175659" y="1449677"/>
                    <a:pt x="5180952" y="1481421"/>
                    <a:pt x="5180952" y="1481421"/>
                  </a:cubicBezTo>
                  <a:cubicBezTo>
                    <a:pt x="5180952" y="1486712"/>
                    <a:pt x="5217999" y="1523747"/>
                    <a:pt x="5217999" y="1523747"/>
                  </a:cubicBezTo>
                  <a:cubicBezTo>
                    <a:pt x="5217999" y="1523747"/>
                    <a:pt x="5217999" y="1523747"/>
                    <a:pt x="5233876" y="1534329"/>
                  </a:cubicBezTo>
                  <a:cubicBezTo>
                    <a:pt x="5233876" y="1534329"/>
                    <a:pt x="5233876" y="1534329"/>
                    <a:pt x="5260339" y="1566073"/>
                  </a:cubicBezTo>
                  <a:cubicBezTo>
                    <a:pt x="5260339" y="1566073"/>
                    <a:pt x="5260339" y="1566073"/>
                    <a:pt x="5244461" y="1597818"/>
                  </a:cubicBezTo>
                  <a:cubicBezTo>
                    <a:pt x="5244461" y="1597818"/>
                    <a:pt x="5244461" y="1597818"/>
                    <a:pt x="5270924" y="1597818"/>
                  </a:cubicBezTo>
                  <a:cubicBezTo>
                    <a:pt x="5270924" y="1597818"/>
                    <a:pt x="5270924" y="1597818"/>
                    <a:pt x="5270924" y="1640144"/>
                  </a:cubicBezTo>
                  <a:cubicBezTo>
                    <a:pt x="5270924" y="1640144"/>
                    <a:pt x="5270924" y="1640144"/>
                    <a:pt x="5255046" y="1666598"/>
                  </a:cubicBezTo>
                  <a:cubicBezTo>
                    <a:pt x="5255046" y="1666598"/>
                    <a:pt x="5255046" y="1666598"/>
                    <a:pt x="5255046" y="1698342"/>
                  </a:cubicBezTo>
                  <a:cubicBezTo>
                    <a:pt x="5255046" y="1698342"/>
                    <a:pt x="5255046" y="1698342"/>
                    <a:pt x="5223291" y="1761831"/>
                  </a:cubicBezTo>
                  <a:cubicBezTo>
                    <a:pt x="5223291" y="1761831"/>
                    <a:pt x="5223291" y="1761831"/>
                    <a:pt x="5186244" y="1798867"/>
                  </a:cubicBezTo>
                  <a:cubicBezTo>
                    <a:pt x="5186244" y="1798867"/>
                    <a:pt x="5186244" y="1798867"/>
                    <a:pt x="5101564" y="1835902"/>
                  </a:cubicBezTo>
                  <a:cubicBezTo>
                    <a:pt x="5101564" y="1835902"/>
                    <a:pt x="5101564" y="1835902"/>
                    <a:pt x="5085687" y="1857065"/>
                  </a:cubicBezTo>
                  <a:cubicBezTo>
                    <a:pt x="5085687" y="1857065"/>
                    <a:pt x="5085687" y="1857065"/>
                    <a:pt x="5096272" y="1883519"/>
                  </a:cubicBezTo>
                  <a:cubicBezTo>
                    <a:pt x="5096272" y="1883519"/>
                    <a:pt x="5096272" y="1883519"/>
                    <a:pt x="5112149" y="1899391"/>
                  </a:cubicBezTo>
                  <a:cubicBezTo>
                    <a:pt x="5112149" y="1899391"/>
                    <a:pt x="5112149" y="1899391"/>
                    <a:pt x="5096272" y="1931136"/>
                  </a:cubicBezTo>
                  <a:cubicBezTo>
                    <a:pt x="5096272" y="1931136"/>
                    <a:pt x="5096272" y="1931136"/>
                    <a:pt x="5075102" y="1925845"/>
                  </a:cubicBezTo>
                  <a:cubicBezTo>
                    <a:pt x="5075102" y="1925845"/>
                    <a:pt x="5075102" y="1925845"/>
                    <a:pt x="5064517" y="1899391"/>
                  </a:cubicBezTo>
                  <a:cubicBezTo>
                    <a:pt x="5064517" y="1899391"/>
                    <a:pt x="5064517" y="1899391"/>
                    <a:pt x="5075102" y="1883519"/>
                  </a:cubicBezTo>
                  <a:cubicBezTo>
                    <a:pt x="5075102" y="1883519"/>
                    <a:pt x="5075102" y="1883519"/>
                    <a:pt x="5075102" y="1851774"/>
                  </a:cubicBezTo>
                  <a:cubicBezTo>
                    <a:pt x="5075102" y="1851774"/>
                    <a:pt x="5075102" y="1851774"/>
                    <a:pt x="5064517" y="1835902"/>
                  </a:cubicBezTo>
                  <a:cubicBezTo>
                    <a:pt x="5064517" y="1835902"/>
                    <a:pt x="5064517" y="1835902"/>
                    <a:pt x="5032762" y="1841193"/>
                  </a:cubicBezTo>
                  <a:cubicBezTo>
                    <a:pt x="5032762" y="1841193"/>
                    <a:pt x="5032762" y="1841193"/>
                    <a:pt x="5022177" y="1867647"/>
                  </a:cubicBezTo>
                  <a:cubicBezTo>
                    <a:pt x="5022177" y="1867647"/>
                    <a:pt x="5022177" y="1867647"/>
                    <a:pt x="5001007" y="1878228"/>
                  </a:cubicBezTo>
                  <a:cubicBezTo>
                    <a:pt x="5001007" y="1878228"/>
                    <a:pt x="5001007" y="1878228"/>
                    <a:pt x="5001007" y="1909973"/>
                  </a:cubicBezTo>
                  <a:cubicBezTo>
                    <a:pt x="5001007" y="1909973"/>
                    <a:pt x="5001007" y="1909973"/>
                    <a:pt x="5022177" y="1936426"/>
                  </a:cubicBezTo>
                  <a:cubicBezTo>
                    <a:pt x="5022177" y="1936426"/>
                    <a:pt x="5022177" y="1936426"/>
                    <a:pt x="5032762" y="1957589"/>
                  </a:cubicBezTo>
                  <a:cubicBezTo>
                    <a:pt x="5032762" y="1957589"/>
                    <a:pt x="5032762" y="1957589"/>
                    <a:pt x="5048639" y="1962880"/>
                  </a:cubicBezTo>
                  <a:cubicBezTo>
                    <a:pt x="5048639" y="1962880"/>
                    <a:pt x="5048639" y="1962880"/>
                    <a:pt x="5085687" y="2005206"/>
                  </a:cubicBezTo>
                  <a:cubicBezTo>
                    <a:pt x="5085687" y="2005206"/>
                    <a:pt x="5085687" y="2005206"/>
                    <a:pt x="5096272" y="2052823"/>
                  </a:cubicBezTo>
                  <a:cubicBezTo>
                    <a:pt x="5096272" y="2052823"/>
                    <a:pt x="5096272" y="2052823"/>
                    <a:pt x="5096272" y="2095149"/>
                  </a:cubicBezTo>
                  <a:cubicBezTo>
                    <a:pt x="5096272" y="2095149"/>
                    <a:pt x="5096272" y="2095149"/>
                    <a:pt x="5075102" y="2111022"/>
                  </a:cubicBezTo>
                  <a:cubicBezTo>
                    <a:pt x="5075102" y="2111022"/>
                    <a:pt x="5075102" y="2111022"/>
                    <a:pt x="5048639" y="2121603"/>
                  </a:cubicBezTo>
                  <a:cubicBezTo>
                    <a:pt x="5048639" y="2121603"/>
                    <a:pt x="5048639" y="2121603"/>
                    <a:pt x="5043347" y="2142766"/>
                  </a:cubicBezTo>
                  <a:cubicBezTo>
                    <a:pt x="5043347" y="2142766"/>
                    <a:pt x="5043347" y="2142766"/>
                    <a:pt x="5016884" y="2163929"/>
                  </a:cubicBezTo>
                  <a:cubicBezTo>
                    <a:pt x="5016884" y="2163929"/>
                    <a:pt x="5016884" y="2163929"/>
                    <a:pt x="5001007" y="2148057"/>
                  </a:cubicBezTo>
                  <a:cubicBezTo>
                    <a:pt x="5001007" y="2148057"/>
                    <a:pt x="5001007" y="2148057"/>
                    <a:pt x="5001007" y="2126894"/>
                  </a:cubicBezTo>
                  <a:cubicBezTo>
                    <a:pt x="5001007" y="2126894"/>
                    <a:pt x="5001007" y="2126894"/>
                    <a:pt x="4990422" y="2111022"/>
                  </a:cubicBezTo>
                  <a:cubicBezTo>
                    <a:pt x="4990422" y="2111022"/>
                    <a:pt x="4990422" y="2111022"/>
                    <a:pt x="4974544" y="2105731"/>
                  </a:cubicBezTo>
                  <a:cubicBezTo>
                    <a:pt x="4974544" y="2105731"/>
                    <a:pt x="4974544" y="2105731"/>
                    <a:pt x="4969252" y="2079277"/>
                  </a:cubicBezTo>
                  <a:cubicBezTo>
                    <a:pt x="4969252" y="2079277"/>
                    <a:pt x="4942789" y="2063405"/>
                    <a:pt x="4942789" y="2063405"/>
                  </a:cubicBezTo>
                  <a:cubicBezTo>
                    <a:pt x="4942789" y="2068695"/>
                    <a:pt x="4926912" y="2063405"/>
                    <a:pt x="4926912" y="2063405"/>
                  </a:cubicBezTo>
                  <a:cubicBezTo>
                    <a:pt x="4926912" y="2063405"/>
                    <a:pt x="4926912" y="2063405"/>
                    <a:pt x="4921619" y="2042242"/>
                  </a:cubicBezTo>
                  <a:cubicBezTo>
                    <a:pt x="4921619" y="2042242"/>
                    <a:pt x="4921619" y="2042242"/>
                    <a:pt x="4911035" y="2031660"/>
                  </a:cubicBezTo>
                  <a:cubicBezTo>
                    <a:pt x="4911035" y="2031660"/>
                    <a:pt x="4911035" y="2031660"/>
                    <a:pt x="4900450" y="2047532"/>
                  </a:cubicBezTo>
                  <a:cubicBezTo>
                    <a:pt x="4900450" y="2047532"/>
                    <a:pt x="4900450" y="2047532"/>
                    <a:pt x="4905742" y="2073986"/>
                  </a:cubicBezTo>
                  <a:cubicBezTo>
                    <a:pt x="4905742" y="2073986"/>
                    <a:pt x="4905742" y="2073986"/>
                    <a:pt x="4900450" y="2105731"/>
                  </a:cubicBezTo>
                  <a:cubicBezTo>
                    <a:pt x="4900450" y="2105731"/>
                    <a:pt x="4900450" y="2105731"/>
                    <a:pt x="4900450" y="2137475"/>
                  </a:cubicBezTo>
                  <a:cubicBezTo>
                    <a:pt x="4900450" y="2137475"/>
                    <a:pt x="4900450" y="2137475"/>
                    <a:pt x="4926912" y="2185092"/>
                  </a:cubicBezTo>
                  <a:cubicBezTo>
                    <a:pt x="4926912" y="2185092"/>
                    <a:pt x="4926912" y="2185092"/>
                    <a:pt x="4958667" y="2222127"/>
                  </a:cubicBezTo>
                  <a:cubicBezTo>
                    <a:pt x="4958667" y="2222127"/>
                    <a:pt x="4958667" y="2222127"/>
                    <a:pt x="4985129" y="2248581"/>
                  </a:cubicBezTo>
                  <a:cubicBezTo>
                    <a:pt x="4985129" y="2248581"/>
                    <a:pt x="4985129" y="2248581"/>
                    <a:pt x="4985129" y="2285617"/>
                  </a:cubicBezTo>
                  <a:cubicBezTo>
                    <a:pt x="4985129" y="2285617"/>
                    <a:pt x="4985129" y="2285617"/>
                    <a:pt x="5001007" y="2333233"/>
                  </a:cubicBezTo>
                  <a:cubicBezTo>
                    <a:pt x="5001007" y="2333233"/>
                    <a:pt x="5001007" y="2333233"/>
                    <a:pt x="4995714" y="2338524"/>
                  </a:cubicBezTo>
                  <a:cubicBezTo>
                    <a:pt x="4995714" y="2338524"/>
                    <a:pt x="4995714" y="2338524"/>
                    <a:pt x="4974544" y="2327943"/>
                  </a:cubicBezTo>
                  <a:cubicBezTo>
                    <a:pt x="4974544" y="2327943"/>
                    <a:pt x="4974544" y="2327943"/>
                    <a:pt x="4937497" y="2301489"/>
                  </a:cubicBezTo>
                  <a:cubicBezTo>
                    <a:pt x="4937497" y="2301489"/>
                    <a:pt x="4937497" y="2301489"/>
                    <a:pt x="4926912" y="2264454"/>
                  </a:cubicBezTo>
                  <a:cubicBezTo>
                    <a:pt x="4926912" y="2264454"/>
                    <a:pt x="4926912" y="2264454"/>
                    <a:pt x="4926912" y="2227418"/>
                  </a:cubicBezTo>
                  <a:cubicBezTo>
                    <a:pt x="4926912" y="2227418"/>
                    <a:pt x="4926912" y="2227418"/>
                    <a:pt x="4895157" y="2185092"/>
                  </a:cubicBezTo>
                  <a:cubicBezTo>
                    <a:pt x="4895157" y="2185092"/>
                    <a:pt x="4895157" y="2185092"/>
                    <a:pt x="4879280" y="2174511"/>
                  </a:cubicBezTo>
                  <a:cubicBezTo>
                    <a:pt x="4879280" y="2174511"/>
                    <a:pt x="4879280" y="2174511"/>
                    <a:pt x="4879280" y="2163929"/>
                  </a:cubicBezTo>
                  <a:cubicBezTo>
                    <a:pt x="4879280" y="2163929"/>
                    <a:pt x="4879280" y="2163929"/>
                    <a:pt x="4879280" y="2132185"/>
                  </a:cubicBezTo>
                  <a:cubicBezTo>
                    <a:pt x="4879280" y="2132185"/>
                    <a:pt x="4879280" y="2132185"/>
                    <a:pt x="4879280" y="2100440"/>
                  </a:cubicBezTo>
                  <a:cubicBezTo>
                    <a:pt x="4879280" y="2100440"/>
                    <a:pt x="4879280" y="2100440"/>
                    <a:pt x="4868695" y="2079277"/>
                  </a:cubicBezTo>
                  <a:cubicBezTo>
                    <a:pt x="4868695" y="2079277"/>
                    <a:pt x="4868695" y="2079277"/>
                    <a:pt x="4879280" y="2068695"/>
                  </a:cubicBezTo>
                  <a:cubicBezTo>
                    <a:pt x="4879280" y="2068695"/>
                    <a:pt x="4879280" y="2068695"/>
                    <a:pt x="4873987" y="2058114"/>
                  </a:cubicBezTo>
                  <a:cubicBezTo>
                    <a:pt x="4873987" y="2058114"/>
                    <a:pt x="4873987" y="2058114"/>
                    <a:pt x="4852817" y="2031660"/>
                  </a:cubicBezTo>
                  <a:cubicBezTo>
                    <a:pt x="4852817" y="2031660"/>
                    <a:pt x="4852817" y="2031660"/>
                    <a:pt x="4842232" y="1978753"/>
                  </a:cubicBezTo>
                  <a:cubicBezTo>
                    <a:pt x="4842232" y="1978753"/>
                    <a:pt x="4842232" y="1978753"/>
                    <a:pt x="4826355" y="1957589"/>
                  </a:cubicBezTo>
                  <a:cubicBezTo>
                    <a:pt x="4826355" y="1957589"/>
                    <a:pt x="4826355" y="1957589"/>
                    <a:pt x="4826355" y="1978753"/>
                  </a:cubicBezTo>
                  <a:cubicBezTo>
                    <a:pt x="4826355" y="1978753"/>
                    <a:pt x="4826355" y="1978753"/>
                    <a:pt x="4794600" y="1999916"/>
                  </a:cubicBezTo>
                  <a:cubicBezTo>
                    <a:pt x="4794600" y="1999916"/>
                    <a:pt x="4794600" y="1999916"/>
                    <a:pt x="4784015" y="1984043"/>
                  </a:cubicBezTo>
                  <a:cubicBezTo>
                    <a:pt x="4784015" y="1984043"/>
                    <a:pt x="4784015" y="1984043"/>
                    <a:pt x="4784015" y="1947008"/>
                  </a:cubicBezTo>
                  <a:cubicBezTo>
                    <a:pt x="4784015" y="1947008"/>
                    <a:pt x="4784015" y="1947008"/>
                    <a:pt x="4762845" y="1920554"/>
                  </a:cubicBezTo>
                  <a:cubicBezTo>
                    <a:pt x="4762845" y="1920554"/>
                    <a:pt x="4762845" y="1920554"/>
                    <a:pt x="4725797" y="1883519"/>
                  </a:cubicBezTo>
                  <a:cubicBezTo>
                    <a:pt x="4725797" y="1883519"/>
                    <a:pt x="4725797" y="1883519"/>
                    <a:pt x="4725797" y="1862356"/>
                  </a:cubicBezTo>
                  <a:cubicBezTo>
                    <a:pt x="4725797" y="1862356"/>
                    <a:pt x="4725797" y="1862356"/>
                    <a:pt x="4704627" y="1851774"/>
                  </a:cubicBezTo>
                  <a:cubicBezTo>
                    <a:pt x="4704627" y="1851774"/>
                    <a:pt x="4704627" y="1851774"/>
                    <a:pt x="4667580" y="1862356"/>
                  </a:cubicBezTo>
                  <a:cubicBezTo>
                    <a:pt x="4667580" y="1862356"/>
                    <a:pt x="4667580" y="1862356"/>
                    <a:pt x="4646410" y="1851774"/>
                  </a:cubicBezTo>
                  <a:cubicBezTo>
                    <a:pt x="4646410" y="1851774"/>
                    <a:pt x="4646410" y="1851774"/>
                    <a:pt x="4625240" y="1872937"/>
                  </a:cubicBezTo>
                  <a:cubicBezTo>
                    <a:pt x="4625240" y="1872937"/>
                    <a:pt x="4625240" y="1872937"/>
                    <a:pt x="4630532" y="1888810"/>
                  </a:cubicBezTo>
                  <a:cubicBezTo>
                    <a:pt x="4630532" y="1888810"/>
                    <a:pt x="4630532" y="1888810"/>
                    <a:pt x="4593485" y="1915263"/>
                  </a:cubicBezTo>
                  <a:cubicBezTo>
                    <a:pt x="4593485" y="1915263"/>
                    <a:pt x="4593485" y="1915263"/>
                    <a:pt x="4561730" y="1957589"/>
                  </a:cubicBezTo>
                  <a:cubicBezTo>
                    <a:pt x="4561730" y="1957589"/>
                    <a:pt x="4561730" y="1957589"/>
                    <a:pt x="4540560" y="1989334"/>
                  </a:cubicBezTo>
                  <a:cubicBezTo>
                    <a:pt x="4540560" y="1989334"/>
                    <a:pt x="4540560" y="1989334"/>
                    <a:pt x="4514098" y="1994625"/>
                  </a:cubicBezTo>
                  <a:cubicBezTo>
                    <a:pt x="4514098" y="1994625"/>
                    <a:pt x="4514098" y="1994625"/>
                    <a:pt x="4514098" y="2052823"/>
                  </a:cubicBezTo>
                  <a:cubicBezTo>
                    <a:pt x="4514098" y="2052823"/>
                    <a:pt x="4514098" y="2052823"/>
                    <a:pt x="4514098" y="2079277"/>
                  </a:cubicBezTo>
                  <a:cubicBezTo>
                    <a:pt x="4514098" y="2079277"/>
                    <a:pt x="4514098" y="2079277"/>
                    <a:pt x="4508805" y="2111022"/>
                  </a:cubicBezTo>
                  <a:cubicBezTo>
                    <a:pt x="4508805" y="2111022"/>
                    <a:pt x="4508805" y="2111022"/>
                    <a:pt x="4514098" y="2132185"/>
                  </a:cubicBezTo>
                  <a:cubicBezTo>
                    <a:pt x="4514098" y="2132185"/>
                    <a:pt x="4514098" y="2132185"/>
                    <a:pt x="4482343" y="2163929"/>
                  </a:cubicBezTo>
                  <a:cubicBezTo>
                    <a:pt x="4482343" y="2163929"/>
                    <a:pt x="4482343" y="2163929"/>
                    <a:pt x="4482343" y="2179801"/>
                  </a:cubicBezTo>
                  <a:cubicBezTo>
                    <a:pt x="4482343" y="2179801"/>
                    <a:pt x="4482343" y="2179801"/>
                    <a:pt x="4461173" y="2190383"/>
                  </a:cubicBezTo>
                  <a:cubicBezTo>
                    <a:pt x="4461173" y="2190383"/>
                    <a:pt x="4461173" y="2190383"/>
                    <a:pt x="4440003" y="2158638"/>
                  </a:cubicBezTo>
                  <a:cubicBezTo>
                    <a:pt x="4440003" y="2158638"/>
                    <a:pt x="4440003" y="2158638"/>
                    <a:pt x="4440003" y="2142766"/>
                  </a:cubicBezTo>
                  <a:cubicBezTo>
                    <a:pt x="4440003" y="2142766"/>
                    <a:pt x="4440003" y="2142766"/>
                    <a:pt x="4429418" y="2126894"/>
                  </a:cubicBezTo>
                  <a:cubicBezTo>
                    <a:pt x="4429418" y="2126894"/>
                    <a:pt x="4429418" y="2126894"/>
                    <a:pt x="4413540" y="2105731"/>
                  </a:cubicBezTo>
                  <a:cubicBezTo>
                    <a:pt x="4413540" y="2105731"/>
                    <a:pt x="4413540" y="2105731"/>
                    <a:pt x="4402955" y="2058114"/>
                  </a:cubicBezTo>
                  <a:cubicBezTo>
                    <a:pt x="4402955" y="2058114"/>
                    <a:pt x="4402955" y="2058114"/>
                    <a:pt x="4392370" y="2042242"/>
                  </a:cubicBezTo>
                  <a:cubicBezTo>
                    <a:pt x="4392370" y="2042242"/>
                    <a:pt x="4392370" y="2042242"/>
                    <a:pt x="4334153" y="1931136"/>
                  </a:cubicBezTo>
                  <a:cubicBezTo>
                    <a:pt x="4334153" y="1931136"/>
                    <a:pt x="4334153" y="1931136"/>
                    <a:pt x="4344738" y="1888810"/>
                  </a:cubicBezTo>
                  <a:cubicBezTo>
                    <a:pt x="4344738" y="1888810"/>
                    <a:pt x="4344738" y="1888810"/>
                    <a:pt x="4339445" y="1862356"/>
                  </a:cubicBezTo>
                  <a:cubicBezTo>
                    <a:pt x="4339445" y="1862356"/>
                    <a:pt x="4339445" y="1862356"/>
                    <a:pt x="4323568" y="1894100"/>
                  </a:cubicBezTo>
                  <a:cubicBezTo>
                    <a:pt x="4323568" y="1894100"/>
                    <a:pt x="4323568" y="1894100"/>
                    <a:pt x="4291813" y="1899391"/>
                  </a:cubicBezTo>
                  <a:cubicBezTo>
                    <a:pt x="4291813" y="1899391"/>
                    <a:pt x="4291813" y="1899391"/>
                    <a:pt x="4281228" y="1883519"/>
                  </a:cubicBezTo>
                  <a:cubicBezTo>
                    <a:pt x="4281228" y="1883519"/>
                    <a:pt x="4281228" y="1883519"/>
                    <a:pt x="4260058" y="1867647"/>
                  </a:cubicBezTo>
                  <a:cubicBezTo>
                    <a:pt x="4260058" y="1867647"/>
                    <a:pt x="4260058" y="1867647"/>
                    <a:pt x="4281228" y="1851774"/>
                  </a:cubicBezTo>
                  <a:cubicBezTo>
                    <a:pt x="4281228" y="1851774"/>
                    <a:pt x="4281228" y="1851774"/>
                    <a:pt x="4249473" y="1846484"/>
                  </a:cubicBezTo>
                  <a:cubicBezTo>
                    <a:pt x="4249473" y="1846484"/>
                    <a:pt x="4249473" y="1846484"/>
                    <a:pt x="4249473" y="1830611"/>
                  </a:cubicBezTo>
                  <a:cubicBezTo>
                    <a:pt x="4249473" y="1830611"/>
                    <a:pt x="4249473" y="1830611"/>
                    <a:pt x="4233596" y="1835902"/>
                  </a:cubicBezTo>
                  <a:cubicBezTo>
                    <a:pt x="4233596" y="1835902"/>
                    <a:pt x="4233596" y="1835902"/>
                    <a:pt x="4228303" y="1825321"/>
                  </a:cubicBezTo>
                  <a:cubicBezTo>
                    <a:pt x="4228303" y="1825321"/>
                    <a:pt x="4228303" y="1825321"/>
                    <a:pt x="4207133" y="1814739"/>
                  </a:cubicBezTo>
                  <a:cubicBezTo>
                    <a:pt x="4207133" y="1814739"/>
                    <a:pt x="4207133" y="1814739"/>
                    <a:pt x="4191256" y="1793576"/>
                  </a:cubicBezTo>
                  <a:cubicBezTo>
                    <a:pt x="4191256" y="1793576"/>
                    <a:pt x="4191256" y="1793576"/>
                    <a:pt x="4133038" y="1798867"/>
                  </a:cubicBezTo>
                  <a:cubicBezTo>
                    <a:pt x="4133038" y="1798867"/>
                    <a:pt x="4064236" y="1809448"/>
                    <a:pt x="4058943" y="1809448"/>
                  </a:cubicBezTo>
                  <a:cubicBezTo>
                    <a:pt x="4058943" y="1809448"/>
                    <a:pt x="4016603" y="1793576"/>
                    <a:pt x="4016603" y="1793576"/>
                  </a:cubicBezTo>
                  <a:cubicBezTo>
                    <a:pt x="4016603" y="1793576"/>
                    <a:pt x="4016603" y="1793576"/>
                    <a:pt x="4011311" y="1777704"/>
                  </a:cubicBezTo>
                  <a:cubicBezTo>
                    <a:pt x="4011311" y="1777704"/>
                    <a:pt x="4011311" y="1777704"/>
                    <a:pt x="4000726" y="1761831"/>
                  </a:cubicBezTo>
                  <a:cubicBezTo>
                    <a:pt x="4000726" y="1761831"/>
                    <a:pt x="4000726" y="1761831"/>
                    <a:pt x="3968971" y="1777704"/>
                  </a:cubicBezTo>
                  <a:cubicBezTo>
                    <a:pt x="3968971" y="1777704"/>
                    <a:pt x="3968971" y="1777704"/>
                    <a:pt x="3947801" y="1782994"/>
                  </a:cubicBezTo>
                  <a:cubicBezTo>
                    <a:pt x="3947801" y="1782994"/>
                    <a:pt x="3947801" y="1782994"/>
                    <a:pt x="3910754" y="1756541"/>
                  </a:cubicBezTo>
                  <a:cubicBezTo>
                    <a:pt x="3910754" y="1756541"/>
                    <a:pt x="3894876" y="1761831"/>
                    <a:pt x="3894876" y="1761831"/>
                  </a:cubicBezTo>
                  <a:cubicBezTo>
                    <a:pt x="3894876" y="1767122"/>
                    <a:pt x="3884291" y="1745959"/>
                    <a:pt x="3884291" y="1745959"/>
                  </a:cubicBezTo>
                  <a:cubicBezTo>
                    <a:pt x="3884291" y="1745959"/>
                    <a:pt x="3884291" y="1745959"/>
                    <a:pt x="3863121" y="1708924"/>
                  </a:cubicBezTo>
                  <a:cubicBezTo>
                    <a:pt x="3863121" y="1708924"/>
                    <a:pt x="3863121" y="1708924"/>
                    <a:pt x="3847244" y="1703633"/>
                  </a:cubicBezTo>
                  <a:cubicBezTo>
                    <a:pt x="3847244" y="1703633"/>
                    <a:pt x="3847244" y="1703633"/>
                    <a:pt x="3820781" y="1724796"/>
                  </a:cubicBezTo>
                  <a:cubicBezTo>
                    <a:pt x="3820781" y="1724796"/>
                    <a:pt x="3820781" y="1724796"/>
                    <a:pt x="3836659" y="1745959"/>
                  </a:cubicBezTo>
                  <a:cubicBezTo>
                    <a:pt x="3836659" y="1745959"/>
                    <a:pt x="3836659" y="1745959"/>
                    <a:pt x="3873706" y="1798867"/>
                  </a:cubicBezTo>
                  <a:cubicBezTo>
                    <a:pt x="3873706" y="1798867"/>
                    <a:pt x="3905461" y="1846484"/>
                    <a:pt x="3910754" y="1846484"/>
                  </a:cubicBezTo>
                  <a:cubicBezTo>
                    <a:pt x="3910754" y="1846484"/>
                    <a:pt x="3958386" y="1835902"/>
                    <a:pt x="3958386" y="1835902"/>
                  </a:cubicBezTo>
                  <a:cubicBezTo>
                    <a:pt x="3958386" y="1835902"/>
                    <a:pt x="3958386" y="1835902"/>
                    <a:pt x="3974263" y="1809448"/>
                  </a:cubicBezTo>
                  <a:cubicBezTo>
                    <a:pt x="3974263" y="1809448"/>
                    <a:pt x="3974263" y="1809448"/>
                    <a:pt x="3995433" y="1782994"/>
                  </a:cubicBezTo>
                  <a:cubicBezTo>
                    <a:pt x="3995433" y="1782994"/>
                    <a:pt x="3995433" y="1782994"/>
                    <a:pt x="4006018" y="1835902"/>
                  </a:cubicBezTo>
                  <a:cubicBezTo>
                    <a:pt x="4006018" y="1835902"/>
                    <a:pt x="4006018" y="1835902"/>
                    <a:pt x="4037773" y="1841193"/>
                  </a:cubicBezTo>
                  <a:cubicBezTo>
                    <a:pt x="4037773" y="1841193"/>
                    <a:pt x="4037773" y="1841193"/>
                    <a:pt x="4074821" y="1867647"/>
                  </a:cubicBezTo>
                  <a:cubicBezTo>
                    <a:pt x="4074821" y="1867647"/>
                    <a:pt x="4074821" y="1867647"/>
                    <a:pt x="4074821" y="1899391"/>
                  </a:cubicBezTo>
                  <a:cubicBezTo>
                    <a:pt x="4074821" y="1899391"/>
                    <a:pt x="4074821" y="1899391"/>
                    <a:pt x="4058943" y="1909973"/>
                  </a:cubicBezTo>
                  <a:cubicBezTo>
                    <a:pt x="4058943" y="1909973"/>
                    <a:pt x="4058943" y="1909973"/>
                    <a:pt x="4058943" y="1925845"/>
                  </a:cubicBezTo>
                  <a:cubicBezTo>
                    <a:pt x="4058943" y="1925845"/>
                    <a:pt x="4058943" y="1925845"/>
                    <a:pt x="4048358" y="1925845"/>
                  </a:cubicBezTo>
                  <a:cubicBezTo>
                    <a:pt x="4048358" y="1925845"/>
                    <a:pt x="4048358" y="1925845"/>
                    <a:pt x="4043066" y="1952299"/>
                  </a:cubicBezTo>
                  <a:cubicBezTo>
                    <a:pt x="4043066" y="1952299"/>
                    <a:pt x="4043066" y="1952299"/>
                    <a:pt x="4021896" y="1962880"/>
                  </a:cubicBezTo>
                  <a:cubicBezTo>
                    <a:pt x="4021896" y="1962880"/>
                    <a:pt x="4021896" y="1962880"/>
                    <a:pt x="4021896" y="1978753"/>
                  </a:cubicBezTo>
                  <a:cubicBezTo>
                    <a:pt x="4021896" y="1978753"/>
                    <a:pt x="4021896" y="1978753"/>
                    <a:pt x="4000726" y="1984043"/>
                  </a:cubicBezTo>
                  <a:cubicBezTo>
                    <a:pt x="4000726" y="1984043"/>
                    <a:pt x="4000726" y="1984043"/>
                    <a:pt x="4000726" y="1999916"/>
                  </a:cubicBezTo>
                  <a:cubicBezTo>
                    <a:pt x="4000726" y="1999916"/>
                    <a:pt x="4000726" y="1999916"/>
                    <a:pt x="3953093" y="2010497"/>
                  </a:cubicBezTo>
                  <a:cubicBezTo>
                    <a:pt x="3953093" y="2010497"/>
                    <a:pt x="3953093" y="2010497"/>
                    <a:pt x="3942509" y="2036951"/>
                  </a:cubicBezTo>
                  <a:cubicBezTo>
                    <a:pt x="3942509" y="2036951"/>
                    <a:pt x="3942509" y="2036951"/>
                    <a:pt x="3889584" y="2047532"/>
                  </a:cubicBezTo>
                  <a:cubicBezTo>
                    <a:pt x="3889584" y="2047532"/>
                    <a:pt x="3889584" y="2047532"/>
                    <a:pt x="3873706" y="2063405"/>
                  </a:cubicBezTo>
                  <a:cubicBezTo>
                    <a:pt x="3873706" y="2063405"/>
                    <a:pt x="3873706" y="2063405"/>
                    <a:pt x="3815489" y="2084568"/>
                  </a:cubicBezTo>
                  <a:cubicBezTo>
                    <a:pt x="3815489" y="2084568"/>
                    <a:pt x="3815489" y="2084568"/>
                    <a:pt x="3789026" y="2095149"/>
                  </a:cubicBezTo>
                  <a:cubicBezTo>
                    <a:pt x="3789026" y="2095149"/>
                    <a:pt x="3789026" y="2095149"/>
                    <a:pt x="3773149" y="2095149"/>
                  </a:cubicBezTo>
                  <a:cubicBezTo>
                    <a:pt x="3773149" y="2095149"/>
                    <a:pt x="3773149" y="2095149"/>
                    <a:pt x="3757271" y="2079277"/>
                  </a:cubicBezTo>
                  <a:cubicBezTo>
                    <a:pt x="3757271" y="2079277"/>
                    <a:pt x="3757271" y="2079277"/>
                    <a:pt x="3757271" y="2063405"/>
                  </a:cubicBezTo>
                  <a:cubicBezTo>
                    <a:pt x="3757271" y="2063405"/>
                    <a:pt x="3757271" y="2063405"/>
                    <a:pt x="3741394" y="2042242"/>
                  </a:cubicBezTo>
                  <a:cubicBezTo>
                    <a:pt x="3741394" y="2042242"/>
                    <a:pt x="3741394" y="2042242"/>
                    <a:pt x="3746686" y="2021079"/>
                  </a:cubicBezTo>
                  <a:cubicBezTo>
                    <a:pt x="3746686" y="2021079"/>
                    <a:pt x="3746686" y="2021079"/>
                    <a:pt x="3699054" y="1941717"/>
                  </a:cubicBezTo>
                  <a:cubicBezTo>
                    <a:pt x="3699054" y="1941717"/>
                    <a:pt x="3699054" y="1941717"/>
                    <a:pt x="3672591" y="1931136"/>
                  </a:cubicBezTo>
                  <a:cubicBezTo>
                    <a:pt x="3672591" y="1931136"/>
                    <a:pt x="3672591" y="1931136"/>
                    <a:pt x="3667299" y="1920554"/>
                  </a:cubicBezTo>
                  <a:cubicBezTo>
                    <a:pt x="3667299" y="1920554"/>
                    <a:pt x="3667299" y="1920554"/>
                    <a:pt x="3651421" y="1862356"/>
                  </a:cubicBezTo>
                  <a:cubicBezTo>
                    <a:pt x="3651421" y="1862356"/>
                    <a:pt x="3651421" y="1862356"/>
                    <a:pt x="3624959" y="1851774"/>
                  </a:cubicBezTo>
                  <a:cubicBezTo>
                    <a:pt x="3624959" y="1851774"/>
                    <a:pt x="3624959" y="1851774"/>
                    <a:pt x="3614374" y="1830611"/>
                  </a:cubicBezTo>
                  <a:cubicBezTo>
                    <a:pt x="3614374" y="1830611"/>
                    <a:pt x="3614374" y="1830611"/>
                    <a:pt x="3598497" y="1814739"/>
                  </a:cubicBezTo>
                  <a:cubicBezTo>
                    <a:pt x="3598497" y="1814739"/>
                    <a:pt x="3598497" y="1814739"/>
                    <a:pt x="3582619" y="1782994"/>
                  </a:cubicBezTo>
                  <a:cubicBezTo>
                    <a:pt x="3582619" y="1782994"/>
                    <a:pt x="3582619" y="1782994"/>
                    <a:pt x="3561449" y="1772413"/>
                  </a:cubicBezTo>
                  <a:cubicBezTo>
                    <a:pt x="3561449" y="1772413"/>
                    <a:pt x="3561449" y="1772413"/>
                    <a:pt x="3556157" y="1735378"/>
                  </a:cubicBezTo>
                  <a:cubicBezTo>
                    <a:pt x="3556157" y="1735378"/>
                    <a:pt x="3556157" y="1735378"/>
                    <a:pt x="3550864" y="1751250"/>
                  </a:cubicBezTo>
                  <a:cubicBezTo>
                    <a:pt x="3550864" y="1751250"/>
                    <a:pt x="3550864" y="1751250"/>
                    <a:pt x="3550864" y="1788285"/>
                  </a:cubicBezTo>
                  <a:cubicBezTo>
                    <a:pt x="3550864" y="1788285"/>
                    <a:pt x="3550864" y="1788285"/>
                    <a:pt x="3534987" y="1767122"/>
                  </a:cubicBezTo>
                  <a:cubicBezTo>
                    <a:pt x="3534987" y="1767122"/>
                    <a:pt x="3534987" y="1767122"/>
                    <a:pt x="3524402" y="1745959"/>
                  </a:cubicBezTo>
                  <a:cubicBezTo>
                    <a:pt x="3524402" y="1745959"/>
                    <a:pt x="3524402" y="1745959"/>
                    <a:pt x="3513817" y="1719505"/>
                  </a:cubicBezTo>
                  <a:cubicBezTo>
                    <a:pt x="3513817" y="1719505"/>
                    <a:pt x="3513817" y="1719505"/>
                    <a:pt x="3503232" y="1724796"/>
                  </a:cubicBezTo>
                  <a:cubicBezTo>
                    <a:pt x="3503232" y="1724796"/>
                    <a:pt x="3503232" y="1724796"/>
                    <a:pt x="3519109" y="1772413"/>
                  </a:cubicBezTo>
                  <a:cubicBezTo>
                    <a:pt x="3519109" y="1772413"/>
                    <a:pt x="3519109" y="1772413"/>
                    <a:pt x="3540279" y="1788285"/>
                  </a:cubicBezTo>
                  <a:cubicBezTo>
                    <a:pt x="3540279" y="1788285"/>
                    <a:pt x="3545572" y="1809448"/>
                    <a:pt x="3545572" y="1809448"/>
                  </a:cubicBezTo>
                  <a:cubicBezTo>
                    <a:pt x="3550864" y="1809448"/>
                    <a:pt x="3587912" y="1851774"/>
                    <a:pt x="3587912" y="1851774"/>
                  </a:cubicBezTo>
                  <a:cubicBezTo>
                    <a:pt x="3587912" y="1851774"/>
                    <a:pt x="3587912" y="1851774"/>
                    <a:pt x="3577327" y="1862356"/>
                  </a:cubicBezTo>
                  <a:cubicBezTo>
                    <a:pt x="3577327" y="1862356"/>
                    <a:pt x="3577327" y="1862356"/>
                    <a:pt x="3619667" y="1904682"/>
                  </a:cubicBezTo>
                  <a:cubicBezTo>
                    <a:pt x="3619667" y="1904682"/>
                    <a:pt x="3619667" y="1904682"/>
                    <a:pt x="3630252" y="1973462"/>
                  </a:cubicBezTo>
                  <a:cubicBezTo>
                    <a:pt x="3630252" y="1973462"/>
                    <a:pt x="3630252" y="1973462"/>
                    <a:pt x="3656714" y="1989334"/>
                  </a:cubicBezTo>
                  <a:cubicBezTo>
                    <a:pt x="3656714" y="1989334"/>
                    <a:pt x="3656714" y="1989334"/>
                    <a:pt x="3677884" y="2042242"/>
                  </a:cubicBezTo>
                  <a:cubicBezTo>
                    <a:pt x="3677884" y="2042242"/>
                    <a:pt x="3677884" y="2042242"/>
                    <a:pt x="3741394" y="2084568"/>
                  </a:cubicBezTo>
                  <a:cubicBezTo>
                    <a:pt x="3741394" y="2084568"/>
                    <a:pt x="3741394" y="2084568"/>
                    <a:pt x="3757271" y="2100440"/>
                  </a:cubicBezTo>
                  <a:cubicBezTo>
                    <a:pt x="3757271" y="2100440"/>
                    <a:pt x="3757271" y="2100440"/>
                    <a:pt x="3751979" y="2116312"/>
                  </a:cubicBezTo>
                  <a:cubicBezTo>
                    <a:pt x="3751979" y="2116312"/>
                    <a:pt x="3751979" y="2116312"/>
                    <a:pt x="3767856" y="2142766"/>
                  </a:cubicBezTo>
                  <a:cubicBezTo>
                    <a:pt x="3767856" y="2142766"/>
                    <a:pt x="3767856" y="2142766"/>
                    <a:pt x="3789026" y="2148057"/>
                  </a:cubicBezTo>
                  <a:cubicBezTo>
                    <a:pt x="3789026" y="2148057"/>
                    <a:pt x="3789026" y="2148057"/>
                    <a:pt x="3810196" y="2137475"/>
                  </a:cubicBezTo>
                  <a:cubicBezTo>
                    <a:pt x="3810196" y="2137475"/>
                    <a:pt x="3810196" y="2137475"/>
                    <a:pt x="3831366" y="2137475"/>
                  </a:cubicBezTo>
                  <a:cubicBezTo>
                    <a:pt x="3831366" y="2137475"/>
                    <a:pt x="3831366" y="2137475"/>
                    <a:pt x="3841951" y="2126894"/>
                  </a:cubicBezTo>
                  <a:cubicBezTo>
                    <a:pt x="3841951" y="2126894"/>
                    <a:pt x="3841951" y="2126894"/>
                    <a:pt x="3873706" y="2126894"/>
                  </a:cubicBezTo>
                  <a:cubicBezTo>
                    <a:pt x="3873706" y="2126894"/>
                    <a:pt x="3873706" y="2126894"/>
                    <a:pt x="3910754" y="2111022"/>
                  </a:cubicBezTo>
                  <a:cubicBezTo>
                    <a:pt x="3910754" y="2111022"/>
                    <a:pt x="3910754" y="2111022"/>
                    <a:pt x="3921339" y="2121603"/>
                  </a:cubicBezTo>
                  <a:cubicBezTo>
                    <a:pt x="3921339" y="2121603"/>
                    <a:pt x="3921339" y="2121603"/>
                    <a:pt x="3916046" y="2158638"/>
                  </a:cubicBezTo>
                  <a:cubicBezTo>
                    <a:pt x="3916046" y="2158638"/>
                    <a:pt x="3916046" y="2158638"/>
                    <a:pt x="3894876" y="2200964"/>
                  </a:cubicBezTo>
                  <a:cubicBezTo>
                    <a:pt x="3894876" y="2200964"/>
                    <a:pt x="3894876" y="2200964"/>
                    <a:pt x="3894876" y="2227418"/>
                  </a:cubicBezTo>
                  <a:cubicBezTo>
                    <a:pt x="3894876" y="2227418"/>
                    <a:pt x="3894876" y="2227418"/>
                    <a:pt x="3857829" y="2280326"/>
                  </a:cubicBezTo>
                  <a:cubicBezTo>
                    <a:pt x="3857829" y="2280326"/>
                    <a:pt x="3857829" y="2280326"/>
                    <a:pt x="3751979" y="2375559"/>
                  </a:cubicBezTo>
                  <a:cubicBezTo>
                    <a:pt x="3751979" y="2375559"/>
                    <a:pt x="3751979" y="2375559"/>
                    <a:pt x="3741394" y="2402013"/>
                  </a:cubicBezTo>
                  <a:cubicBezTo>
                    <a:pt x="3741394" y="2402013"/>
                    <a:pt x="3741394" y="2402013"/>
                    <a:pt x="3720224" y="2407304"/>
                  </a:cubicBezTo>
                  <a:cubicBezTo>
                    <a:pt x="3720224" y="2407304"/>
                    <a:pt x="3720224" y="2407304"/>
                    <a:pt x="3693761" y="2454921"/>
                  </a:cubicBezTo>
                  <a:cubicBezTo>
                    <a:pt x="3693761" y="2454921"/>
                    <a:pt x="3693761" y="2454921"/>
                    <a:pt x="3677884" y="2491956"/>
                  </a:cubicBezTo>
                  <a:cubicBezTo>
                    <a:pt x="3677884" y="2491956"/>
                    <a:pt x="3677884" y="2491956"/>
                    <a:pt x="3688469" y="2513119"/>
                  </a:cubicBezTo>
                  <a:cubicBezTo>
                    <a:pt x="3688469" y="2513119"/>
                    <a:pt x="3688469" y="2513119"/>
                    <a:pt x="3683176" y="2550155"/>
                  </a:cubicBezTo>
                  <a:cubicBezTo>
                    <a:pt x="3683176" y="2550155"/>
                    <a:pt x="3683176" y="2550155"/>
                    <a:pt x="3704346" y="2597771"/>
                  </a:cubicBezTo>
                  <a:cubicBezTo>
                    <a:pt x="3704346" y="2597771"/>
                    <a:pt x="3704346" y="2597771"/>
                    <a:pt x="3704346" y="2640097"/>
                  </a:cubicBezTo>
                  <a:cubicBezTo>
                    <a:pt x="3704346" y="2640097"/>
                    <a:pt x="3704346" y="2640097"/>
                    <a:pt x="3699054" y="2677133"/>
                  </a:cubicBezTo>
                  <a:cubicBezTo>
                    <a:pt x="3699054" y="2677133"/>
                    <a:pt x="3699054" y="2677133"/>
                    <a:pt x="3704346" y="2693005"/>
                  </a:cubicBezTo>
                  <a:cubicBezTo>
                    <a:pt x="3704346" y="2693005"/>
                    <a:pt x="3704346" y="2693005"/>
                    <a:pt x="3683176" y="2719459"/>
                  </a:cubicBezTo>
                  <a:cubicBezTo>
                    <a:pt x="3683176" y="2719459"/>
                    <a:pt x="3683176" y="2719459"/>
                    <a:pt x="3640837" y="2730040"/>
                  </a:cubicBezTo>
                  <a:cubicBezTo>
                    <a:pt x="3640837" y="2730040"/>
                    <a:pt x="3640837" y="2730040"/>
                    <a:pt x="3603789" y="2767076"/>
                  </a:cubicBezTo>
                  <a:cubicBezTo>
                    <a:pt x="3603789" y="2767076"/>
                    <a:pt x="3603789" y="2767076"/>
                    <a:pt x="3577327" y="2804111"/>
                  </a:cubicBezTo>
                  <a:cubicBezTo>
                    <a:pt x="3577327" y="2804111"/>
                    <a:pt x="3577327" y="2804111"/>
                    <a:pt x="3587912" y="2857019"/>
                  </a:cubicBezTo>
                  <a:cubicBezTo>
                    <a:pt x="3587912" y="2857019"/>
                    <a:pt x="3587912" y="2857019"/>
                    <a:pt x="3572034" y="2904635"/>
                  </a:cubicBezTo>
                  <a:cubicBezTo>
                    <a:pt x="3572034" y="2904635"/>
                    <a:pt x="3572034" y="2904635"/>
                    <a:pt x="3524402" y="2925798"/>
                  </a:cubicBezTo>
                  <a:cubicBezTo>
                    <a:pt x="3524402" y="2925798"/>
                    <a:pt x="3524402" y="2925798"/>
                    <a:pt x="3524402" y="2978706"/>
                  </a:cubicBezTo>
                  <a:cubicBezTo>
                    <a:pt x="3524402" y="2978706"/>
                    <a:pt x="3524402" y="2978706"/>
                    <a:pt x="3497939" y="2999869"/>
                  </a:cubicBezTo>
                  <a:cubicBezTo>
                    <a:pt x="3497939" y="2999869"/>
                    <a:pt x="3497939" y="2999869"/>
                    <a:pt x="3476769" y="3036904"/>
                  </a:cubicBezTo>
                  <a:cubicBezTo>
                    <a:pt x="3476769" y="3036904"/>
                    <a:pt x="3476769" y="3036904"/>
                    <a:pt x="3429137" y="3079231"/>
                  </a:cubicBezTo>
                  <a:cubicBezTo>
                    <a:pt x="3429137" y="3079231"/>
                    <a:pt x="3429137" y="3079231"/>
                    <a:pt x="3392089" y="3110975"/>
                  </a:cubicBezTo>
                  <a:cubicBezTo>
                    <a:pt x="3392089" y="3110975"/>
                    <a:pt x="3392089" y="3110975"/>
                    <a:pt x="3328580" y="3116266"/>
                  </a:cubicBezTo>
                  <a:cubicBezTo>
                    <a:pt x="3328580" y="3116266"/>
                    <a:pt x="3328580" y="3116266"/>
                    <a:pt x="3291532" y="3121557"/>
                  </a:cubicBezTo>
                  <a:cubicBezTo>
                    <a:pt x="3291532" y="3121557"/>
                    <a:pt x="3291532" y="3121557"/>
                    <a:pt x="3270362" y="3132138"/>
                  </a:cubicBezTo>
                  <a:cubicBezTo>
                    <a:pt x="3270362" y="3132138"/>
                    <a:pt x="3270362" y="3132138"/>
                    <a:pt x="3228022" y="3110975"/>
                  </a:cubicBezTo>
                  <a:cubicBezTo>
                    <a:pt x="3228022" y="3110975"/>
                    <a:pt x="3228022" y="3110975"/>
                    <a:pt x="3228022" y="3100394"/>
                  </a:cubicBezTo>
                  <a:cubicBezTo>
                    <a:pt x="3228022" y="3100394"/>
                    <a:pt x="3228022" y="3100394"/>
                    <a:pt x="3222730" y="3079231"/>
                  </a:cubicBezTo>
                  <a:cubicBezTo>
                    <a:pt x="3222730" y="3079231"/>
                    <a:pt x="3222730" y="3079231"/>
                    <a:pt x="3228022" y="3068649"/>
                  </a:cubicBezTo>
                  <a:cubicBezTo>
                    <a:pt x="3228022" y="3068649"/>
                    <a:pt x="3228022" y="3068649"/>
                    <a:pt x="3228022" y="3047486"/>
                  </a:cubicBezTo>
                  <a:cubicBezTo>
                    <a:pt x="3228022" y="3047486"/>
                    <a:pt x="3228022" y="3047486"/>
                    <a:pt x="3206852" y="3026323"/>
                  </a:cubicBezTo>
                  <a:cubicBezTo>
                    <a:pt x="3206852" y="3026323"/>
                    <a:pt x="3206852" y="3026323"/>
                    <a:pt x="3196267" y="2978706"/>
                  </a:cubicBezTo>
                  <a:cubicBezTo>
                    <a:pt x="3196267" y="2978706"/>
                    <a:pt x="3196267" y="2978706"/>
                    <a:pt x="3175097" y="2962834"/>
                  </a:cubicBezTo>
                  <a:cubicBezTo>
                    <a:pt x="3175097" y="2962834"/>
                    <a:pt x="3175097" y="2962834"/>
                    <a:pt x="3175097" y="2931089"/>
                  </a:cubicBezTo>
                  <a:cubicBezTo>
                    <a:pt x="3175097" y="2931089"/>
                    <a:pt x="3175097" y="2931089"/>
                    <a:pt x="3164512" y="2894054"/>
                  </a:cubicBezTo>
                  <a:cubicBezTo>
                    <a:pt x="3164512" y="2894054"/>
                    <a:pt x="3164512" y="2894054"/>
                    <a:pt x="3153927" y="2830565"/>
                  </a:cubicBezTo>
                  <a:cubicBezTo>
                    <a:pt x="3153927" y="2830565"/>
                    <a:pt x="3153927" y="2830565"/>
                    <a:pt x="3143342" y="2809402"/>
                  </a:cubicBezTo>
                  <a:cubicBezTo>
                    <a:pt x="3143342" y="2809402"/>
                    <a:pt x="3143342" y="2809402"/>
                    <a:pt x="3138050" y="2782948"/>
                  </a:cubicBezTo>
                  <a:cubicBezTo>
                    <a:pt x="3138050" y="2782948"/>
                    <a:pt x="3138050" y="2782948"/>
                    <a:pt x="3116880" y="2761785"/>
                  </a:cubicBezTo>
                  <a:cubicBezTo>
                    <a:pt x="3116880" y="2761785"/>
                    <a:pt x="3116880" y="2761785"/>
                    <a:pt x="3111587" y="2730040"/>
                  </a:cubicBezTo>
                  <a:cubicBezTo>
                    <a:pt x="3111587" y="2730040"/>
                    <a:pt x="3111587" y="2730040"/>
                    <a:pt x="3122173" y="2677133"/>
                  </a:cubicBezTo>
                  <a:cubicBezTo>
                    <a:pt x="3122173" y="2677133"/>
                    <a:pt x="3122173" y="2677133"/>
                    <a:pt x="3153927" y="2629516"/>
                  </a:cubicBezTo>
                  <a:cubicBezTo>
                    <a:pt x="3153927" y="2629516"/>
                    <a:pt x="3153927" y="2629516"/>
                    <a:pt x="3159220" y="2603062"/>
                  </a:cubicBezTo>
                  <a:cubicBezTo>
                    <a:pt x="3159220" y="2603062"/>
                    <a:pt x="3159220" y="2603062"/>
                    <a:pt x="3138050" y="2566027"/>
                  </a:cubicBezTo>
                  <a:cubicBezTo>
                    <a:pt x="3138050" y="2566027"/>
                    <a:pt x="3138050" y="2566027"/>
                    <a:pt x="3148635" y="2539573"/>
                  </a:cubicBezTo>
                  <a:cubicBezTo>
                    <a:pt x="3148635" y="2539573"/>
                    <a:pt x="3148635" y="2539573"/>
                    <a:pt x="3138050" y="2502538"/>
                  </a:cubicBezTo>
                  <a:cubicBezTo>
                    <a:pt x="3138050" y="2502538"/>
                    <a:pt x="3138050" y="2502538"/>
                    <a:pt x="3116880" y="2486665"/>
                  </a:cubicBezTo>
                  <a:cubicBezTo>
                    <a:pt x="3116880" y="2486665"/>
                    <a:pt x="3116880" y="2486665"/>
                    <a:pt x="3101002" y="2449630"/>
                  </a:cubicBezTo>
                  <a:cubicBezTo>
                    <a:pt x="3101002" y="2449630"/>
                    <a:pt x="3101002" y="2449630"/>
                    <a:pt x="3063955" y="2417886"/>
                  </a:cubicBezTo>
                  <a:cubicBezTo>
                    <a:pt x="3063955" y="2417886"/>
                    <a:pt x="3063955" y="2417886"/>
                    <a:pt x="3058662" y="2391432"/>
                  </a:cubicBezTo>
                  <a:cubicBezTo>
                    <a:pt x="3058662" y="2391432"/>
                    <a:pt x="3058662" y="2391432"/>
                    <a:pt x="3079833" y="2317361"/>
                  </a:cubicBezTo>
                  <a:cubicBezTo>
                    <a:pt x="3079833" y="2317361"/>
                    <a:pt x="3079833" y="2317361"/>
                    <a:pt x="3074540" y="2290907"/>
                  </a:cubicBezTo>
                  <a:cubicBezTo>
                    <a:pt x="3074540" y="2290907"/>
                    <a:pt x="3074540" y="2290907"/>
                    <a:pt x="3048078" y="2275035"/>
                  </a:cubicBezTo>
                  <a:cubicBezTo>
                    <a:pt x="3048078" y="2275035"/>
                    <a:pt x="3048078" y="2275035"/>
                    <a:pt x="3000445" y="2280326"/>
                  </a:cubicBezTo>
                  <a:cubicBezTo>
                    <a:pt x="3000445" y="2280326"/>
                    <a:pt x="3000445" y="2280326"/>
                    <a:pt x="2984568" y="2259163"/>
                  </a:cubicBezTo>
                  <a:cubicBezTo>
                    <a:pt x="2984568" y="2259163"/>
                    <a:pt x="2984568" y="2259163"/>
                    <a:pt x="2958106" y="2238000"/>
                  </a:cubicBezTo>
                  <a:cubicBezTo>
                    <a:pt x="2958106" y="2238000"/>
                    <a:pt x="2958106" y="2238000"/>
                    <a:pt x="2884011" y="2253872"/>
                  </a:cubicBezTo>
                  <a:cubicBezTo>
                    <a:pt x="2884011" y="2253872"/>
                    <a:pt x="2884011" y="2253872"/>
                    <a:pt x="2846963" y="2275035"/>
                  </a:cubicBezTo>
                  <a:cubicBezTo>
                    <a:pt x="2846963" y="2275035"/>
                    <a:pt x="2846963" y="2275035"/>
                    <a:pt x="2815208" y="2264454"/>
                  </a:cubicBezTo>
                  <a:cubicBezTo>
                    <a:pt x="2815208" y="2264454"/>
                    <a:pt x="2815208" y="2264454"/>
                    <a:pt x="2778161" y="2259163"/>
                  </a:cubicBezTo>
                  <a:cubicBezTo>
                    <a:pt x="2778161" y="2259163"/>
                    <a:pt x="2778161" y="2259163"/>
                    <a:pt x="2741113" y="2285617"/>
                  </a:cubicBezTo>
                  <a:cubicBezTo>
                    <a:pt x="2741113" y="2285617"/>
                    <a:pt x="2741113" y="2285617"/>
                    <a:pt x="2714651" y="2285617"/>
                  </a:cubicBezTo>
                  <a:cubicBezTo>
                    <a:pt x="2714651" y="2285617"/>
                    <a:pt x="2714651" y="2285617"/>
                    <a:pt x="2640556" y="2227418"/>
                  </a:cubicBezTo>
                  <a:cubicBezTo>
                    <a:pt x="2640556" y="2227418"/>
                    <a:pt x="2640556" y="2227418"/>
                    <a:pt x="2619386" y="2227418"/>
                  </a:cubicBezTo>
                  <a:cubicBezTo>
                    <a:pt x="2619386" y="2227418"/>
                    <a:pt x="2619386" y="2227418"/>
                    <a:pt x="2603509" y="2185092"/>
                  </a:cubicBezTo>
                  <a:cubicBezTo>
                    <a:pt x="2603509" y="2185092"/>
                    <a:pt x="2603509" y="2185092"/>
                    <a:pt x="2561169" y="2126894"/>
                  </a:cubicBezTo>
                  <a:cubicBezTo>
                    <a:pt x="2561169" y="2126894"/>
                    <a:pt x="2561169" y="2126894"/>
                    <a:pt x="2539999" y="2116312"/>
                  </a:cubicBezTo>
                  <a:cubicBezTo>
                    <a:pt x="2539999" y="2116312"/>
                    <a:pt x="2539999" y="2116312"/>
                    <a:pt x="2534706" y="2079277"/>
                  </a:cubicBezTo>
                  <a:cubicBezTo>
                    <a:pt x="2534706" y="2079277"/>
                    <a:pt x="2534706" y="2079277"/>
                    <a:pt x="2524121" y="2058114"/>
                  </a:cubicBezTo>
                  <a:cubicBezTo>
                    <a:pt x="2524121" y="2058114"/>
                    <a:pt x="2524121" y="2058114"/>
                    <a:pt x="2545291" y="2042242"/>
                  </a:cubicBezTo>
                  <a:cubicBezTo>
                    <a:pt x="2545291" y="2042242"/>
                    <a:pt x="2545291" y="2042242"/>
                    <a:pt x="2545291" y="2015788"/>
                  </a:cubicBezTo>
                  <a:cubicBezTo>
                    <a:pt x="2545291" y="2015788"/>
                    <a:pt x="2545291" y="2015788"/>
                    <a:pt x="2550584" y="1994625"/>
                  </a:cubicBezTo>
                  <a:cubicBezTo>
                    <a:pt x="2550584" y="1994625"/>
                    <a:pt x="2550584" y="1994625"/>
                    <a:pt x="2539999" y="1962880"/>
                  </a:cubicBezTo>
                  <a:cubicBezTo>
                    <a:pt x="2539999" y="1962880"/>
                    <a:pt x="2539999" y="1962880"/>
                    <a:pt x="2550584" y="1947008"/>
                  </a:cubicBezTo>
                  <a:cubicBezTo>
                    <a:pt x="2550584" y="1947008"/>
                    <a:pt x="2550584" y="1947008"/>
                    <a:pt x="2534706" y="1941717"/>
                  </a:cubicBezTo>
                  <a:cubicBezTo>
                    <a:pt x="2534706" y="1941717"/>
                    <a:pt x="2534706" y="1941717"/>
                    <a:pt x="2529413" y="1920554"/>
                  </a:cubicBezTo>
                  <a:cubicBezTo>
                    <a:pt x="2529413" y="1920554"/>
                    <a:pt x="2529413" y="1920554"/>
                    <a:pt x="2550584" y="1899391"/>
                  </a:cubicBezTo>
                  <a:cubicBezTo>
                    <a:pt x="2550584" y="1899391"/>
                    <a:pt x="2550584" y="1899391"/>
                    <a:pt x="2555876" y="1867647"/>
                  </a:cubicBezTo>
                  <a:cubicBezTo>
                    <a:pt x="2555876" y="1867647"/>
                    <a:pt x="2555876" y="1867647"/>
                    <a:pt x="2582339" y="1851774"/>
                  </a:cubicBezTo>
                  <a:cubicBezTo>
                    <a:pt x="2582339" y="1851774"/>
                    <a:pt x="2582339" y="1851774"/>
                    <a:pt x="2582339" y="1825321"/>
                  </a:cubicBezTo>
                  <a:cubicBezTo>
                    <a:pt x="2582339" y="1825321"/>
                    <a:pt x="2582339" y="1825321"/>
                    <a:pt x="2603509" y="1809448"/>
                  </a:cubicBezTo>
                  <a:cubicBezTo>
                    <a:pt x="2603509" y="1809448"/>
                    <a:pt x="2603509" y="1809448"/>
                    <a:pt x="2614094" y="1782994"/>
                  </a:cubicBezTo>
                  <a:cubicBezTo>
                    <a:pt x="2614094" y="1782994"/>
                    <a:pt x="2614094" y="1782994"/>
                    <a:pt x="2645849" y="1777704"/>
                  </a:cubicBezTo>
                  <a:cubicBezTo>
                    <a:pt x="2645849" y="1777704"/>
                    <a:pt x="2645849" y="1777704"/>
                    <a:pt x="2677604" y="1756541"/>
                  </a:cubicBezTo>
                  <a:cubicBezTo>
                    <a:pt x="2677604" y="1756541"/>
                    <a:pt x="2677604" y="1756541"/>
                    <a:pt x="2677604" y="1730087"/>
                  </a:cubicBezTo>
                  <a:cubicBezTo>
                    <a:pt x="2677604" y="1730087"/>
                    <a:pt x="2677604" y="1730087"/>
                    <a:pt x="2688189" y="1682470"/>
                  </a:cubicBezTo>
                  <a:cubicBezTo>
                    <a:pt x="2688189" y="1682470"/>
                    <a:pt x="2688189" y="1682470"/>
                    <a:pt x="2730529" y="1650725"/>
                  </a:cubicBezTo>
                  <a:cubicBezTo>
                    <a:pt x="2730529" y="1650725"/>
                    <a:pt x="2730529" y="1650725"/>
                    <a:pt x="2751698" y="1624272"/>
                  </a:cubicBezTo>
                  <a:cubicBezTo>
                    <a:pt x="2751698" y="1624272"/>
                    <a:pt x="2751698" y="1624272"/>
                    <a:pt x="2762283" y="1597818"/>
                  </a:cubicBezTo>
                  <a:cubicBezTo>
                    <a:pt x="2762283" y="1597818"/>
                    <a:pt x="2762283" y="1597818"/>
                    <a:pt x="2735821" y="1576655"/>
                  </a:cubicBezTo>
                  <a:cubicBezTo>
                    <a:pt x="2735821" y="1576655"/>
                    <a:pt x="2735821" y="1576655"/>
                    <a:pt x="2704066" y="1581946"/>
                  </a:cubicBezTo>
                  <a:cubicBezTo>
                    <a:pt x="2704066" y="1581946"/>
                    <a:pt x="2704066" y="1581946"/>
                    <a:pt x="2698773" y="1566073"/>
                  </a:cubicBezTo>
                  <a:cubicBezTo>
                    <a:pt x="2698773" y="1566073"/>
                    <a:pt x="2698773" y="1566073"/>
                    <a:pt x="2698773" y="1523747"/>
                  </a:cubicBezTo>
                  <a:cubicBezTo>
                    <a:pt x="2698773" y="1523747"/>
                    <a:pt x="2698773" y="1523747"/>
                    <a:pt x="2704066" y="1476130"/>
                  </a:cubicBezTo>
                  <a:cubicBezTo>
                    <a:pt x="2704066" y="1476130"/>
                    <a:pt x="2704066" y="1476130"/>
                    <a:pt x="2704066" y="1428514"/>
                  </a:cubicBezTo>
                  <a:cubicBezTo>
                    <a:pt x="2704066" y="1428514"/>
                    <a:pt x="2704066" y="1428514"/>
                    <a:pt x="2730529" y="1412641"/>
                  </a:cubicBezTo>
                  <a:cubicBezTo>
                    <a:pt x="2730529" y="1412641"/>
                    <a:pt x="2730529" y="1412641"/>
                    <a:pt x="2762283" y="1423223"/>
                  </a:cubicBezTo>
                  <a:cubicBezTo>
                    <a:pt x="2762283" y="1423223"/>
                    <a:pt x="2762283" y="1423223"/>
                    <a:pt x="2841670" y="1423223"/>
                  </a:cubicBezTo>
                  <a:cubicBezTo>
                    <a:pt x="2841670" y="1423223"/>
                    <a:pt x="2841670" y="1423223"/>
                    <a:pt x="2862841" y="1380897"/>
                  </a:cubicBezTo>
                  <a:cubicBezTo>
                    <a:pt x="2862841" y="1380897"/>
                    <a:pt x="2862841" y="1380897"/>
                    <a:pt x="2862841" y="1359734"/>
                  </a:cubicBezTo>
                  <a:cubicBezTo>
                    <a:pt x="2862841" y="1359734"/>
                    <a:pt x="2862841" y="1359734"/>
                    <a:pt x="2836378" y="1322698"/>
                  </a:cubicBezTo>
                  <a:cubicBezTo>
                    <a:pt x="2836378" y="1322698"/>
                    <a:pt x="2836378" y="1322698"/>
                    <a:pt x="2809916" y="1306826"/>
                  </a:cubicBezTo>
                  <a:cubicBezTo>
                    <a:pt x="2809916" y="1306826"/>
                    <a:pt x="2809916" y="1306826"/>
                    <a:pt x="2794038" y="1296245"/>
                  </a:cubicBezTo>
                  <a:cubicBezTo>
                    <a:pt x="2794038" y="1296245"/>
                    <a:pt x="2794038" y="1296245"/>
                    <a:pt x="2799330" y="1280372"/>
                  </a:cubicBezTo>
                  <a:cubicBezTo>
                    <a:pt x="2799330" y="1280372"/>
                    <a:pt x="2799330" y="1280372"/>
                    <a:pt x="2831085" y="1285663"/>
                  </a:cubicBezTo>
                  <a:cubicBezTo>
                    <a:pt x="2831085" y="1285663"/>
                    <a:pt x="2831085" y="1285663"/>
                    <a:pt x="2841670" y="1275081"/>
                  </a:cubicBezTo>
                  <a:cubicBezTo>
                    <a:pt x="2841670" y="1275081"/>
                    <a:pt x="2841670" y="1275081"/>
                    <a:pt x="2836378" y="1259209"/>
                  </a:cubicBezTo>
                  <a:cubicBezTo>
                    <a:pt x="2836378" y="1259209"/>
                    <a:pt x="2836378" y="1259209"/>
                    <a:pt x="2820501" y="1238046"/>
                  </a:cubicBezTo>
                  <a:cubicBezTo>
                    <a:pt x="2820501" y="1238046"/>
                    <a:pt x="2820501" y="1238046"/>
                    <a:pt x="2788746" y="1243337"/>
                  </a:cubicBezTo>
                  <a:cubicBezTo>
                    <a:pt x="2788746" y="1243337"/>
                    <a:pt x="2788746" y="1243337"/>
                    <a:pt x="2783453" y="1232755"/>
                  </a:cubicBezTo>
                  <a:cubicBezTo>
                    <a:pt x="2783453" y="1232755"/>
                    <a:pt x="2783453" y="1232755"/>
                    <a:pt x="2815208" y="1216883"/>
                  </a:cubicBezTo>
                  <a:cubicBezTo>
                    <a:pt x="2815208" y="1216883"/>
                    <a:pt x="2815208" y="1216883"/>
                    <a:pt x="2778161" y="1206302"/>
                  </a:cubicBezTo>
                  <a:cubicBezTo>
                    <a:pt x="2778161" y="1206302"/>
                    <a:pt x="2778161" y="1206302"/>
                    <a:pt x="2794038" y="1179848"/>
                  </a:cubicBezTo>
                  <a:cubicBezTo>
                    <a:pt x="2794038" y="1179848"/>
                    <a:pt x="2794038" y="1179848"/>
                    <a:pt x="2809916" y="1158685"/>
                  </a:cubicBezTo>
                  <a:cubicBezTo>
                    <a:pt x="2809916" y="1158685"/>
                    <a:pt x="2809916" y="1158685"/>
                    <a:pt x="2815208" y="1121649"/>
                  </a:cubicBezTo>
                  <a:cubicBezTo>
                    <a:pt x="2815208" y="1121649"/>
                    <a:pt x="2815208" y="1121649"/>
                    <a:pt x="2788746" y="1116359"/>
                  </a:cubicBezTo>
                  <a:cubicBezTo>
                    <a:pt x="2788746" y="1116359"/>
                    <a:pt x="2788746" y="1116359"/>
                    <a:pt x="2767576" y="1079323"/>
                  </a:cubicBezTo>
                  <a:cubicBezTo>
                    <a:pt x="2767576" y="1079323"/>
                    <a:pt x="2767576" y="1079323"/>
                    <a:pt x="2767576" y="1042288"/>
                  </a:cubicBezTo>
                  <a:cubicBezTo>
                    <a:pt x="2767576" y="1042288"/>
                    <a:pt x="2767576" y="1042288"/>
                    <a:pt x="2788746" y="1015834"/>
                  </a:cubicBezTo>
                  <a:cubicBezTo>
                    <a:pt x="2788746" y="1015834"/>
                    <a:pt x="2788746" y="1015834"/>
                    <a:pt x="2825793" y="1005253"/>
                  </a:cubicBezTo>
                  <a:cubicBezTo>
                    <a:pt x="2825793" y="1005253"/>
                    <a:pt x="2825793" y="1005253"/>
                    <a:pt x="2815208" y="1031706"/>
                  </a:cubicBezTo>
                  <a:cubicBezTo>
                    <a:pt x="2815208" y="1031706"/>
                    <a:pt x="2815208" y="1031706"/>
                    <a:pt x="2841670" y="1052870"/>
                  </a:cubicBezTo>
                  <a:cubicBezTo>
                    <a:pt x="2841670" y="1052870"/>
                    <a:pt x="2841670" y="1052870"/>
                    <a:pt x="2825793" y="1089905"/>
                  </a:cubicBezTo>
                  <a:cubicBezTo>
                    <a:pt x="2825793" y="1089905"/>
                    <a:pt x="2825793" y="1089905"/>
                    <a:pt x="2873426" y="1158685"/>
                  </a:cubicBezTo>
                  <a:cubicBezTo>
                    <a:pt x="2873426" y="1158685"/>
                    <a:pt x="2873426" y="1158685"/>
                    <a:pt x="2899888" y="1185139"/>
                  </a:cubicBezTo>
                  <a:cubicBezTo>
                    <a:pt x="2899888" y="1185139"/>
                    <a:pt x="2899888" y="1185139"/>
                    <a:pt x="2899888" y="1222174"/>
                  </a:cubicBezTo>
                  <a:cubicBezTo>
                    <a:pt x="2899888" y="1222174"/>
                    <a:pt x="2899888" y="1222174"/>
                    <a:pt x="2846963" y="1253918"/>
                  </a:cubicBezTo>
                  <a:cubicBezTo>
                    <a:pt x="2846963" y="1253918"/>
                    <a:pt x="2846963" y="1253918"/>
                    <a:pt x="2873426" y="1269791"/>
                  </a:cubicBezTo>
                  <a:cubicBezTo>
                    <a:pt x="2873426" y="1269791"/>
                    <a:pt x="2873426" y="1269791"/>
                    <a:pt x="2947520" y="1216883"/>
                  </a:cubicBezTo>
                  <a:cubicBezTo>
                    <a:pt x="2947520" y="1216883"/>
                    <a:pt x="2947520" y="1216883"/>
                    <a:pt x="2958106" y="1179848"/>
                  </a:cubicBezTo>
                  <a:cubicBezTo>
                    <a:pt x="2958106" y="1179848"/>
                    <a:pt x="2958106" y="1179848"/>
                    <a:pt x="2995153" y="1153394"/>
                  </a:cubicBezTo>
                  <a:cubicBezTo>
                    <a:pt x="2995153" y="1153394"/>
                    <a:pt x="2995153" y="1153394"/>
                    <a:pt x="3032200" y="1142812"/>
                  </a:cubicBezTo>
                  <a:cubicBezTo>
                    <a:pt x="3032200" y="1142812"/>
                    <a:pt x="3032200" y="1142812"/>
                    <a:pt x="3016323" y="1116359"/>
                  </a:cubicBezTo>
                  <a:cubicBezTo>
                    <a:pt x="3016323" y="1116359"/>
                    <a:pt x="3016323" y="1116359"/>
                    <a:pt x="3011030" y="1084614"/>
                  </a:cubicBezTo>
                  <a:cubicBezTo>
                    <a:pt x="3011030" y="1084614"/>
                    <a:pt x="3011030" y="1084614"/>
                    <a:pt x="3032200" y="1074033"/>
                  </a:cubicBezTo>
                  <a:cubicBezTo>
                    <a:pt x="3032200" y="1074033"/>
                    <a:pt x="3032200" y="1074033"/>
                    <a:pt x="3032200" y="1047579"/>
                  </a:cubicBezTo>
                  <a:cubicBezTo>
                    <a:pt x="3032200" y="1047579"/>
                    <a:pt x="3032200" y="1047579"/>
                    <a:pt x="3053370" y="1031706"/>
                  </a:cubicBezTo>
                  <a:cubicBezTo>
                    <a:pt x="3053370" y="1031706"/>
                    <a:pt x="3053370" y="1031706"/>
                    <a:pt x="3069248" y="1111068"/>
                  </a:cubicBezTo>
                  <a:cubicBezTo>
                    <a:pt x="3069248" y="1111068"/>
                    <a:pt x="3069248" y="1111068"/>
                    <a:pt x="3101002" y="1089905"/>
                  </a:cubicBezTo>
                  <a:cubicBezTo>
                    <a:pt x="3101002" y="1089905"/>
                    <a:pt x="3101002" y="1089905"/>
                    <a:pt x="3074540" y="1036997"/>
                  </a:cubicBezTo>
                  <a:cubicBezTo>
                    <a:pt x="3074540" y="1036997"/>
                    <a:pt x="3074540" y="1036997"/>
                    <a:pt x="3063955" y="984090"/>
                  </a:cubicBezTo>
                  <a:cubicBezTo>
                    <a:pt x="3063955" y="984090"/>
                    <a:pt x="3063955" y="984090"/>
                    <a:pt x="3005738" y="1036997"/>
                  </a:cubicBezTo>
                  <a:cubicBezTo>
                    <a:pt x="3005738" y="1036997"/>
                    <a:pt x="3005738" y="1036997"/>
                    <a:pt x="2973983" y="1021125"/>
                  </a:cubicBezTo>
                  <a:cubicBezTo>
                    <a:pt x="2973983" y="1021125"/>
                    <a:pt x="2973983" y="1021125"/>
                    <a:pt x="2958106" y="957636"/>
                  </a:cubicBezTo>
                  <a:cubicBezTo>
                    <a:pt x="2958106" y="957636"/>
                    <a:pt x="2958106" y="957636"/>
                    <a:pt x="2968690" y="894147"/>
                  </a:cubicBezTo>
                  <a:cubicBezTo>
                    <a:pt x="2968690" y="894147"/>
                    <a:pt x="2968690" y="894147"/>
                    <a:pt x="3074540" y="809494"/>
                  </a:cubicBezTo>
                  <a:cubicBezTo>
                    <a:pt x="3074540" y="809494"/>
                    <a:pt x="3074540" y="809494"/>
                    <a:pt x="3101002" y="751296"/>
                  </a:cubicBezTo>
                  <a:cubicBezTo>
                    <a:pt x="3101002" y="751296"/>
                    <a:pt x="3101002" y="751296"/>
                    <a:pt x="3127465" y="703679"/>
                  </a:cubicBezTo>
                  <a:cubicBezTo>
                    <a:pt x="3127465" y="703679"/>
                    <a:pt x="3127465" y="703679"/>
                    <a:pt x="3148635" y="671935"/>
                  </a:cubicBezTo>
                  <a:cubicBezTo>
                    <a:pt x="3148635" y="671935"/>
                    <a:pt x="3148635" y="671935"/>
                    <a:pt x="3185682" y="661353"/>
                  </a:cubicBezTo>
                  <a:cubicBezTo>
                    <a:pt x="3185682" y="661353"/>
                    <a:pt x="3185682" y="661353"/>
                    <a:pt x="3201560" y="634899"/>
                  </a:cubicBezTo>
                  <a:cubicBezTo>
                    <a:pt x="3201560" y="634899"/>
                    <a:pt x="3201560" y="634899"/>
                    <a:pt x="3217437" y="634899"/>
                  </a:cubicBezTo>
                  <a:cubicBezTo>
                    <a:pt x="3217437" y="634899"/>
                    <a:pt x="3217437" y="634899"/>
                    <a:pt x="3233315" y="656062"/>
                  </a:cubicBezTo>
                  <a:cubicBezTo>
                    <a:pt x="3233315" y="656062"/>
                    <a:pt x="3233315" y="656062"/>
                    <a:pt x="3243900" y="634899"/>
                  </a:cubicBezTo>
                  <a:cubicBezTo>
                    <a:pt x="3243900" y="634899"/>
                    <a:pt x="3243900" y="634899"/>
                    <a:pt x="3291532" y="619027"/>
                  </a:cubicBezTo>
                  <a:cubicBezTo>
                    <a:pt x="3291532" y="619027"/>
                    <a:pt x="3291532" y="619027"/>
                    <a:pt x="3344457" y="656062"/>
                  </a:cubicBezTo>
                  <a:cubicBezTo>
                    <a:pt x="3344457" y="656062"/>
                    <a:pt x="3344457" y="656062"/>
                    <a:pt x="3370919" y="645481"/>
                  </a:cubicBezTo>
                  <a:cubicBezTo>
                    <a:pt x="3370919" y="645481"/>
                    <a:pt x="3370919" y="645481"/>
                    <a:pt x="3392089" y="666644"/>
                  </a:cubicBezTo>
                  <a:cubicBezTo>
                    <a:pt x="3392089" y="666644"/>
                    <a:pt x="3392089" y="666644"/>
                    <a:pt x="3429137" y="661353"/>
                  </a:cubicBezTo>
                  <a:cubicBezTo>
                    <a:pt x="3429137" y="661353"/>
                    <a:pt x="3429137" y="661353"/>
                    <a:pt x="3497939" y="693098"/>
                  </a:cubicBezTo>
                  <a:cubicBezTo>
                    <a:pt x="3497939" y="693098"/>
                    <a:pt x="3497939" y="693098"/>
                    <a:pt x="3519109" y="719551"/>
                  </a:cubicBezTo>
                  <a:cubicBezTo>
                    <a:pt x="3519109" y="719551"/>
                    <a:pt x="3519109" y="719551"/>
                    <a:pt x="3519109" y="746005"/>
                  </a:cubicBezTo>
                  <a:cubicBezTo>
                    <a:pt x="3519109" y="746005"/>
                    <a:pt x="3519109" y="746005"/>
                    <a:pt x="3487354" y="761877"/>
                  </a:cubicBezTo>
                  <a:cubicBezTo>
                    <a:pt x="3487354" y="761877"/>
                    <a:pt x="3487354" y="761877"/>
                    <a:pt x="3429137" y="751296"/>
                  </a:cubicBezTo>
                  <a:cubicBezTo>
                    <a:pt x="3429137" y="751296"/>
                    <a:pt x="3429137" y="751296"/>
                    <a:pt x="3397382" y="735424"/>
                  </a:cubicBezTo>
                  <a:cubicBezTo>
                    <a:pt x="3397382" y="735424"/>
                    <a:pt x="3397382" y="735424"/>
                    <a:pt x="3370919" y="730133"/>
                  </a:cubicBezTo>
                  <a:cubicBezTo>
                    <a:pt x="3370919" y="730133"/>
                    <a:pt x="3370919" y="730133"/>
                    <a:pt x="3397382" y="756587"/>
                  </a:cubicBezTo>
                  <a:cubicBezTo>
                    <a:pt x="3397382" y="756587"/>
                    <a:pt x="3397382" y="756587"/>
                    <a:pt x="3429137" y="777750"/>
                  </a:cubicBezTo>
                  <a:cubicBezTo>
                    <a:pt x="3429137" y="777750"/>
                    <a:pt x="3429137" y="777750"/>
                    <a:pt x="3434429" y="809494"/>
                  </a:cubicBezTo>
                  <a:cubicBezTo>
                    <a:pt x="3434429" y="809494"/>
                    <a:pt x="3434429" y="809494"/>
                    <a:pt x="3466184" y="830658"/>
                  </a:cubicBezTo>
                  <a:cubicBezTo>
                    <a:pt x="3466184" y="830658"/>
                    <a:pt x="3466184" y="830658"/>
                    <a:pt x="3497939" y="825367"/>
                  </a:cubicBezTo>
                  <a:cubicBezTo>
                    <a:pt x="3497939" y="825367"/>
                    <a:pt x="3497939" y="825367"/>
                    <a:pt x="3487354" y="809494"/>
                  </a:cubicBezTo>
                  <a:cubicBezTo>
                    <a:pt x="3487354" y="809494"/>
                    <a:pt x="3487354" y="809494"/>
                    <a:pt x="3460892" y="788331"/>
                  </a:cubicBezTo>
                  <a:cubicBezTo>
                    <a:pt x="3460892" y="788331"/>
                    <a:pt x="3460892" y="788331"/>
                    <a:pt x="3476769" y="788331"/>
                  </a:cubicBezTo>
                  <a:cubicBezTo>
                    <a:pt x="3476769" y="788331"/>
                    <a:pt x="3476769" y="788331"/>
                    <a:pt x="3503232" y="804204"/>
                  </a:cubicBezTo>
                  <a:cubicBezTo>
                    <a:pt x="3503232" y="804204"/>
                    <a:pt x="3503232" y="804204"/>
                    <a:pt x="3529694" y="788331"/>
                  </a:cubicBezTo>
                  <a:cubicBezTo>
                    <a:pt x="3529694" y="788331"/>
                    <a:pt x="3529694" y="788331"/>
                    <a:pt x="3513817" y="767168"/>
                  </a:cubicBezTo>
                  <a:cubicBezTo>
                    <a:pt x="3513817" y="767168"/>
                    <a:pt x="3513817" y="767168"/>
                    <a:pt x="3529694" y="751296"/>
                  </a:cubicBezTo>
                  <a:cubicBezTo>
                    <a:pt x="3529694" y="751296"/>
                    <a:pt x="3529694" y="751296"/>
                    <a:pt x="3540279" y="735424"/>
                  </a:cubicBezTo>
                  <a:cubicBezTo>
                    <a:pt x="3540279" y="735424"/>
                    <a:pt x="3540279" y="735424"/>
                    <a:pt x="3545572" y="735424"/>
                  </a:cubicBezTo>
                  <a:cubicBezTo>
                    <a:pt x="3545572" y="735424"/>
                    <a:pt x="3545572" y="735424"/>
                    <a:pt x="3577327" y="756587"/>
                  </a:cubicBezTo>
                  <a:cubicBezTo>
                    <a:pt x="3577327" y="756587"/>
                    <a:pt x="3577327" y="756587"/>
                    <a:pt x="3577327" y="735424"/>
                  </a:cubicBezTo>
                  <a:cubicBezTo>
                    <a:pt x="3577327" y="735424"/>
                    <a:pt x="3577327" y="735424"/>
                    <a:pt x="3572034" y="719551"/>
                  </a:cubicBezTo>
                  <a:cubicBezTo>
                    <a:pt x="3572034" y="719551"/>
                    <a:pt x="3572034" y="719551"/>
                    <a:pt x="3556157" y="687807"/>
                  </a:cubicBezTo>
                  <a:cubicBezTo>
                    <a:pt x="3556157" y="687807"/>
                    <a:pt x="3556157" y="687807"/>
                    <a:pt x="3550864" y="666644"/>
                  </a:cubicBezTo>
                  <a:cubicBezTo>
                    <a:pt x="3550864" y="666644"/>
                    <a:pt x="3550864" y="666644"/>
                    <a:pt x="3566742" y="666644"/>
                  </a:cubicBezTo>
                  <a:cubicBezTo>
                    <a:pt x="3566742" y="666644"/>
                    <a:pt x="3566742" y="666644"/>
                    <a:pt x="3598497" y="671935"/>
                  </a:cubicBezTo>
                  <a:cubicBezTo>
                    <a:pt x="3598497" y="671935"/>
                    <a:pt x="3598497" y="671935"/>
                    <a:pt x="3603789" y="693098"/>
                  </a:cubicBezTo>
                  <a:cubicBezTo>
                    <a:pt x="3603789" y="693098"/>
                    <a:pt x="3603789" y="693098"/>
                    <a:pt x="3593204" y="687807"/>
                  </a:cubicBezTo>
                  <a:cubicBezTo>
                    <a:pt x="3593204" y="687807"/>
                    <a:pt x="3593204" y="687807"/>
                    <a:pt x="3577327" y="703679"/>
                  </a:cubicBezTo>
                  <a:cubicBezTo>
                    <a:pt x="3577327" y="703679"/>
                    <a:pt x="3577327" y="703679"/>
                    <a:pt x="3598497" y="719551"/>
                  </a:cubicBezTo>
                  <a:cubicBezTo>
                    <a:pt x="3598497" y="719551"/>
                    <a:pt x="3598497" y="719551"/>
                    <a:pt x="3624959" y="724842"/>
                  </a:cubicBezTo>
                  <a:cubicBezTo>
                    <a:pt x="3624959" y="724842"/>
                    <a:pt x="3624959" y="724842"/>
                    <a:pt x="3624959" y="703679"/>
                  </a:cubicBezTo>
                  <a:cubicBezTo>
                    <a:pt x="3624959" y="703679"/>
                    <a:pt x="3624959" y="703679"/>
                    <a:pt x="3640837" y="677225"/>
                  </a:cubicBezTo>
                  <a:cubicBezTo>
                    <a:pt x="3640837" y="677225"/>
                    <a:pt x="3640837" y="677225"/>
                    <a:pt x="3688469" y="656062"/>
                  </a:cubicBezTo>
                  <a:cubicBezTo>
                    <a:pt x="3688469" y="656062"/>
                    <a:pt x="3688469" y="656062"/>
                    <a:pt x="3699054" y="634899"/>
                  </a:cubicBezTo>
                  <a:cubicBezTo>
                    <a:pt x="3699054" y="634899"/>
                    <a:pt x="3699054" y="634899"/>
                    <a:pt x="3714931" y="629608"/>
                  </a:cubicBezTo>
                  <a:cubicBezTo>
                    <a:pt x="3714931" y="629608"/>
                    <a:pt x="3714931" y="629608"/>
                    <a:pt x="3699054" y="671935"/>
                  </a:cubicBezTo>
                  <a:cubicBezTo>
                    <a:pt x="3699054" y="671935"/>
                    <a:pt x="3699054" y="671935"/>
                    <a:pt x="3720224" y="661353"/>
                  </a:cubicBezTo>
                  <a:cubicBezTo>
                    <a:pt x="3720224" y="661353"/>
                    <a:pt x="3720224" y="661353"/>
                    <a:pt x="3757271" y="640190"/>
                  </a:cubicBezTo>
                  <a:cubicBezTo>
                    <a:pt x="3757271" y="640190"/>
                    <a:pt x="3757271" y="640190"/>
                    <a:pt x="3789026" y="634899"/>
                  </a:cubicBezTo>
                  <a:cubicBezTo>
                    <a:pt x="3789026" y="634899"/>
                    <a:pt x="3789026" y="634899"/>
                    <a:pt x="3804904" y="634899"/>
                  </a:cubicBezTo>
                  <a:cubicBezTo>
                    <a:pt x="3804904" y="634899"/>
                    <a:pt x="3804904" y="634899"/>
                    <a:pt x="3799611" y="608445"/>
                  </a:cubicBezTo>
                  <a:cubicBezTo>
                    <a:pt x="3799611" y="608445"/>
                    <a:pt x="3799611" y="608445"/>
                    <a:pt x="3725516" y="581992"/>
                  </a:cubicBezTo>
                  <a:cubicBezTo>
                    <a:pt x="3725516" y="581992"/>
                    <a:pt x="3725516" y="581992"/>
                    <a:pt x="3688469" y="581992"/>
                  </a:cubicBezTo>
                  <a:cubicBezTo>
                    <a:pt x="3688469" y="581992"/>
                    <a:pt x="3688469" y="581992"/>
                    <a:pt x="3677884" y="571410"/>
                  </a:cubicBezTo>
                  <a:cubicBezTo>
                    <a:pt x="3677884" y="571410"/>
                    <a:pt x="3677884" y="571410"/>
                    <a:pt x="3651421" y="566119"/>
                  </a:cubicBezTo>
                  <a:cubicBezTo>
                    <a:pt x="3651421" y="566119"/>
                    <a:pt x="3651421" y="566119"/>
                    <a:pt x="3640837" y="539666"/>
                  </a:cubicBezTo>
                  <a:cubicBezTo>
                    <a:pt x="3640837" y="539666"/>
                    <a:pt x="3640837" y="539666"/>
                    <a:pt x="3667299" y="529084"/>
                  </a:cubicBezTo>
                  <a:cubicBezTo>
                    <a:pt x="3667299" y="529084"/>
                    <a:pt x="3667299" y="529084"/>
                    <a:pt x="3662006" y="502630"/>
                  </a:cubicBezTo>
                  <a:cubicBezTo>
                    <a:pt x="3662006" y="502630"/>
                    <a:pt x="3662006" y="502630"/>
                    <a:pt x="3677884" y="465595"/>
                  </a:cubicBezTo>
                  <a:cubicBezTo>
                    <a:pt x="3677884" y="465595"/>
                    <a:pt x="3677884" y="465595"/>
                    <a:pt x="3693761" y="439141"/>
                  </a:cubicBezTo>
                  <a:cubicBezTo>
                    <a:pt x="3693761" y="439141"/>
                    <a:pt x="3693761" y="439141"/>
                    <a:pt x="3683176" y="428560"/>
                  </a:cubicBezTo>
                  <a:cubicBezTo>
                    <a:pt x="3683176" y="428560"/>
                    <a:pt x="3683176" y="428560"/>
                    <a:pt x="3683176" y="417978"/>
                  </a:cubicBezTo>
                  <a:cubicBezTo>
                    <a:pt x="3683176" y="417978"/>
                    <a:pt x="3683176" y="417978"/>
                    <a:pt x="3699054" y="417978"/>
                  </a:cubicBezTo>
                  <a:cubicBezTo>
                    <a:pt x="3699054" y="417978"/>
                    <a:pt x="3699054" y="417978"/>
                    <a:pt x="3709639" y="396815"/>
                  </a:cubicBezTo>
                  <a:cubicBezTo>
                    <a:pt x="3709639" y="396815"/>
                    <a:pt x="3709639" y="396815"/>
                    <a:pt x="3751979" y="370361"/>
                  </a:cubicBezTo>
                  <a:cubicBezTo>
                    <a:pt x="3751979" y="370361"/>
                    <a:pt x="3751979" y="370361"/>
                    <a:pt x="3815489" y="343907"/>
                  </a:cubicBezTo>
                  <a:cubicBezTo>
                    <a:pt x="3815489" y="343907"/>
                    <a:pt x="3815489" y="343907"/>
                    <a:pt x="3820781" y="328035"/>
                  </a:cubicBezTo>
                  <a:cubicBezTo>
                    <a:pt x="3820781" y="328035"/>
                    <a:pt x="3820781" y="328035"/>
                    <a:pt x="3847244" y="322744"/>
                  </a:cubicBezTo>
                  <a:cubicBezTo>
                    <a:pt x="3847244" y="322744"/>
                    <a:pt x="3847244" y="322744"/>
                    <a:pt x="3841951" y="354489"/>
                  </a:cubicBezTo>
                  <a:cubicBezTo>
                    <a:pt x="3841951" y="354489"/>
                    <a:pt x="3841951" y="354489"/>
                    <a:pt x="3820781" y="365070"/>
                  </a:cubicBezTo>
                  <a:cubicBezTo>
                    <a:pt x="3820781" y="365070"/>
                    <a:pt x="3820781" y="365070"/>
                    <a:pt x="3778441" y="396815"/>
                  </a:cubicBezTo>
                  <a:cubicBezTo>
                    <a:pt x="3778441" y="396815"/>
                    <a:pt x="3778441" y="396815"/>
                    <a:pt x="3725516" y="444432"/>
                  </a:cubicBezTo>
                  <a:cubicBezTo>
                    <a:pt x="3725516" y="444432"/>
                    <a:pt x="3725516" y="444432"/>
                    <a:pt x="3704346" y="502630"/>
                  </a:cubicBezTo>
                  <a:cubicBezTo>
                    <a:pt x="3704346" y="502630"/>
                    <a:pt x="3704346" y="502630"/>
                    <a:pt x="3699054" y="544956"/>
                  </a:cubicBezTo>
                  <a:cubicBezTo>
                    <a:pt x="3699054" y="544956"/>
                    <a:pt x="3699054" y="544956"/>
                    <a:pt x="3741394" y="576701"/>
                  </a:cubicBezTo>
                  <a:cubicBezTo>
                    <a:pt x="3741394" y="576701"/>
                    <a:pt x="3741394" y="576701"/>
                    <a:pt x="3799611" y="597864"/>
                  </a:cubicBezTo>
                  <a:cubicBezTo>
                    <a:pt x="3799611" y="597864"/>
                    <a:pt x="3799611" y="597864"/>
                    <a:pt x="3831366" y="597864"/>
                  </a:cubicBezTo>
                  <a:cubicBezTo>
                    <a:pt x="3831366" y="597864"/>
                    <a:pt x="3831366" y="597864"/>
                    <a:pt x="3847244" y="592573"/>
                  </a:cubicBezTo>
                  <a:cubicBezTo>
                    <a:pt x="3847244" y="592573"/>
                    <a:pt x="3847244" y="592573"/>
                    <a:pt x="3878999" y="608445"/>
                  </a:cubicBezTo>
                  <a:cubicBezTo>
                    <a:pt x="3878999" y="608445"/>
                    <a:pt x="3878999" y="608445"/>
                    <a:pt x="3905461" y="608445"/>
                  </a:cubicBezTo>
                  <a:cubicBezTo>
                    <a:pt x="3905461" y="608445"/>
                    <a:pt x="3905461" y="608445"/>
                    <a:pt x="3942509" y="634899"/>
                  </a:cubicBezTo>
                  <a:cubicBezTo>
                    <a:pt x="3942509" y="634899"/>
                    <a:pt x="3942509" y="634899"/>
                    <a:pt x="3931924" y="608445"/>
                  </a:cubicBezTo>
                  <a:cubicBezTo>
                    <a:pt x="3931924" y="608445"/>
                    <a:pt x="3931924" y="608445"/>
                    <a:pt x="3910754" y="581992"/>
                  </a:cubicBezTo>
                  <a:cubicBezTo>
                    <a:pt x="3910754" y="581992"/>
                    <a:pt x="3910754" y="581992"/>
                    <a:pt x="3894876" y="587282"/>
                  </a:cubicBezTo>
                  <a:cubicBezTo>
                    <a:pt x="3894876" y="587282"/>
                    <a:pt x="3894876" y="587282"/>
                    <a:pt x="3889584" y="566119"/>
                  </a:cubicBezTo>
                  <a:cubicBezTo>
                    <a:pt x="3889584" y="566119"/>
                    <a:pt x="3889584" y="566119"/>
                    <a:pt x="3894876" y="550247"/>
                  </a:cubicBezTo>
                  <a:cubicBezTo>
                    <a:pt x="3894876" y="550247"/>
                    <a:pt x="3894876" y="550247"/>
                    <a:pt x="3878999" y="534375"/>
                  </a:cubicBezTo>
                  <a:cubicBezTo>
                    <a:pt x="3878999" y="534375"/>
                    <a:pt x="3878999" y="534375"/>
                    <a:pt x="3884291" y="523793"/>
                  </a:cubicBezTo>
                  <a:cubicBezTo>
                    <a:pt x="3884291" y="523793"/>
                    <a:pt x="3884291" y="523793"/>
                    <a:pt x="3905461" y="513212"/>
                  </a:cubicBezTo>
                  <a:cubicBezTo>
                    <a:pt x="3905461" y="513212"/>
                    <a:pt x="3905461" y="513212"/>
                    <a:pt x="3900169" y="486758"/>
                  </a:cubicBezTo>
                  <a:cubicBezTo>
                    <a:pt x="3900169" y="486758"/>
                    <a:pt x="3900169" y="486758"/>
                    <a:pt x="3905461" y="455013"/>
                  </a:cubicBezTo>
                  <a:cubicBezTo>
                    <a:pt x="3905461" y="455013"/>
                    <a:pt x="3905461" y="455013"/>
                    <a:pt x="3931924" y="455013"/>
                  </a:cubicBezTo>
                  <a:cubicBezTo>
                    <a:pt x="3931924" y="455013"/>
                    <a:pt x="3931924" y="455013"/>
                    <a:pt x="3958386" y="465595"/>
                  </a:cubicBezTo>
                  <a:cubicBezTo>
                    <a:pt x="3958386" y="465595"/>
                    <a:pt x="3958386" y="465595"/>
                    <a:pt x="3953093" y="507921"/>
                  </a:cubicBezTo>
                  <a:cubicBezTo>
                    <a:pt x="3953093" y="507921"/>
                    <a:pt x="3953093" y="507921"/>
                    <a:pt x="3979556" y="518502"/>
                  </a:cubicBezTo>
                  <a:cubicBezTo>
                    <a:pt x="3979556" y="518502"/>
                    <a:pt x="3979556" y="518502"/>
                    <a:pt x="3990141" y="566119"/>
                  </a:cubicBezTo>
                  <a:cubicBezTo>
                    <a:pt x="3990141" y="566119"/>
                    <a:pt x="3990141" y="566119"/>
                    <a:pt x="4016603" y="597864"/>
                  </a:cubicBezTo>
                  <a:cubicBezTo>
                    <a:pt x="4016603" y="597864"/>
                    <a:pt x="4016603" y="597864"/>
                    <a:pt x="4016603" y="619027"/>
                  </a:cubicBezTo>
                  <a:cubicBezTo>
                    <a:pt x="4016603" y="619027"/>
                    <a:pt x="4016603" y="619027"/>
                    <a:pt x="4011311" y="656062"/>
                  </a:cubicBezTo>
                  <a:cubicBezTo>
                    <a:pt x="4011311" y="656062"/>
                    <a:pt x="4011311" y="656062"/>
                    <a:pt x="3995433" y="671935"/>
                  </a:cubicBezTo>
                  <a:cubicBezTo>
                    <a:pt x="3995433" y="671935"/>
                    <a:pt x="3995433" y="671935"/>
                    <a:pt x="3979556" y="671935"/>
                  </a:cubicBezTo>
                  <a:cubicBezTo>
                    <a:pt x="3979556" y="671935"/>
                    <a:pt x="3979556" y="671935"/>
                    <a:pt x="3968971" y="682516"/>
                  </a:cubicBezTo>
                  <a:cubicBezTo>
                    <a:pt x="3968971" y="682516"/>
                    <a:pt x="3968971" y="682516"/>
                    <a:pt x="4021896" y="682516"/>
                  </a:cubicBezTo>
                  <a:cubicBezTo>
                    <a:pt x="4021896" y="682516"/>
                    <a:pt x="4021896" y="682516"/>
                    <a:pt x="4032481" y="656062"/>
                  </a:cubicBezTo>
                  <a:cubicBezTo>
                    <a:pt x="4032481" y="656062"/>
                    <a:pt x="4032481" y="656062"/>
                    <a:pt x="4043066" y="634899"/>
                  </a:cubicBezTo>
                  <a:cubicBezTo>
                    <a:pt x="4043066" y="634899"/>
                    <a:pt x="4043066" y="634899"/>
                    <a:pt x="4032481" y="603155"/>
                  </a:cubicBezTo>
                  <a:cubicBezTo>
                    <a:pt x="4032481" y="603155"/>
                    <a:pt x="4032481" y="603155"/>
                    <a:pt x="4053651" y="587282"/>
                  </a:cubicBezTo>
                  <a:cubicBezTo>
                    <a:pt x="4053651" y="587282"/>
                    <a:pt x="4053651" y="587282"/>
                    <a:pt x="4069528" y="597864"/>
                  </a:cubicBezTo>
                  <a:cubicBezTo>
                    <a:pt x="4069528" y="597864"/>
                    <a:pt x="4069528" y="597864"/>
                    <a:pt x="4085406" y="629608"/>
                  </a:cubicBezTo>
                  <a:cubicBezTo>
                    <a:pt x="4085406" y="629608"/>
                    <a:pt x="4085406" y="629608"/>
                    <a:pt x="4117161" y="640190"/>
                  </a:cubicBezTo>
                  <a:cubicBezTo>
                    <a:pt x="4117161" y="640190"/>
                    <a:pt x="4117161" y="640190"/>
                    <a:pt x="4133038" y="634899"/>
                  </a:cubicBezTo>
                  <a:cubicBezTo>
                    <a:pt x="4133038" y="634899"/>
                    <a:pt x="4133038" y="634899"/>
                    <a:pt x="4095991" y="619027"/>
                  </a:cubicBezTo>
                  <a:cubicBezTo>
                    <a:pt x="4095991" y="619027"/>
                    <a:pt x="4095991" y="619027"/>
                    <a:pt x="4085406" y="592573"/>
                  </a:cubicBezTo>
                  <a:cubicBezTo>
                    <a:pt x="4085406" y="592573"/>
                    <a:pt x="4085406" y="592573"/>
                    <a:pt x="4053651" y="576701"/>
                  </a:cubicBezTo>
                  <a:cubicBezTo>
                    <a:pt x="4053651" y="576701"/>
                    <a:pt x="4053651" y="576701"/>
                    <a:pt x="4021896" y="587282"/>
                  </a:cubicBezTo>
                  <a:cubicBezTo>
                    <a:pt x="4021896" y="587282"/>
                    <a:pt x="4021896" y="587282"/>
                    <a:pt x="4011311" y="576701"/>
                  </a:cubicBezTo>
                  <a:cubicBezTo>
                    <a:pt x="4011311" y="576701"/>
                    <a:pt x="4011311" y="576701"/>
                    <a:pt x="4011311" y="560829"/>
                  </a:cubicBezTo>
                  <a:cubicBezTo>
                    <a:pt x="4011311" y="560829"/>
                    <a:pt x="4011311" y="560829"/>
                    <a:pt x="4000726" y="550247"/>
                  </a:cubicBezTo>
                  <a:cubicBezTo>
                    <a:pt x="4000726" y="550247"/>
                    <a:pt x="4000726" y="550247"/>
                    <a:pt x="4000726" y="529084"/>
                  </a:cubicBezTo>
                  <a:cubicBezTo>
                    <a:pt x="4000726" y="529084"/>
                    <a:pt x="4000726" y="529084"/>
                    <a:pt x="3979556" y="507921"/>
                  </a:cubicBezTo>
                  <a:cubicBezTo>
                    <a:pt x="3979556" y="507921"/>
                    <a:pt x="3979556" y="507921"/>
                    <a:pt x="3984848" y="481467"/>
                  </a:cubicBezTo>
                  <a:cubicBezTo>
                    <a:pt x="3984848" y="481467"/>
                    <a:pt x="3984848" y="481467"/>
                    <a:pt x="3995433" y="460304"/>
                  </a:cubicBezTo>
                  <a:cubicBezTo>
                    <a:pt x="3995433" y="460304"/>
                    <a:pt x="3995433" y="460304"/>
                    <a:pt x="3990141" y="449723"/>
                  </a:cubicBezTo>
                  <a:cubicBezTo>
                    <a:pt x="3990141" y="449723"/>
                    <a:pt x="3990141" y="449723"/>
                    <a:pt x="3995433" y="444432"/>
                  </a:cubicBezTo>
                  <a:cubicBezTo>
                    <a:pt x="3995433" y="444432"/>
                    <a:pt x="3995433" y="444432"/>
                    <a:pt x="4016603" y="465595"/>
                  </a:cubicBezTo>
                  <a:cubicBezTo>
                    <a:pt x="4016603" y="465595"/>
                    <a:pt x="4016603" y="465595"/>
                    <a:pt x="4048358" y="470886"/>
                  </a:cubicBezTo>
                  <a:cubicBezTo>
                    <a:pt x="4048358" y="470886"/>
                    <a:pt x="4048358" y="470886"/>
                    <a:pt x="4037773" y="449723"/>
                  </a:cubicBezTo>
                  <a:cubicBezTo>
                    <a:pt x="4037773" y="449723"/>
                    <a:pt x="4037773" y="449723"/>
                    <a:pt x="4053651" y="439141"/>
                  </a:cubicBezTo>
                  <a:cubicBezTo>
                    <a:pt x="4053651" y="439141"/>
                    <a:pt x="4053651" y="439141"/>
                    <a:pt x="4085406" y="460304"/>
                  </a:cubicBezTo>
                  <a:cubicBezTo>
                    <a:pt x="4085406" y="460304"/>
                    <a:pt x="4085406" y="460304"/>
                    <a:pt x="4127746" y="470886"/>
                  </a:cubicBezTo>
                  <a:cubicBezTo>
                    <a:pt x="4127746" y="470886"/>
                    <a:pt x="4127746" y="470886"/>
                    <a:pt x="4133038" y="513212"/>
                  </a:cubicBezTo>
                  <a:cubicBezTo>
                    <a:pt x="4133038" y="513212"/>
                    <a:pt x="4133038" y="513212"/>
                    <a:pt x="4154208" y="539666"/>
                  </a:cubicBezTo>
                  <a:cubicBezTo>
                    <a:pt x="4154208" y="539666"/>
                    <a:pt x="4154208" y="539666"/>
                    <a:pt x="4170086" y="534375"/>
                  </a:cubicBezTo>
                  <a:cubicBezTo>
                    <a:pt x="4170086" y="534375"/>
                    <a:pt x="4170086" y="534375"/>
                    <a:pt x="4148916" y="507921"/>
                  </a:cubicBezTo>
                  <a:cubicBezTo>
                    <a:pt x="4148916" y="507921"/>
                    <a:pt x="4148916" y="507921"/>
                    <a:pt x="4148916" y="486758"/>
                  </a:cubicBezTo>
                  <a:cubicBezTo>
                    <a:pt x="4148916" y="486758"/>
                    <a:pt x="4148916" y="486758"/>
                    <a:pt x="4133038" y="455013"/>
                  </a:cubicBezTo>
                  <a:cubicBezTo>
                    <a:pt x="4133038" y="455013"/>
                    <a:pt x="4133038" y="455013"/>
                    <a:pt x="4090698" y="444432"/>
                  </a:cubicBezTo>
                  <a:cubicBezTo>
                    <a:pt x="4090698" y="444432"/>
                    <a:pt x="4090698" y="444432"/>
                    <a:pt x="4074821" y="428560"/>
                  </a:cubicBezTo>
                  <a:cubicBezTo>
                    <a:pt x="4074821" y="428560"/>
                    <a:pt x="4074821" y="428560"/>
                    <a:pt x="4069528" y="407397"/>
                  </a:cubicBezTo>
                  <a:cubicBezTo>
                    <a:pt x="4069528" y="407397"/>
                    <a:pt x="4069528" y="407397"/>
                    <a:pt x="4085406" y="391524"/>
                  </a:cubicBezTo>
                  <a:cubicBezTo>
                    <a:pt x="4085406" y="391524"/>
                    <a:pt x="4085406" y="391524"/>
                    <a:pt x="4122453" y="380943"/>
                  </a:cubicBezTo>
                  <a:cubicBezTo>
                    <a:pt x="4122453" y="380943"/>
                    <a:pt x="4122453" y="380943"/>
                    <a:pt x="4143623" y="370361"/>
                  </a:cubicBezTo>
                  <a:cubicBezTo>
                    <a:pt x="4143623" y="370361"/>
                    <a:pt x="4143623" y="370361"/>
                    <a:pt x="4148916" y="396815"/>
                  </a:cubicBezTo>
                  <a:cubicBezTo>
                    <a:pt x="4148916" y="396815"/>
                    <a:pt x="4148916" y="396815"/>
                    <a:pt x="4164793" y="365070"/>
                  </a:cubicBezTo>
                  <a:cubicBezTo>
                    <a:pt x="4164793" y="365070"/>
                    <a:pt x="4164793" y="365070"/>
                    <a:pt x="4143623" y="349198"/>
                  </a:cubicBezTo>
                  <a:cubicBezTo>
                    <a:pt x="4143623" y="349198"/>
                    <a:pt x="4143623" y="349198"/>
                    <a:pt x="4138331" y="328035"/>
                  </a:cubicBezTo>
                  <a:cubicBezTo>
                    <a:pt x="4138331" y="328035"/>
                    <a:pt x="4138331" y="328035"/>
                    <a:pt x="4154208" y="312163"/>
                  </a:cubicBezTo>
                  <a:cubicBezTo>
                    <a:pt x="4154208" y="312163"/>
                    <a:pt x="4154208" y="312163"/>
                    <a:pt x="4164793" y="291000"/>
                  </a:cubicBezTo>
                  <a:cubicBezTo>
                    <a:pt x="4164793" y="291000"/>
                    <a:pt x="4164793" y="291000"/>
                    <a:pt x="4191256" y="285709"/>
                  </a:cubicBezTo>
                  <a:cubicBezTo>
                    <a:pt x="4191256" y="285709"/>
                    <a:pt x="4191256" y="285709"/>
                    <a:pt x="4249473" y="238092"/>
                  </a:cubicBezTo>
                  <a:cubicBezTo>
                    <a:pt x="4249473" y="238092"/>
                    <a:pt x="4249473" y="238092"/>
                    <a:pt x="4265350" y="248674"/>
                  </a:cubicBezTo>
                  <a:cubicBezTo>
                    <a:pt x="4265350" y="248674"/>
                    <a:pt x="4265350" y="248674"/>
                    <a:pt x="4307690" y="243383"/>
                  </a:cubicBezTo>
                  <a:cubicBezTo>
                    <a:pt x="4307690" y="243383"/>
                    <a:pt x="4307690" y="243383"/>
                    <a:pt x="4281228" y="222220"/>
                  </a:cubicBezTo>
                  <a:cubicBezTo>
                    <a:pt x="4281228" y="222220"/>
                    <a:pt x="4281228" y="222220"/>
                    <a:pt x="4307690" y="211638"/>
                  </a:cubicBezTo>
                  <a:cubicBezTo>
                    <a:pt x="4307690" y="211638"/>
                    <a:pt x="4307690" y="211638"/>
                    <a:pt x="4334153" y="211638"/>
                  </a:cubicBezTo>
                  <a:cubicBezTo>
                    <a:pt x="4334153" y="211638"/>
                    <a:pt x="4334153" y="211638"/>
                    <a:pt x="4339445" y="201057"/>
                  </a:cubicBezTo>
                  <a:cubicBezTo>
                    <a:pt x="4339445" y="201057"/>
                    <a:pt x="4339445" y="201057"/>
                    <a:pt x="4323568" y="206348"/>
                  </a:cubicBezTo>
                  <a:cubicBezTo>
                    <a:pt x="4323568" y="206348"/>
                    <a:pt x="4323568" y="206348"/>
                    <a:pt x="4307690" y="190476"/>
                  </a:cubicBezTo>
                  <a:cubicBezTo>
                    <a:pt x="4307690" y="190476"/>
                    <a:pt x="4307690" y="190476"/>
                    <a:pt x="4312983" y="164022"/>
                  </a:cubicBezTo>
                  <a:cubicBezTo>
                    <a:pt x="4312983" y="164022"/>
                    <a:pt x="4312983" y="164022"/>
                    <a:pt x="4323568" y="142859"/>
                  </a:cubicBezTo>
                  <a:cubicBezTo>
                    <a:pt x="4323568" y="142859"/>
                    <a:pt x="4323568" y="142859"/>
                    <a:pt x="4339445" y="142859"/>
                  </a:cubicBezTo>
                  <a:cubicBezTo>
                    <a:pt x="4339445" y="142859"/>
                    <a:pt x="4339445" y="142859"/>
                    <a:pt x="4350030" y="174603"/>
                  </a:cubicBezTo>
                  <a:cubicBezTo>
                    <a:pt x="4350030" y="174603"/>
                    <a:pt x="4350030" y="174603"/>
                    <a:pt x="4365908" y="179894"/>
                  </a:cubicBezTo>
                  <a:cubicBezTo>
                    <a:pt x="4365908" y="179894"/>
                    <a:pt x="4365908" y="179894"/>
                    <a:pt x="4387078" y="179894"/>
                  </a:cubicBezTo>
                  <a:cubicBezTo>
                    <a:pt x="4387078" y="179894"/>
                    <a:pt x="4387078" y="179894"/>
                    <a:pt x="4429418" y="164022"/>
                  </a:cubicBezTo>
                  <a:cubicBezTo>
                    <a:pt x="4429418" y="164022"/>
                    <a:pt x="4429418" y="164022"/>
                    <a:pt x="4461173" y="153440"/>
                  </a:cubicBezTo>
                  <a:cubicBezTo>
                    <a:pt x="4461173" y="153440"/>
                    <a:pt x="4461173" y="153440"/>
                    <a:pt x="4503513" y="164022"/>
                  </a:cubicBezTo>
                  <a:cubicBezTo>
                    <a:pt x="4503513" y="164022"/>
                    <a:pt x="4503513" y="164022"/>
                    <a:pt x="4508805" y="185185"/>
                  </a:cubicBezTo>
                  <a:cubicBezTo>
                    <a:pt x="4508805" y="185185"/>
                    <a:pt x="4508805" y="185185"/>
                    <a:pt x="4482343" y="190476"/>
                  </a:cubicBezTo>
                  <a:cubicBezTo>
                    <a:pt x="4482343" y="190476"/>
                    <a:pt x="4482343" y="190476"/>
                    <a:pt x="4508805" y="201057"/>
                  </a:cubicBezTo>
                  <a:cubicBezTo>
                    <a:pt x="4508805" y="201057"/>
                    <a:pt x="4508805" y="201057"/>
                    <a:pt x="4508805" y="238092"/>
                  </a:cubicBezTo>
                  <a:cubicBezTo>
                    <a:pt x="4508805" y="238092"/>
                    <a:pt x="4508805" y="238092"/>
                    <a:pt x="4482343" y="259256"/>
                  </a:cubicBezTo>
                  <a:cubicBezTo>
                    <a:pt x="4482343" y="259256"/>
                    <a:pt x="4482343" y="259256"/>
                    <a:pt x="4440003" y="301582"/>
                  </a:cubicBezTo>
                  <a:cubicBezTo>
                    <a:pt x="4440003" y="301582"/>
                    <a:pt x="4440003" y="301582"/>
                    <a:pt x="4418833" y="343907"/>
                  </a:cubicBezTo>
                  <a:cubicBezTo>
                    <a:pt x="4418833" y="343907"/>
                    <a:pt x="4418833" y="343907"/>
                    <a:pt x="4434710" y="333326"/>
                  </a:cubicBezTo>
                  <a:cubicBezTo>
                    <a:pt x="4434710" y="333326"/>
                    <a:pt x="4434710" y="333326"/>
                    <a:pt x="4445295" y="322744"/>
                  </a:cubicBezTo>
                  <a:cubicBezTo>
                    <a:pt x="4445295" y="322744"/>
                    <a:pt x="4445295" y="322744"/>
                    <a:pt x="4466465" y="306872"/>
                  </a:cubicBezTo>
                  <a:cubicBezTo>
                    <a:pt x="4466465" y="306872"/>
                    <a:pt x="4466465" y="306872"/>
                    <a:pt x="4487635" y="296291"/>
                  </a:cubicBezTo>
                  <a:cubicBezTo>
                    <a:pt x="4487635" y="296291"/>
                    <a:pt x="4487635" y="296291"/>
                    <a:pt x="4482343" y="285709"/>
                  </a:cubicBezTo>
                  <a:cubicBezTo>
                    <a:pt x="4482343" y="285709"/>
                    <a:pt x="4482343" y="285709"/>
                    <a:pt x="4487635" y="269837"/>
                  </a:cubicBezTo>
                  <a:cubicBezTo>
                    <a:pt x="4487635" y="269837"/>
                    <a:pt x="4487635" y="269837"/>
                    <a:pt x="4519390" y="269837"/>
                  </a:cubicBezTo>
                  <a:cubicBezTo>
                    <a:pt x="4519390" y="269837"/>
                    <a:pt x="4519390" y="269837"/>
                    <a:pt x="4535268" y="264546"/>
                  </a:cubicBezTo>
                  <a:cubicBezTo>
                    <a:pt x="4535268" y="264546"/>
                    <a:pt x="4535268" y="264546"/>
                    <a:pt x="4556438" y="269837"/>
                  </a:cubicBezTo>
                  <a:cubicBezTo>
                    <a:pt x="4556438" y="269837"/>
                    <a:pt x="4556438" y="269837"/>
                    <a:pt x="4598777" y="259256"/>
                  </a:cubicBezTo>
                  <a:cubicBezTo>
                    <a:pt x="4598777" y="259256"/>
                    <a:pt x="4598777" y="259256"/>
                    <a:pt x="4619947" y="253965"/>
                  </a:cubicBezTo>
                  <a:cubicBezTo>
                    <a:pt x="4619947" y="253965"/>
                    <a:pt x="4619947" y="253965"/>
                    <a:pt x="4630532" y="269837"/>
                  </a:cubicBezTo>
                  <a:cubicBezTo>
                    <a:pt x="4630532" y="269837"/>
                    <a:pt x="4630532" y="269837"/>
                    <a:pt x="4672872" y="253965"/>
                  </a:cubicBezTo>
                  <a:cubicBezTo>
                    <a:pt x="4672872" y="253965"/>
                    <a:pt x="4672872" y="253965"/>
                    <a:pt x="4694042" y="248674"/>
                  </a:cubicBezTo>
                  <a:cubicBezTo>
                    <a:pt x="4694042" y="248674"/>
                    <a:pt x="4694042" y="248674"/>
                    <a:pt x="4699335" y="243383"/>
                  </a:cubicBezTo>
                  <a:cubicBezTo>
                    <a:pt x="4699335" y="243383"/>
                    <a:pt x="4699335" y="243383"/>
                    <a:pt x="4678165" y="238092"/>
                  </a:cubicBezTo>
                  <a:cubicBezTo>
                    <a:pt x="4678165" y="238092"/>
                    <a:pt x="4678165" y="238092"/>
                    <a:pt x="4683457" y="222220"/>
                  </a:cubicBezTo>
                  <a:cubicBezTo>
                    <a:pt x="4683457" y="222220"/>
                    <a:pt x="4683457" y="222220"/>
                    <a:pt x="4688750" y="206348"/>
                  </a:cubicBezTo>
                  <a:cubicBezTo>
                    <a:pt x="4688750" y="206348"/>
                    <a:pt x="4688750" y="206348"/>
                    <a:pt x="4725797" y="211638"/>
                  </a:cubicBezTo>
                  <a:cubicBezTo>
                    <a:pt x="4725797" y="211638"/>
                    <a:pt x="4725797" y="211638"/>
                    <a:pt x="4762845" y="206348"/>
                  </a:cubicBezTo>
                  <a:cubicBezTo>
                    <a:pt x="4762845" y="206348"/>
                    <a:pt x="4762845" y="206348"/>
                    <a:pt x="4784015" y="216929"/>
                  </a:cubicBezTo>
                  <a:cubicBezTo>
                    <a:pt x="4784015" y="216929"/>
                    <a:pt x="4784015" y="216929"/>
                    <a:pt x="4773430" y="232802"/>
                  </a:cubicBezTo>
                  <a:cubicBezTo>
                    <a:pt x="4773430" y="232802"/>
                    <a:pt x="4773430" y="232802"/>
                    <a:pt x="4757552" y="248674"/>
                  </a:cubicBezTo>
                  <a:cubicBezTo>
                    <a:pt x="4757552" y="248674"/>
                    <a:pt x="4757552" y="248674"/>
                    <a:pt x="4752260" y="253965"/>
                  </a:cubicBezTo>
                  <a:cubicBezTo>
                    <a:pt x="4752260" y="253965"/>
                    <a:pt x="4752260" y="253965"/>
                    <a:pt x="4773430" y="253965"/>
                  </a:cubicBezTo>
                  <a:cubicBezTo>
                    <a:pt x="4773430" y="253965"/>
                    <a:pt x="4773430" y="253965"/>
                    <a:pt x="4836940" y="280419"/>
                  </a:cubicBezTo>
                  <a:cubicBezTo>
                    <a:pt x="4836940" y="280419"/>
                    <a:pt x="4836940" y="280419"/>
                    <a:pt x="4868695" y="285709"/>
                  </a:cubicBezTo>
                  <a:cubicBezTo>
                    <a:pt x="4868695" y="285709"/>
                    <a:pt x="4868695" y="285709"/>
                    <a:pt x="4873987" y="275128"/>
                  </a:cubicBezTo>
                  <a:cubicBezTo>
                    <a:pt x="4873987" y="275128"/>
                    <a:pt x="4873987" y="275128"/>
                    <a:pt x="4858110" y="253965"/>
                  </a:cubicBezTo>
                  <a:cubicBezTo>
                    <a:pt x="4858110" y="253965"/>
                    <a:pt x="4858110" y="253965"/>
                    <a:pt x="4863402" y="238092"/>
                  </a:cubicBezTo>
                  <a:cubicBezTo>
                    <a:pt x="4863402" y="238092"/>
                    <a:pt x="4863402" y="238092"/>
                    <a:pt x="4884572" y="259256"/>
                  </a:cubicBezTo>
                  <a:cubicBezTo>
                    <a:pt x="4884572" y="259256"/>
                    <a:pt x="4884572" y="259256"/>
                    <a:pt x="4905742" y="253965"/>
                  </a:cubicBezTo>
                  <a:cubicBezTo>
                    <a:pt x="4905742" y="253965"/>
                    <a:pt x="4905742" y="253965"/>
                    <a:pt x="4921619" y="253965"/>
                  </a:cubicBezTo>
                  <a:cubicBezTo>
                    <a:pt x="4921619" y="253965"/>
                    <a:pt x="4921619" y="253965"/>
                    <a:pt x="4916327" y="248674"/>
                  </a:cubicBezTo>
                  <a:cubicBezTo>
                    <a:pt x="4916327" y="248674"/>
                    <a:pt x="4916327" y="248674"/>
                    <a:pt x="4916327" y="232802"/>
                  </a:cubicBezTo>
                  <a:cubicBezTo>
                    <a:pt x="4916327" y="232802"/>
                    <a:pt x="4916327" y="232802"/>
                    <a:pt x="4942789" y="238092"/>
                  </a:cubicBezTo>
                  <a:cubicBezTo>
                    <a:pt x="4942789" y="238092"/>
                    <a:pt x="4942789" y="238092"/>
                    <a:pt x="4974544" y="238092"/>
                  </a:cubicBezTo>
                  <a:cubicBezTo>
                    <a:pt x="4974544" y="238092"/>
                    <a:pt x="4974544" y="238092"/>
                    <a:pt x="4974544" y="216929"/>
                  </a:cubicBezTo>
                  <a:cubicBezTo>
                    <a:pt x="4974544" y="216929"/>
                    <a:pt x="4974544" y="216929"/>
                    <a:pt x="4974544" y="190476"/>
                  </a:cubicBezTo>
                  <a:cubicBezTo>
                    <a:pt x="4974544" y="190476"/>
                    <a:pt x="4974544" y="190476"/>
                    <a:pt x="4953374" y="190476"/>
                  </a:cubicBezTo>
                  <a:cubicBezTo>
                    <a:pt x="4953374" y="190476"/>
                    <a:pt x="4953374" y="190476"/>
                    <a:pt x="4963959" y="164022"/>
                  </a:cubicBezTo>
                  <a:cubicBezTo>
                    <a:pt x="4963959" y="164022"/>
                    <a:pt x="4963959" y="164022"/>
                    <a:pt x="5001007" y="153440"/>
                  </a:cubicBezTo>
                  <a:cubicBezTo>
                    <a:pt x="5001007" y="153440"/>
                    <a:pt x="5001007" y="153440"/>
                    <a:pt x="5059224" y="148150"/>
                  </a:cubicBezTo>
                  <a:cubicBezTo>
                    <a:pt x="5059224" y="148150"/>
                    <a:pt x="5059224" y="148150"/>
                    <a:pt x="5064517" y="179894"/>
                  </a:cubicBezTo>
                  <a:cubicBezTo>
                    <a:pt x="5064517" y="179894"/>
                    <a:pt x="5064517" y="179894"/>
                    <a:pt x="5080394" y="190476"/>
                  </a:cubicBezTo>
                  <a:cubicBezTo>
                    <a:pt x="5080394" y="190476"/>
                    <a:pt x="5080394" y="190476"/>
                    <a:pt x="5090979" y="169313"/>
                  </a:cubicBezTo>
                  <a:cubicBezTo>
                    <a:pt x="5090979" y="169313"/>
                    <a:pt x="5090979" y="169313"/>
                    <a:pt x="5085687" y="142859"/>
                  </a:cubicBezTo>
                  <a:cubicBezTo>
                    <a:pt x="5085687" y="142859"/>
                    <a:pt x="5085687" y="142859"/>
                    <a:pt x="5112149" y="137568"/>
                  </a:cubicBezTo>
                  <a:cubicBezTo>
                    <a:pt x="5112149" y="137568"/>
                    <a:pt x="5112149" y="137568"/>
                    <a:pt x="5133319" y="148150"/>
                  </a:cubicBezTo>
                  <a:cubicBezTo>
                    <a:pt x="5133319" y="148150"/>
                    <a:pt x="5133319" y="148150"/>
                    <a:pt x="5128027" y="158731"/>
                  </a:cubicBezTo>
                  <a:cubicBezTo>
                    <a:pt x="5128027" y="158731"/>
                    <a:pt x="5128027" y="158731"/>
                    <a:pt x="5165074" y="158731"/>
                  </a:cubicBezTo>
                  <a:cubicBezTo>
                    <a:pt x="5165074" y="158731"/>
                    <a:pt x="5165074" y="158731"/>
                    <a:pt x="5212707" y="174603"/>
                  </a:cubicBezTo>
                  <a:cubicBezTo>
                    <a:pt x="5212707" y="174603"/>
                    <a:pt x="5212707" y="174603"/>
                    <a:pt x="5217999" y="158731"/>
                  </a:cubicBezTo>
                  <a:cubicBezTo>
                    <a:pt x="5217999" y="158731"/>
                    <a:pt x="5217999" y="158731"/>
                    <a:pt x="5255046" y="132277"/>
                  </a:cubicBezTo>
                  <a:cubicBezTo>
                    <a:pt x="5255046" y="132277"/>
                    <a:pt x="5255046" y="132277"/>
                    <a:pt x="5286801" y="121696"/>
                  </a:cubicBezTo>
                  <a:cubicBezTo>
                    <a:pt x="5286801" y="121696"/>
                    <a:pt x="5286801" y="121696"/>
                    <a:pt x="5329141" y="126986"/>
                  </a:cubicBezTo>
                  <a:cubicBezTo>
                    <a:pt x="5329141" y="126986"/>
                    <a:pt x="5329141" y="126986"/>
                    <a:pt x="5329141" y="158731"/>
                  </a:cubicBezTo>
                  <a:cubicBezTo>
                    <a:pt x="5329141" y="158731"/>
                    <a:pt x="5329141" y="158731"/>
                    <a:pt x="5366189" y="179894"/>
                  </a:cubicBezTo>
                  <a:cubicBezTo>
                    <a:pt x="5366189" y="179894"/>
                    <a:pt x="5366189" y="179894"/>
                    <a:pt x="5376774" y="158731"/>
                  </a:cubicBezTo>
                  <a:cubicBezTo>
                    <a:pt x="5376774" y="158731"/>
                    <a:pt x="5376774" y="158731"/>
                    <a:pt x="5397944" y="148150"/>
                  </a:cubicBezTo>
                  <a:cubicBezTo>
                    <a:pt x="5397944" y="148150"/>
                    <a:pt x="5397944" y="148150"/>
                    <a:pt x="5456161" y="132277"/>
                  </a:cubicBezTo>
                  <a:cubicBezTo>
                    <a:pt x="5456161" y="132277"/>
                    <a:pt x="5456161" y="132277"/>
                    <a:pt x="5456161" y="116405"/>
                  </a:cubicBezTo>
                  <a:cubicBezTo>
                    <a:pt x="5456161" y="116405"/>
                    <a:pt x="5456161" y="116405"/>
                    <a:pt x="5477331" y="132277"/>
                  </a:cubicBezTo>
                  <a:cubicBezTo>
                    <a:pt x="5477331" y="132277"/>
                    <a:pt x="5477331" y="132277"/>
                    <a:pt x="5519671" y="142859"/>
                  </a:cubicBezTo>
                  <a:cubicBezTo>
                    <a:pt x="5519671" y="142859"/>
                    <a:pt x="5519671" y="142859"/>
                    <a:pt x="5524964" y="137568"/>
                  </a:cubicBezTo>
                  <a:cubicBezTo>
                    <a:pt x="5524964" y="137568"/>
                    <a:pt x="5524964" y="137568"/>
                    <a:pt x="5519671" y="111114"/>
                  </a:cubicBezTo>
                  <a:cubicBezTo>
                    <a:pt x="5519671" y="111114"/>
                    <a:pt x="5519671" y="111114"/>
                    <a:pt x="5503794" y="105823"/>
                  </a:cubicBezTo>
                  <a:cubicBezTo>
                    <a:pt x="5503794" y="105823"/>
                    <a:pt x="5503794" y="105823"/>
                    <a:pt x="5493209" y="84660"/>
                  </a:cubicBezTo>
                  <a:cubicBezTo>
                    <a:pt x="5493209" y="84660"/>
                    <a:pt x="5493209" y="84660"/>
                    <a:pt x="5514379" y="68788"/>
                  </a:cubicBezTo>
                  <a:cubicBezTo>
                    <a:pt x="5514379" y="68788"/>
                    <a:pt x="5514379" y="68788"/>
                    <a:pt x="5540841" y="74079"/>
                  </a:cubicBezTo>
                  <a:cubicBezTo>
                    <a:pt x="5540841" y="74079"/>
                    <a:pt x="5540841" y="74079"/>
                    <a:pt x="5614936" y="58207"/>
                  </a:cubicBezTo>
                  <a:cubicBezTo>
                    <a:pt x="5614936" y="58207"/>
                    <a:pt x="5614936" y="58207"/>
                    <a:pt x="5657276" y="47625"/>
                  </a:cubicBezTo>
                  <a:close/>
                  <a:moveTo>
                    <a:pt x="5059358" y="0"/>
                  </a:moveTo>
                  <a:lnTo>
                    <a:pt x="5079996" y="11113"/>
                  </a:lnTo>
                  <a:lnTo>
                    <a:pt x="5054596" y="36513"/>
                  </a:lnTo>
                  <a:lnTo>
                    <a:pt x="4995858" y="42863"/>
                  </a:lnTo>
                  <a:lnTo>
                    <a:pt x="4959346" y="52388"/>
                  </a:lnTo>
                  <a:lnTo>
                    <a:pt x="4932358" y="31750"/>
                  </a:lnTo>
                  <a:lnTo>
                    <a:pt x="4932358" y="63500"/>
                  </a:lnTo>
                  <a:lnTo>
                    <a:pt x="4911721" y="84138"/>
                  </a:lnTo>
                  <a:lnTo>
                    <a:pt x="4895846" y="106363"/>
                  </a:lnTo>
                  <a:lnTo>
                    <a:pt x="4848221" y="84138"/>
                  </a:lnTo>
                  <a:lnTo>
                    <a:pt x="4848221" y="52388"/>
                  </a:lnTo>
                  <a:lnTo>
                    <a:pt x="4864096" y="42863"/>
                  </a:lnTo>
                  <a:lnTo>
                    <a:pt x="4900608" y="47625"/>
                  </a:lnTo>
                  <a:lnTo>
                    <a:pt x="4884733" y="20638"/>
                  </a:lnTo>
                  <a:lnTo>
                    <a:pt x="4900608" y="15875"/>
                  </a:lnTo>
                  <a:lnTo>
                    <a:pt x="4921246" y="20638"/>
                  </a:lnTo>
                  <a:lnTo>
                    <a:pt x="4948233" y="11113"/>
                  </a:lnTo>
                  <a:lnTo>
                    <a:pt x="4979983" y="11113"/>
                  </a:lnTo>
                  <a:lnTo>
                    <a:pt x="5027608" y="11113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9" name="ValueBack2">
              <a:extLst>
                <a:ext uri="{FF2B5EF4-FFF2-40B4-BE49-F238E27FC236}">
                  <a16:creationId xmlns:a16="http://schemas.microsoft.com/office/drawing/2014/main" id="{817A70F6-8E4F-428A-9197-7FF6DB811A9C}"/>
                </a:ext>
              </a:extLst>
            </p:cNvPr>
            <p:cNvSpPr/>
            <p:nvPr/>
          </p:nvSpPr>
          <p:spPr bwMode="auto">
            <a:xfrm>
              <a:off x="2338872" y="3457596"/>
              <a:ext cx="962026" cy="1231576"/>
            </a:xfrm>
            <a:custGeom>
              <a:avLst/>
              <a:gdLst>
                <a:gd name="T0" fmla="*/ 124 w 124"/>
                <a:gd name="T1" fmla="*/ 62 h 159"/>
                <a:gd name="T2" fmla="*/ 62 w 124"/>
                <a:gd name="T3" fmla="*/ 159 h 159"/>
                <a:gd name="T4" fmla="*/ 0 w 124"/>
                <a:gd name="T5" fmla="*/ 62 h 159"/>
                <a:gd name="T6" fmla="*/ 62 w 124"/>
                <a:gd name="T7" fmla="*/ 0 h 159"/>
                <a:gd name="T8" fmla="*/ 124 w 124"/>
                <a:gd name="T9" fmla="*/ 6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59">
                  <a:moveTo>
                    <a:pt x="124" y="62"/>
                  </a:moveTo>
                  <a:cubicBezTo>
                    <a:pt x="124" y="96"/>
                    <a:pt x="62" y="159"/>
                    <a:pt x="62" y="159"/>
                  </a:cubicBezTo>
                  <a:cubicBezTo>
                    <a:pt x="62" y="159"/>
                    <a:pt x="0" y="96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96" y="0"/>
                    <a:pt x="124" y="28"/>
                    <a:pt x="124" y="62"/>
                  </a:cubicBez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0" name="ExtraShape1">
              <a:extLst>
                <a:ext uri="{FF2B5EF4-FFF2-40B4-BE49-F238E27FC236}">
                  <a16:creationId xmlns:a16="http://schemas.microsoft.com/office/drawing/2014/main" id="{84ED74B2-0B29-4A77-8BD7-54A7E2684F94}"/>
                </a:ext>
              </a:extLst>
            </p:cNvPr>
            <p:cNvSpPr/>
            <p:nvPr/>
          </p:nvSpPr>
          <p:spPr bwMode="auto">
            <a:xfrm>
              <a:off x="2597635" y="3729442"/>
              <a:ext cx="450850" cy="4492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1" name="ValueBack2">
              <a:extLst>
                <a:ext uri="{FF2B5EF4-FFF2-40B4-BE49-F238E27FC236}">
                  <a16:creationId xmlns:a16="http://schemas.microsoft.com/office/drawing/2014/main" id="{3B1DCB2C-1034-4555-88D1-30900CA81345}"/>
                </a:ext>
              </a:extLst>
            </p:cNvPr>
            <p:cNvSpPr/>
            <p:nvPr/>
          </p:nvSpPr>
          <p:spPr bwMode="auto">
            <a:xfrm>
              <a:off x="2724635" y="3813579"/>
              <a:ext cx="190500" cy="274638"/>
            </a:xfrm>
            <a:custGeom>
              <a:avLst/>
              <a:gdLst>
                <a:gd name="T0" fmla="*/ 0 w 36"/>
                <a:gd name="T1" fmla="*/ 52 h 52"/>
                <a:gd name="T2" fmla="*/ 0 w 36"/>
                <a:gd name="T3" fmla="*/ 45 h 52"/>
                <a:gd name="T4" fmla="*/ 7 w 36"/>
                <a:gd name="T5" fmla="*/ 39 h 52"/>
                <a:gd name="T6" fmla="*/ 23 w 36"/>
                <a:gd name="T7" fmla="*/ 17 h 52"/>
                <a:gd name="T8" fmla="*/ 15 w 36"/>
                <a:gd name="T9" fmla="*/ 10 h 52"/>
                <a:gd name="T10" fmla="*/ 4 w 36"/>
                <a:gd name="T11" fmla="*/ 14 h 52"/>
                <a:gd name="T12" fmla="*/ 1 w 36"/>
                <a:gd name="T13" fmla="*/ 6 h 52"/>
                <a:gd name="T14" fmla="*/ 17 w 36"/>
                <a:gd name="T15" fmla="*/ 0 h 52"/>
                <a:gd name="T16" fmla="*/ 35 w 36"/>
                <a:gd name="T17" fmla="*/ 16 h 52"/>
                <a:gd name="T18" fmla="*/ 22 w 36"/>
                <a:gd name="T19" fmla="*/ 38 h 52"/>
                <a:gd name="T20" fmla="*/ 17 w 36"/>
                <a:gd name="T21" fmla="*/ 42 h 52"/>
                <a:gd name="T22" fmla="*/ 17 w 36"/>
                <a:gd name="T23" fmla="*/ 42 h 52"/>
                <a:gd name="T24" fmla="*/ 36 w 36"/>
                <a:gd name="T25" fmla="*/ 42 h 52"/>
                <a:gd name="T26" fmla="*/ 36 w 36"/>
                <a:gd name="T27" fmla="*/ 52 h 52"/>
                <a:gd name="T28" fmla="*/ 0 w 36"/>
                <a:gd name="T2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2">
                  <a:moveTo>
                    <a:pt x="0" y="52"/>
                  </a:moveTo>
                  <a:cubicBezTo>
                    <a:pt x="0" y="45"/>
                    <a:pt x="0" y="45"/>
                    <a:pt x="0" y="45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8" y="29"/>
                    <a:pt x="23" y="23"/>
                    <a:pt x="23" y="17"/>
                  </a:cubicBezTo>
                  <a:cubicBezTo>
                    <a:pt x="23" y="13"/>
                    <a:pt x="21" y="10"/>
                    <a:pt x="15" y="10"/>
                  </a:cubicBezTo>
                  <a:cubicBezTo>
                    <a:pt x="11" y="10"/>
                    <a:pt x="7" y="12"/>
                    <a:pt x="4" y="1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5" y="3"/>
                    <a:pt x="10" y="0"/>
                    <a:pt x="17" y="0"/>
                  </a:cubicBezTo>
                  <a:cubicBezTo>
                    <a:pt x="29" y="0"/>
                    <a:pt x="35" y="7"/>
                    <a:pt x="35" y="16"/>
                  </a:cubicBezTo>
                  <a:cubicBezTo>
                    <a:pt x="35" y="25"/>
                    <a:pt x="29" y="32"/>
                    <a:pt x="22" y="38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52"/>
                    <a:pt x="36" y="52"/>
                    <a:pt x="36" y="52"/>
                  </a:cubicBezTo>
                  <a:lnTo>
                    <a:pt x="0" y="52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2" name="ValueBack3">
              <a:extLst>
                <a:ext uri="{FF2B5EF4-FFF2-40B4-BE49-F238E27FC236}">
                  <a16:creationId xmlns:a16="http://schemas.microsoft.com/office/drawing/2014/main" id="{07B4F619-F93B-44E1-962D-394B6DDE3879}"/>
                </a:ext>
              </a:extLst>
            </p:cNvPr>
            <p:cNvSpPr/>
            <p:nvPr/>
          </p:nvSpPr>
          <p:spPr bwMode="auto">
            <a:xfrm>
              <a:off x="6123472" y="3822721"/>
              <a:ext cx="962026" cy="1231576"/>
            </a:xfrm>
            <a:custGeom>
              <a:avLst/>
              <a:gdLst>
                <a:gd name="T0" fmla="*/ 124 w 124"/>
                <a:gd name="T1" fmla="*/ 62 h 159"/>
                <a:gd name="T2" fmla="*/ 62 w 124"/>
                <a:gd name="T3" fmla="*/ 159 h 159"/>
                <a:gd name="T4" fmla="*/ 0 w 124"/>
                <a:gd name="T5" fmla="*/ 62 h 159"/>
                <a:gd name="T6" fmla="*/ 62 w 124"/>
                <a:gd name="T7" fmla="*/ 0 h 159"/>
                <a:gd name="T8" fmla="*/ 124 w 124"/>
                <a:gd name="T9" fmla="*/ 6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59">
                  <a:moveTo>
                    <a:pt x="124" y="62"/>
                  </a:moveTo>
                  <a:cubicBezTo>
                    <a:pt x="124" y="96"/>
                    <a:pt x="62" y="159"/>
                    <a:pt x="62" y="159"/>
                  </a:cubicBezTo>
                  <a:cubicBezTo>
                    <a:pt x="62" y="159"/>
                    <a:pt x="0" y="96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97" y="0"/>
                    <a:pt x="124" y="28"/>
                    <a:pt x="124" y="62"/>
                  </a:cubicBezTo>
                  <a:close/>
                </a:path>
              </a:pathLst>
            </a:custGeom>
            <a:solidFill>
              <a:schemeClr val="accent6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3" name="ExtraShape2">
              <a:extLst>
                <a:ext uri="{FF2B5EF4-FFF2-40B4-BE49-F238E27FC236}">
                  <a16:creationId xmlns:a16="http://schemas.microsoft.com/office/drawing/2014/main" id="{0877BE93-608F-4429-81AF-CEEEC9E147FF}"/>
                </a:ext>
              </a:extLst>
            </p:cNvPr>
            <p:cNvSpPr/>
            <p:nvPr/>
          </p:nvSpPr>
          <p:spPr bwMode="auto">
            <a:xfrm>
              <a:off x="6382235" y="4074057"/>
              <a:ext cx="449262" cy="4492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4" name="ValueBack3">
              <a:extLst>
                <a:ext uri="{FF2B5EF4-FFF2-40B4-BE49-F238E27FC236}">
                  <a16:creationId xmlns:a16="http://schemas.microsoft.com/office/drawing/2014/main" id="{CF5B3D31-98E7-406C-8086-91B6C06A3D86}"/>
                </a:ext>
              </a:extLst>
            </p:cNvPr>
            <p:cNvSpPr/>
            <p:nvPr/>
          </p:nvSpPr>
          <p:spPr bwMode="auto">
            <a:xfrm>
              <a:off x="6509235" y="4169307"/>
              <a:ext cx="179387" cy="263525"/>
            </a:xfrm>
            <a:custGeom>
              <a:avLst/>
              <a:gdLst>
                <a:gd name="T0" fmla="*/ 3 w 34"/>
                <a:gd name="T1" fmla="*/ 38 h 50"/>
                <a:gd name="T2" fmla="*/ 14 w 34"/>
                <a:gd name="T3" fmla="*/ 41 h 50"/>
                <a:gd name="T4" fmla="*/ 23 w 34"/>
                <a:gd name="T5" fmla="*/ 35 h 50"/>
                <a:gd name="T6" fmla="*/ 13 w 34"/>
                <a:gd name="T7" fmla="*/ 28 h 50"/>
                <a:gd name="T8" fmla="*/ 8 w 34"/>
                <a:gd name="T9" fmla="*/ 28 h 50"/>
                <a:gd name="T10" fmla="*/ 8 w 34"/>
                <a:gd name="T11" fmla="*/ 20 h 50"/>
                <a:gd name="T12" fmla="*/ 13 w 34"/>
                <a:gd name="T13" fmla="*/ 20 h 50"/>
                <a:gd name="T14" fmla="*/ 21 w 34"/>
                <a:gd name="T15" fmla="*/ 14 h 50"/>
                <a:gd name="T16" fmla="*/ 14 w 34"/>
                <a:gd name="T17" fmla="*/ 9 h 50"/>
                <a:gd name="T18" fmla="*/ 4 w 34"/>
                <a:gd name="T19" fmla="*/ 12 h 50"/>
                <a:gd name="T20" fmla="*/ 2 w 34"/>
                <a:gd name="T21" fmla="*/ 4 h 50"/>
                <a:gd name="T22" fmla="*/ 17 w 34"/>
                <a:gd name="T23" fmla="*/ 0 h 50"/>
                <a:gd name="T24" fmla="*/ 33 w 34"/>
                <a:gd name="T25" fmla="*/ 12 h 50"/>
                <a:gd name="T26" fmla="*/ 24 w 34"/>
                <a:gd name="T27" fmla="*/ 24 h 50"/>
                <a:gd name="T28" fmla="*/ 24 w 34"/>
                <a:gd name="T29" fmla="*/ 24 h 50"/>
                <a:gd name="T30" fmla="*/ 34 w 34"/>
                <a:gd name="T31" fmla="*/ 35 h 50"/>
                <a:gd name="T32" fmla="*/ 15 w 34"/>
                <a:gd name="T33" fmla="*/ 50 h 50"/>
                <a:gd name="T34" fmla="*/ 0 w 34"/>
                <a:gd name="T35" fmla="*/ 47 h 50"/>
                <a:gd name="T36" fmla="*/ 3 w 34"/>
                <a:gd name="T37" fmla="*/ 3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50">
                  <a:moveTo>
                    <a:pt x="3" y="38"/>
                  </a:moveTo>
                  <a:cubicBezTo>
                    <a:pt x="5" y="39"/>
                    <a:pt x="9" y="41"/>
                    <a:pt x="14" y="41"/>
                  </a:cubicBezTo>
                  <a:cubicBezTo>
                    <a:pt x="20" y="41"/>
                    <a:pt x="23" y="39"/>
                    <a:pt x="23" y="35"/>
                  </a:cubicBezTo>
                  <a:cubicBezTo>
                    <a:pt x="23" y="30"/>
                    <a:pt x="18" y="28"/>
                    <a:pt x="13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6" y="20"/>
                    <a:pt x="21" y="18"/>
                    <a:pt x="21" y="14"/>
                  </a:cubicBezTo>
                  <a:cubicBezTo>
                    <a:pt x="21" y="11"/>
                    <a:pt x="19" y="9"/>
                    <a:pt x="14" y="9"/>
                  </a:cubicBezTo>
                  <a:cubicBezTo>
                    <a:pt x="10" y="9"/>
                    <a:pt x="6" y="11"/>
                    <a:pt x="4" y="12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5" y="2"/>
                    <a:pt x="10" y="0"/>
                    <a:pt x="17" y="0"/>
                  </a:cubicBezTo>
                  <a:cubicBezTo>
                    <a:pt x="27" y="0"/>
                    <a:pt x="33" y="6"/>
                    <a:pt x="33" y="12"/>
                  </a:cubicBezTo>
                  <a:cubicBezTo>
                    <a:pt x="33" y="18"/>
                    <a:pt x="30" y="22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0" y="25"/>
                    <a:pt x="34" y="29"/>
                    <a:pt x="34" y="35"/>
                  </a:cubicBezTo>
                  <a:cubicBezTo>
                    <a:pt x="34" y="44"/>
                    <a:pt x="27" y="50"/>
                    <a:pt x="15" y="50"/>
                  </a:cubicBezTo>
                  <a:cubicBezTo>
                    <a:pt x="8" y="50"/>
                    <a:pt x="3" y="49"/>
                    <a:pt x="0" y="47"/>
                  </a:cubicBezTo>
                  <a:lnTo>
                    <a:pt x="3" y="38"/>
                  </a:lnTo>
                  <a:close/>
                </a:path>
              </a:pathLst>
            </a:custGeom>
            <a:solidFill>
              <a:schemeClr val="accent6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5" name="ValueBack1">
              <a:extLst>
                <a:ext uri="{FF2B5EF4-FFF2-40B4-BE49-F238E27FC236}">
                  <a16:creationId xmlns:a16="http://schemas.microsoft.com/office/drawing/2014/main" id="{4C87659A-D6E6-4C2A-8E09-B61491E171B7}"/>
                </a:ext>
              </a:extLst>
            </p:cNvPr>
            <p:cNvSpPr/>
            <p:nvPr/>
          </p:nvSpPr>
          <p:spPr bwMode="auto">
            <a:xfrm>
              <a:off x="5539272" y="1397596"/>
              <a:ext cx="923926" cy="1182800"/>
            </a:xfrm>
            <a:custGeom>
              <a:avLst/>
              <a:gdLst>
                <a:gd name="T0" fmla="*/ 124 w 124"/>
                <a:gd name="T1" fmla="*/ 62 h 159"/>
                <a:gd name="T2" fmla="*/ 62 w 124"/>
                <a:gd name="T3" fmla="*/ 159 h 159"/>
                <a:gd name="T4" fmla="*/ 0 w 124"/>
                <a:gd name="T5" fmla="*/ 62 h 159"/>
                <a:gd name="T6" fmla="*/ 62 w 124"/>
                <a:gd name="T7" fmla="*/ 0 h 159"/>
                <a:gd name="T8" fmla="*/ 124 w 124"/>
                <a:gd name="T9" fmla="*/ 6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59">
                  <a:moveTo>
                    <a:pt x="124" y="62"/>
                  </a:moveTo>
                  <a:cubicBezTo>
                    <a:pt x="124" y="96"/>
                    <a:pt x="62" y="159"/>
                    <a:pt x="62" y="159"/>
                  </a:cubicBezTo>
                  <a:cubicBezTo>
                    <a:pt x="62" y="159"/>
                    <a:pt x="0" y="96"/>
                    <a:pt x="0" y="62"/>
                  </a:cubicBezTo>
                  <a:cubicBezTo>
                    <a:pt x="0" y="27"/>
                    <a:pt x="27" y="0"/>
                    <a:pt x="62" y="0"/>
                  </a:cubicBezTo>
                  <a:cubicBezTo>
                    <a:pt x="96" y="0"/>
                    <a:pt x="124" y="27"/>
                    <a:pt x="124" y="62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6" name="ExtraShape3">
              <a:extLst>
                <a:ext uri="{FF2B5EF4-FFF2-40B4-BE49-F238E27FC236}">
                  <a16:creationId xmlns:a16="http://schemas.microsoft.com/office/drawing/2014/main" id="{9823A63A-3181-405C-BDF2-8F2811910B1F}"/>
                </a:ext>
              </a:extLst>
            </p:cNvPr>
            <p:cNvSpPr/>
            <p:nvPr/>
          </p:nvSpPr>
          <p:spPr bwMode="auto">
            <a:xfrm>
              <a:off x="5774222" y="1614346"/>
              <a:ext cx="449262" cy="4445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7" name="ValueBack1">
              <a:extLst>
                <a:ext uri="{FF2B5EF4-FFF2-40B4-BE49-F238E27FC236}">
                  <a16:creationId xmlns:a16="http://schemas.microsoft.com/office/drawing/2014/main" id="{E04460BE-ECC4-4CBE-A9E2-8F62FD3C2F56}"/>
                </a:ext>
              </a:extLst>
            </p:cNvPr>
            <p:cNvSpPr/>
            <p:nvPr/>
          </p:nvSpPr>
          <p:spPr bwMode="auto">
            <a:xfrm>
              <a:off x="5917097" y="1700071"/>
              <a:ext cx="127000" cy="274638"/>
            </a:xfrm>
            <a:custGeom>
              <a:avLst/>
              <a:gdLst>
                <a:gd name="T0" fmla="*/ 40 w 80"/>
                <a:gd name="T1" fmla="*/ 36 h 173"/>
                <a:gd name="T2" fmla="*/ 40 w 80"/>
                <a:gd name="T3" fmla="*/ 36 h 173"/>
                <a:gd name="T4" fmla="*/ 6 w 80"/>
                <a:gd name="T5" fmla="*/ 53 h 173"/>
                <a:gd name="T6" fmla="*/ 0 w 80"/>
                <a:gd name="T7" fmla="*/ 23 h 173"/>
                <a:gd name="T8" fmla="*/ 46 w 80"/>
                <a:gd name="T9" fmla="*/ 0 h 173"/>
                <a:gd name="T10" fmla="*/ 80 w 80"/>
                <a:gd name="T11" fmla="*/ 0 h 173"/>
                <a:gd name="T12" fmla="*/ 80 w 80"/>
                <a:gd name="T13" fmla="*/ 173 h 173"/>
                <a:gd name="T14" fmla="*/ 40 w 80"/>
                <a:gd name="T15" fmla="*/ 173 h 173"/>
                <a:gd name="T16" fmla="*/ 40 w 80"/>
                <a:gd name="T17" fmla="*/ 36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173">
                  <a:moveTo>
                    <a:pt x="40" y="36"/>
                  </a:moveTo>
                  <a:lnTo>
                    <a:pt x="40" y="36"/>
                  </a:lnTo>
                  <a:lnTo>
                    <a:pt x="6" y="53"/>
                  </a:lnTo>
                  <a:lnTo>
                    <a:pt x="0" y="23"/>
                  </a:lnTo>
                  <a:lnTo>
                    <a:pt x="46" y="0"/>
                  </a:lnTo>
                  <a:lnTo>
                    <a:pt x="80" y="0"/>
                  </a:lnTo>
                  <a:lnTo>
                    <a:pt x="80" y="173"/>
                  </a:lnTo>
                  <a:lnTo>
                    <a:pt x="40" y="173"/>
                  </a:lnTo>
                  <a:lnTo>
                    <a:pt x="40" y="36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8" name="ValueShape1">
              <a:extLst>
                <a:ext uri="{FF2B5EF4-FFF2-40B4-BE49-F238E27FC236}">
                  <a16:creationId xmlns:a16="http://schemas.microsoft.com/office/drawing/2014/main" id="{46DE719B-693B-4280-B66D-1ABD430CF2D0}"/>
                </a:ext>
              </a:extLst>
            </p:cNvPr>
            <p:cNvSpPr/>
            <p:nvPr/>
          </p:nvSpPr>
          <p:spPr>
            <a:xfrm>
              <a:off x="5666409" y="1501770"/>
              <a:ext cx="669652" cy="669652"/>
            </a:xfrm>
            <a:prstGeom prst="arc">
              <a:avLst>
                <a:gd name="adj1" fmla="val 16200000"/>
                <a:gd name="adj2" fmla="val 9553846"/>
              </a:avLst>
            </a:prstGeom>
            <a:ln w="508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29" name="ValueShape2">
              <a:extLst>
                <a:ext uri="{FF2B5EF4-FFF2-40B4-BE49-F238E27FC236}">
                  <a16:creationId xmlns:a16="http://schemas.microsoft.com/office/drawing/2014/main" id="{AFB6B776-8B0B-471D-9ACC-CAA21C052C86}"/>
                </a:ext>
              </a:extLst>
            </p:cNvPr>
            <p:cNvSpPr/>
            <p:nvPr/>
          </p:nvSpPr>
          <p:spPr>
            <a:xfrm>
              <a:off x="2485059" y="3616072"/>
              <a:ext cx="669652" cy="669652"/>
            </a:xfrm>
            <a:prstGeom prst="arc">
              <a:avLst>
                <a:gd name="adj1" fmla="val 16200000"/>
                <a:gd name="adj2" fmla="val 10185231"/>
              </a:avLst>
            </a:prstGeom>
            <a:ln w="508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30" name="ValueShape3">
              <a:extLst>
                <a:ext uri="{FF2B5EF4-FFF2-40B4-BE49-F238E27FC236}">
                  <a16:creationId xmlns:a16="http://schemas.microsoft.com/office/drawing/2014/main" id="{711BB555-BA76-4CC0-A990-7CB9DD5D6933}"/>
                </a:ext>
              </a:extLst>
            </p:cNvPr>
            <p:cNvSpPr/>
            <p:nvPr/>
          </p:nvSpPr>
          <p:spPr>
            <a:xfrm>
              <a:off x="6256555" y="3954074"/>
              <a:ext cx="669652" cy="669652"/>
            </a:xfrm>
            <a:prstGeom prst="arc">
              <a:avLst>
                <a:gd name="adj1" fmla="val 16200000"/>
                <a:gd name="adj2" fmla="val 11215385"/>
              </a:avLst>
            </a:prstGeom>
            <a:ln w="508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31" name="ValueText1">
              <a:extLst>
                <a:ext uri="{FF2B5EF4-FFF2-40B4-BE49-F238E27FC236}">
                  <a16:creationId xmlns:a16="http://schemas.microsoft.com/office/drawing/2014/main" id="{98891C4E-D942-48F4-B514-6D9BB6356975}"/>
                </a:ext>
              </a:extLst>
            </p:cNvPr>
            <p:cNvSpPr/>
            <p:nvPr/>
          </p:nvSpPr>
          <p:spPr>
            <a:xfrm>
              <a:off x="5785129" y="1055692"/>
              <a:ext cx="499453" cy="24982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2">
                      <a:lumMod val="100000"/>
                    </a:schemeClr>
                  </a:solidFill>
                  <a:latin typeface="+mj-lt"/>
                </a:rPr>
                <a:t>69%</a:t>
              </a:r>
              <a:endParaRPr lang="zh-CN" altLang="en-US" sz="13800" dirty="0">
                <a:solidFill>
                  <a:schemeClr val="accent2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32" name="ValueText2">
              <a:extLst>
                <a:ext uri="{FF2B5EF4-FFF2-40B4-BE49-F238E27FC236}">
                  <a16:creationId xmlns:a16="http://schemas.microsoft.com/office/drawing/2014/main" id="{A4A4E37F-E75D-47EC-9AEE-20FC480660AA}"/>
                </a:ext>
              </a:extLst>
            </p:cNvPr>
            <p:cNvSpPr/>
            <p:nvPr/>
          </p:nvSpPr>
          <p:spPr>
            <a:xfrm>
              <a:off x="2655258" y="3123174"/>
              <a:ext cx="499453" cy="24982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1">
                      <a:lumMod val="100000"/>
                    </a:schemeClr>
                  </a:solidFill>
                  <a:latin typeface="+mj-lt"/>
                </a:rPr>
                <a:t>72%</a:t>
              </a:r>
              <a:endParaRPr lang="zh-CN" altLang="en-US" sz="13800" dirty="0">
                <a:solidFill>
                  <a:schemeClr val="accent1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33" name="ValueText3">
              <a:extLst>
                <a:ext uri="{FF2B5EF4-FFF2-40B4-BE49-F238E27FC236}">
                  <a16:creationId xmlns:a16="http://schemas.microsoft.com/office/drawing/2014/main" id="{C5581E12-1766-40ED-A2EB-6CCF226CE875}"/>
                </a:ext>
              </a:extLst>
            </p:cNvPr>
            <p:cNvSpPr/>
            <p:nvPr/>
          </p:nvSpPr>
          <p:spPr>
            <a:xfrm>
              <a:off x="6463198" y="3455602"/>
              <a:ext cx="499453" cy="24982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6">
                      <a:lumMod val="100000"/>
                    </a:schemeClr>
                  </a:solidFill>
                  <a:latin typeface="+mj-lt"/>
                </a:rPr>
                <a:t>77%</a:t>
              </a:r>
              <a:endParaRPr lang="zh-CN" altLang="en-US" sz="13800" dirty="0">
                <a:solidFill>
                  <a:schemeClr val="accent6">
                    <a:lumMod val="100000"/>
                  </a:schemeClr>
                </a:solidFill>
                <a:latin typeface="+mj-lt"/>
              </a:endParaRPr>
            </a:p>
          </p:txBody>
        </p:sp>
      </p:grpSp>
      <p:sp>
        <p:nvSpPr>
          <p:cNvPr id="36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38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4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8150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2a6b0aaa-bdaa-4196-874b-f9df3c383250" descr="IxUAAB+LCAAAAAAABADNll1v2jAUhv+L192hKY7NR7iDUbZJ64pK1ZupF1k4gKd8IMdU/VD/+5wQip3EKM6E4C468XHec97z2HlDV2yBhgijDroSLxuQz/PI52LC/BX3o5tkAaF8N+PJBrhgkKLh77ciyVWSHvxwC8WqFxm/YTGLtlEeRkPniyND/rMSwk4enEDAIj+csBUTcm8Z+ZHOgAcQi2Kh4FvoIHWjbzzZbnLR7529FqJo+ZqECVe0FLn7pVRZertcsgDu1xBBniVf3bNYjOLFfO0v9h8cc7ZaixjStAjc/vkLgVDShn2ZmG+ZL9+ma7n5p+mUjgdkOpU6a0V31a4LzuJVVTVyPqP67J6SPU6SEPy4mr7rXl16/8zuuYqWQXP3vP90j9a5h516+7zr6+5opNqnqsaOtX9aOrY3UMs/N39EFWMBID4JgV69heR6jKdUtVCTbY+glt6CQS3/3BBSVYwFhfgkGPbqLRzQsacfoqps155CLb0FhTL/USpk8UJ+TLsRVSRnScoES+Ji3eEWfcn7yGFZAI1mvrxqQQBPDx12Sc1WysIO+p5w9prEwg9HIVvFkfRbLv0JS5Hpzm7rQH8lmwMiWKNsQIrhmrNXuIMU+BPIjy79MN0PirRuA7/k1/aTmQeyZt1B6Av2pK3QYvKWUfqrwn4Pz+LQjpJZh6Z086bYNEvDONOQaq36kJqZtSsnk4LRo6q0V57/o84Ro5h+hSNVy27C0ZSF2Y/VKMg4lQSlIIq532PyEczoUYHSXtSUVpig1VZhu2VtXpPast6eqLaqbcSxZa5vqo7gS2TObcKcqzJHXHvm5M9MPXTmbpFW0Lm6e9RqMAdGMd1LgK5Um92BYq6t0YFyYuhKpQ1socPGw5t4l0gdaUIdUamjTgvqTFeduV0Ut8KOaP5R12o0sfFCoNX//jNwVyrO7kw5UlyjQ+XE4JVq61mDZzzAaf8SwaNNwKMaeAN78FzTdXekXV4r8KjmX9exm03jpdDFlwBeqTjLU8VcXKNT5cTg5bU9vv8D55rNuSMVAAA=">
            <a:extLst>
              <a:ext uri="{FF2B5EF4-FFF2-40B4-BE49-F238E27FC236}">
                <a16:creationId xmlns:a16="http://schemas.microsoft.com/office/drawing/2014/main" id="{A3D66EE7-5E50-4FCA-9AE6-C4BFD4705085}"/>
              </a:ext>
            </a:extLst>
          </p:cNvPr>
          <p:cNvGrpSpPr>
            <a:grpSpLocks noChangeAspect="1"/>
          </p:cNvGrpSpPr>
          <p:nvPr/>
        </p:nvGrpSpPr>
        <p:grpSpPr>
          <a:xfrm>
            <a:off x="3093180" y="1711380"/>
            <a:ext cx="6005641" cy="3435240"/>
            <a:chOff x="3093180" y="1711380"/>
            <a:chExt cx="6005641" cy="3435240"/>
          </a:xfrm>
        </p:grpSpPr>
        <p:sp>
          <p:nvSpPr>
            <p:cNvPr id="3" name="RelativeShape1">
              <a:extLst>
                <a:ext uri="{FF2B5EF4-FFF2-40B4-BE49-F238E27FC236}">
                  <a16:creationId xmlns:a16="http://schemas.microsoft.com/office/drawing/2014/main" id="{57738289-B8EC-466D-BFE3-11A32BBE31DA}"/>
                </a:ext>
              </a:extLst>
            </p:cNvPr>
            <p:cNvSpPr/>
            <p:nvPr/>
          </p:nvSpPr>
          <p:spPr>
            <a:xfrm>
              <a:off x="4887371" y="3136575"/>
              <a:ext cx="3696863" cy="29242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12700" dir="16200000">
                <a:prstClr val="black">
                  <a:alpha val="1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" name="ValueShape1">
              <a:extLst>
                <a:ext uri="{FF2B5EF4-FFF2-40B4-BE49-F238E27FC236}">
                  <a16:creationId xmlns:a16="http://schemas.microsoft.com/office/drawing/2014/main" id="{9522675F-0526-4350-86EC-FF6E1E3E8D7B}"/>
                </a:ext>
              </a:extLst>
            </p:cNvPr>
            <p:cNvSpPr/>
            <p:nvPr/>
          </p:nvSpPr>
          <p:spPr>
            <a:xfrm>
              <a:off x="4887371" y="3136575"/>
              <a:ext cx="2559367" cy="292425"/>
            </a:xfrm>
            <a:prstGeom prst="roundRect">
              <a:avLst/>
            </a:prstGeom>
            <a:solidFill>
              <a:schemeClr val="accent2">
                <a:lumMod val="100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5" name="ValueText1">
              <a:extLst>
                <a:ext uri="{FF2B5EF4-FFF2-40B4-BE49-F238E27FC236}">
                  <a16:creationId xmlns:a16="http://schemas.microsoft.com/office/drawing/2014/main" id="{E2B73688-2C88-43E3-86D4-F51982F54E8B}"/>
                </a:ext>
              </a:extLst>
            </p:cNvPr>
            <p:cNvSpPr txBox="1"/>
            <p:nvPr/>
          </p:nvSpPr>
          <p:spPr>
            <a:xfrm>
              <a:off x="8669598" y="3152337"/>
              <a:ext cx="429223" cy="218588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altLang="zh-CN" sz="2400">
                  <a:solidFill>
                    <a:schemeClr val="accent2">
                      <a:lumMod val="100000"/>
                    </a:schemeClr>
                  </a:solidFill>
                  <a:latin typeface="+mj-lt"/>
                </a:rPr>
                <a:t>69%</a:t>
              </a:r>
              <a:endParaRPr lang="en-US" sz="2400" dirty="0">
                <a:solidFill>
                  <a:schemeClr val="accent2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6" name="RelativeShape2">
              <a:extLst>
                <a:ext uri="{FF2B5EF4-FFF2-40B4-BE49-F238E27FC236}">
                  <a16:creationId xmlns:a16="http://schemas.microsoft.com/office/drawing/2014/main" id="{56DB8786-C26B-460A-84E9-C80E6266627F}"/>
                </a:ext>
              </a:extLst>
            </p:cNvPr>
            <p:cNvSpPr/>
            <p:nvPr/>
          </p:nvSpPr>
          <p:spPr>
            <a:xfrm>
              <a:off x="4887371" y="3670260"/>
              <a:ext cx="3696863" cy="29242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12700" dir="16200000">
                <a:prstClr val="black">
                  <a:alpha val="1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7" name="ValueShape2">
              <a:extLst>
                <a:ext uri="{FF2B5EF4-FFF2-40B4-BE49-F238E27FC236}">
                  <a16:creationId xmlns:a16="http://schemas.microsoft.com/office/drawing/2014/main" id="{A5483C15-CD94-4571-976A-0F0C575F4BF3}"/>
                </a:ext>
              </a:extLst>
            </p:cNvPr>
            <p:cNvSpPr/>
            <p:nvPr/>
          </p:nvSpPr>
          <p:spPr>
            <a:xfrm>
              <a:off x="4887371" y="3670260"/>
              <a:ext cx="2701554" cy="292425"/>
            </a:xfrm>
            <a:prstGeom prst="roundRect">
              <a:avLst/>
            </a:prstGeom>
            <a:solidFill>
              <a:schemeClr val="accent6">
                <a:lumMod val="100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8" name="ValueText2">
              <a:extLst>
                <a:ext uri="{FF2B5EF4-FFF2-40B4-BE49-F238E27FC236}">
                  <a16:creationId xmlns:a16="http://schemas.microsoft.com/office/drawing/2014/main" id="{4BAE7999-3C95-4CC1-B3C5-BFB3EBE4C055}"/>
                </a:ext>
              </a:extLst>
            </p:cNvPr>
            <p:cNvSpPr txBox="1"/>
            <p:nvPr/>
          </p:nvSpPr>
          <p:spPr>
            <a:xfrm>
              <a:off x="8669598" y="3686022"/>
              <a:ext cx="429223" cy="218588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altLang="zh-CN" sz="2400">
                  <a:solidFill>
                    <a:schemeClr val="accent6">
                      <a:lumMod val="100000"/>
                    </a:schemeClr>
                  </a:solidFill>
                  <a:latin typeface="+mj-lt"/>
                </a:rPr>
                <a:t>73%</a:t>
              </a:r>
              <a:endParaRPr lang="en-US" sz="2400" dirty="0">
                <a:solidFill>
                  <a:schemeClr val="accent6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9" name="RelativeShape3">
              <a:extLst>
                <a:ext uri="{FF2B5EF4-FFF2-40B4-BE49-F238E27FC236}">
                  <a16:creationId xmlns:a16="http://schemas.microsoft.com/office/drawing/2014/main" id="{23BD8317-7234-41B8-AB0B-365D43636734}"/>
                </a:ext>
              </a:extLst>
            </p:cNvPr>
            <p:cNvSpPr/>
            <p:nvPr/>
          </p:nvSpPr>
          <p:spPr>
            <a:xfrm>
              <a:off x="4887371" y="4203945"/>
              <a:ext cx="3696863" cy="29242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12700" dir="16200000">
                <a:prstClr val="black">
                  <a:alpha val="1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" name="ValueShape3">
              <a:extLst>
                <a:ext uri="{FF2B5EF4-FFF2-40B4-BE49-F238E27FC236}">
                  <a16:creationId xmlns:a16="http://schemas.microsoft.com/office/drawing/2014/main" id="{C6FF82DA-2931-4B3B-A114-AFC3DF00EEC7}"/>
                </a:ext>
              </a:extLst>
            </p:cNvPr>
            <p:cNvSpPr/>
            <p:nvPr/>
          </p:nvSpPr>
          <p:spPr>
            <a:xfrm>
              <a:off x="4887371" y="4203945"/>
              <a:ext cx="2914834" cy="292425"/>
            </a:xfrm>
            <a:prstGeom prst="roundRect">
              <a:avLst/>
            </a:prstGeom>
            <a:solidFill>
              <a:schemeClr val="accent3">
                <a:lumMod val="100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1" name="ValueText3">
              <a:extLst>
                <a:ext uri="{FF2B5EF4-FFF2-40B4-BE49-F238E27FC236}">
                  <a16:creationId xmlns:a16="http://schemas.microsoft.com/office/drawing/2014/main" id="{2163F8A5-27BD-4F9E-B7F5-5D4F9FF6CF62}"/>
                </a:ext>
              </a:extLst>
            </p:cNvPr>
            <p:cNvSpPr txBox="1"/>
            <p:nvPr/>
          </p:nvSpPr>
          <p:spPr>
            <a:xfrm>
              <a:off x="8669598" y="4219707"/>
              <a:ext cx="429223" cy="218588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altLang="zh-CN" sz="2400">
                  <a:solidFill>
                    <a:schemeClr val="accent3">
                      <a:lumMod val="100000"/>
                    </a:schemeClr>
                  </a:solidFill>
                  <a:latin typeface="+mj-lt"/>
                </a:rPr>
                <a:t>79%</a:t>
              </a:r>
              <a:endParaRPr lang="en-US" sz="2400" dirty="0">
                <a:solidFill>
                  <a:schemeClr val="accent3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2" name="RelativeShape4">
              <a:extLst>
                <a:ext uri="{FF2B5EF4-FFF2-40B4-BE49-F238E27FC236}">
                  <a16:creationId xmlns:a16="http://schemas.microsoft.com/office/drawing/2014/main" id="{A4497EA0-C294-47BE-B6B6-5B95DB2B0C0D}"/>
                </a:ext>
              </a:extLst>
            </p:cNvPr>
            <p:cNvSpPr/>
            <p:nvPr/>
          </p:nvSpPr>
          <p:spPr>
            <a:xfrm>
              <a:off x="4887371" y="4737630"/>
              <a:ext cx="3696863" cy="29242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12700" dir="16200000">
                <a:prstClr val="black">
                  <a:alpha val="1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3" name="ValueShape4">
              <a:extLst>
                <a:ext uri="{FF2B5EF4-FFF2-40B4-BE49-F238E27FC236}">
                  <a16:creationId xmlns:a16="http://schemas.microsoft.com/office/drawing/2014/main" id="{3C8BCCD5-6435-423A-8179-1C40B5DF5CC6}"/>
                </a:ext>
              </a:extLst>
            </p:cNvPr>
            <p:cNvSpPr/>
            <p:nvPr/>
          </p:nvSpPr>
          <p:spPr>
            <a:xfrm>
              <a:off x="4887371" y="4737630"/>
              <a:ext cx="3128115" cy="292425"/>
            </a:xfrm>
            <a:prstGeom prst="roundRect">
              <a:avLst/>
            </a:prstGeom>
            <a:solidFill>
              <a:schemeClr val="accent5">
                <a:lumMod val="100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4" name="ValueText4">
              <a:extLst>
                <a:ext uri="{FF2B5EF4-FFF2-40B4-BE49-F238E27FC236}">
                  <a16:creationId xmlns:a16="http://schemas.microsoft.com/office/drawing/2014/main" id="{B0BAD680-21CC-41AA-B050-4751A997291D}"/>
                </a:ext>
              </a:extLst>
            </p:cNvPr>
            <p:cNvSpPr txBox="1"/>
            <p:nvPr/>
          </p:nvSpPr>
          <p:spPr>
            <a:xfrm>
              <a:off x="8669598" y="4753392"/>
              <a:ext cx="429223" cy="218588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altLang="zh-CN" sz="2400">
                  <a:solidFill>
                    <a:schemeClr val="accent5">
                      <a:lumMod val="100000"/>
                    </a:schemeClr>
                  </a:solidFill>
                  <a:latin typeface="+mj-lt"/>
                </a:rPr>
                <a:t>85%</a:t>
              </a:r>
              <a:endParaRPr lang="en-US" sz="2400" dirty="0">
                <a:solidFill>
                  <a:schemeClr val="accent5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5" name="ExtraShape1">
              <a:extLst>
                <a:ext uri="{FF2B5EF4-FFF2-40B4-BE49-F238E27FC236}">
                  <a16:creationId xmlns:a16="http://schemas.microsoft.com/office/drawing/2014/main" id="{403C6CF6-64EC-4BF1-A09E-261E4F4360CA}"/>
                </a:ext>
              </a:extLst>
            </p:cNvPr>
            <p:cNvSpPr/>
            <p:nvPr/>
          </p:nvSpPr>
          <p:spPr bwMode="auto">
            <a:xfrm>
              <a:off x="3093180" y="2043128"/>
              <a:ext cx="1415628" cy="3103492"/>
            </a:xfrm>
            <a:custGeom>
              <a:avLst/>
              <a:gdLst>
                <a:gd name="T0" fmla="*/ 49 w 537"/>
                <a:gd name="T1" fmla="*/ 888 h 1180"/>
                <a:gd name="T2" fmla="*/ 128 w 537"/>
                <a:gd name="T3" fmla="*/ 646 h 1180"/>
                <a:gd name="T4" fmla="*/ 116 w 537"/>
                <a:gd name="T5" fmla="*/ 444 h 1180"/>
                <a:gd name="T6" fmla="*/ 129 w 537"/>
                <a:gd name="T7" fmla="*/ 221 h 1180"/>
                <a:gd name="T8" fmla="*/ 243 w 537"/>
                <a:gd name="T9" fmla="*/ 46 h 1180"/>
                <a:gd name="T10" fmla="*/ 444 w 537"/>
                <a:gd name="T11" fmla="*/ 44 h 1180"/>
                <a:gd name="T12" fmla="*/ 524 w 537"/>
                <a:gd name="T13" fmla="*/ 231 h 1180"/>
                <a:gd name="T14" fmla="*/ 517 w 537"/>
                <a:gd name="T15" fmla="*/ 454 h 1180"/>
                <a:gd name="T16" fmla="*/ 430 w 537"/>
                <a:gd name="T17" fmla="*/ 646 h 1180"/>
                <a:gd name="T18" fmla="*/ 402 w 537"/>
                <a:gd name="T19" fmla="*/ 850 h 1180"/>
                <a:gd name="T20" fmla="*/ 449 w 537"/>
                <a:gd name="T21" fmla="*/ 968 h 1180"/>
                <a:gd name="T22" fmla="*/ 328 w 537"/>
                <a:gd name="T23" fmla="*/ 1127 h 1180"/>
                <a:gd name="T24" fmla="*/ 49 w 537"/>
                <a:gd name="T25" fmla="*/ 888 h 1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7" h="1180">
                  <a:moveTo>
                    <a:pt x="49" y="888"/>
                  </a:moveTo>
                  <a:cubicBezTo>
                    <a:pt x="71" y="806"/>
                    <a:pt x="116" y="730"/>
                    <a:pt x="128" y="646"/>
                  </a:cubicBezTo>
                  <a:cubicBezTo>
                    <a:pt x="137" y="579"/>
                    <a:pt x="123" y="512"/>
                    <a:pt x="116" y="444"/>
                  </a:cubicBezTo>
                  <a:cubicBezTo>
                    <a:pt x="109" y="370"/>
                    <a:pt x="110" y="294"/>
                    <a:pt x="129" y="221"/>
                  </a:cubicBezTo>
                  <a:cubicBezTo>
                    <a:pt x="147" y="152"/>
                    <a:pt x="184" y="85"/>
                    <a:pt x="243" y="46"/>
                  </a:cubicBezTo>
                  <a:cubicBezTo>
                    <a:pt x="303" y="6"/>
                    <a:pt x="387" y="0"/>
                    <a:pt x="444" y="44"/>
                  </a:cubicBezTo>
                  <a:cubicBezTo>
                    <a:pt x="499" y="86"/>
                    <a:pt x="515" y="162"/>
                    <a:pt x="524" y="231"/>
                  </a:cubicBezTo>
                  <a:cubicBezTo>
                    <a:pt x="533" y="305"/>
                    <a:pt x="537" y="382"/>
                    <a:pt x="517" y="454"/>
                  </a:cubicBezTo>
                  <a:cubicBezTo>
                    <a:pt x="498" y="522"/>
                    <a:pt x="459" y="582"/>
                    <a:pt x="430" y="646"/>
                  </a:cubicBezTo>
                  <a:cubicBezTo>
                    <a:pt x="400" y="710"/>
                    <a:pt x="380" y="783"/>
                    <a:pt x="402" y="850"/>
                  </a:cubicBezTo>
                  <a:cubicBezTo>
                    <a:pt x="416" y="890"/>
                    <a:pt x="444" y="926"/>
                    <a:pt x="449" y="968"/>
                  </a:cubicBezTo>
                  <a:cubicBezTo>
                    <a:pt x="459" y="1040"/>
                    <a:pt x="397" y="1106"/>
                    <a:pt x="328" y="1127"/>
                  </a:cubicBezTo>
                  <a:cubicBezTo>
                    <a:pt x="151" y="1180"/>
                    <a:pt x="0" y="1078"/>
                    <a:pt x="49" y="888"/>
                  </a:cubicBezTo>
                  <a:close/>
                </a:path>
              </a:pathLst>
            </a:custGeom>
            <a:solidFill>
              <a:srgbClr val="68AFFD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16" name="ExtraShape2">
              <a:extLst>
                <a:ext uri="{FF2B5EF4-FFF2-40B4-BE49-F238E27FC236}">
                  <a16:creationId xmlns:a16="http://schemas.microsoft.com/office/drawing/2014/main" id="{A9661441-9776-4035-9623-3E63BC460919}"/>
                </a:ext>
              </a:extLst>
            </p:cNvPr>
            <p:cNvSpPr/>
            <p:nvPr/>
          </p:nvSpPr>
          <p:spPr bwMode="auto">
            <a:xfrm>
              <a:off x="3955472" y="2426792"/>
              <a:ext cx="479896" cy="497623"/>
            </a:xfrm>
            <a:custGeom>
              <a:avLst/>
              <a:gdLst>
                <a:gd name="T0" fmla="*/ 49 w 182"/>
                <a:gd name="T1" fmla="*/ 32 h 189"/>
                <a:gd name="T2" fmla="*/ 156 w 182"/>
                <a:gd name="T3" fmla="*/ 0 h 189"/>
                <a:gd name="T4" fmla="*/ 182 w 182"/>
                <a:gd name="T5" fmla="*/ 33 h 189"/>
                <a:gd name="T6" fmla="*/ 148 w 182"/>
                <a:gd name="T7" fmla="*/ 96 h 189"/>
                <a:gd name="T8" fmla="*/ 101 w 182"/>
                <a:gd name="T9" fmla="*/ 151 h 189"/>
                <a:gd name="T10" fmla="*/ 78 w 182"/>
                <a:gd name="T11" fmla="*/ 189 h 189"/>
                <a:gd name="T12" fmla="*/ 56 w 182"/>
                <a:gd name="T13" fmla="*/ 145 h 189"/>
                <a:gd name="T14" fmla="*/ 84 w 182"/>
                <a:gd name="T15" fmla="*/ 101 h 189"/>
                <a:gd name="T16" fmla="*/ 24 w 182"/>
                <a:gd name="T17" fmla="*/ 92 h 189"/>
                <a:gd name="T18" fmla="*/ 49 w 182"/>
                <a:gd name="T19" fmla="*/ 3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9">
                  <a:moveTo>
                    <a:pt x="49" y="32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156" y="0"/>
                    <a:pt x="182" y="7"/>
                    <a:pt x="182" y="33"/>
                  </a:cubicBezTo>
                  <a:cubicBezTo>
                    <a:pt x="182" y="60"/>
                    <a:pt x="148" y="96"/>
                    <a:pt x="148" y="96"/>
                  </a:cubicBezTo>
                  <a:cubicBezTo>
                    <a:pt x="101" y="151"/>
                    <a:pt x="101" y="151"/>
                    <a:pt x="101" y="151"/>
                  </a:cubicBezTo>
                  <a:cubicBezTo>
                    <a:pt x="78" y="189"/>
                    <a:pt x="78" y="189"/>
                    <a:pt x="78" y="189"/>
                  </a:cubicBezTo>
                  <a:cubicBezTo>
                    <a:pt x="56" y="145"/>
                    <a:pt x="56" y="145"/>
                    <a:pt x="56" y="145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84" y="101"/>
                    <a:pt x="47" y="116"/>
                    <a:pt x="24" y="92"/>
                  </a:cubicBezTo>
                  <a:cubicBezTo>
                    <a:pt x="0" y="69"/>
                    <a:pt x="49" y="32"/>
                    <a:pt x="49" y="32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17" name="ExtraShape3">
              <a:extLst>
                <a:ext uri="{FF2B5EF4-FFF2-40B4-BE49-F238E27FC236}">
                  <a16:creationId xmlns:a16="http://schemas.microsoft.com/office/drawing/2014/main" id="{F11B8032-CC5E-4E70-9968-E3F9E42E13AE}"/>
                </a:ext>
              </a:extLst>
            </p:cNvPr>
            <p:cNvSpPr/>
            <p:nvPr/>
          </p:nvSpPr>
          <p:spPr bwMode="auto">
            <a:xfrm>
              <a:off x="3978263" y="2426792"/>
              <a:ext cx="457104" cy="497623"/>
            </a:xfrm>
            <a:custGeom>
              <a:avLst/>
              <a:gdLst>
                <a:gd name="T0" fmla="*/ 173 w 173"/>
                <a:gd name="T1" fmla="*/ 33 h 189"/>
                <a:gd name="T2" fmla="*/ 139 w 173"/>
                <a:gd name="T3" fmla="*/ 96 h 189"/>
                <a:gd name="T4" fmla="*/ 92 w 173"/>
                <a:gd name="T5" fmla="*/ 151 h 189"/>
                <a:gd name="T6" fmla="*/ 69 w 173"/>
                <a:gd name="T7" fmla="*/ 189 h 189"/>
                <a:gd name="T8" fmla="*/ 47 w 173"/>
                <a:gd name="T9" fmla="*/ 144 h 189"/>
                <a:gd name="T10" fmla="*/ 75 w 173"/>
                <a:gd name="T11" fmla="*/ 101 h 189"/>
                <a:gd name="T12" fmla="*/ 15 w 173"/>
                <a:gd name="T13" fmla="*/ 92 h 189"/>
                <a:gd name="T14" fmla="*/ 25 w 173"/>
                <a:gd name="T15" fmla="*/ 45 h 189"/>
                <a:gd name="T16" fmla="*/ 36 w 173"/>
                <a:gd name="T17" fmla="*/ 46 h 189"/>
                <a:gd name="T18" fmla="*/ 53 w 173"/>
                <a:gd name="T19" fmla="*/ 42 h 189"/>
                <a:gd name="T20" fmla="*/ 57 w 173"/>
                <a:gd name="T21" fmla="*/ 36 h 189"/>
                <a:gd name="T22" fmla="*/ 66 w 173"/>
                <a:gd name="T23" fmla="*/ 24 h 189"/>
                <a:gd name="T24" fmla="*/ 147 w 173"/>
                <a:gd name="T25" fmla="*/ 0 h 189"/>
                <a:gd name="T26" fmla="*/ 173 w 173"/>
                <a:gd name="T27" fmla="*/ 3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" h="189">
                  <a:moveTo>
                    <a:pt x="173" y="33"/>
                  </a:moveTo>
                  <a:cubicBezTo>
                    <a:pt x="173" y="60"/>
                    <a:pt x="139" y="96"/>
                    <a:pt x="139" y="96"/>
                  </a:cubicBezTo>
                  <a:cubicBezTo>
                    <a:pt x="92" y="151"/>
                    <a:pt x="92" y="151"/>
                    <a:pt x="92" y="151"/>
                  </a:cubicBezTo>
                  <a:cubicBezTo>
                    <a:pt x="69" y="189"/>
                    <a:pt x="69" y="189"/>
                    <a:pt x="69" y="189"/>
                  </a:cubicBezTo>
                  <a:cubicBezTo>
                    <a:pt x="47" y="144"/>
                    <a:pt x="47" y="144"/>
                    <a:pt x="47" y="144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5" y="101"/>
                    <a:pt x="38" y="116"/>
                    <a:pt x="15" y="92"/>
                  </a:cubicBezTo>
                  <a:cubicBezTo>
                    <a:pt x="0" y="78"/>
                    <a:pt x="13" y="58"/>
                    <a:pt x="25" y="45"/>
                  </a:cubicBezTo>
                  <a:cubicBezTo>
                    <a:pt x="29" y="46"/>
                    <a:pt x="33" y="46"/>
                    <a:pt x="36" y="46"/>
                  </a:cubicBezTo>
                  <a:cubicBezTo>
                    <a:pt x="42" y="46"/>
                    <a:pt x="48" y="45"/>
                    <a:pt x="53" y="42"/>
                  </a:cubicBezTo>
                  <a:cubicBezTo>
                    <a:pt x="55" y="40"/>
                    <a:pt x="56" y="38"/>
                    <a:pt x="57" y="36"/>
                  </a:cubicBezTo>
                  <a:cubicBezTo>
                    <a:pt x="60" y="33"/>
                    <a:pt x="63" y="29"/>
                    <a:pt x="66" y="24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73" y="7"/>
                    <a:pt x="173" y="33"/>
                  </a:cubicBezTo>
                  <a:close/>
                </a:path>
              </a:pathLst>
            </a:custGeom>
            <a:gradFill>
              <a:gsLst>
                <a:gs pos="9000">
                  <a:schemeClr val="tx1">
                    <a:alpha val="36000"/>
                  </a:schemeClr>
                </a:gs>
                <a:gs pos="100000">
                  <a:srgbClr val="68AFFD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18" name="ExtraShape4">
              <a:extLst>
                <a:ext uri="{FF2B5EF4-FFF2-40B4-BE49-F238E27FC236}">
                  <a16:creationId xmlns:a16="http://schemas.microsoft.com/office/drawing/2014/main" id="{9BDF7DE6-6683-4443-934A-8EE07BE4C69E}"/>
                </a:ext>
              </a:extLst>
            </p:cNvPr>
            <p:cNvSpPr/>
            <p:nvPr/>
          </p:nvSpPr>
          <p:spPr bwMode="auto">
            <a:xfrm>
              <a:off x="4113749" y="2758540"/>
              <a:ext cx="115226" cy="139284"/>
            </a:xfrm>
            <a:custGeom>
              <a:avLst/>
              <a:gdLst>
                <a:gd name="T0" fmla="*/ 27 w 44"/>
                <a:gd name="T1" fmla="*/ 16 h 53"/>
                <a:gd name="T2" fmla="*/ 31 w 44"/>
                <a:gd name="T3" fmla="*/ 18 h 53"/>
                <a:gd name="T4" fmla="*/ 36 w 44"/>
                <a:gd name="T5" fmla="*/ 24 h 53"/>
                <a:gd name="T6" fmla="*/ 42 w 44"/>
                <a:gd name="T7" fmla="*/ 36 h 53"/>
                <a:gd name="T8" fmla="*/ 44 w 44"/>
                <a:gd name="T9" fmla="*/ 41 h 53"/>
                <a:gd name="T10" fmla="*/ 41 w 44"/>
                <a:gd name="T11" fmla="*/ 47 h 53"/>
                <a:gd name="T12" fmla="*/ 25 w 44"/>
                <a:gd name="T13" fmla="*/ 52 h 53"/>
                <a:gd name="T14" fmla="*/ 16 w 44"/>
                <a:gd name="T15" fmla="*/ 49 h 53"/>
                <a:gd name="T16" fmla="*/ 13 w 44"/>
                <a:gd name="T17" fmla="*/ 45 h 53"/>
                <a:gd name="T18" fmla="*/ 5 w 44"/>
                <a:gd name="T19" fmla="*/ 30 h 53"/>
                <a:gd name="T20" fmla="*/ 8 w 44"/>
                <a:gd name="T21" fmla="*/ 5 h 53"/>
                <a:gd name="T22" fmla="*/ 27 w 44"/>
                <a:gd name="T23" fmla="*/ 1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53">
                  <a:moveTo>
                    <a:pt x="27" y="16"/>
                  </a:moveTo>
                  <a:cubicBezTo>
                    <a:pt x="29" y="16"/>
                    <a:pt x="30" y="17"/>
                    <a:pt x="31" y="18"/>
                  </a:cubicBezTo>
                  <a:cubicBezTo>
                    <a:pt x="33" y="19"/>
                    <a:pt x="35" y="22"/>
                    <a:pt x="36" y="24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3" y="37"/>
                    <a:pt x="44" y="39"/>
                    <a:pt x="44" y="41"/>
                  </a:cubicBezTo>
                  <a:cubicBezTo>
                    <a:pt x="44" y="43"/>
                    <a:pt x="43" y="45"/>
                    <a:pt x="41" y="47"/>
                  </a:cubicBezTo>
                  <a:cubicBezTo>
                    <a:pt x="37" y="51"/>
                    <a:pt x="31" y="53"/>
                    <a:pt x="25" y="52"/>
                  </a:cubicBezTo>
                  <a:cubicBezTo>
                    <a:pt x="22" y="52"/>
                    <a:pt x="18" y="51"/>
                    <a:pt x="16" y="49"/>
                  </a:cubicBezTo>
                  <a:cubicBezTo>
                    <a:pt x="14" y="48"/>
                    <a:pt x="13" y="46"/>
                    <a:pt x="13" y="45"/>
                  </a:cubicBezTo>
                  <a:cubicBezTo>
                    <a:pt x="10" y="40"/>
                    <a:pt x="7" y="35"/>
                    <a:pt x="5" y="30"/>
                  </a:cubicBezTo>
                  <a:cubicBezTo>
                    <a:pt x="2" y="23"/>
                    <a:pt x="0" y="10"/>
                    <a:pt x="8" y="5"/>
                  </a:cubicBezTo>
                  <a:cubicBezTo>
                    <a:pt x="17" y="0"/>
                    <a:pt x="21" y="12"/>
                    <a:pt x="27" y="16"/>
                  </a:cubicBezTo>
                  <a:close/>
                </a:path>
              </a:pathLst>
            </a:custGeom>
            <a:gradFill>
              <a:gsLst>
                <a:gs pos="9000">
                  <a:schemeClr val="tx1">
                    <a:alpha val="29000"/>
                  </a:schemeClr>
                </a:gs>
                <a:gs pos="100000">
                  <a:srgbClr val="68AFFD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19" name="ExtraShape5">
              <a:extLst>
                <a:ext uri="{FF2B5EF4-FFF2-40B4-BE49-F238E27FC236}">
                  <a16:creationId xmlns:a16="http://schemas.microsoft.com/office/drawing/2014/main" id="{CC573AF6-8325-46D9-890F-4AC76193CD1F}"/>
                </a:ext>
              </a:extLst>
            </p:cNvPr>
            <p:cNvSpPr/>
            <p:nvPr/>
          </p:nvSpPr>
          <p:spPr bwMode="auto">
            <a:xfrm>
              <a:off x="3495836" y="2509095"/>
              <a:ext cx="2167759" cy="2527364"/>
            </a:xfrm>
            <a:custGeom>
              <a:avLst/>
              <a:gdLst>
                <a:gd name="T0" fmla="*/ 590 w 822"/>
                <a:gd name="T1" fmla="*/ 961 h 961"/>
                <a:gd name="T2" fmla="*/ 0 w 822"/>
                <a:gd name="T3" fmla="*/ 961 h 961"/>
                <a:gd name="T4" fmla="*/ 224 w 822"/>
                <a:gd name="T5" fmla="*/ 208 h 961"/>
                <a:gd name="T6" fmla="*/ 498 w 822"/>
                <a:gd name="T7" fmla="*/ 0 h 961"/>
                <a:gd name="T8" fmla="*/ 498 w 822"/>
                <a:gd name="T9" fmla="*/ 0 h 961"/>
                <a:gd name="T10" fmla="*/ 771 w 822"/>
                <a:gd name="T11" fmla="*/ 361 h 961"/>
                <a:gd name="T12" fmla="*/ 590 w 822"/>
                <a:gd name="T13" fmla="*/ 961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2" h="961">
                  <a:moveTo>
                    <a:pt x="59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224" y="208"/>
                    <a:pt x="224" y="208"/>
                    <a:pt x="224" y="208"/>
                  </a:cubicBezTo>
                  <a:cubicBezTo>
                    <a:pt x="259" y="85"/>
                    <a:pt x="371" y="0"/>
                    <a:pt x="498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686" y="0"/>
                    <a:pt x="822" y="180"/>
                    <a:pt x="771" y="361"/>
                  </a:cubicBezTo>
                  <a:lnTo>
                    <a:pt x="590" y="961"/>
                  </a:ln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20" name="ExtraShape6">
              <a:extLst>
                <a:ext uri="{FF2B5EF4-FFF2-40B4-BE49-F238E27FC236}">
                  <a16:creationId xmlns:a16="http://schemas.microsoft.com/office/drawing/2014/main" id="{8E47A0C7-D637-4069-BF59-7FB9119CE908}"/>
                </a:ext>
              </a:extLst>
            </p:cNvPr>
            <p:cNvSpPr/>
            <p:nvPr/>
          </p:nvSpPr>
          <p:spPr bwMode="auto">
            <a:xfrm>
              <a:off x="3738949" y="2519225"/>
              <a:ext cx="433045" cy="915473"/>
            </a:xfrm>
            <a:custGeom>
              <a:avLst/>
              <a:gdLst>
                <a:gd name="T0" fmla="*/ 105 w 164"/>
                <a:gd name="T1" fmla="*/ 185 h 348"/>
                <a:gd name="T2" fmla="*/ 95 w 164"/>
                <a:gd name="T3" fmla="*/ 223 h 348"/>
                <a:gd name="T4" fmla="*/ 71 w 164"/>
                <a:gd name="T5" fmla="*/ 282 h 348"/>
                <a:gd name="T6" fmla="*/ 67 w 164"/>
                <a:gd name="T7" fmla="*/ 304 h 348"/>
                <a:gd name="T8" fmla="*/ 86 w 164"/>
                <a:gd name="T9" fmla="*/ 329 h 348"/>
                <a:gd name="T10" fmla="*/ 118 w 164"/>
                <a:gd name="T11" fmla="*/ 347 h 348"/>
                <a:gd name="T12" fmla="*/ 146 w 164"/>
                <a:gd name="T13" fmla="*/ 330 h 348"/>
                <a:gd name="T14" fmla="*/ 131 w 164"/>
                <a:gd name="T15" fmla="*/ 292 h 348"/>
                <a:gd name="T16" fmla="*/ 134 w 164"/>
                <a:gd name="T17" fmla="*/ 261 h 348"/>
                <a:gd name="T18" fmla="*/ 163 w 164"/>
                <a:gd name="T19" fmla="*/ 156 h 348"/>
                <a:gd name="T20" fmla="*/ 138 w 164"/>
                <a:gd name="T21" fmla="*/ 46 h 348"/>
                <a:gd name="T22" fmla="*/ 103 w 164"/>
                <a:gd name="T23" fmla="*/ 8 h 348"/>
                <a:gd name="T24" fmla="*/ 53 w 164"/>
                <a:gd name="T25" fmla="*/ 11 h 348"/>
                <a:gd name="T26" fmla="*/ 105 w 164"/>
                <a:gd name="T27" fmla="*/ 185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4" h="348">
                  <a:moveTo>
                    <a:pt x="105" y="185"/>
                  </a:moveTo>
                  <a:cubicBezTo>
                    <a:pt x="105" y="198"/>
                    <a:pt x="100" y="211"/>
                    <a:pt x="95" y="223"/>
                  </a:cubicBezTo>
                  <a:cubicBezTo>
                    <a:pt x="71" y="282"/>
                    <a:pt x="71" y="282"/>
                    <a:pt x="71" y="282"/>
                  </a:cubicBezTo>
                  <a:cubicBezTo>
                    <a:pt x="68" y="289"/>
                    <a:pt x="66" y="296"/>
                    <a:pt x="67" y="304"/>
                  </a:cubicBezTo>
                  <a:cubicBezTo>
                    <a:pt x="68" y="314"/>
                    <a:pt x="77" y="322"/>
                    <a:pt x="86" y="329"/>
                  </a:cubicBezTo>
                  <a:cubicBezTo>
                    <a:pt x="95" y="337"/>
                    <a:pt x="105" y="345"/>
                    <a:pt x="118" y="347"/>
                  </a:cubicBezTo>
                  <a:cubicBezTo>
                    <a:pt x="130" y="348"/>
                    <a:pt x="144" y="342"/>
                    <a:pt x="146" y="330"/>
                  </a:cubicBezTo>
                  <a:cubicBezTo>
                    <a:pt x="148" y="316"/>
                    <a:pt x="135" y="305"/>
                    <a:pt x="131" y="292"/>
                  </a:cubicBezTo>
                  <a:cubicBezTo>
                    <a:pt x="128" y="282"/>
                    <a:pt x="131" y="271"/>
                    <a:pt x="134" y="261"/>
                  </a:cubicBezTo>
                  <a:cubicBezTo>
                    <a:pt x="145" y="226"/>
                    <a:pt x="163" y="192"/>
                    <a:pt x="163" y="156"/>
                  </a:cubicBezTo>
                  <a:cubicBezTo>
                    <a:pt x="164" y="117"/>
                    <a:pt x="147" y="82"/>
                    <a:pt x="138" y="46"/>
                  </a:cubicBezTo>
                  <a:cubicBezTo>
                    <a:pt x="131" y="19"/>
                    <a:pt x="133" y="13"/>
                    <a:pt x="103" y="8"/>
                  </a:cubicBezTo>
                  <a:cubicBezTo>
                    <a:pt x="88" y="5"/>
                    <a:pt x="66" y="0"/>
                    <a:pt x="53" y="11"/>
                  </a:cubicBezTo>
                  <a:cubicBezTo>
                    <a:pt x="0" y="52"/>
                    <a:pt x="105" y="141"/>
                    <a:pt x="105" y="185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21" name="ExtraShape7">
              <a:extLst>
                <a:ext uri="{FF2B5EF4-FFF2-40B4-BE49-F238E27FC236}">
                  <a16:creationId xmlns:a16="http://schemas.microsoft.com/office/drawing/2014/main" id="{2EB6F634-8BE8-4672-9F2B-E9DCC3A223B3}"/>
                </a:ext>
              </a:extLst>
            </p:cNvPr>
            <p:cNvSpPr/>
            <p:nvPr/>
          </p:nvSpPr>
          <p:spPr bwMode="auto">
            <a:xfrm>
              <a:off x="3738949" y="2521757"/>
              <a:ext cx="433045" cy="915473"/>
            </a:xfrm>
            <a:custGeom>
              <a:avLst/>
              <a:gdLst>
                <a:gd name="T0" fmla="*/ 105 w 164"/>
                <a:gd name="T1" fmla="*/ 184 h 348"/>
                <a:gd name="T2" fmla="*/ 95 w 164"/>
                <a:gd name="T3" fmla="*/ 223 h 348"/>
                <a:gd name="T4" fmla="*/ 71 w 164"/>
                <a:gd name="T5" fmla="*/ 282 h 348"/>
                <a:gd name="T6" fmla="*/ 66 w 164"/>
                <a:gd name="T7" fmla="*/ 303 h 348"/>
                <a:gd name="T8" fmla="*/ 85 w 164"/>
                <a:gd name="T9" fmla="*/ 329 h 348"/>
                <a:gd name="T10" fmla="*/ 117 w 164"/>
                <a:gd name="T11" fmla="*/ 346 h 348"/>
                <a:gd name="T12" fmla="*/ 116 w 164"/>
                <a:gd name="T13" fmla="*/ 297 h 348"/>
                <a:gd name="T14" fmla="*/ 163 w 164"/>
                <a:gd name="T15" fmla="*/ 155 h 348"/>
                <a:gd name="T16" fmla="*/ 138 w 164"/>
                <a:gd name="T17" fmla="*/ 45 h 348"/>
                <a:gd name="T18" fmla="*/ 103 w 164"/>
                <a:gd name="T19" fmla="*/ 7 h 348"/>
                <a:gd name="T20" fmla="*/ 52 w 164"/>
                <a:gd name="T21" fmla="*/ 10 h 348"/>
                <a:gd name="T22" fmla="*/ 105 w 164"/>
                <a:gd name="T23" fmla="*/ 18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348">
                  <a:moveTo>
                    <a:pt x="105" y="184"/>
                  </a:moveTo>
                  <a:cubicBezTo>
                    <a:pt x="105" y="198"/>
                    <a:pt x="100" y="210"/>
                    <a:pt x="95" y="223"/>
                  </a:cubicBezTo>
                  <a:cubicBezTo>
                    <a:pt x="71" y="282"/>
                    <a:pt x="71" y="282"/>
                    <a:pt x="71" y="282"/>
                  </a:cubicBezTo>
                  <a:cubicBezTo>
                    <a:pt x="68" y="288"/>
                    <a:pt x="66" y="296"/>
                    <a:pt x="66" y="303"/>
                  </a:cubicBezTo>
                  <a:cubicBezTo>
                    <a:pt x="68" y="314"/>
                    <a:pt x="77" y="322"/>
                    <a:pt x="85" y="329"/>
                  </a:cubicBezTo>
                  <a:cubicBezTo>
                    <a:pt x="95" y="336"/>
                    <a:pt x="105" y="344"/>
                    <a:pt x="117" y="346"/>
                  </a:cubicBezTo>
                  <a:cubicBezTo>
                    <a:pt x="129" y="348"/>
                    <a:pt x="120" y="310"/>
                    <a:pt x="116" y="297"/>
                  </a:cubicBezTo>
                  <a:cubicBezTo>
                    <a:pt x="113" y="287"/>
                    <a:pt x="162" y="192"/>
                    <a:pt x="163" y="155"/>
                  </a:cubicBezTo>
                  <a:cubicBezTo>
                    <a:pt x="164" y="117"/>
                    <a:pt x="147" y="82"/>
                    <a:pt x="138" y="45"/>
                  </a:cubicBezTo>
                  <a:cubicBezTo>
                    <a:pt x="131" y="18"/>
                    <a:pt x="132" y="12"/>
                    <a:pt x="103" y="7"/>
                  </a:cubicBezTo>
                  <a:cubicBezTo>
                    <a:pt x="88" y="4"/>
                    <a:pt x="66" y="0"/>
                    <a:pt x="52" y="10"/>
                  </a:cubicBezTo>
                  <a:cubicBezTo>
                    <a:pt x="0" y="51"/>
                    <a:pt x="105" y="141"/>
                    <a:pt x="105" y="184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23000"/>
                  </a:schemeClr>
                </a:gs>
                <a:gs pos="100000">
                  <a:srgbClr val="68AFFD"/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22" name="ExtraShape8">
              <a:extLst>
                <a:ext uri="{FF2B5EF4-FFF2-40B4-BE49-F238E27FC236}">
                  <a16:creationId xmlns:a16="http://schemas.microsoft.com/office/drawing/2014/main" id="{AC80560B-33D3-441C-A674-3E0C56AEA245}"/>
                </a:ext>
              </a:extLst>
            </p:cNvPr>
            <p:cNvSpPr/>
            <p:nvPr/>
          </p:nvSpPr>
          <p:spPr bwMode="auto">
            <a:xfrm>
              <a:off x="4582248" y="2497700"/>
              <a:ext cx="155745" cy="131686"/>
            </a:xfrm>
            <a:custGeom>
              <a:avLst/>
              <a:gdLst>
                <a:gd name="T0" fmla="*/ 41 w 59"/>
                <a:gd name="T1" fmla="*/ 6 h 50"/>
                <a:gd name="T2" fmla="*/ 47 w 59"/>
                <a:gd name="T3" fmla="*/ 7 h 50"/>
                <a:gd name="T4" fmla="*/ 50 w 59"/>
                <a:gd name="T5" fmla="*/ 12 h 50"/>
                <a:gd name="T6" fmla="*/ 48 w 59"/>
                <a:gd name="T7" fmla="*/ 17 h 50"/>
                <a:gd name="T8" fmla="*/ 50 w 59"/>
                <a:gd name="T9" fmla="*/ 25 h 50"/>
                <a:gd name="T10" fmla="*/ 57 w 59"/>
                <a:gd name="T11" fmla="*/ 37 h 50"/>
                <a:gd name="T12" fmla="*/ 58 w 59"/>
                <a:gd name="T13" fmla="*/ 43 h 50"/>
                <a:gd name="T14" fmla="*/ 56 w 59"/>
                <a:gd name="T15" fmla="*/ 46 h 50"/>
                <a:gd name="T16" fmla="*/ 40 w 59"/>
                <a:gd name="T17" fmla="*/ 49 h 50"/>
                <a:gd name="T18" fmla="*/ 0 w 59"/>
                <a:gd name="T19" fmla="*/ 15 h 50"/>
                <a:gd name="T20" fmla="*/ 0 w 59"/>
                <a:gd name="T21" fmla="*/ 12 h 50"/>
                <a:gd name="T22" fmla="*/ 2 w 59"/>
                <a:gd name="T23" fmla="*/ 10 h 50"/>
                <a:gd name="T24" fmla="*/ 21 w 59"/>
                <a:gd name="T25" fmla="*/ 0 h 50"/>
                <a:gd name="T26" fmla="*/ 41 w 59"/>
                <a:gd name="T27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" h="50">
                  <a:moveTo>
                    <a:pt x="41" y="6"/>
                  </a:moveTo>
                  <a:cubicBezTo>
                    <a:pt x="43" y="6"/>
                    <a:pt x="45" y="7"/>
                    <a:pt x="47" y="7"/>
                  </a:cubicBezTo>
                  <a:cubicBezTo>
                    <a:pt x="49" y="8"/>
                    <a:pt x="50" y="10"/>
                    <a:pt x="50" y="12"/>
                  </a:cubicBezTo>
                  <a:cubicBezTo>
                    <a:pt x="50" y="14"/>
                    <a:pt x="48" y="15"/>
                    <a:pt x="48" y="17"/>
                  </a:cubicBezTo>
                  <a:cubicBezTo>
                    <a:pt x="47" y="20"/>
                    <a:pt x="48" y="22"/>
                    <a:pt x="50" y="25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8" y="38"/>
                    <a:pt x="59" y="41"/>
                    <a:pt x="58" y="43"/>
                  </a:cubicBezTo>
                  <a:cubicBezTo>
                    <a:pt x="58" y="44"/>
                    <a:pt x="57" y="45"/>
                    <a:pt x="56" y="46"/>
                  </a:cubicBezTo>
                  <a:cubicBezTo>
                    <a:pt x="51" y="49"/>
                    <a:pt x="46" y="50"/>
                    <a:pt x="40" y="49"/>
                  </a:cubicBezTo>
                  <a:cubicBezTo>
                    <a:pt x="21" y="47"/>
                    <a:pt x="5" y="33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11"/>
                    <a:pt x="1" y="11"/>
                    <a:pt x="2" y="10"/>
                  </a:cubicBezTo>
                  <a:cubicBezTo>
                    <a:pt x="7" y="5"/>
                    <a:pt x="14" y="1"/>
                    <a:pt x="21" y="0"/>
                  </a:cubicBezTo>
                  <a:cubicBezTo>
                    <a:pt x="28" y="0"/>
                    <a:pt x="34" y="5"/>
                    <a:pt x="41" y="6"/>
                  </a:cubicBezTo>
                  <a:close/>
                </a:path>
              </a:pathLst>
            </a:custGeom>
            <a:solidFill>
              <a:srgbClr val="FFE7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23" name="ExtraShape9">
              <a:extLst>
                <a:ext uri="{FF2B5EF4-FFF2-40B4-BE49-F238E27FC236}">
                  <a16:creationId xmlns:a16="http://schemas.microsoft.com/office/drawing/2014/main" id="{4F8F5FC5-60EE-4D85-953E-4A7EC758AB2C}"/>
                </a:ext>
              </a:extLst>
            </p:cNvPr>
            <p:cNvSpPr/>
            <p:nvPr/>
          </p:nvSpPr>
          <p:spPr bwMode="auto">
            <a:xfrm>
              <a:off x="4838024" y="3244766"/>
              <a:ext cx="471440" cy="600186"/>
            </a:xfrm>
            <a:custGeom>
              <a:avLst/>
              <a:gdLst>
                <a:gd name="T0" fmla="*/ 53 w 239"/>
                <a:gd name="T1" fmla="*/ 302 h 305"/>
                <a:gd name="T2" fmla="*/ 0 w 239"/>
                <a:gd name="T3" fmla="*/ 304 h 305"/>
                <a:gd name="T4" fmla="*/ 7 w 239"/>
                <a:gd name="T5" fmla="*/ 262 h 305"/>
                <a:gd name="T6" fmla="*/ 58 w 239"/>
                <a:gd name="T7" fmla="*/ 182 h 305"/>
                <a:gd name="T8" fmla="*/ 122 w 239"/>
                <a:gd name="T9" fmla="*/ 135 h 305"/>
                <a:gd name="T10" fmla="*/ 160 w 239"/>
                <a:gd name="T11" fmla="*/ 89 h 305"/>
                <a:gd name="T12" fmla="*/ 122 w 239"/>
                <a:gd name="T13" fmla="*/ 60 h 305"/>
                <a:gd name="T14" fmla="*/ 85 w 239"/>
                <a:gd name="T15" fmla="*/ 78 h 305"/>
                <a:gd name="T16" fmla="*/ 76 w 239"/>
                <a:gd name="T17" fmla="*/ 108 h 305"/>
                <a:gd name="T18" fmla="*/ 1 w 239"/>
                <a:gd name="T19" fmla="*/ 100 h 305"/>
                <a:gd name="T20" fmla="*/ 27 w 239"/>
                <a:gd name="T21" fmla="*/ 37 h 305"/>
                <a:gd name="T22" fmla="*/ 121 w 239"/>
                <a:gd name="T23" fmla="*/ 0 h 305"/>
                <a:gd name="T24" fmla="*/ 224 w 239"/>
                <a:gd name="T25" fmla="*/ 45 h 305"/>
                <a:gd name="T26" fmla="*/ 235 w 239"/>
                <a:gd name="T27" fmla="*/ 86 h 305"/>
                <a:gd name="T28" fmla="*/ 203 w 239"/>
                <a:gd name="T29" fmla="*/ 152 h 305"/>
                <a:gd name="T30" fmla="*/ 151 w 239"/>
                <a:gd name="T31" fmla="*/ 190 h 305"/>
                <a:gd name="T32" fmla="*/ 99 w 239"/>
                <a:gd name="T33" fmla="*/ 240 h 305"/>
                <a:gd name="T34" fmla="*/ 182 w 239"/>
                <a:gd name="T35" fmla="*/ 240 h 305"/>
                <a:gd name="T36" fmla="*/ 239 w 239"/>
                <a:gd name="T37" fmla="*/ 237 h 305"/>
                <a:gd name="T38" fmla="*/ 239 w 239"/>
                <a:gd name="T39" fmla="*/ 305 h 305"/>
                <a:gd name="T40" fmla="*/ 178 w 239"/>
                <a:gd name="T41" fmla="*/ 302 h 305"/>
                <a:gd name="T42" fmla="*/ 53 w 239"/>
                <a:gd name="T43" fmla="*/ 302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9" h="305">
                  <a:moveTo>
                    <a:pt x="53" y="302"/>
                  </a:moveTo>
                  <a:cubicBezTo>
                    <a:pt x="21" y="302"/>
                    <a:pt x="13" y="303"/>
                    <a:pt x="0" y="304"/>
                  </a:cubicBezTo>
                  <a:cubicBezTo>
                    <a:pt x="1" y="289"/>
                    <a:pt x="3" y="275"/>
                    <a:pt x="7" y="262"/>
                  </a:cubicBezTo>
                  <a:cubicBezTo>
                    <a:pt x="17" y="231"/>
                    <a:pt x="35" y="204"/>
                    <a:pt x="58" y="182"/>
                  </a:cubicBezTo>
                  <a:cubicBezTo>
                    <a:pt x="72" y="170"/>
                    <a:pt x="85" y="159"/>
                    <a:pt x="122" y="135"/>
                  </a:cubicBezTo>
                  <a:cubicBezTo>
                    <a:pt x="152" y="114"/>
                    <a:pt x="160" y="105"/>
                    <a:pt x="160" y="89"/>
                  </a:cubicBezTo>
                  <a:cubicBezTo>
                    <a:pt x="160" y="72"/>
                    <a:pt x="144" y="60"/>
                    <a:pt x="122" y="60"/>
                  </a:cubicBezTo>
                  <a:cubicBezTo>
                    <a:pt x="105" y="60"/>
                    <a:pt x="92" y="66"/>
                    <a:pt x="85" y="78"/>
                  </a:cubicBezTo>
                  <a:cubicBezTo>
                    <a:pt x="80" y="86"/>
                    <a:pt x="78" y="93"/>
                    <a:pt x="76" y="108"/>
                  </a:cubicBezTo>
                  <a:cubicBezTo>
                    <a:pt x="1" y="100"/>
                    <a:pt x="1" y="100"/>
                    <a:pt x="1" y="100"/>
                  </a:cubicBezTo>
                  <a:cubicBezTo>
                    <a:pt x="6" y="69"/>
                    <a:pt x="13" y="53"/>
                    <a:pt x="27" y="37"/>
                  </a:cubicBezTo>
                  <a:cubicBezTo>
                    <a:pt x="47" y="13"/>
                    <a:pt x="80" y="0"/>
                    <a:pt x="121" y="0"/>
                  </a:cubicBezTo>
                  <a:cubicBezTo>
                    <a:pt x="169" y="0"/>
                    <a:pt x="206" y="16"/>
                    <a:pt x="224" y="45"/>
                  </a:cubicBezTo>
                  <a:cubicBezTo>
                    <a:pt x="232" y="57"/>
                    <a:pt x="236" y="72"/>
                    <a:pt x="235" y="86"/>
                  </a:cubicBezTo>
                  <a:cubicBezTo>
                    <a:pt x="235" y="112"/>
                    <a:pt x="225" y="134"/>
                    <a:pt x="203" y="152"/>
                  </a:cubicBezTo>
                  <a:cubicBezTo>
                    <a:pt x="191" y="163"/>
                    <a:pt x="187" y="165"/>
                    <a:pt x="151" y="190"/>
                  </a:cubicBezTo>
                  <a:cubicBezTo>
                    <a:pt x="120" y="212"/>
                    <a:pt x="107" y="224"/>
                    <a:pt x="99" y="240"/>
                  </a:cubicBezTo>
                  <a:cubicBezTo>
                    <a:pt x="182" y="240"/>
                    <a:pt x="182" y="240"/>
                    <a:pt x="182" y="240"/>
                  </a:cubicBezTo>
                  <a:cubicBezTo>
                    <a:pt x="201" y="240"/>
                    <a:pt x="220" y="239"/>
                    <a:pt x="239" y="237"/>
                  </a:cubicBezTo>
                  <a:cubicBezTo>
                    <a:pt x="239" y="305"/>
                    <a:pt x="239" y="305"/>
                    <a:pt x="239" y="305"/>
                  </a:cubicBezTo>
                  <a:cubicBezTo>
                    <a:pt x="218" y="303"/>
                    <a:pt x="203" y="302"/>
                    <a:pt x="178" y="302"/>
                  </a:cubicBezTo>
                  <a:lnTo>
                    <a:pt x="53" y="3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24" name="ExtraShape10">
              <a:extLst>
                <a:ext uri="{FF2B5EF4-FFF2-40B4-BE49-F238E27FC236}">
                  <a16:creationId xmlns:a16="http://schemas.microsoft.com/office/drawing/2014/main" id="{02DE15E3-2CF0-48BF-8B97-68373019AED9}"/>
                </a:ext>
              </a:extLst>
            </p:cNvPr>
            <p:cNvSpPr/>
            <p:nvPr/>
          </p:nvSpPr>
          <p:spPr bwMode="auto">
            <a:xfrm>
              <a:off x="4613903" y="2445784"/>
              <a:ext cx="169673" cy="91167"/>
            </a:xfrm>
            <a:custGeom>
              <a:avLst/>
              <a:gdLst>
                <a:gd name="T0" fmla="*/ 39 w 64"/>
                <a:gd name="T1" fmla="*/ 11 h 35"/>
                <a:gd name="T2" fmla="*/ 50 w 64"/>
                <a:gd name="T3" fmla="*/ 11 h 35"/>
                <a:gd name="T4" fmla="*/ 63 w 64"/>
                <a:gd name="T5" fmla="*/ 23 h 35"/>
                <a:gd name="T6" fmla="*/ 64 w 64"/>
                <a:gd name="T7" fmla="*/ 27 h 35"/>
                <a:gd name="T8" fmla="*/ 58 w 64"/>
                <a:gd name="T9" fmla="*/ 31 h 35"/>
                <a:gd name="T10" fmla="*/ 41 w 64"/>
                <a:gd name="T11" fmla="*/ 33 h 35"/>
                <a:gd name="T12" fmla="*/ 14 w 64"/>
                <a:gd name="T13" fmla="*/ 26 h 35"/>
                <a:gd name="T14" fmla="*/ 11 w 64"/>
                <a:gd name="T15" fmla="*/ 4 h 35"/>
                <a:gd name="T16" fmla="*/ 39 w 64"/>
                <a:gd name="T17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35">
                  <a:moveTo>
                    <a:pt x="39" y="11"/>
                  </a:moveTo>
                  <a:cubicBezTo>
                    <a:pt x="43" y="11"/>
                    <a:pt x="46" y="11"/>
                    <a:pt x="50" y="11"/>
                  </a:cubicBezTo>
                  <a:cubicBezTo>
                    <a:pt x="56" y="13"/>
                    <a:pt x="60" y="18"/>
                    <a:pt x="63" y="23"/>
                  </a:cubicBezTo>
                  <a:cubicBezTo>
                    <a:pt x="64" y="24"/>
                    <a:pt x="64" y="26"/>
                    <a:pt x="64" y="27"/>
                  </a:cubicBezTo>
                  <a:cubicBezTo>
                    <a:pt x="64" y="30"/>
                    <a:pt x="61" y="31"/>
                    <a:pt x="58" y="31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2" y="35"/>
                    <a:pt x="22" y="32"/>
                    <a:pt x="14" y="26"/>
                  </a:cubicBezTo>
                  <a:cubicBezTo>
                    <a:pt x="6" y="22"/>
                    <a:pt x="0" y="10"/>
                    <a:pt x="11" y="4"/>
                  </a:cubicBezTo>
                  <a:cubicBezTo>
                    <a:pt x="20" y="0"/>
                    <a:pt x="31" y="10"/>
                    <a:pt x="39" y="11"/>
                  </a:cubicBezTo>
                  <a:close/>
                </a:path>
              </a:pathLst>
            </a:custGeom>
            <a:solidFill>
              <a:srgbClr val="FFE7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25" name="ExtraShape11">
              <a:extLst>
                <a:ext uri="{FF2B5EF4-FFF2-40B4-BE49-F238E27FC236}">
                  <a16:creationId xmlns:a16="http://schemas.microsoft.com/office/drawing/2014/main" id="{B1DE0000-B6A6-4DEC-90E8-FE7271E3366A}"/>
                </a:ext>
              </a:extLst>
            </p:cNvPr>
            <p:cNvSpPr/>
            <p:nvPr/>
          </p:nvSpPr>
          <p:spPr bwMode="auto">
            <a:xfrm>
              <a:off x="3975731" y="3591709"/>
              <a:ext cx="196264" cy="248178"/>
            </a:xfrm>
            <a:custGeom>
              <a:avLst/>
              <a:gdLst>
                <a:gd name="T0" fmla="*/ 22 w 74"/>
                <a:gd name="T1" fmla="*/ 62 h 94"/>
                <a:gd name="T2" fmla="*/ 25 w 74"/>
                <a:gd name="T3" fmla="*/ 70 h 94"/>
                <a:gd name="T4" fmla="*/ 38 w 74"/>
                <a:gd name="T5" fmla="*/ 75 h 94"/>
                <a:gd name="T6" fmla="*/ 51 w 74"/>
                <a:gd name="T7" fmla="*/ 66 h 94"/>
                <a:gd name="T8" fmla="*/ 46 w 74"/>
                <a:gd name="T9" fmla="*/ 58 h 94"/>
                <a:gd name="T10" fmla="*/ 30 w 74"/>
                <a:gd name="T11" fmla="*/ 54 h 94"/>
                <a:gd name="T12" fmla="*/ 13 w 74"/>
                <a:gd name="T13" fmla="*/ 48 h 94"/>
                <a:gd name="T14" fmla="*/ 3 w 74"/>
                <a:gd name="T15" fmla="*/ 27 h 94"/>
                <a:gd name="T16" fmla="*/ 37 w 74"/>
                <a:gd name="T17" fmla="*/ 0 h 94"/>
                <a:gd name="T18" fmla="*/ 67 w 74"/>
                <a:gd name="T19" fmla="*/ 12 h 94"/>
                <a:gd name="T20" fmla="*/ 72 w 74"/>
                <a:gd name="T21" fmla="*/ 25 h 94"/>
                <a:gd name="T22" fmla="*/ 50 w 74"/>
                <a:gd name="T23" fmla="*/ 28 h 94"/>
                <a:gd name="T24" fmla="*/ 36 w 74"/>
                <a:gd name="T25" fmla="*/ 18 h 94"/>
                <a:gd name="T26" fmla="*/ 25 w 74"/>
                <a:gd name="T27" fmla="*/ 26 h 94"/>
                <a:gd name="T28" fmla="*/ 30 w 74"/>
                <a:gd name="T29" fmla="*/ 33 h 94"/>
                <a:gd name="T30" fmla="*/ 45 w 74"/>
                <a:gd name="T31" fmla="*/ 37 h 94"/>
                <a:gd name="T32" fmla="*/ 62 w 74"/>
                <a:gd name="T33" fmla="*/ 43 h 94"/>
                <a:gd name="T34" fmla="*/ 74 w 74"/>
                <a:gd name="T35" fmla="*/ 65 h 94"/>
                <a:gd name="T36" fmla="*/ 66 w 74"/>
                <a:gd name="T37" fmla="*/ 84 h 94"/>
                <a:gd name="T38" fmla="*/ 38 w 74"/>
                <a:gd name="T39" fmla="*/ 94 h 94"/>
                <a:gd name="T40" fmla="*/ 14 w 74"/>
                <a:gd name="T41" fmla="*/ 88 h 94"/>
                <a:gd name="T42" fmla="*/ 2 w 74"/>
                <a:gd name="T43" fmla="*/ 75 h 94"/>
                <a:gd name="T44" fmla="*/ 0 w 74"/>
                <a:gd name="T45" fmla="*/ 65 h 94"/>
                <a:gd name="T46" fmla="*/ 22 w 74"/>
                <a:gd name="T47" fmla="*/ 6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4" h="94">
                  <a:moveTo>
                    <a:pt x="22" y="62"/>
                  </a:moveTo>
                  <a:cubicBezTo>
                    <a:pt x="22" y="65"/>
                    <a:pt x="23" y="68"/>
                    <a:pt x="25" y="70"/>
                  </a:cubicBezTo>
                  <a:cubicBezTo>
                    <a:pt x="28" y="74"/>
                    <a:pt x="33" y="76"/>
                    <a:pt x="38" y="75"/>
                  </a:cubicBezTo>
                  <a:cubicBezTo>
                    <a:pt x="46" y="75"/>
                    <a:pt x="51" y="72"/>
                    <a:pt x="51" y="66"/>
                  </a:cubicBezTo>
                  <a:cubicBezTo>
                    <a:pt x="51" y="63"/>
                    <a:pt x="49" y="60"/>
                    <a:pt x="46" y="58"/>
                  </a:cubicBezTo>
                  <a:cubicBezTo>
                    <a:pt x="41" y="56"/>
                    <a:pt x="36" y="55"/>
                    <a:pt x="30" y="54"/>
                  </a:cubicBezTo>
                  <a:cubicBezTo>
                    <a:pt x="20" y="52"/>
                    <a:pt x="17" y="50"/>
                    <a:pt x="13" y="48"/>
                  </a:cubicBezTo>
                  <a:cubicBezTo>
                    <a:pt x="6" y="43"/>
                    <a:pt x="2" y="35"/>
                    <a:pt x="3" y="27"/>
                  </a:cubicBezTo>
                  <a:cubicBezTo>
                    <a:pt x="3" y="10"/>
                    <a:pt x="16" y="0"/>
                    <a:pt x="37" y="0"/>
                  </a:cubicBezTo>
                  <a:cubicBezTo>
                    <a:pt x="51" y="0"/>
                    <a:pt x="61" y="4"/>
                    <a:pt x="67" y="12"/>
                  </a:cubicBezTo>
                  <a:cubicBezTo>
                    <a:pt x="70" y="16"/>
                    <a:pt x="72" y="21"/>
                    <a:pt x="72" y="25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48" y="21"/>
                    <a:pt x="44" y="18"/>
                    <a:pt x="36" y="18"/>
                  </a:cubicBezTo>
                  <a:cubicBezTo>
                    <a:pt x="30" y="18"/>
                    <a:pt x="25" y="21"/>
                    <a:pt x="25" y="26"/>
                  </a:cubicBezTo>
                  <a:cubicBezTo>
                    <a:pt x="25" y="29"/>
                    <a:pt x="27" y="32"/>
                    <a:pt x="30" y="33"/>
                  </a:cubicBezTo>
                  <a:cubicBezTo>
                    <a:pt x="32" y="34"/>
                    <a:pt x="32" y="34"/>
                    <a:pt x="45" y="37"/>
                  </a:cubicBezTo>
                  <a:cubicBezTo>
                    <a:pt x="51" y="38"/>
                    <a:pt x="57" y="40"/>
                    <a:pt x="62" y="43"/>
                  </a:cubicBezTo>
                  <a:cubicBezTo>
                    <a:pt x="70" y="47"/>
                    <a:pt x="74" y="56"/>
                    <a:pt x="74" y="65"/>
                  </a:cubicBezTo>
                  <a:cubicBezTo>
                    <a:pt x="74" y="72"/>
                    <a:pt x="71" y="79"/>
                    <a:pt x="66" y="84"/>
                  </a:cubicBezTo>
                  <a:cubicBezTo>
                    <a:pt x="60" y="90"/>
                    <a:pt x="51" y="94"/>
                    <a:pt x="38" y="94"/>
                  </a:cubicBezTo>
                  <a:cubicBezTo>
                    <a:pt x="30" y="94"/>
                    <a:pt x="21" y="92"/>
                    <a:pt x="14" y="88"/>
                  </a:cubicBezTo>
                  <a:cubicBezTo>
                    <a:pt x="9" y="85"/>
                    <a:pt x="4" y="80"/>
                    <a:pt x="2" y="75"/>
                  </a:cubicBezTo>
                  <a:cubicBezTo>
                    <a:pt x="1" y="71"/>
                    <a:pt x="0" y="68"/>
                    <a:pt x="0" y="65"/>
                  </a:cubicBezTo>
                  <a:lnTo>
                    <a:pt x="22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26" name="ExtraShape12">
              <a:extLst>
                <a:ext uri="{FF2B5EF4-FFF2-40B4-BE49-F238E27FC236}">
                  <a16:creationId xmlns:a16="http://schemas.microsoft.com/office/drawing/2014/main" id="{5A403B1C-F15B-4F97-848F-F6CF56705CDD}"/>
                </a:ext>
              </a:extLst>
            </p:cNvPr>
            <p:cNvSpPr/>
            <p:nvPr/>
          </p:nvSpPr>
          <p:spPr bwMode="auto">
            <a:xfrm>
              <a:off x="4187189" y="3594241"/>
              <a:ext cx="208926" cy="236782"/>
            </a:xfrm>
            <a:custGeom>
              <a:avLst/>
              <a:gdLst>
                <a:gd name="T0" fmla="*/ 51 w 79"/>
                <a:gd name="T1" fmla="*/ 74 h 90"/>
                <a:gd name="T2" fmla="*/ 51 w 79"/>
                <a:gd name="T3" fmla="*/ 90 h 90"/>
                <a:gd name="T4" fmla="*/ 28 w 79"/>
                <a:gd name="T5" fmla="*/ 90 h 90"/>
                <a:gd name="T6" fmla="*/ 29 w 79"/>
                <a:gd name="T7" fmla="*/ 74 h 90"/>
                <a:gd name="T8" fmla="*/ 29 w 79"/>
                <a:gd name="T9" fmla="*/ 20 h 90"/>
                <a:gd name="T10" fmla="*/ 16 w 79"/>
                <a:gd name="T11" fmla="*/ 20 h 90"/>
                <a:gd name="T12" fmla="*/ 0 w 79"/>
                <a:gd name="T13" fmla="*/ 21 h 90"/>
                <a:gd name="T14" fmla="*/ 0 w 79"/>
                <a:gd name="T15" fmla="*/ 0 h 90"/>
                <a:gd name="T16" fmla="*/ 16 w 79"/>
                <a:gd name="T17" fmla="*/ 1 h 90"/>
                <a:gd name="T18" fmla="*/ 63 w 79"/>
                <a:gd name="T19" fmla="*/ 1 h 90"/>
                <a:gd name="T20" fmla="*/ 79 w 79"/>
                <a:gd name="T21" fmla="*/ 0 h 90"/>
                <a:gd name="T22" fmla="*/ 79 w 79"/>
                <a:gd name="T23" fmla="*/ 21 h 90"/>
                <a:gd name="T24" fmla="*/ 63 w 79"/>
                <a:gd name="T25" fmla="*/ 20 h 90"/>
                <a:gd name="T26" fmla="*/ 51 w 79"/>
                <a:gd name="T27" fmla="*/ 20 h 90"/>
                <a:gd name="T28" fmla="*/ 51 w 79"/>
                <a:gd name="T29" fmla="*/ 7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90">
                  <a:moveTo>
                    <a:pt x="51" y="74"/>
                  </a:moveTo>
                  <a:cubicBezTo>
                    <a:pt x="50" y="80"/>
                    <a:pt x="51" y="85"/>
                    <a:pt x="51" y="90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28" y="85"/>
                    <a:pt x="29" y="80"/>
                    <a:pt x="29" y="74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0" y="20"/>
                    <a:pt x="5" y="20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1"/>
                    <a:pt x="10" y="1"/>
                    <a:pt x="16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8" y="1"/>
                    <a:pt x="74" y="1"/>
                    <a:pt x="79" y="0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4" y="20"/>
                    <a:pt x="68" y="20"/>
                    <a:pt x="63" y="20"/>
                  </a:cubicBezTo>
                  <a:cubicBezTo>
                    <a:pt x="51" y="20"/>
                    <a:pt x="51" y="20"/>
                    <a:pt x="51" y="20"/>
                  </a:cubicBezTo>
                  <a:lnTo>
                    <a:pt x="51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27" name="ExtraShape13">
              <a:extLst>
                <a:ext uri="{FF2B5EF4-FFF2-40B4-BE49-F238E27FC236}">
                  <a16:creationId xmlns:a16="http://schemas.microsoft.com/office/drawing/2014/main" id="{78C63BD5-F605-4CE7-A6CB-88A4E61900BC}"/>
                </a:ext>
              </a:extLst>
            </p:cNvPr>
            <p:cNvSpPr/>
            <p:nvPr/>
          </p:nvSpPr>
          <p:spPr bwMode="auto">
            <a:xfrm>
              <a:off x="4418906" y="3594241"/>
              <a:ext cx="177270" cy="239315"/>
            </a:xfrm>
            <a:custGeom>
              <a:avLst/>
              <a:gdLst>
                <a:gd name="T0" fmla="*/ 67 w 67"/>
                <a:gd name="T1" fmla="*/ 91 h 91"/>
                <a:gd name="T2" fmla="*/ 49 w 67"/>
                <a:gd name="T3" fmla="*/ 90 h 91"/>
                <a:gd name="T4" fmla="*/ 15 w 67"/>
                <a:gd name="T5" fmla="*/ 90 h 91"/>
                <a:gd name="T6" fmla="*/ 0 w 67"/>
                <a:gd name="T7" fmla="*/ 91 h 91"/>
                <a:gd name="T8" fmla="*/ 1 w 67"/>
                <a:gd name="T9" fmla="*/ 75 h 91"/>
                <a:gd name="T10" fmla="*/ 1 w 67"/>
                <a:gd name="T11" fmla="*/ 17 h 91"/>
                <a:gd name="T12" fmla="*/ 0 w 67"/>
                <a:gd name="T13" fmla="*/ 1 h 91"/>
                <a:gd name="T14" fmla="*/ 15 w 67"/>
                <a:gd name="T15" fmla="*/ 1 h 91"/>
                <a:gd name="T16" fmla="*/ 50 w 67"/>
                <a:gd name="T17" fmla="*/ 1 h 91"/>
                <a:gd name="T18" fmla="*/ 66 w 67"/>
                <a:gd name="T19" fmla="*/ 0 h 91"/>
                <a:gd name="T20" fmla="*/ 66 w 67"/>
                <a:gd name="T21" fmla="*/ 20 h 91"/>
                <a:gd name="T22" fmla="*/ 50 w 67"/>
                <a:gd name="T23" fmla="*/ 20 h 91"/>
                <a:gd name="T24" fmla="*/ 22 w 67"/>
                <a:gd name="T25" fmla="*/ 20 h 91"/>
                <a:gd name="T26" fmla="*/ 22 w 67"/>
                <a:gd name="T27" fmla="*/ 36 h 91"/>
                <a:gd name="T28" fmla="*/ 45 w 67"/>
                <a:gd name="T29" fmla="*/ 36 h 91"/>
                <a:gd name="T30" fmla="*/ 61 w 67"/>
                <a:gd name="T31" fmla="*/ 35 h 91"/>
                <a:gd name="T32" fmla="*/ 61 w 67"/>
                <a:gd name="T33" fmla="*/ 55 h 91"/>
                <a:gd name="T34" fmla="*/ 45 w 67"/>
                <a:gd name="T35" fmla="*/ 54 h 91"/>
                <a:gd name="T36" fmla="*/ 22 w 67"/>
                <a:gd name="T37" fmla="*/ 54 h 91"/>
                <a:gd name="T38" fmla="*/ 22 w 67"/>
                <a:gd name="T39" fmla="*/ 72 h 91"/>
                <a:gd name="T40" fmla="*/ 49 w 67"/>
                <a:gd name="T41" fmla="*/ 72 h 91"/>
                <a:gd name="T42" fmla="*/ 67 w 67"/>
                <a:gd name="T43" fmla="*/ 71 h 91"/>
                <a:gd name="T44" fmla="*/ 67 w 67"/>
                <a:gd name="T4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91">
                  <a:moveTo>
                    <a:pt x="67" y="91"/>
                  </a:moveTo>
                  <a:cubicBezTo>
                    <a:pt x="61" y="91"/>
                    <a:pt x="55" y="90"/>
                    <a:pt x="49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7" y="90"/>
                    <a:pt x="4" y="90"/>
                    <a:pt x="0" y="91"/>
                  </a:cubicBezTo>
                  <a:cubicBezTo>
                    <a:pt x="0" y="86"/>
                    <a:pt x="1" y="80"/>
                    <a:pt x="1" y="75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1"/>
                    <a:pt x="0" y="6"/>
                    <a:pt x="0" y="1"/>
                  </a:cubicBezTo>
                  <a:cubicBezTo>
                    <a:pt x="4" y="1"/>
                    <a:pt x="7" y="1"/>
                    <a:pt x="15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5" y="1"/>
                    <a:pt x="60" y="1"/>
                    <a:pt x="66" y="0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0" y="20"/>
                    <a:pt x="55" y="20"/>
                    <a:pt x="50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50" y="36"/>
                    <a:pt x="56" y="35"/>
                    <a:pt x="61" y="3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56" y="54"/>
                    <a:pt x="50" y="54"/>
                    <a:pt x="45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55" y="72"/>
                    <a:pt x="61" y="72"/>
                    <a:pt x="67" y="71"/>
                  </a:cubicBezTo>
                  <a:lnTo>
                    <a:pt x="67" y="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28" name="ExtraShape14">
              <a:extLst>
                <a:ext uri="{FF2B5EF4-FFF2-40B4-BE49-F238E27FC236}">
                  <a16:creationId xmlns:a16="http://schemas.microsoft.com/office/drawing/2014/main" id="{32A80749-5875-4083-BC70-B3C3832C47C2}"/>
                </a:ext>
              </a:extLst>
            </p:cNvPr>
            <p:cNvSpPr/>
            <p:nvPr/>
          </p:nvSpPr>
          <p:spPr bwMode="auto">
            <a:xfrm>
              <a:off x="4625299" y="3598039"/>
              <a:ext cx="189932" cy="232983"/>
            </a:xfrm>
            <a:custGeom>
              <a:avLst/>
              <a:gdLst>
                <a:gd name="T0" fmla="*/ 0 w 72"/>
                <a:gd name="T1" fmla="*/ 89 h 89"/>
                <a:gd name="T2" fmla="*/ 1 w 72"/>
                <a:gd name="T3" fmla="*/ 73 h 89"/>
                <a:gd name="T4" fmla="*/ 1 w 72"/>
                <a:gd name="T5" fmla="*/ 16 h 89"/>
                <a:gd name="T6" fmla="*/ 0 w 72"/>
                <a:gd name="T7" fmla="*/ 0 h 89"/>
                <a:gd name="T8" fmla="*/ 16 w 72"/>
                <a:gd name="T9" fmla="*/ 0 h 89"/>
                <a:gd name="T10" fmla="*/ 39 w 72"/>
                <a:gd name="T11" fmla="*/ 0 h 89"/>
                <a:gd name="T12" fmla="*/ 72 w 72"/>
                <a:gd name="T13" fmla="*/ 29 h 89"/>
                <a:gd name="T14" fmla="*/ 39 w 72"/>
                <a:gd name="T15" fmla="*/ 60 h 89"/>
                <a:gd name="T16" fmla="*/ 22 w 72"/>
                <a:gd name="T17" fmla="*/ 60 h 89"/>
                <a:gd name="T18" fmla="*/ 22 w 72"/>
                <a:gd name="T19" fmla="*/ 73 h 89"/>
                <a:gd name="T20" fmla="*/ 23 w 72"/>
                <a:gd name="T21" fmla="*/ 89 h 89"/>
                <a:gd name="T22" fmla="*/ 0 w 72"/>
                <a:gd name="T23" fmla="*/ 89 h 89"/>
                <a:gd name="T24" fmla="*/ 38 w 72"/>
                <a:gd name="T25" fmla="*/ 41 h 89"/>
                <a:gd name="T26" fmla="*/ 50 w 72"/>
                <a:gd name="T27" fmla="*/ 32 h 89"/>
                <a:gd name="T28" fmla="*/ 50 w 72"/>
                <a:gd name="T29" fmla="*/ 30 h 89"/>
                <a:gd name="T30" fmla="*/ 38 w 72"/>
                <a:gd name="T31" fmla="*/ 19 h 89"/>
                <a:gd name="T32" fmla="*/ 22 w 72"/>
                <a:gd name="T33" fmla="*/ 19 h 89"/>
                <a:gd name="T34" fmla="*/ 22 w 72"/>
                <a:gd name="T35" fmla="*/ 41 h 89"/>
                <a:gd name="T36" fmla="*/ 38 w 72"/>
                <a:gd name="T37" fmla="*/ 4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2" h="89">
                  <a:moveTo>
                    <a:pt x="0" y="89"/>
                  </a:moveTo>
                  <a:cubicBezTo>
                    <a:pt x="1" y="84"/>
                    <a:pt x="1" y="79"/>
                    <a:pt x="1" y="73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0"/>
                    <a:pt x="1" y="5"/>
                    <a:pt x="0" y="0"/>
                  </a:cubicBezTo>
                  <a:cubicBezTo>
                    <a:pt x="5" y="0"/>
                    <a:pt x="9" y="0"/>
                    <a:pt x="16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61" y="0"/>
                    <a:pt x="72" y="10"/>
                    <a:pt x="72" y="29"/>
                  </a:cubicBezTo>
                  <a:cubicBezTo>
                    <a:pt x="72" y="48"/>
                    <a:pt x="60" y="60"/>
                    <a:pt x="39" y="60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2" y="73"/>
                    <a:pt x="22" y="73"/>
                    <a:pt x="22" y="73"/>
                  </a:cubicBezTo>
                  <a:cubicBezTo>
                    <a:pt x="22" y="79"/>
                    <a:pt x="23" y="84"/>
                    <a:pt x="23" y="89"/>
                  </a:cubicBezTo>
                  <a:lnTo>
                    <a:pt x="0" y="89"/>
                  </a:lnTo>
                  <a:close/>
                  <a:moveTo>
                    <a:pt x="38" y="41"/>
                  </a:moveTo>
                  <a:cubicBezTo>
                    <a:pt x="44" y="42"/>
                    <a:pt x="50" y="38"/>
                    <a:pt x="50" y="32"/>
                  </a:cubicBezTo>
                  <a:cubicBezTo>
                    <a:pt x="50" y="31"/>
                    <a:pt x="50" y="31"/>
                    <a:pt x="50" y="30"/>
                  </a:cubicBezTo>
                  <a:cubicBezTo>
                    <a:pt x="50" y="22"/>
                    <a:pt x="46" y="19"/>
                    <a:pt x="38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41"/>
                    <a:pt x="22" y="41"/>
                    <a:pt x="22" y="41"/>
                  </a:cubicBezTo>
                  <a:lnTo>
                    <a:pt x="38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29" name="ExtraShape15">
              <a:extLst>
                <a:ext uri="{FF2B5EF4-FFF2-40B4-BE49-F238E27FC236}">
                  <a16:creationId xmlns:a16="http://schemas.microsoft.com/office/drawing/2014/main" id="{E3172253-BA0A-42E4-BC52-992C019CC072}"/>
                </a:ext>
              </a:extLst>
            </p:cNvPr>
            <p:cNvSpPr/>
            <p:nvPr/>
          </p:nvSpPr>
          <p:spPr bwMode="auto">
            <a:xfrm>
              <a:off x="3807325" y="1924104"/>
              <a:ext cx="519148" cy="653367"/>
            </a:xfrm>
            <a:custGeom>
              <a:avLst/>
              <a:gdLst>
                <a:gd name="T0" fmla="*/ 150 w 197"/>
                <a:gd name="T1" fmla="*/ 4 h 248"/>
                <a:gd name="T2" fmla="*/ 109 w 197"/>
                <a:gd name="T3" fmla="*/ 26 h 248"/>
                <a:gd name="T4" fmla="*/ 75 w 197"/>
                <a:gd name="T5" fmla="*/ 73 h 248"/>
                <a:gd name="T6" fmla="*/ 3 w 197"/>
                <a:gd name="T7" fmla="*/ 218 h 248"/>
                <a:gd name="T8" fmla="*/ 3 w 197"/>
                <a:gd name="T9" fmla="*/ 233 h 248"/>
                <a:gd name="T10" fmla="*/ 11 w 197"/>
                <a:gd name="T11" fmla="*/ 239 h 248"/>
                <a:gd name="T12" fmla="*/ 65 w 197"/>
                <a:gd name="T13" fmla="*/ 248 h 248"/>
                <a:gd name="T14" fmla="*/ 113 w 197"/>
                <a:gd name="T15" fmla="*/ 240 h 248"/>
                <a:gd name="T16" fmla="*/ 147 w 197"/>
                <a:gd name="T17" fmla="*/ 194 h 248"/>
                <a:gd name="T18" fmla="*/ 172 w 197"/>
                <a:gd name="T19" fmla="*/ 138 h 248"/>
                <a:gd name="T20" fmla="*/ 191 w 197"/>
                <a:gd name="T21" fmla="*/ 84 h 248"/>
                <a:gd name="T22" fmla="*/ 150 w 197"/>
                <a:gd name="T23" fmla="*/ 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7" h="248">
                  <a:moveTo>
                    <a:pt x="150" y="4"/>
                  </a:moveTo>
                  <a:cubicBezTo>
                    <a:pt x="134" y="5"/>
                    <a:pt x="120" y="15"/>
                    <a:pt x="109" y="26"/>
                  </a:cubicBezTo>
                  <a:cubicBezTo>
                    <a:pt x="96" y="41"/>
                    <a:pt x="85" y="56"/>
                    <a:pt x="75" y="73"/>
                  </a:cubicBezTo>
                  <a:cubicBezTo>
                    <a:pt x="47" y="119"/>
                    <a:pt x="18" y="166"/>
                    <a:pt x="3" y="218"/>
                  </a:cubicBezTo>
                  <a:cubicBezTo>
                    <a:pt x="1" y="223"/>
                    <a:pt x="0" y="229"/>
                    <a:pt x="3" y="233"/>
                  </a:cubicBezTo>
                  <a:cubicBezTo>
                    <a:pt x="5" y="236"/>
                    <a:pt x="8" y="238"/>
                    <a:pt x="11" y="239"/>
                  </a:cubicBezTo>
                  <a:cubicBezTo>
                    <a:pt x="28" y="247"/>
                    <a:pt x="47" y="247"/>
                    <a:pt x="65" y="248"/>
                  </a:cubicBezTo>
                  <a:cubicBezTo>
                    <a:pt x="82" y="248"/>
                    <a:pt x="99" y="248"/>
                    <a:pt x="113" y="240"/>
                  </a:cubicBezTo>
                  <a:cubicBezTo>
                    <a:pt x="130" y="231"/>
                    <a:pt x="139" y="212"/>
                    <a:pt x="147" y="194"/>
                  </a:cubicBezTo>
                  <a:cubicBezTo>
                    <a:pt x="172" y="138"/>
                    <a:pt x="172" y="138"/>
                    <a:pt x="172" y="138"/>
                  </a:cubicBezTo>
                  <a:cubicBezTo>
                    <a:pt x="180" y="121"/>
                    <a:pt x="188" y="103"/>
                    <a:pt x="191" y="84"/>
                  </a:cubicBezTo>
                  <a:cubicBezTo>
                    <a:pt x="197" y="55"/>
                    <a:pt x="190" y="0"/>
                    <a:pt x="150" y="4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30" name="ExtraShape16">
              <a:extLst>
                <a:ext uri="{FF2B5EF4-FFF2-40B4-BE49-F238E27FC236}">
                  <a16:creationId xmlns:a16="http://schemas.microsoft.com/office/drawing/2014/main" id="{329A342B-66E9-4A0E-8D7F-7F7E40BA94D4}"/>
                </a:ext>
              </a:extLst>
            </p:cNvPr>
            <p:cNvSpPr/>
            <p:nvPr/>
          </p:nvSpPr>
          <p:spPr bwMode="auto">
            <a:xfrm>
              <a:off x="3946608" y="2155822"/>
              <a:ext cx="367202" cy="392526"/>
            </a:xfrm>
            <a:custGeom>
              <a:avLst/>
              <a:gdLst>
                <a:gd name="T0" fmla="*/ 78 w 139"/>
                <a:gd name="T1" fmla="*/ 127 h 149"/>
                <a:gd name="T2" fmla="*/ 69 w 139"/>
                <a:gd name="T3" fmla="*/ 139 h 149"/>
                <a:gd name="T4" fmla="*/ 65 w 139"/>
                <a:gd name="T5" fmla="*/ 145 h 149"/>
                <a:gd name="T6" fmla="*/ 48 w 139"/>
                <a:gd name="T7" fmla="*/ 149 h 149"/>
                <a:gd name="T8" fmla="*/ 37 w 139"/>
                <a:gd name="T9" fmla="*/ 148 h 149"/>
                <a:gd name="T10" fmla="*/ 7 w 139"/>
                <a:gd name="T11" fmla="*/ 142 h 149"/>
                <a:gd name="T12" fmla="*/ 0 w 139"/>
                <a:gd name="T13" fmla="*/ 134 h 149"/>
                <a:gd name="T14" fmla="*/ 2 w 139"/>
                <a:gd name="T15" fmla="*/ 130 h 149"/>
                <a:gd name="T16" fmla="*/ 95 w 139"/>
                <a:gd name="T17" fmla="*/ 3 h 149"/>
                <a:gd name="T18" fmla="*/ 99 w 139"/>
                <a:gd name="T19" fmla="*/ 0 h 149"/>
                <a:gd name="T20" fmla="*/ 107 w 139"/>
                <a:gd name="T21" fmla="*/ 2 h 149"/>
                <a:gd name="T22" fmla="*/ 78 w 139"/>
                <a:gd name="T23" fmla="*/ 12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149">
                  <a:moveTo>
                    <a:pt x="78" y="127"/>
                  </a:moveTo>
                  <a:cubicBezTo>
                    <a:pt x="75" y="132"/>
                    <a:pt x="72" y="136"/>
                    <a:pt x="69" y="139"/>
                  </a:cubicBezTo>
                  <a:cubicBezTo>
                    <a:pt x="68" y="141"/>
                    <a:pt x="67" y="143"/>
                    <a:pt x="65" y="145"/>
                  </a:cubicBezTo>
                  <a:cubicBezTo>
                    <a:pt x="60" y="148"/>
                    <a:pt x="54" y="149"/>
                    <a:pt x="48" y="149"/>
                  </a:cubicBezTo>
                  <a:cubicBezTo>
                    <a:pt x="45" y="149"/>
                    <a:pt x="41" y="149"/>
                    <a:pt x="37" y="148"/>
                  </a:cubicBezTo>
                  <a:cubicBezTo>
                    <a:pt x="27" y="148"/>
                    <a:pt x="17" y="146"/>
                    <a:pt x="7" y="142"/>
                  </a:cubicBezTo>
                  <a:cubicBezTo>
                    <a:pt x="3" y="142"/>
                    <a:pt x="0" y="138"/>
                    <a:pt x="0" y="134"/>
                  </a:cubicBezTo>
                  <a:cubicBezTo>
                    <a:pt x="0" y="133"/>
                    <a:pt x="1" y="131"/>
                    <a:pt x="2" y="130"/>
                  </a:cubicBezTo>
                  <a:cubicBezTo>
                    <a:pt x="23" y="81"/>
                    <a:pt x="54" y="37"/>
                    <a:pt x="95" y="3"/>
                  </a:cubicBezTo>
                  <a:cubicBezTo>
                    <a:pt x="96" y="2"/>
                    <a:pt x="98" y="1"/>
                    <a:pt x="99" y="0"/>
                  </a:cubicBezTo>
                  <a:cubicBezTo>
                    <a:pt x="102" y="0"/>
                    <a:pt x="105" y="0"/>
                    <a:pt x="107" y="2"/>
                  </a:cubicBezTo>
                  <a:cubicBezTo>
                    <a:pt x="139" y="28"/>
                    <a:pt x="100" y="94"/>
                    <a:pt x="78" y="127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40000"/>
                  </a:schemeClr>
                </a:gs>
                <a:gs pos="100000">
                  <a:srgbClr val="68AFFD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31" name="ExtraShape17">
              <a:extLst>
                <a:ext uri="{FF2B5EF4-FFF2-40B4-BE49-F238E27FC236}">
                  <a16:creationId xmlns:a16="http://schemas.microsoft.com/office/drawing/2014/main" id="{134D7018-B103-4306-9832-B405BFA1C0C5}"/>
                </a:ext>
              </a:extLst>
            </p:cNvPr>
            <p:cNvSpPr/>
            <p:nvPr/>
          </p:nvSpPr>
          <p:spPr bwMode="auto">
            <a:xfrm>
              <a:off x="4234039" y="1743036"/>
              <a:ext cx="338080" cy="286164"/>
            </a:xfrm>
            <a:custGeom>
              <a:avLst/>
              <a:gdLst>
                <a:gd name="T0" fmla="*/ 115 w 128"/>
                <a:gd name="T1" fmla="*/ 39 h 109"/>
                <a:gd name="T2" fmla="*/ 94 w 128"/>
                <a:gd name="T3" fmla="*/ 87 h 109"/>
                <a:gd name="T4" fmla="*/ 82 w 128"/>
                <a:gd name="T5" fmla="*/ 100 h 109"/>
                <a:gd name="T6" fmla="*/ 66 w 128"/>
                <a:gd name="T7" fmla="*/ 105 h 109"/>
                <a:gd name="T8" fmla="*/ 44 w 128"/>
                <a:gd name="T9" fmla="*/ 98 h 109"/>
                <a:gd name="T10" fmla="*/ 23 w 128"/>
                <a:gd name="T11" fmla="*/ 109 h 109"/>
                <a:gd name="T12" fmla="*/ 8 w 128"/>
                <a:gd name="T13" fmla="*/ 98 h 109"/>
                <a:gd name="T14" fmla="*/ 1 w 128"/>
                <a:gd name="T15" fmla="*/ 79 h 109"/>
                <a:gd name="T16" fmla="*/ 9 w 128"/>
                <a:gd name="T17" fmla="*/ 64 h 109"/>
                <a:gd name="T18" fmla="*/ 50 w 128"/>
                <a:gd name="T19" fmla="*/ 17 h 109"/>
                <a:gd name="T20" fmla="*/ 70 w 128"/>
                <a:gd name="T21" fmla="*/ 1 h 109"/>
                <a:gd name="T22" fmla="*/ 91 w 128"/>
                <a:gd name="T23" fmla="*/ 1 h 109"/>
                <a:gd name="T24" fmla="*/ 116 w 128"/>
                <a:gd name="T25" fmla="*/ 9 h 109"/>
                <a:gd name="T26" fmla="*/ 124 w 128"/>
                <a:gd name="T27" fmla="*/ 3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109">
                  <a:moveTo>
                    <a:pt x="115" y="39"/>
                  </a:moveTo>
                  <a:cubicBezTo>
                    <a:pt x="116" y="57"/>
                    <a:pt x="105" y="73"/>
                    <a:pt x="94" y="87"/>
                  </a:cubicBezTo>
                  <a:cubicBezTo>
                    <a:pt x="91" y="92"/>
                    <a:pt x="87" y="96"/>
                    <a:pt x="82" y="100"/>
                  </a:cubicBezTo>
                  <a:cubicBezTo>
                    <a:pt x="78" y="104"/>
                    <a:pt x="72" y="105"/>
                    <a:pt x="66" y="105"/>
                  </a:cubicBezTo>
                  <a:cubicBezTo>
                    <a:pt x="59" y="103"/>
                    <a:pt x="52" y="96"/>
                    <a:pt x="44" y="98"/>
                  </a:cubicBezTo>
                  <a:cubicBezTo>
                    <a:pt x="37" y="99"/>
                    <a:pt x="31" y="109"/>
                    <a:pt x="23" y="109"/>
                  </a:cubicBezTo>
                  <a:cubicBezTo>
                    <a:pt x="16" y="109"/>
                    <a:pt x="11" y="103"/>
                    <a:pt x="8" y="98"/>
                  </a:cubicBezTo>
                  <a:cubicBezTo>
                    <a:pt x="4" y="92"/>
                    <a:pt x="0" y="85"/>
                    <a:pt x="1" y="79"/>
                  </a:cubicBezTo>
                  <a:cubicBezTo>
                    <a:pt x="2" y="73"/>
                    <a:pt x="5" y="68"/>
                    <a:pt x="9" y="64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5" y="11"/>
                    <a:pt x="62" y="4"/>
                    <a:pt x="70" y="1"/>
                  </a:cubicBezTo>
                  <a:cubicBezTo>
                    <a:pt x="77" y="0"/>
                    <a:pt x="84" y="0"/>
                    <a:pt x="91" y="1"/>
                  </a:cubicBezTo>
                  <a:cubicBezTo>
                    <a:pt x="100" y="3"/>
                    <a:pt x="109" y="4"/>
                    <a:pt x="116" y="9"/>
                  </a:cubicBezTo>
                  <a:cubicBezTo>
                    <a:pt x="123" y="14"/>
                    <a:pt x="128" y="24"/>
                    <a:pt x="124" y="32"/>
                  </a:cubicBezTo>
                </a:path>
              </a:pathLst>
            </a:custGeom>
            <a:solidFill>
              <a:srgbClr val="FFE7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32" name="ExtraShape18">
              <a:extLst>
                <a:ext uri="{FF2B5EF4-FFF2-40B4-BE49-F238E27FC236}">
                  <a16:creationId xmlns:a16="http://schemas.microsoft.com/office/drawing/2014/main" id="{67B9CA6C-16E7-4E84-B715-FF75BB367D1B}"/>
                </a:ext>
              </a:extLst>
            </p:cNvPr>
            <p:cNvSpPr/>
            <p:nvPr/>
          </p:nvSpPr>
          <p:spPr bwMode="auto">
            <a:xfrm>
              <a:off x="4274558" y="1711380"/>
              <a:ext cx="314021" cy="210192"/>
            </a:xfrm>
            <a:custGeom>
              <a:avLst/>
              <a:gdLst>
                <a:gd name="T0" fmla="*/ 105 w 119"/>
                <a:gd name="T1" fmla="*/ 54 h 80"/>
                <a:gd name="T2" fmla="*/ 82 w 119"/>
                <a:gd name="T3" fmla="*/ 49 h 80"/>
                <a:gd name="T4" fmla="*/ 52 w 119"/>
                <a:gd name="T5" fmla="*/ 58 h 80"/>
                <a:gd name="T6" fmla="*/ 48 w 119"/>
                <a:gd name="T7" fmla="*/ 61 h 80"/>
                <a:gd name="T8" fmla="*/ 45 w 119"/>
                <a:gd name="T9" fmla="*/ 55 h 80"/>
                <a:gd name="T10" fmla="*/ 35 w 119"/>
                <a:gd name="T11" fmla="*/ 52 h 80"/>
                <a:gd name="T12" fmla="*/ 35 w 119"/>
                <a:gd name="T13" fmla="*/ 52 h 80"/>
                <a:gd name="T14" fmla="*/ 30 w 119"/>
                <a:gd name="T15" fmla="*/ 63 h 80"/>
                <a:gd name="T16" fmla="*/ 29 w 119"/>
                <a:gd name="T17" fmla="*/ 68 h 80"/>
                <a:gd name="T18" fmla="*/ 25 w 119"/>
                <a:gd name="T19" fmla="*/ 71 h 80"/>
                <a:gd name="T20" fmla="*/ 15 w 119"/>
                <a:gd name="T21" fmla="*/ 78 h 80"/>
                <a:gd name="T22" fmla="*/ 9 w 119"/>
                <a:gd name="T23" fmla="*/ 80 h 80"/>
                <a:gd name="T24" fmla="*/ 0 w 119"/>
                <a:gd name="T25" fmla="*/ 72 h 80"/>
                <a:gd name="T26" fmla="*/ 2 w 119"/>
                <a:gd name="T27" fmla="*/ 58 h 80"/>
                <a:gd name="T28" fmla="*/ 5 w 119"/>
                <a:gd name="T29" fmla="*/ 44 h 80"/>
                <a:gd name="T30" fmla="*/ 25 w 119"/>
                <a:gd name="T31" fmla="*/ 15 h 80"/>
                <a:gd name="T32" fmla="*/ 57 w 119"/>
                <a:gd name="T33" fmla="*/ 3 h 80"/>
                <a:gd name="T34" fmla="*/ 70 w 119"/>
                <a:gd name="T35" fmla="*/ 1 h 80"/>
                <a:gd name="T36" fmla="*/ 104 w 119"/>
                <a:gd name="T37" fmla="*/ 15 h 80"/>
                <a:gd name="T38" fmla="*/ 114 w 119"/>
                <a:gd name="T39" fmla="*/ 26 h 80"/>
                <a:gd name="T40" fmla="*/ 118 w 119"/>
                <a:gd name="T41" fmla="*/ 42 h 80"/>
                <a:gd name="T42" fmla="*/ 105 w 119"/>
                <a:gd name="T43" fmla="*/ 5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9" h="80">
                  <a:moveTo>
                    <a:pt x="105" y="54"/>
                  </a:moveTo>
                  <a:cubicBezTo>
                    <a:pt x="97" y="55"/>
                    <a:pt x="89" y="50"/>
                    <a:pt x="82" y="49"/>
                  </a:cubicBezTo>
                  <a:cubicBezTo>
                    <a:pt x="71" y="47"/>
                    <a:pt x="60" y="50"/>
                    <a:pt x="52" y="58"/>
                  </a:cubicBezTo>
                  <a:cubicBezTo>
                    <a:pt x="51" y="59"/>
                    <a:pt x="49" y="61"/>
                    <a:pt x="48" y="61"/>
                  </a:cubicBezTo>
                  <a:cubicBezTo>
                    <a:pt x="46" y="60"/>
                    <a:pt x="46" y="57"/>
                    <a:pt x="45" y="55"/>
                  </a:cubicBezTo>
                  <a:cubicBezTo>
                    <a:pt x="43" y="51"/>
                    <a:pt x="39" y="50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1" y="55"/>
                    <a:pt x="29" y="59"/>
                    <a:pt x="30" y="63"/>
                  </a:cubicBezTo>
                  <a:cubicBezTo>
                    <a:pt x="30" y="64"/>
                    <a:pt x="29" y="66"/>
                    <a:pt x="29" y="68"/>
                  </a:cubicBezTo>
                  <a:cubicBezTo>
                    <a:pt x="28" y="69"/>
                    <a:pt x="27" y="71"/>
                    <a:pt x="25" y="71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13" y="79"/>
                    <a:pt x="11" y="80"/>
                    <a:pt x="9" y="80"/>
                  </a:cubicBezTo>
                  <a:cubicBezTo>
                    <a:pt x="4" y="80"/>
                    <a:pt x="1" y="77"/>
                    <a:pt x="0" y="72"/>
                  </a:cubicBezTo>
                  <a:cubicBezTo>
                    <a:pt x="0" y="67"/>
                    <a:pt x="0" y="63"/>
                    <a:pt x="2" y="58"/>
                  </a:cubicBezTo>
                  <a:cubicBezTo>
                    <a:pt x="3" y="54"/>
                    <a:pt x="3" y="49"/>
                    <a:pt x="5" y="44"/>
                  </a:cubicBezTo>
                  <a:cubicBezTo>
                    <a:pt x="8" y="33"/>
                    <a:pt x="15" y="22"/>
                    <a:pt x="25" y="15"/>
                  </a:cubicBezTo>
                  <a:cubicBezTo>
                    <a:pt x="35" y="10"/>
                    <a:pt x="46" y="5"/>
                    <a:pt x="57" y="3"/>
                  </a:cubicBezTo>
                  <a:cubicBezTo>
                    <a:pt x="61" y="2"/>
                    <a:pt x="66" y="1"/>
                    <a:pt x="70" y="1"/>
                  </a:cubicBezTo>
                  <a:cubicBezTo>
                    <a:pt x="82" y="0"/>
                    <a:pt x="94" y="7"/>
                    <a:pt x="104" y="15"/>
                  </a:cubicBezTo>
                  <a:cubicBezTo>
                    <a:pt x="108" y="17"/>
                    <a:pt x="112" y="21"/>
                    <a:pt x="114" y="26"/>
                  </a:cubicBezTo>
                  <a:cubicBezTo>
                    <a:pt x="116" y="30"/>
                    <a:pt x="119" y="38"/>
                    <a:pt x="118" y="42"/>
                  </a:cubicBezTo>
                  <a:cubicBezTo>
                    <a:pt x="117" y="49"/>
                    <a:pt x="111" y="54"/>
                    <a:pt x="105" y="54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33" name="ExtraShape19">
              <a:extLst>
                <a:ext uri="{FF2B5EF4-FFF2-40B4-BE49-F238E27FC236}">
                  <a16:creationId xmlns:a16="http://schemas.microsoft.com/office/drawing/2014/main" id="{D29D953A-A0D8-4CD4-8834-3C76CF042D54}"/>
                </a:ext>
              </a:extLst>
            </p:cNvPr>
            <p:cNvSpPr/>
            <p:nvPr/>
          </p:nvSpPr>
          <p:spPr bwMode="auto">
            <a:xfrm>
              <a:off x="4277090" y="2045661"/>
              <a:ext cx="402656" cy="463434"/>
            </a:xfrm>
            <a:custGeom>
              <a:avLst/>
              <a:gdLst>
                <a:gd name="T0" fmla="*/ 29 w 318"/>
                <a:gd name="T1" fmla="*/ 0 h 366"/>
                <a:gd name="T2" fmla="*/ 171 w 318"/>
                <a:gd name="T3" fmla="*/ 183 h 366"/>
                <a:gd name="T4" fmla="*/ 318 w 318"/>
                <a:gd name="T5" fmla="*/ 305 h 366"/>
                <a:gd name="T6" fmla="*/ 266 w 318"/>
                <a:gd name="T7" fmla="*/ 366 h 366"/>
                <a:gd name="T8" fmla="*/ 85 w 318"/>
                <a:gd name="T9" fmla="*/ 222 h 366"/>
                <a:gd name="T10" fmla="*/ 0 w 318"/>
                <a:gd name="T11" fmla="*/ 91 h 366"/>
                <a:gd name="T12" fmla="*/ 29 w 318"/>
                <a:gd name="T13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8" h="366">
                  <a:moveTo>
                    <a:pt x="29" y="0"/>
                  </a:moveTo>
                  <a:lnTo>
                    <a:pt x="171" y="183"/>
                  </a:lnTo>
                  <a:lnTo>
                    <a:pt x="318" y="305"/>
                  </a:lnTo>
                  <a:lnTo>
                    <a:pt x="266" y="366"/>
                  </a:lnTo>
                  <a:lnTo>
                    <a:pt x="85" y="222"/>
                  </a:lnTo>
                  <a:lnTo>
                    <a:pt x="0" y="91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34" name="ExtraShape20">
              <a:extLst>
                <a:ext uri="{FF2B5EF4-FFF2-40B4-BE49-F238E27FC236}">
                  <a16:creationId xmlns:a16="http://schemas.microsoft.com/office/drawing/2014/main" id="{1D835CC4-DCAB-42F0-8A5F-02957044AD10}"/>
                </a:ext>
              </a:extLst>
            </p:cNvPr>
            <p:cNvSpPr/>
            <p:nvPr/>
          </p:nvSpPr>
          <p:spPr bwMode="auto">
            <a:xfrm>
              <a:off x="4294817" y="2045661"/>
              <a:ext cx="388728" cy="463434"/>
            </a:xfrm>
            <a:custGeom>
              <a:avLst/>
              <a:gdLst>
                <a:gd name="T0" fmla="*/ 15 w 307"/>
                <a:gd name="T1" fmla="*/ 0 h 366"/>
                <a:gd name="T2" fmla="*/ 157 w 307"/>
                <a:gd name="T3" fmla="*/ 183 h 366"/>
                <a:gd name="T4" fmla="*/ 307 w 307"/>
                <a:gd name="T5" fmla="*/ 316 h 366"/>
                <a:gd name="T6" fmla="*/ 252 w 307"/>
                <a:gd name="T7" fmla="*/ 366 h 366"/>
                <a:gd name="T8" fmla="*/ 71 w 307"/>
                <a:gd name="T9" fmla="*/ 222 h 366"/>
                <a:gd name="T10" fmla="*/ 0 w 307"/>
                <a:gd name="T11" fmla="*/ 106 h 366"/>
                <a:gd name="T12" fmla="*/ 15 w 307"/>
                <a:gd name="T13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" h="366">
                  <a:moveTo>
                    <a:pt x="15" y="0"/>
                  </a:moveTo>
                  <a:lnTo>
                    <a:pt x="157" y="183"/>
                  </a:lnTo>
                  <a:lnTo>
                    <a:pt x="307" y="316"/>
                  </a:lnTo>
                  <a:lnTo>
                    <a:pt x="252" y="366"/>
                  </a:lnTo>
                  <a:lnTo>
                    <a:pt x="71" y="222"/>
                  </a:lnTo>
                  <a:lnTo>
                    <a:pt x="0" y="106"/>
                  </a:lnTo>
                  <a:lnTo>
                    <a:pt x="15" y="0"/>
                  </a:lnTo>
                  <a:close/>
                </a:path>
              </a:pathLst>
            </a:custGeom>
            <a:gradFill>
              <a:gsLst>
                <a:gs pos="10000">
                  <a:schemeClr val="tx1">
                    <a:alpha val="40000"/>
                  </a:schemeClr>
                </a:gs>
                <a:gs pos="100000">
                  <a:srgbClr val="68AFFD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35" name="ExtraShape21">
              <a:extLst>
                <a:ext uri="{FF2B5EF4-FFF2-40B4-BE49-F238E27FC236}">
                  <a16:creationId xmlns:a16="http://schemas.microsoft.com/office/drawing/2014/main" id="{EC791125-4B6B-4488-A951-7E582DD6DCEB}"/>
                </a:ext>
              </a:extLst>
            </p:cNvPr>
            <p:cNvSpPr/>
            <p:nvPr/>
          </p:nvSpPr>
          <p:spPr bwMode="auto">
            <a:xfrm>
              <a:off x="4142871" y="2040596"/>
              <a:ext cx="514083" cy="536875"/>
            </a:xfrm>
            <a:custGeom>
              <a:avLst/>
              <a:gdLst>
                <a:gd name="T0" fmla="*/ 35 w 195"/>
                <a:gd name="T1" fmla="*/ 0 h 204"/>
                <a:gd name="T2" fmla="*/ 111 w 195"/>
                <a:gd name="T3" fmla="*/ 110 h 204"/>
                <a:gd name="T4" fmla="*/ 195 w 195"/>
                <a:gd name="T5" fmla="*/ 174 h 204"/>
                <a:gd name="T6" fmla="*/ 164 w 195"/>
                <a:gd name="T7" fmla="*/ 204 h 204"/>
                <a:gd name="T8" fmla="*/ 89 w 195"/>
                <a:gd name="T9" fmla="*/ 148 h 204"/>
                <a:gd name="T10" fmla="*/ 2 w 195"/>
                <a:gd name="T11" fmla="*/ 46 h 204"/>
                <a:gd name="T12" fmla="*/ 35 w 195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5" h="204">
                  <a:moveTo>
                    <a:pt x="35" y="0"/>
                  </a:moveTo>
                  <a:cubicBezTo>
                    <a:pt x="111" y="110"/>
                    <a:pt x="111" y="110"/>
                    <a:pt x="111" y="110"/>
                  </a:cubicBezTo>
                  <a:cubicBezTo>
                    <a:pt x="195" y="174"/>
                    <a:pt x="195" y="174"/>
                    <a:pt x="195" y="174"/>
                  </a:cubicBezTo>
                  <a:cubicBezTo>
                    <a:pt x="164" y="204"/>
                    <a:pt x="164" y="204"/>
                    <a:pt x="164" y="204"/>
                  </a:cubicBezTo>
                  <a:cubicBezTo>
                    <a:pt x="89" y="148"/>
                    <a:pt x="89" y="148"/>
                    <a:pt x="89" y="148"/>
                  </a:cubicBezTo>
                  <a:cubicBezTo>
                    <a:pt x="89" y="148"/>
                    <a:pt x="4" y="56"/>
                    <a:pt x="2" y="46"/>
                  </a:cubicBezTo>
                  <a:cubicBezTo>
                    <a:pt x="0" y="36"/>
                    <a:pt x="0" y="0"/>
                    <a:pt x="35" y="0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36" name="ExtraShape22">
              <a:extLst>
                <a:ext uri="{FF2B5EF4-FFF2-40B4-BE49-F238E27FC236}">
                  <a16:creationId xmlns:a16="http://schemas.microsoft.com/office/drawing/2014/main" id="{AE5D5E3E-1A39-408E-823D-DD10F6D692FD}"/>
                </a:ext>
              </a:extLst>
            </p:cNvPr>
            <p:cNvSpPr/>
            <p:nvPr/>
          </p:nvSpPr>
          <p:spPr bwMode="auto">
            <a:xfrm>
              <a:off x="3912420" y="3244766"/>
              <a:ext cx="213991" cy="210192"/>
            </a:xfrm>
            <a:custGeom>
              <a:avLst/>
              <a:gdLst>
                <a:gd name="T0" fmla="*/ 10 w 81"/>
                <a:gd name="T1" fmla="*/ 0 h 80"/>
                <a:gd name="T2" fmla="*/ 41 w 81"/>
                <a:gd name="T3" fmla="*/ 16 h 80"/>
                <a:gd name="T4" fmla="*/ 63 w 81"/>
                <a:gd name="T5" fmla="*/ 41 h 80"/>
                <a:gd name="T6" fmla="*/ 52 w 81"/>
                <a:gd name="T7" fmla="*/ 75 h 80"/>
                <a:gd name="T8" fmla="*/ 0 w 81"/>
                <a:gd name="T9" fmla="*/ 28 h 80"/>
                <a:gd name="T10" fmla="*/ 10 w 81"/>
                <a:gd name="T1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80">
                  <a:moveTo>
                    <a:pt x="10" y="0"/>
                  </a:moveTo>
                  <a:cubicBezTo>
                    <a:pt x="10" y="0"/>
                    <a:pt x="27" y="15"/>
                    <a:pt x="41" y="16"/>
                  </a:cubicBezTo>
                  <a:cubicBezTo>
                    <a:pt x="54" y="16"/>
                    <a:pt x="63" y="41"/>
                    <a:pt x="63" y="41"/>
                  </a:cubicBezTo>
                  <a:cubicBezTo>
                    <a:pt x="63" y="41"/>
                    <a:pt x="81" y="80"/>
                    <a:pt x="52" y="75"/>
                  </a:cubicBezTo>
                  <a:cubicBezTo>
                    <a:pt x="23" y="70"/>
                    <a:pt x="1" y="41"/>
                    <a:pt x="0" y="28"/>
                  </a:cubicBezTo>
                  <a:cubicBezTo>
                    <a:pt x="0" y="15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37" name="CustomText">
              <a:extLst>
                <a:ext uri="{FF2B5EF4-FFF2-40B4-BE49-F238E27FC236}">
                  <a16:creationId xmlns:a16="http://schemas.microsoft.com/office/drawing/2014/main" id="{F7DE8F48-329B-49C9-89AA-689008E1436F}"/>
                </a:ext>
              </a:extLst>
            </p:cNvPr>
            <p:cNvSpPr/>
            <p:nvPr/>
          </p:nvSpPr>
          <p:spPr>
            <a:xfrm>
              <a:off x="5463481" y="2402615"/>
              <a:ext cx="1828518" cy="371978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00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38" name="CustomText">
              <a:extLst>
                <a:ext uri="{FF2B5EF4-FFF2-40B4-BE49-F238E27FC236}">
                  <a16:creationId xmlns:a16="http://schemas.microsoft.com/office/drawing/2014/main" id="{B8F9748C-2641-4385-96A5-C171FC28111F}"/>
                </a:ext>
              </a:extLst>
            </p:cNvPr>
            <p:cNvSpPr/>
            <p:nvPr/>
          </p:nvSpPr>
          <p:spPr>
            <a:xfrm>
              <a:off x="5457567" y="2767449"/>
              <a:ext cx="1828518" cy="265141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 fontScale="70000" lnSpcReduction="20000"/>
            </a:bodyPr>
            <a:lstStyle/>
            <a:p>
              <a:pPr lvl="0">
                <a:defRPr/>
              </a:pPr>
              <a:r>
                <a:rPr lang="en-US" altLang="zh-CN" sz="2000" dirty="0">
                  <a:latin typeface="+mj-lt"/>
                </a:rPr>
                <a:t>Go ahead and replace it with your own text.</a:t>
              </a:r>
              <a:endParaRPr kumimoji="0" lang="en-US" altLang="zh-CN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41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43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4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98397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7fc57f2-2299-486c-a934-482e6ec57af4" descr="DQ8AAB+LCAAAAAAABADVV01v2kAQ/S/b9IYQ/sKYWyh21EOaSES5VBy29gDb+gOt11JQxH/vejFlDGvLKHGUckDs7Mz6zZu3D3glNywiU2KQAbkRuy3Iz4uEcjFndM1pcp9FEMu9R55tgQsGOZn+fK2KTFT0TOMCqqydjN+zlCVFosJkOhqOZIi+oJAxUsE5hCyh8ZytmZBny8j3/BF4CKmoEgUvYECqhe0NPfxyzQG541mxVT3sB0doFoL2LYszjqBVRx1TbZT6sFqxEJ42kICqkltPLBW3abTY0OjYyIyz9UakkOdV4OHXbwgFKps6slAdqdKLfCMP/xIEY2tmuxOJUwva6Q56/EbQkytA+44f+G4TaBcrR3CWri9Rk9FXoq+eoOpZlsVA08vygwJ05d7HK3DsDK2JPTac6t22T9BMBM0YdZ+mYfShQVc/TtO3A3eMx1mDbV4B2+pDhQ2wfdP3AqsRtn21DGvlThcdrmicQ+2ApYTI0kg+DfuigW/nHacRk1qq8pSXSr3xXZ3cklQOK2VdsscFhFkatWQ5ZZYmbqo4ldYNAniuds6QoN0j1SRgcWnzt+k6lkvTVcOSg9vCD5lbNncgQYUMstxffiWcnl9rpYb4E6ctkRqwpz3BC5rdmbSmaRHHeA7VWsu/4i6vsa9huHyehmB1sOYNw56cX12sOb3O9EgPomuRSVi6o7zxOYjqnh6v9b9gKSBsALUNTd8zGv5pE5bVOLzWBebH652fcng98dOgi3fkxxy9xbbk910X3zLMBuPyPsC4zBb+PEyMaqaO+T9IxLM0OlvY6Qj7+tF097TO3Hdf4H4vfra03u2DWD+X+bURdDbrq1aYpYu/Re/PUs8W2B9Ly/1fUOLKJA0PAAA=">
            <a:extLst>
              <a:ext uri="{FF2B5EF4-FFF2-40B4-BE49-F238E27FC236}">
                <a16:creationId xmlns:a16="http://schemas.microsoft.com/office/drawing/2014/main" id="{D2EC28FD-B867-492D-8B6C-0CDA34858DF6}"/>
              </a:ext>
            </a:extLst>
          </p:cNvPr>
          <p:cNvGrpSpPr>
            <a:grpSpLocks noChangeAspect="1"/>
          </p:cNvGrpSpPr>
          <p:nvPr/>
        </p:nvGrpSpPr>
        <p:grpSpPr>
          <a:xfrm>
            <a:off x="2635321" y="1157431"/>
            <a:ext cx="6921359" cy="5248721"/>
            <a:chOff x="2603697" y="1107828"/>
            <a:chExt cx="6921359" cy="5248721"/>
          </a:xfrm>
        </p:grpSpPr>
        <p:sp>
          <p:nvSpPr>
            <p:cNvPr id="3" name="ValueShape1">
              <a:extLst>
                <a:ext uri="{FF2B5EF4-FFF2-40B4-BE49-F238E27FC236}">
                  <a16:creationId xmlns:a16="http://schemas.microsoft.com/office/drawing/2014/main" id="{F2BF2A4A-94C2-4077-8A40-80AD070A27AF}"/>
                </a:ext>
              </a:extLst>
            </p:cNvPr>
            <p:cNvSpPr/>
            <p:nvPr/>
          </p:nvSpPr>
          <p:spPr>
            <a:xfrm>
              <a:off x="4069135" y="1107828"/>
              <a:ext cx="1977281" cy="3678359"/>
            </a:xfrm>
            <a:custGeom>
              <a:avLst/>
              <a:gdLst>
                <a:gd name="connsiteX0" fmla="*/ 1637819 w 1977281"/>
                <a:gd name="connsiteY0" fmla="*/ 369 h 3678359"/>
                <a:gd name="connsiteX1" fmla="*/ 1768750 w 1977281"/>
                <a:gd name="connsiteY1" fmla="*/ 22612 h 3678359"/>
                <a:gd name="connsiteX2" fmla="*/ 1835373 w 1977281"/>
                <a:gd name="connsiteY2" fmla="*/ 54611 h 3678359"/>
                <a:gd name="connsiteX3" fmla="*/ 1917053 w 1977281"/>
                <a:gd name="connsiteY3" fmla="*/ 131862 h 3678359"/>
                <a:gd name="connsiteX4" fmla="*/ 1950069 w 1977281"/>
                <a:gd name="connsiteY4" fmla="*/ 199178 h 3678359"/>
                <a:gd name="connsiteX5" fmla="*/ 1972073 w 1977281"/>
                <a:gd name="connsiteY5" fmla="*/ 294310 h 3678359"/>
                <a:gd name="connsiteX6" fmla="*/ 1977281 w 1977281"/>
                <a:gd name="connsiteY6" fmla="*/ 350565 h 3678359"/>
                <a:gd name="connsiteX7" fmla="*/ 1976042 w 1977281"/>
                <a:gd name="connsiteY7" fmla="*/ 1045816 h 3678359"/>
                <a:gd name="connsiteX8" fmla="*/ 1968509 w 1977281"/>
                <a:gd name="connsiteY8" fmla="*/ 1060880 h 3678359"/>
                <a:gd name="connsiteX9" fmla="*/ 1944161 w 1977281"/>
                <a:gd name="connsiteY9" fmla="*/ 1187831 h 3678359"/>
                <a:gd name="connsiteX10" fmla="*/ 1863029 w 1977281"/>
                <a:gd name="connsiteY10" fmla="*/ 1384854 h 3678359"/>
                <a:gd name="connsiteX11" fmla="*/ 1748877 w 1977281"/>
                <a:gd name="connsiteY11" fmla="*/ 1552252 h 3678359"/>
                <a:gd name="connsiteX12" fmla="*/ 1468443 w 1977281"/>
                <a:gd name="connsiteY12" fmla="*/ 1776792 h 3678359"/>
                <a:gd name="connsiteX13" fmla="*/ 1015372 w 1977281"/>
                <a:gd name="connsiteY13" fmla="*/ 1905960 h 3678359"/>
                <a:gd name="connsiteX14" fmla="*/ 873429 w 1977281"/>
                <a:gd name="connsiteY14" fmla="*/ 1911533 h 3678359"/>
                <a:gd name="connsiteX15" fmla="*/ 615039 w 1977281"/>
                <a:gd name="connsiteY15" fmla="*/ 1891987 h 3678359"/>
                <a:gd name="connsiteX16" fmla="*/ 475995 w 1977281"/>
                <a:gd name="connsiteY16" fmla="*/ 1874370 h 3678359"/>
                <a:gd name="connsiteX17" fmla="*/ 354914 w 1977281"/>
                <a:gd name="connsiteY17" fmla="*/ 1841125 h 3678359"/>
                <a:gd name="connsiteX18" fmla="*/ 281332 w 1977281"/>
                <a:gd name="connsiteY18" fmla="*/ 1872321 h 3678359"/>
                <a:gd name="connsiteX19" fmla="*/ 316665 w 1977281"/>
                <a:gd name="connsiteY19" fmla="*/ 1943700 h 3678359"/>
                <a:gd name="connsiteX20" fmla="*/ 454547 w 1977281"/>
                <a:gd name="connsiteY20" fmla="*/ 1978131 h 3678359"/>
                <a:gd name="connsiteX21" fmla="*/ 675858 w 1977281"/>
                <a:gd name="connsiteY21" fmla="*/ 2008055 h 3678359"/>
                <a:gd name="connsiteX22" fmla="*/ 875155 w 1977281"/>
                <a:gd name="connsiteY22" fmla="*/ 2018230 h 3678359"/>
                <a:gd name="connsiteX23" fmla="*/ 1023470 w 1977281"/>
                <a:gd name="connsiteY23" fmla="*/ 2014407 h 3678359"/>
                <a:gd name="connsiteX24" fmla="*/ 1342123 w 1977281"/>
                <a:gd name="connsiteY24" fmla="*/ 1951129 h 3678359"/>
                <a:gd name="connsiteX25" fmla="*/ 1737270 w 1977281"/>
                <a:gd name="connsiteY25" fmla="*/ 1720393 h 3678359"/>
                <a:gd name="connsiteX26" fmla="*/ 1919792 w 1977281"/>
                <a:gd name="connsiteY26" fmla="*/ 1503236 h 3678359"/>
                <a:gd name="connsiteX27" fmla="*/ 1970787 w 1977281"/>
                <a:gd name="connsiteY27" fmla="*/ 1404161 h 3678359"/>
                <a:gd name="connsiteX28" fmla="*/ 1968866 w 1977281"/>
                <a:gd name="connsiteY28" fmla="*/ 2993555 h 3678359"/>
                <a:gd name="connsiteX29" fmla="*/ 1959577 w 1977281"/>
                <a:gd name="connsiteY29" fmla="*/ 3165759 h 3678359"/>
                <a:gd name="connsiteX30" fmla="*/ 1952035 w 1977281"/>
                <a:gd name="connsiteY30" fmla="*/ 3256205 h 3678359"/>
                <a:gd name="connsiteX31" fmla="*/ 1938124 w 1977281"/>
                <a:gd name="connsiteY31" fmla="*/ 3307210 h 3678359"/>
                <a:gd name="connsiteX32" fmla="*/ 1916681 w 1977281"/>
                <a:gd name="connsiteY32" fmla="*/ 3373280 h 3678359"/>
                <a:gd name="connsiteX33" fmla="*/ 1876697 w 1977281"/>
                <a:gd name="connsiteY33" fmla="*/ 3444540 h 3678359"/>
                <a:gd name="connsiteX34" fmla="*/ 1808323 w 1977281"/>
                <a:gd name="connsiteY34" fmla="*/ 3531990 h 3678359"/>
                <a:gd name="connsiteX35" fmla="*/ 1693601 w 1977281"/>
                <a:gd name="connsiteY35" fmla="*/ 3613568 h 3678359"/>
                <a:gd name="connsiteX36" fmla="*/ 1657099 w 1977281"/>
                <a:gd name="connsiteY36" fmla="*/ 3634385 h 3678359"/>
                <a:gd name="connsiteX37" fmla="*/ 1642615 w 1977281"/>
                <a:gd name="connsiteY37" fmla="*/ 3637261 h 3678359"/>
                <a:gd name="connsiteX38" fmla="*/ 1391749 w 1977281"/>
                <a:gd name="connsiteY38" fmla="*/ 3678032 h 3678359"/>
                <a:gd name="connsiteX39" fmla="*/ 1169861 w 1977281"/>
                <a:gd name="connsiteY39" fmla="*/ 3637669 h 3678359"/>
                <a:gd name="connsiteX40" fmla="*/ 1053418 w 1977281"/>
                <a:gd name="connsiteY40" fmla="*/ 3574859 h 3678359"/>
                <a:gd name="connsiteX41" fmla="*/ 943351 w 1977281"/>
                <a:gd name="connsiteY41" fmla="*/ 3476107 h 3678359"/>
                <a:gd name="connsiteX42" fmla="*/ 916126 w 1977281"/>
                <a:gd name="connsiteY42" fmla="*/ 3437793 h 3678359"/>
                <a:gd name="connsiteX43" fmla="*/ 907436 w 1977281"/>
                <a:gd name="connsiteY43" fmla="*/ 3431981 h 3678359"/>
                <a:gd name="connsiteX44" fmla="*/ 893535 w 1977281"/>
                <a:gd name="connsiteY44" fmla="*/ 3407605 h 3678359"/>
                <a:gd name="connsiteX45" fmla="*/ 891218 w 1977281"/>
                <a:gd name="connsiteY45" fmla="*/ 3403542 h 3678359"/>
                <a:gd name="connsiteX46" fmla="*/ 881950 w 1977281"/>
                <a:gd name="connsiteY46" fmla="*/ 3387291 h 3678359"/>
                <a:gd name="connsiteX47" fmla="*/ 840827 w 1977281"/>
                <a:gd name="connsiteY47" fmla="*/ 3286910 h 3678359"/>
                <a:gd name="connsiteX48" fmla="*/ 811880 w 1977281"/>
                <a:gd name="connsiteY48" fmla="*/ 3104208 h 3678359"/>
                <a:gd name="connsiteX49" fmla="*/ 850721 w 1977281"/>
                <a:gd name="connsiteY49" fmla="*/ 2898999 h 3678359"/>
                <a:gd name="connsiteX50" fmla="*/ 983996 w 1977281"/>
                <a:gd name="connsiteY50" fmla="*/ 2699159 h 3678359"/>
                <a:gd name="connsiteX51" fmla="*/ 1100456 w 1977281"/>
                <a:gd name="connsiteY51" fmla="*/ 2611206 h 3678359"/>
                <a:gd name="connsiteX52" fmla="*/ 1229080 w 1977281"/>
                <a:gd name="connsiteY52" fmla="*/ 2554004 h 3678359"/>
                <a:gd name="connsiteX53" fmla="*/ 1394779 w 1977281"/>
                <a:gd name="connsiteY53" fmla="*/ 2524115 h 3678359"/>
                <a:gd name="connsiteX54" fmla="*/ 1517021 w 1977281"/>
                <a:gd name="connsiteY54" fmla="*/ 2540545 h 3678359"/>
                <a:gd name="connsiteX55" fmla="*/ 1647370 w 1977281"/>
                <a:gd name="connsiteY55" fmla="*/ 2590041 h 3678359"/>
                <a:gd name="connsiteX56" fmla="*/ 1721530 w 1977281"/>
                <a:gd name="connsiteY56" fmla="*/ 2569283 h 3678359"/>
                <a:gd name="connsiteX57" fmla="*/ 1696626 w 1977281"/>
                <a:gd name="connsiteY57" fmla="*/ 2497341 h 3678359"/>
                <a:gd name="connsiteX58" fmla="*/ 1542525 w 1977281"/>
                <a:gd name="connsiteY58" fmla="*/ 2434471 h 3678359"/>
                <a:gd name="connsiteX59" fmla="*/ 1393053 w 1977281"/>
                <a:gd name="connsiteY59" fmla="*/ 2417418 h 3678359"/>
                <a:gd name="connsiteX60" fmla="*/ 1196068 w 1977281"/>
                <a:gd name="connsiteY60" fmla="*/ 2448997 h 3678359"/>
                <a:gd name="connsiteX61" fmla="*/ 982274 w 1977281"/>
                <a:gd name="connsiteY61" fmla="*/ 2554771 h 3678359"/>
                <a:gd name="connsiteX62" fmla="*/ 902315 w 1977281"/>
                <a:gd name="connsiteY62" fmla="*/ 2621908 h 3678359"/>
                <a:gd name="connsiteX63" fmla="*/ 748179 w 1977281"/>
                <a:gd name="connsiteY63" fmla="*/ 2860565 h 3678359"/>
                <a:gd name="connsiteX64" fmla="*/ 702962 w 1977281"/>
                <a:gd name="connsiteY64" fmla="*/ 3101715 h 3678359"/>
                <a:gd name="connsiteX65" fmla="*/ 735960 w 1977281"/>
                <a:gd name="connsiteY65" fmla="*/ 3319795 h 3678359"/>
                <a:gd name="connsiteX66" fmla="*/ 756230 w 1977281"/>
                <a:gd name="connsiteY66" fmla="*/ 3383612 h 3678359"/>
                <a:gd name="connsiteX67" fmla="*/ 702932 w 1977281"/>
                <a:gd name="connsiteY67" fmla="*/ 3365552 h 3678359"/>
                <a:gd name="connsiteX68" fmla="*/ 591122 w 1977281"/>
                <a:gd name="connsiteY68" fmla="*/ 3310867 h 3678359"/>
                <a:gd name="connsiteX69" fmla="*/ 452670 w 1977281"/>
                <a:gd name="connsiteY69" fmla="*/ 3190616 h 3678359"/>
                <a:gd name="connsiteX70" fmla="*/ 347829 w 1977281"/>
                <a:gd name="connsiteY70" fmla="*/ 2997355 h 3678359"/>
                <a:gd name="connsiteX71" fmla="*/ 329297 w 1977281"/>
                <a:gd name="connsiteY71" fmla="*/ 2927163 h 3678359"/>
                <a:gd name="connsiteX72" fmla="*/ 326980 w 1977281"/>
                <a:gd name="connsiteY72" fmla="*/ 2923100 h 3678359"/>
                <a:gd name="connsiteX73" fmla="*/ 328719 w 1977281"/>
                <a:gd name="connsiteY73" fmla="*/ 2916724 h 3678359"/>
                <a:gd name="connsiteX74" fmla="*/ 328141 w 1977281"/>
                <a:gd name="connsiteY74" fmla="*/ 2906286 h 3678359"/>
                <a:gd name="connsiteX75" fmla="*/ 323507 w 1977281"/>
                <a:gd name="connsiteY75" fmla="*/ 2898161 h 3678359"/>
                <a:gd name="connsiteX76" fmla="*/ 317721 w 1977281"/>
                <a:gd name="connsiteY76" fmla="*/ 2831467 h 3678359"/>
                <a:gd name="connsiteX77" fmla="*/ 328158 w 1977281"/>
                <a:gd name="connsiteY77" fmla="*/ 2755522 h 3678359"/>
                <a:gd name="connsiteX78" fmla="*/ 361191 w 1977281"/>
                <a:gd name="connsiteY78" fmla="*/ 2672075 h 3678359"/>
                <a:gd name="connsiteX79" fmla="*/ 340343 w 1977281"/>
                <a:gd name="connsiteY79" fmla="*/ 2597820 h 3678359"/>
                <a:gd name="connsiteX80" fmla="*/ 266183 w 1977281"/>
                <a:gd name="connsiteY80" fmla="*/ 2618577 h 3678359"/>
                <a:gd name="connsiteX81" fmla="*/ 222139 w 1977281"/>
                <a:gd name="connsiteY81" fmla="*/ 2729840 h 3678359"/>
                <a:gd name="connsiteX82" fmla="*/ 210546 w 1977281"/>
                <a:gd name="connsiteY82" fmla="*/ 2784908 h 3678359"/>
                <a:gd name="connsiteX83" fmla="*/ 198961 w 1977281"/>
                <a:gd name="connsiteY83" fmla="*/ 2764595 h 3678359"/>
                <a:gd name="connsiteX84" fmla="*/ 152622 w 1977281"/>
                <a:gd name="connsiteY84" fmla="*/ 2683340 h 3678359"/>
                <a:gd name="connsiteX85" fmla="*/ 112082 w 1977281"/>
                <a:gd name="connsiteY85" fmla="*/ 2555707 h 3678359"/>
                <a:gd name="connsiteX86" fmla="*/ 101666 w 1977281"/>
                <a:gd name="connsiteY86" fmla="*/ 2443197 h 3678359"/>
                <a:gd name="connsiteX87" fmla="*/ 192619 w 1977281"/>
                <a:gd name="connsiteY87" fmla="*/ 2499009 h 3678359"/>
                <a:gd name="connsiteX88" fmla="*/ 400023 w 1977281"/>
                <a:gd name="connsiteY88" fmla="*/ 2542248 h 3678359"/>
                <a:gd name="connsiteX89" fmla="*/ 603380 w 1977281"/>
                <a:gd name="connsiteY89" fmla="*/ 2512419 h 3678359"/>
                <a:gd name="connsiteX90" fmla="*/ 848460 w 1977281"/>
                <a:gd name="connsiteY90" fmla="*/ 2404954 h 3678359"/>
                <a:gd name="connsiteX91" fmla="*/ 854255 w 1977281"/>
                <a:gd name="connsiteY91" fmla="*/ 2396266 h 3678359"/>
                <a:gd name="connsiteX92" fmla="*/ 902915 w 1977281"/>
                <a:gd name="connsiteY92" fmla="*/ 2443892 h 3678359"/>
                <a:gd name="connsiteX93" fmla="*/ 933040 w 1977281"/>
                <a:gd name="connsiteY93" fmla="*/ 2459016 h 3678359"/>
                <a:gd name="connsiteX94" fmla="*/ 978231 w 1977281"/>
                <a:gd name="connsiteY94" fmla="*/ 2444011 h 3678359"/>
                <a:gd name="connsiteX95" fmla="*/ 967229 w 1977281"/>
                <a:gd name="connsiteY95" fmla="*/ 2396445 h 3678359"/>
                <a:gd name="connsiteX96" fmla="*/ 949850 w 1977281"/>
                <a:gd name="connsiteY96" fmla="*/ 2384820 h 3678359"/>
                <a:gd name="connsiteX97" fmla="*/ 896555 w 1977281"/>
                <a:gd name="connsiteY97" fmla="*/ 2329069 h 3678359"/>
                <a:gd name="connsiteX98" fmla="*/ 877442 w 1977281"/>
                <a:gd name="connsiteY98" fmla="*/ 2286129 h 3678359"/>
                <a:gd name="connsiteX99" fmla="*/ 868178 w 1977281"/>
                <a:gd name="connsiteY99" fmla="*/ 2232187 h 3678359"/>
                <a:gd name="connsiteX100" fmla="*/ 870499 w 1977281"/>
                <a:gd name="connsiteY100" fmla="*/ 2198559 h 3678359"/>
                <a:gd name="connsiteX101" fmla="*/ 840957 w 1977281"/>
                <a:gd name="connsiteY101" fmla="*/ 2156182 h 3678359"/>
                <a:gd name="connsiteX102" fmla="*/ 798661 w 1977281"/>
                <a:gd name="connsiteY102" fmla="*/ 2185688 h 3678359"/>
                <a:gd name="connsiteX103" fmla="*/ 792862 w 1977281"/>
                <a:gd name="connsiteY103" fmla="*/ 2232068 h 3678359"/>
                <a:gd name="connsiteX104" fmla="*/ 807337 w 1977281"/>
                <a:gd name="connsiteY104" fmla="*/ 2304573 h 3678359"/>
                <a:gd name="connsiteX105" fmla="*/ 792853 w 1977281"/>
                <a:gd name="connsiteY105" fmla="*/ 2307449 h 3678359"/>
                <a:gd name="connsiteX106" fmla="*/ 570369 w 1977281"/>
                <a:gd name="connsiteY106" fmla="*/ 2407411 h 3678359"/>
                <a:gd name="connsiteX107" fmla="*/ 398297 w 1977281"/>
                <a:gd name="connsiteY107" fmla="*/ 2435551 h 3678359"/>
                <a:gd name="connsiteX108" fmla="*/ 252303 w 1977281"/>
                <a:gd name="connsiteY108" fmla="*/ 2405746 h 3678359"/>
                <a:gd name="connsiteX109" fmla="*/ 174674 w 1977281"/>
                <a:gd name="connsiteY109" fmla="*/ 2363872 h 3678359"/>
                <a:gd name="connsiteX110" fmla="*/ 104001 w 1977281"/>
                <a:gd name="connsiteY110" fmla="*/ 2296496 h 3678359"/>
                <a:gd name="connsiteX111" fmla="*/ 90099 w 1977281"/>
                <a:gd name="connsiteY111" fmla="*/ 2272120 h 3678359"/>
                <a:gd name="connsiteX112" fmla="*/ 87782 w 1977281"/>
                <a:gd name="connsiteY112" fmla="*/ 2268057 h 3678359"/>
                <a:gd name="connsiteX113" fmla="*/ 85465 w 1977281"/>
                <a:gd name="connsiteY113" fmla="*/ 2263995 h 3678359"/>
                <a:gd name="connsiteX114" fmla="*/ 72141 w 1977281"/>
                <a:gd name="connsiteY114" fmla="*/ 2250057 h 3678359"/>
                <a:gd name="connsiteX115" fmla="*/ 22329 w 1977281"/>
                <a:gd name="connsiteY115" fmla="*/ 2143863 h 3678359"/>
                <a:gd name="connsiteX116" fmla="*/ 329 w 1977281"/>
                <a:gd name="connsiteY116" fmla="*/ 2011040 h 3678359"/>
                <a:gd name="connsiteX117" fmla="*/ 14826 w 1977281"/>
                <a:gd name="connsiteY117" fmla="*/ 1895091 h 3678359"/>
                <a:gd name="connsiteX118" fmla="*/ 79149 w 1977281"/>
                <a:gd name="connsiteY118" fmla="*/ 1772263 h 3678359"/>
                <a:gd name="connsiteX119" fmla="*/ 102327 w 1977281"/>
                <a:gd name="connsiteY119" fmla="*/ 1737508 h 3678359"/>
                <a:gd name="connsiteX120" fmla="*/ 108121 w 1977281"/>
                <a:gd name="connsiteY120" fmla="*/ 1728820 h 3678359"/>
                <a:gd name="connsiteX121" fmla="*/ 112177 w 1977281"/>
                <a:gd name="connsiteY121" fmla="*/ 1726507 h 3678359"/>
                <a:gd name="connsiteX122" fmla="*/ 135933 w 1977281"/>
                <a:gd name="connsiteY122" fmla="*/ 1702190 h 3678359"/>
                <a:gd name="connsiteX123" fmla="*/ 121454 w 1977281"/>
                <a:gd name="connsiteY123" fmla="*/ 1667376 h 3678359"/>
                <a:gd name="connsiteX124" fmla="*/ 90185 w 1977281"/>
                <a:gd name="connsiteY124" fmla="*/ 1518302 h 3678359"/>
                <a:gd name="connsiteX125" fmla="*/ 119749 w 1977281"/>
                <a:gd name="connsiteY125" fmla="*/ 1372224 h 3678359"/>
                <a:gd name="connsiteX126" fmla="*/ 171322 w 1977281"/>
                <a:gd name="connsiteY126" fmla="*/ 1283587 h 3678359"/>
                <a:gd name="connsiteX127" fmla="*/ 228107 w 1977281"/>
                <a:gd name="connsiteY127" fmla="*/ 1213515 h 3678359"/>
                <a:gd name="connsiteX128" fmla="*/ 267495 w 1977281"/>
                <a:gd name="connsiteY128" fmla="*/ 1282581 h 3678359"/>
                <a:gd name="connsiteX129" fmla="*/ 334691 w 1977281"/>
                <a:gd name="connsiteY129" fmla="*/ 1362708 h 3678359"/>
                <a:gd name="connsiteX130" fmla="*/ 499217 w 1977281"/>
                <a:gd name="connsiteY130" fmla="*/ 1462706 h 3678359"/>
                <a:gd name="connsiteX131" fmla="*/ 744279 w 1977281"/>
                <a:gd name="connsiteY131" fmla="*/ 1506005 h 3678359"/>
                <a:gd name="connsiteX132" fmla="*/ 966755 w 1977281"/>
                <a:gd name="connsiteY132" fmla="*/ 1481425 h 3678359"/>
                <a:gd name="connsiteX133" fmla="*/ 969072 w 1977281"/>
                <a:gd name="connsiteY133" fmla="*/ 1485488 h 3678359"/>
                <a:gd name="connsiteX134" fmla="*/ 1095361 w 1977281"/>
                <a:gd name="connsiteY134" fmla="*/ 1574987 h 3678359"/>
                <a:gd name="connsiteX135" fmla="*/ 1284225 w 1977281"/>
                <a:gd name="connsiteY135" fmla="*/ 1623416 h 3678359"/>
                <a:gd name="connsiteX136" fmla="*/ 1344483 w 1977281"/>
                <a:gd name="connsiteY136" fmla="*/ 1578283 h 3678359"/>
                <a:gd name="connsiteX137" fmla="*/ 1299301 w 1977281"/>
                <a:gd name="connsiteY137" fmla="*/ 1517905 h 3678359"/>
                <a:gd name="connsiteX138" fmla="*/ 1118548 w 1977281"/>
                <a:gd name="connsiteY138" fmla="*/ 1464851 h 3678359"/>
                <a:gd name="connsiteX139" fmla="*/ 1039763 w 1977281"/>
                <a:gd name="connsiteY139" fmla="*/ 1402100 h 3678359"/>
                <a:gd name="connsiteX140" fmla="*/ 1005587 w 1977281"/>
                <a:gd name="connsiteY140" fmla="*/ 1351598 h 3678359"/>
                <a:gd name="connsiteX141" fmla="*/ 973732 w 1977281"/>
                <a:gd name="connsiteY141" fmla="*/ 1267468 h 3678359"/>
                <a:gd name="connsiteX142" fmla="*/ 967367 w 1977281"/>
                <a:gd name="connsiteY142" fmla="*/ 1190336 h 3678359"/>
                <a:gd name="connsiteX143" fmla="*/ 972010 w 1977281"/>
                <a:gd name="connsiteY143" fmla="*/ 1123080 h 3678359"/>
                <a:gd name="connsiteX144" fmla="*/ 977226 w 1977281"/>
                <a:gd name="connsiteY144" fmla="*/ 1103953 h 3678359"/>
                <a:gd name="connsiteX145" fmla="*/ 974910 w 1977281"/>
                <a:gd name="connsiteY145" fmla="*/ 1099890 h 3678359"/>
                <a:gd name="connsiteX146" fmla="*/ 978965 w 1977281"/>
                <a:gd name="connsiteY146" fmla="*/ 1097577 h 3678359"/>
                <a:gd name="connsiteX147" fmla="*/ 980704 w 1977281"/>
                <a:gd name="connsiteY147" fmla="*/ 1091201 h 3678359"/>
                <a:gd name="connsiteX148" fmla="*/ 1050808 w 1977281"/>
                <a:gd name="connsiteY148" fmla="*/ 1072757 h 3678359"/>
                <a:gd name="connsiteX149" fmla="*/ 1096000 w 1977281"/>
                <a:gd name="connsiteY149" fmla="*/ 1057753 h 3678359"/>
                <a:gd name="connsiteX150" fmla="*/ 1109910 w 1977281"/>
                <a:gd name="connsiteY150" fmla="*/ 1006747 h 3678359"/>
                <a:gd name="connsiteX151" fmla="*/ 1062984 w 1977281"/>
                <a:gd name="connsiteY151" fmla="*/ 990436 h 3678359"/>
                <a:gd name="connsiteX152" fmla="*/ 1028221 w 1977281"/>
                <a:gd name="connsiteY152" fmla="*/ 1004878 h 3678359"/>
                <a:gd name="connsiteX153" fmla="*/ 945372 w 1977281"/>
                <a:gd name="connsiteY153" fmla="*/ 1019822 h 3678359"/>
                <a:gd name="connsiteX154" fmla="*/ 883961 w 1977281"/>
                <a:gd name="connsiteY154" fmla="*/ 1006388 h 3678359"/>
                <a:gd name="connsiteX155" fmla="*/ 823134 w 1977281"/>
                <a:gd name="connsiteY155" fmla="*/ 965701 h 3678359"/>
                <a:gd name="connsiteX156" fmla="*/ 772730 w 1977281"/>
                <a:gd name="connsiteY156" fmla="*/ 962142 h 3678359"/>
                <a:gd name="connsiteX157" fmla="*/ 771565 w 1977281"/>
                <a:gd name="connsiteY157" fmla="*/ 1016647 h 3678359"/>
                <a:gd name="connsiteX158" fmla="*/ 858462 w 1977281"/>
                <a:gd name="connsiteY158" fmla="*/ 1074771 h 3678359"/>
                <a:gd name="connsiteX159" fmla="*/ 867152 w 1977281"/>
                <a:gd name="connsiteY159" fmla="*/ 1080583 h 3678359"/>
                <a:gd name="connsiteX160" fmla="*/ 864252 w 1977281"/>
                <a:gd name="connsiteY160" fmla="*/ 1103773 h 3678359"/>
                <a:gd name="connsiteX161" fmla="*/ 858449 w 1977281"/>
                <a:gd name="connsiteY161" fmla="*/ 1187843 h 3678359"/>
                <a:gd name="connsiteX162" fmla="*/ 869443 w 1977281"/>
                <a:gd name="connsiteY162" fmla="*/ 1310791 h 3678359"/>
                <a:gd name="connsiteX163" fmla="*/ 900719 w 1977281"/>
                <a:gd name="connsiteY163" fmla="*/ 1384483 h 3678359"/>
                <a:gd name="connsiteX164" fmla="*/ 746609 w 1977281"/>
                <a:gd name="connsiteY164" fmla="*/ 1396995 h 3678359"/>
                <a:gd name="connsiteX165" fmla="*/ 609883 w 1977281"/>
                <a:gd name="connsiteY165" fmla="*/ 1383441 h 3678359"/>
                <a:gd name="connsiteX166" fmla="*/ 447092 w 1977281"/>
                <a:gd name="connsiteY166" fmla="*/ 1314759 h 3678359"/>
                <a:gd name="connsiteX167" fmla="*/ 376418 w 1977281"/>
                <a:gd name="connsiteY167" fmla="*/ 1247382 h 3678359"/>
                <a:gd name="connsiteX168" fmla="*/ 320811 w 1977281"/>
                <a:gd name="connsiteY168" fmla="*/ 1149877 h 3678359"/>
                <a:gd name="connsiteX169" fmla="*/ 308648 w 1977281"/>
                <a:gd name="connsiteY169" fmla="*/ 1119126 h 3678359"/>
                <a:gd name="connsiteX170" fmla="*/ 308070 w 1977281"/>
                <a:gd name="connsiteY170" fmla="*/ 1108687 h 3678359"/>
                <a:gd name="connsiteX171" fmla="*/ 297655 w 1977281"/>
                <a:gd name="connsiteY171" fmla="*/ 996178 h 3678359"/>
                <a:gd name="connsiteX172" fmla="*/ 312730 w 1977281"/>
                <a:gd name="connsiteY172" fmla="*/ 890667 h 3678359"/>
                <a:gd name="connsiteX173" fmla="*/ 344024 w 1977281"/>
                <a:gd name="connsiteY173" fmla="*/ 813595 h 3678359"/>
                <a:gd name="connsiteX174" fmla="*/ 424565 w 1977281"/>
                <a:gd name="connsiteY174" fmla="*/ 719206 h 3678359"/>
                <a:gd name="connsiteX175" fmla="*/ 496991 w 1977281"/>
                <a:gd name="connsiteY175" fmla="*/ 667134 h 3678359"/>
                <a:gd name="connsiteX176" fmla="*/ 594907 w 1977281"/>
                <a:gd name="connsiteY176" fmla="*/ 622061 h 3678359"/>
                <a:gd name="connsiteX177" fmla="*/ 623876 w 1977281"/>
                <a:gd name="connsiteY177" fmla="*/ 616308 h 3678359"/>
                <a:gd name="connsiteX178" fmla="*/ 631987 w 1977281"/>
                <a:gd name="connsiteY178" fmla="*/ 611682 h 3678359"/>
                <a:gd name="connsiteX179" fmla="*/ 660955 w 1977281"/>
                <a:gd name="connsiteY179" fmla="*/ 605930 h 3678359"/>
                <a:gd name="connsiteX180" fmla="*/ 671966 w 1977281"/>
                <a:gd name="connsiteY180" fmla="*/ 578114 h 3678359"/>
                <a:gd name="connsiteX181" fmla="*/ 721222 w 1977281"/>
                <a:gd name="connsiteY181" fmla="*/ 485414 h 3678359"/>
                <a:gd name="connsiteX182" fmla="*/ 840582 w 1977281"/>
                <a:gd name="connsiteY182" fmla="*/ 374271 h 3678359"/>
                <a:gd name="connsiteX183" fmla="*/ 944293 w 1977281"/>
                <a:gd name="connsiteY183" fmla="*/ 320509 h 3678359"/>
                <a:gd name="connsiteX184" fmla="*/ 1092613 w 1977281"/>
                <a:gd name="connsiteY184" fmla="*/ 278995 h 3678359"/>
                <a:gd name="connsiteX185" fmla="*/ 1171985 w 1977281"/>
                <a:gd name="connsiteY185" fmla="*/ 276802 h 3678359"/>
                <a:gd name="connsiteX186" fmla="*/ 1163865 w 1977281"/>
                <a:gd name="connsiteY186" fmla="*/ 356810 h 3678359"/>
                <a:gd name="connsiteX187" fmla="*/ 1173702 w 1977281"/>
                <a:gd name="connsiteY187" fmla="*/ 458881 h 3678359"/>
                <a:gd name="connsiteX188" fmla="*/ 1213664 w 1977281"/>
                <a:gd name="connsiteY188" fmla="*/ 576076 h 3678359"/>
                <a:gd name="connsiteX189" fmla="*/ 1268693 w 1977281"/>
                <a:gd name="connsiteY189" fmla="*/ 663143 h 3678359"/>
                <a:gd name="connsiteX190" fmla="*/ 1406567 w 1977281"/>
                <a:gd name="connsiteY190" fmla="*/ 772955 h 3678359"/>
                <a:gd name="connsiteX191" fmla="*/ 1606438 w 1977281"/>
                <a:gd name="connsiteY191" fmla="*/ 831259 h 3678359"/>
                <a:gd name="connsiteX192" fmla="*/ 1623239 w 1977281"/>
                <a:gd name="connsiteY192" fmla="*/ 832446 h 3678359"/>
                <a:gd name="connsiteX193" fmla="*/ 1649882 w 1977281"/>
                <a:gd name="connsiteY193" fmla="*/ 898012 h 3678359"/>
                <a:gd name="connsiteX194" fmla="*/ 1670157 w 1977281"/>
                <a:gd name="connsiteY194" fmla="*/ 924138 h 3678359"/>
                <a:gd name="connsiteX195" fmla="*/ 1718821 w 1977281"/>
                <a:gd name="connsiteY195" fmla="*/ 934073 h 3678359"/>
                <a:gd name="connsiteX196" fmla="*/ 1726359 w 1977281"/>
                <a:gd name="connsiteY196" fmla="*/ 881318 h 3678359"/>
                <a:gd name="connsiteX197" fmla="*/ 1705506 w 1977281"/>
                <a:gd name="connsiteY197" fmla="*/ 844753 h 3678359"/>
                <a:gd name="connsiteX198" fmla="*/ 1688710 w 1977281"/>
                <a:gd name="connsiteY198" fmla="*/ 805876 h 3678359"/>
                <a:gd name="connsiteX199" fmla="*/ 1681763 w 1977281"/>
                <a:gd name="connsiteY199" fmla="*/ 755997 h 3678359"/>
                <a:gd name="connsiteX200" fmla="*/ 1689879 w 1977281"/>
                <a:gd name="connsiteY200" fmla="*/ 713680 h 3678359"/>
                <a:gd name="connsiteX201" fmla="*/ 1712479 w 1977281"/>
                <a:gd name="connsiteY201" fmla="*/ 668487 h 3678359"/>
                <a:gd name="connsiteX202" fmla="*/ 1705532 w 1977281"/>
                <a:gd name="connsiteY202" fmla="*/ 618608 h 3678359"/>
                <a:gd name="connsiteX203" fmla="*/ 1655707 w 1977281"/>
                <a:gd name="connsiteY203" fmla="*/ 625487 h 3678359"/>
                <a:gd name="connsiteX204" fmla="*/ 1623835 w 1977281"/>
                <a:gd name="connsiteY204" fmla="*/ 692120 h 3678359"/>
                <a:gd name="connsiteX205" fmla="*/ 1615141 w 1977281"/>
                <a:gd name="connsiteY205" fmla="*/ 723999 h 3678359"/>
                <a:gd name="connsiteX206" fmla="*/ 1472624 w 1977281"/>
                <a:gd name="connsiteY206" fmla="*/ 681443 h 3678359"/>
                <a:gd name="connsiteX207" fmla="*/ 1390361 w 1977281"/>
                <a:gd name="connsiteY207" fmla="*/ 631444 h 3678359"/>
                <a:gd name="connsiteX208" fmla="*/ 1316214 w 1977281"/>
                <a:gd name="connsiteY208" fmla="*/ 539128 h 3678359"/>
                <a:gd name="connsiteX209" fmla="*/ 1281464 w 1977281"/>
                <a:gd name="connsiteY209" fmla="*/ 440497 h 3678359"/>
                <a:gd name="connsiteX210" fmla="*/ 1272783 w 1977281"/>
                <a:gd name="connsiteY210" fmla="*/ 359302 h 3678359"/>
                <a:gd name="connsiteX211" fmla="*/ 1282642 w 1977281"/>
                <a:gd name="connsiteY211" fmla="*/ 272919 h 3678359"/>
                <a:gd name="connsiteX212" fmla="*/ 1289598 w 1977281"/>
                <a:gd name="connsiteY212" fmla="*/ 247416 h 3678359"/>
                <a:gd name="connsiteX213" fmla="*/ 1291336 w 1977281"/>
                <a:gd name="connsiteY213" fmla="*/ 241040 h 3678359"/>
                <a:gd name="connsiteX214" fmla="*/ 1346387 w 1977281"/>
                <a:gd name="connsiteY214" fmla="*/ 139652 h 3678359"/>
                <a:gd name="connsiteX215" fmla="*/ 1470381 w 1977281"/>
                <a:gd name="connsiteY215" fmla="*/ 36634 h 3678359"/>
                <a:gd name="connsiteX216" fmla="*/ 1637819 w 1977281"/>
                <a:gd name="connsiteY216" fmla="*/ 369 h 3678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</a:cxnLst>
              <a:rect l="l" t="t" r="r" b="b"/>
              <a:pathLst>
                <a:path w="1977281" h="3678359">
                  <a:moveTo>
                    <a:pt x="1637819" y="369"/>
                  </a:moveTo>
                  <a:cubicBezTo>
                    <a:pt x="1679533" y="-1884"/>
                    <a:pt x="1721825" y="6302"/>
                    <a:pt x="1768750" y="22612"/>
                  </a:cubicBezTo>
                  <a:cubicBezTo>
                    <a:pt x="1794241" y="29611"/>
                    <a:pt x="1817993" y="42986"/>
                    <a:pt x="1835373" y="54611"/>
                  </a:cubicBezTo>
                  <a:cubicBezTo>
                    <a:pt x="1870131" y="77860"/>
                    <a:pt x="1894462" y="101673"/>
                    <a:pt x="1917053" y="131862"/>
                  </a:cubicBezTo>
                  <a:cubicBezTo>
                    <a:pt x="1928638" y="152175"/>
                    <a:pt x="1942540" y="176552"/>
                    <a:pt x="1950069" y="199178"/>
                  </a:cubicBezTo>
                  <a:cubicBezTo>
                    <a:pt x="1964548" y="233993"/>
                    <a:pt x="1972656" y="267058"/>
                    <a:pt x="1972073" y="294310"/>
                  </a:cubicBezTo>
                  <a:cubicBezTo>
                    <a:pt x="1977863" y="323312"/>
                    <a:pt x="1976703" y="340127"/>
                    <a:pt x="1977281" y="350565"/>
                  </a:cubicBezTo>
                  <a:cubicBezTo>
                    <a:pt x="1977281" y="350565"/>
                    <a:pt x="1977281" y="350565"/>
                    <a:pt x="1976042" y="1045816"/>
                  </a:cubicBezTo>
                  <a:cubicBezTo>
                    <a:pt x="1974303" y="1052191"/>
                    <a:pt x="1970248" y="1054504"/>
                    <a:pt x="1968509" y="1060880"/>
                  </a:cubicBezTo>
                  <a:cubicBezTo>
                    <a:pt x="1970826" y="1064943"/>
                    <a:pt x="1965027" y="1111322"/>
                    <a:pt x="1944161" y="1187831"/>
                  </a:cubicBezTo>
                  <a:cubicBezTo>
                    <a:pt x="1926195" y="1241149"/>
                    <a:pt x="1900696" y="1309532"/>
                    <a:pt x="1863029" y="1384854"/>
                  </a:cubicBezTo>
                  <a:cubicBezTo>
                    <a:pt x="1830579" y="1441049"/>
                    <a:pt x="1794072" y="1499557"/>
                    <a:pt x="1748877" y="1552252"/>
                  </a:cubicBezTo>
                  <a:cubicBezTo>
                    <a:pt x="1678186" y="1635640"/>
                    <a:pt x="1588377" y="1713778"/>
                    <a:pt x="1468443" y="1776792"/>
                  </a:cubicBezTo>
                  <a:cubicBezTo>
                    <a:pt x="1350826" y="1843869"/>
                    <a:pt x="1200767" y="1891758"/>
                    <a:pt x="1015372" y="1905960"/>
                  </a:cubicBezTo>
                  <a:cubicBezTo>
                    <a:pt x="1008999" y="1904211"/>
                    <a:pt x="952801" y="1909340"/>
                    <a:pt x="873429" y="1911533"/>
                  </a:cubicBezTo>
                  <a:cubicBezTo>
                    <a:pt x="802169" y="1909100"/>
                    <a:pt x="707734" y="1903731"/>
                    <a:pt x="615039" y="1891987"/>
                  </a:cubicBezTo>
                  <a:cubicBezTo>
                    <a:pt x="566952" y="1892490"/>
                    <a:pt x="518287" y="1882555"/>
                    <a:pt x="475995" y="1874370"/>
                  </a:cubicBezTo>
                  <a:cubicBezTo>
                    <a:pt x="433703" y="1866184"/>
                    <a:pt x="389094" y="1853936"/>
                    <a:pt x="354914" y="1841125"/>
                  </a:cubicBezTo>
                  <a:cubicBezTo>
                    <a:pt x="327106" y="1830064"/>
                    <a:pt x="292343" y="1844505"/>
                    <a:pt x="281332" y="1872321"/>
                  </a:cubicBezTo>
                  <a:cubicBezTo>
                    <a:pt x="274377" y="1897823"/>
                    <a:pt x="288857" y="1932638"/>
                    <a:pt x="316665" y="1943700"/>
                  </a:cubicBezTo>
                  <a:cubicBezTo>
                    <a:pt x="357218" y="1958261"/>
                    <a:pt x="405883" y="1968196"/>
                    <a:pt x="454547" y="1978131"/>
                  </a:cubicBezTo>
                  <a:cubicBezTo>
                    <a:pt x="528703" y="1995064"/>
                    <a:pt x="604597" y="2005623"/>
                    <a:pt x="675858" y="2008055"/>
                  </a:cubicBezTo>
                  <a:cubicBezTo>
                    <a:pt x="749435" y="2014551"/>
                    <a:pt x="816640" y="2019297"/>
                    <a:pt x="875155" y="2018230"/>
                  </a:cubicBezTo>
                  <a:cubicBezTo>
                    <a:pt x="960900" y="2017787"/>
                    <a:pt x="1023470" y="2014407"/>
                    <a:pt x="1023470" y="2014407"/>
                  </a:cubicBezTo>
                  <a:cubicBezTo>
                    <a:pt x="1142239" y="2005898"/>
                    <a:pt x="1247685" y="1983451"/>
                    <a:pt x="1342123" y="1951129"/>
                  </a:cubicBezTo>
                  <a:cubicBezTo>
                    <a:pt x="1508405" y="1893987"/>
                    <a:pt x="1639928" y="1813596"/>
                    <a:pt x="1737270" y="1720393"/>
                  </a:cubicBezTo>
                  <a:cubicBezTo>
                    <a:pt x="1814912" y="1649194"/>
                    <a:pt x="1875753" y="1576808"/>
                    <a:pt x="1919792" y="1503236"/>
                  </a:cubicBezTo>
                  <a:cubicBezTo>
                    <a:pt x="1938915" y="1470794"/>
                    <a:pt x="1958037" y="1438352"/>
                    <a:pt x="1970787" y="1404161"/>
                  </a:cubicBezTo>
                  <a:lnTo>
                    <a:pt x="1968866" y="2993555"/>
                  </a:lnTo>
                  <a:cubicBezTo>
                    <a:pt x="1966541" y="3064874"/>
                    <a:pt x="1965376" y="3119379"/>
                    <a:pt x="1959577" y="3165759"/>
                  </a:cubicBezTo>
                  <a:cubicBezTo>
                    <a:pt x="1959572" y="3203449"/>
                    <a:pt x="1954934" y="3233015"/>
                    <a:pt x="1952035" y="3256205"/>
                  </a:cubicBezTo>
                  <a:cubicBezTo>
                    <a:pt x="1946818" y="3275332"/>
                    <a:pt x="1945658" y="3292146"/>
                    <a:pt x="1938124" y="3307210"/>
                  </a:cubicBezTo>
                  <a:cubicBezTo>
                    <a:pt x="1931169" y="3332713"/>
                    <a:pt x="1925953" y="3351840"/>
                    <a:pt x="1916681" y="3373280"/>
                  </a:cubicBezTo>
                  <a:cubicBezTo>
                    <a:pt x="1907409" y="3394721"/>
                    <a:pt x="1894081" y="3418474"/>
                    <a:pt x="1876697" y="3444540"/>
                  </a:cubicBezTo>
                  <a:cubicBezTo>
                    <a:pt x="1857574" y="3476982"/>
                    <a:pt x="1836135" y="3505360"/>
                    <a:pt x="1808323" y="3531990"/>
                  </a:cubicBezTo>
                  <a:cubicBezTo>
                    <a:pt x="1770660" y="3569621"/>
                    <a:pt x="1726047" y="3595064"/>
                    <a:pt x="1693601" y="3613568"/>
                  </a:cubicBezTo>
                  <a:cubicBezTo>
                    <a:pt x="1677378" y="3622820"/>
                    <a:pt x="1665211" y="3629759"/>
                    <a:pt x="1657099" y="3634385"/>
                  </a:cubicBezTo>
                  <a:cubicBezTo>
                    <a:pt x="1648988" y="3639011"/>
                    <a:pt x="1646671" y="3634948"/>
                    <a:pt x="1642615" y="3637261"/>
                  </a:cubicBezTo>
                  <a:cubicBezTo>
                    <a:pt x="1548176" y="3669583"/>
                    <a:pt x="1463010" y="3680465"/>
                    <a:pt x="1391749" y="3678032"/>
                  </a:cubicBezTo>
                  <a:cubicBezTo>
                    <a:pt x="1306005" y="3678476"/>
                    <a:pt x="1231849" y="3661542"/>
                    <a:pt x="1169861" y="3637669"/>
                  </a:cubicBezTo>
                  <a:cubicBezTo>
                    <a:pt x="1126991" y="3619045"/>
                    <a:pt x="1088176" y="3598108"/>
                    <a:pt x="1053418" y="3574859"/>
                  </a:cubicBezTo>
                  <a:cubicBezTo>
                    <a:pt x="1001280" y="3539984"/>
                    <a:pt x="963626" y="3502233"/>
                    <a:pt x="943351" y="3476107"/>
                  </a:cubicBezTo>
                  <a:cubicBezTo>
                    <a:pt x="930028" y="3462169"/>
                    <a:pt x="923077" y="3449981"/>
                    <a:pt x="916126" y="3437793"/>
                  </a:cubicBezTo>
                  <a:cubicBezTo>
                    <a:pt x="913809" y="3433731"/>
                    <a:pt x="909753" y="3436044"/>
                    <a:pt x="907436" y="3431981"/>
                  </a:cubicBezTo>
                  <a:cubicBezTo>
                    <a:pt x="907436" y="3431981"/>
                    <a:pt x="907436" y="3431981"/>
                    <a:pt x="893535" y="3407605"/>
                  </a:cubicBezTo>
                  <a:cubicBezTo>
                    <a:pt x="893535" y="3407605"/>
                    <a:pt x="893535" y="3407605"/>
                    <a:pt x="891218" y="3403542"/>
                  </a:cubicBezTo>
                  <a:cubicBezTo>
                    <a:pt x="888901" y="3399479"/>
                    <a:pt x="884267" y="3391354"/>
                    <a:pt x="881950" y="3387291"/>
                  </a:cubicBezTo>
                  <a:cubicBezTo>
                    <a:pt x="868048" y="3362915"/>
                    <a:pt x="849512" y="3330413"/>
                    <a:pt x="840827" y="3286910"/>
                  </a:cubicBezTo>
                  <a:cubicBezTo>
                    <a:pt x="823452" y="3237594"/>
                    <a:pt x="813610" y="3173214"/>
                    <a:pt x="811880" y="3104208"/>
                  </a:cubicBezTo>
                  <a:cubicBezTo>
                    <a:pt x="812467" y="3039264"/>
                    <a:pt x="825221" y="2967382"/>
                    <a:pt x="850721" y="2898999"/>
                  </a:cubicBezTo>
                  <a:cubicBezTo>
                    <a:pt x="876220" y="2830616"/>
                    <a:pt x="918521" y="2763419"/>
                    <a:pt x="983996" y="2699159"/>
                  </a:cubicBezTo>
                  <a:cubicBezTo>
                    <a:pt x="983996" y="2699159"/>
                    <a:pt x="1027453" y="2652839"/>
                    <a:pt x="1100456" y="2611206"/>
                  </a:cubicBezTo>
                  <a:cubicBezTo>
                    <a:pt x="1136958" y="2590389"/>
                    <a:pt x="1181571" y="2564946"/>
                    <a:pt x="1229080" y="2554004"/>
                  </a:cubicBezTo>
                  <a:cubicBezTo>
                    <a:pt x="1278327" y="2536686"/>
                    <a:pt x="1336264" y="2525181"/>
                    <a:pt x="1394779" y="2524115"/>
                  </a:cubicBezTo>
                  <a:cubicBezTo>
                    <a:pt x="1432437" y="2524175"/>
                    <a:pt x="1472412" y="2528297"/>
                    <a:pt x="1517021" y="2540545"/>
                  </a:cubicBezTo>
                  <a:cubicBezTo>
                    <a:pt x="1555257" y="2551044"/>
                    <a:pt x="1602183" y="2567354"/>
                    <a:pt x="1647370" y="2590041"/>
                  </a:cubicBezTo>
                  <a:cubicBezTo>
                    <a:pt x="1673439" y="2607478"/>
                    <a:pt x="1704146" y="2595350"/>
                    <a:pt x="1721530" y="2569283"/>
                  </a:cubicBezTo>
                  <a:cubicBezTo>
                    <a:pt x="1734858" y="2545530"/>
                    <a:pt x="1724434" y="2508403"/>
                    <a:pt x="1696626" y="2497341"/>
                  </a:cubicBezTo>
                  <a:cubicBezTo>
                    <a:pt x="1642749" y="2468842"/>
                    <a:pt x="1593506" y="2448469"/>
                    <a:pt x="1542525" y="2434471"/>
                  </a:cubicBezTo>
                  <a:cubicBezTo>
                    <a:pt x="1491543" y="2420474"/>
                    <a:pt x="1441140" y="2416914"/>
                    <a:pt x="1393053" y="2417418"/>
                  </a:cubicBezTo>
                  <a:cubicBezTo>
                    <a:pt x="1321793" y="2414985"/>
                    <a:pt x="1253427" y="2427053"/>
                    <a:pt x="1196068" y="2448997"/>
                  </a:cubicBezTo>
                  <a:cubicBezTo>
                    <a:pt x="1105685" y="2479006"/>
                    <a:pt x="1032682" y="2520640"/>
                    <a:pt x="982274" y="2554771"/>
                  </a:cubicBezTo>
                  <a:cubicBezTo>
                    <a:pt x="938239" y="2590652"/>
                    <a:pt x="910427" y="2617282"/>
                    <a:pt x="902315" y="2621908"/>
                  </a:cubicBezTo>
                  <a:cubicBezTo>
                    <a:pt x="826990" y="2697170"/>
                    <a:pt x="777156" y="2779431"/>
                    <a:pt x="748179" y="2860565"/>
                  </a:cubicBezTo>
                  <a:cubicBezTo>
                    <a:pt x="715146" y="2944013"/>
                    <a:pt x="702970" y="3026333"/>
                    <a:pt x="702962" y="3101715"/>
                  </a:cubicBezTo>
                  <a:cubicBezTo>
                    <a:pt x="705270" y="3181160"/>
                    <a:pt x="718007" y="3260041"/>
                    <a:pt x="735960" y="3319795"/>
                  </a:cubicBezTo>
                  <a:cubicBezTo>
                    <a:pt x="743489" y="3342422"/>
                    <a:pt x="751018" y="3365048"/>
                    <a:pt x="756230" y="3383612"/>
                  </a:cubicBezTo>
                  <a:cubicBezTo>
                    <a:pt x="737112" y="3378363"/>
                    <a:pt x="717994" y="3373114"/>
                    <a:pt x="702932" y="3365552"/>
                  </a:cubicBezTo>
                  <a:cubicBezTo>
                    <a:pt x="658323" y="3353304"/>
                    <a:pt x="621825" y="3336429"/>
                    <a:pt x="591122" y="3310867"/>
                  </a:cubicBezTo>
                  <a:cubicBezTo>
                    <a:pt x="534928" y="3278305"/>
                    <a:pt x="488585" y="3234742"/>
                    <a:pt x="452670" y="3190616"/>
                  </a:cubicBezTo>
                  <a:cubicBezTo>
                    <a:pt x="398798" y="3124426"/>
                    <a:pt x="367521" y="3050734"/>
                    <a:pt x="347829" y="2997355"/>
                  </a:cubicBezTo>
                  <a:cubicBezTo>
                    <a:pt x="337983" y="2970666"/>
                    <a:pt x="334510" y="2945727"/>
                    <a:pt x="329297" y="2927163"/>
                  </a:cubicBezTo>
                  <a:cubicBezTo>
                    <a:pt x="326980" y="2923100"/>
                    <a:pt x="326980" y="2923100"/>
                    <a:pt x="326980" y="2923100"/>
                  </a:cubicBezTo>
                  <a:cubicBezTo>
                    <a:pt x="331036" y="2920787"/>
                    <a:pt x="331036" y="2920787"/>
                    <a:pt x="328719" y="2916724"/>
                  </a:cubicBezTo>
                  <a:cubicBezTo>
                    <a:pt x="326402" y="2912662"/>
                    <a:pt x="326402" y="2912662"/>
                    <a:pt x="328141" y="2906286"/>
                  </a:cubicBezTo>
                  <a:cubicBezTo>
                    <a:pt x="325824" y="2902223"/>
                    <a:pt x="325824" y="2902223"/>
                    <a:pt x="323507" y="2898161"/>
                  </a:cubicBezTo>
                  <a:cubicBezTo>
                    <a:pt x="320612" y="2883659"/>
                    <a:pt x="317139" y="2858720"/>
                    <a:pt x="317721" y="2831467"/>
                  </a:cubicBezTo>
                  <a:cubicBezTo>
                    <a:pt x="320621" y="2808278"/>
                    <a:pt x="321203" y="2781025"/>
                    <a:pt x="328158" y="2755522"/>
                  </a:cubicBezTo>
                  <a:cubicBezTo>
                    <a:pt x="332797" y="2725957"/>
                    <a:pt x="343808" y="2698141"/>
                    <a:pt x="361191" y="2672075"/>
                  </a:cubicBezTo>
                  <a:cubicBezTo>
                    <a:pt x="374519" y="2648322"/>
                    <a:pt x="366412" y="2615257"/>
                    <a:pt x="340343" y="2597820"/>
                  </a:cubicBezTo>
                  <a:cubicBezTo>
                    <a:pt x="316591" y="2584445"/>
                    <a:pt x="283567" y="2592511"/>
                    <a:pt x="266183" y="2618577"/>
                  </a:cubicBezTo>
                  <a:cubicBezTo>
                    <a:pt x="243005" y="2653331"/>
                    <a:pt x="228516" y="2693899"/>
                    <a:pt x="222139" y="2729840"/>
                  </a:cubicBezTo>
                  <a:cubicBezTo>
                    <a:pt x="216923" y="2748967"/>
                    <a:pt x="215762" y="2765781"/>
                    <a:pt x="210546" y="2784908"/>
                  </a:cubicBezTo>
                  <a:cubicBezTo>
                    <a:pt x="205912" y="2776783"/>
                    <a:pt x="203595" y="2772720"/>
                    <a:pt x="198961" y="2764595"/>
                  </a:cubicBezTo>
                  <a:cubicBezTo>
                    <a:pt x="178687" y="2738469"/>
                    <a:pt x="162468" y="2710030"/>
                    <a:pt x="152622" y="2683340"/>
                  </a:cubicBezTo>
                  <a:cubicBezTo>
                    <a:pt x="133508" y="2640400"/>
                    <a:pt x="118450" y="2595147"/>
                    <a:pt x="112082" y="2555707"/>
                  </a:cubicBezTo>
                  <a:cubicBezTo>
                    <a:pt x="105713" y="2516266"/>
                    <a:pt x="103401" y="2474512"/>
                    <a:pt x="101666" y="2443197"/>
                  </a:cubicBezTo>
                  <a:cubicBezTo>
                    <a:pt x="130052" y="2464697"/>
                    <a:pt x="156121" y="2482134"/>
                    <a:pt x="192619" y="2499009"/>
                  </a:cubicBezTo>
                  <a:cubicBezTo>
                    <a:pt x="250551" y="2525194"/>
                    <a:pt x="318334" y="2540378"/>
                    <a:pt x="400023" y="2542248"/>
                  </a:cubicBezTo>
                  <a:cubicBezTo>
                    <a:pt x="458538" y="2541181"/>
                    <a:pt x="525165" y="2535489"/>
                    <a:pt x="603380" y="2512419"/>
                  </a:cubicBezTo>
                  <a:cubicBezTo>
                    <a:pt x="675223" y="2487599"/>
                    <a:pt x="759233" y="2455840"/>
                    <a:pt x="848460" y="2404954"/>
                  </a:cubicBezTo>
                  <a:cubicBezTo>
                    <a:pt x="852516" y="2402641"/>
                    <a:pt x="856572" y="2400328"/>
                    <a:pt x="854255" y="2396266"/>
                  </a:cubicBezTo>
                  <a:cubicBezTo>
                    <a:pt x="872212" y="2418329"/>
                    <a:pt x="889592" y="2429954"/>
                    <a:pt x="902915" y="2443892"/>
                  </a:cubicBezTo>
                  <a:cubicBezTo>
                    <a:pt x="917977" y="2451454"/>
                    <a:pt x="928984" y="2461329"/>
                    <a:pt x="933040" y="2459016"/>
                  </a:cubicBezTo>
                  <a:cubicBezTo>
                    <a:pt x="950419" y="2470641"/>
                    <a:pt x="973015" y="2463138"/>
                    <a:pt x="978231" y="2444011"/>
                  </a:cubicBezTo>
                  <a:cubicBezTo>
                    <a:pt x="989820" y="2426634"/>
                    <a:pt x="982291" y="2404008"/>
                    <a:pt x="967229" y="2396445"/>
                  </a:cubicBezTo>
                  <a:cubicBezTo>
                    <a:pt x="967229" y="2396445"/>
                    <a:pt x="958539" y="2390633"/>
                    <a:pt x="949850" y="2384820"/>
                  </a:cubicBezTo>
                  <a:cubicBezTo>
                    <a:pt x="932470" y="2373196"/>
                    <a:pt x="912774" y="2357508"/>
                    <a:pt x="896555" y="2329069"/>
                  </a:cubicBezTo>
                  <a:cubicBezTo>
                    <a:pt x="889604" y="2316881"/>
                    <a:pt x="880337" y="2300630"/>
                    <a:pt x="877442" y="2286129"/>
                  </a:cubicBezTo>
                  <a:cubicBezTo>
                    <a:pt x="868174" y="2269878"/>
                    <a:pt x="869334" y="2253064"/>
                    <a:pt x="868178" y="2232187"/>
                  </a:cubicBezTo>
                  <a:cubicBezTo>
                    <a:pt x="867600" y="2221749"/>
                    <a:pt x="867022" y="2211311"/>
                    <a:pt x="870499" y="2198559"/>
                  </a:cubicBezTo>
                  <a:cubicBezTo>
                    <a:pt x="875716" y="2179432"/>
                    <a:pt x="860075" y="2161432"/>
                    <a:pt x="840957" y="2156182"/>
                  </a:cubicBezTo>
                  <a:cubicBezTo>
                    <a:pt x="821839" y="2150933"/>
                    <a:pt x="803877" y="2166561"/>
                    <a:pt x="798661" y="2185688"/>
                  </a:cubicBezTo>
                  <a:cubicBezTo>
                    <a:pt x="797500" y="2202502"/>
                    <a:pt x="794022" y="2215253"/>
                    <a:pt x="792862" y="2232068"/>
                  </a:cubicBezTo>
                  <a:cubicBezTo>
                    <a:pt x="796335" y="2257007"/>
                    <a:pt x="799808" y="2281947"/>
                    <a:pt x="807337" y="2304573"/>
                  </a:cubicBezTo>
                  <a:cubicBezTo>
                    <a:pt x="803282" y="2306886"/>
                    <a:pt x="796909" y="2305136"/>
                    <a:pt x="792853" y="2307449"/>
                  </a:cubicBezTo>
                  <a:cubicBezTo>
                    <a:pt x="707682" y="2356022"/>
                    <a:pt x="634101" y="2387218"/>
                    <a:pt x="570369" y="2407411"/>
                  </a:cubicBezTo>
                  <a:cubicBezTo>
                    <a:pt x="506638" y="2427605"/>
                    <a:pt x="446384" y="2435048"/>
                    <a:pt x="398297" y="2435551"/>
                  </a:cubicBezTo>
                  <a:cubicBezTo>
                    <a:pt x="337465" y="2432555"/>
                    <a:pt x="292856" y="2420307"/>
                    <a:pt x="252303" y="2405746"/>
                  </a:cubicBezTo>
                  <a:cubicBezTo>
                    <a:pt x="224495" y="2394684"/>
                    <a:pt x="198426" y="2377247"/>
                    <a:pt x="174674" y="2363872"/>
                  </a:cubicBezTo>
                  <a:cubicBezTo>
                    <a:pt x="143971" y="2338310"/>
                    <a:pt x="119641" y="2314497"/>
                    <a:pt x="104001" y="2296496"/>
                  </a:cubicBezTo>
                  <a:cubicBezTo>
                    <a:pt x="97050" y="2284308"/>
                    <a:pt x="92416" y="2276183"/>
                    <a:pt x="90099" y="2272120"/>
                  </a:cubicBezTo>
                  <a:cubicBezTo>
                    <a:pt x="87782" y="2268057"/>
                    <a:pt x="87782" y="2268057"/>
                    <a:pt x="87782" y="2268057"/>
                  </a:cubicBezTo>
                  <a:cubicBezTo>
                    <a:pt x="87782" y="2268057"/>
                    <a:pt x="85465" y="2263995"/>
                    <a:pt x="85465" y="2263995"/>
                  </a:cubicBezTo>
                  <a:cubicBezTo>
                    <a:pt x="83148" y="2259932"/>
                    <a:pt x="78514" y="2251806"/>
                    <a:pt x="72141" y="2250057"/>
                  </a:cubicBezTo>
                  <a:cubicBezTo>
                    <a:pt x="48972" y="2209430"/>
                    <a:pt x="30436" y="2176928"/>
                    <a:pt x="22329" y="2143863"/>
                  </a:cubicBezTo>
                  <a:cubicBezTo>
                    <a:pt x="4954" y="2094547"/>
                    <a:pt x="-1414" y="2055107"/>
                    <a:pt x="329" y="2011040"/>
                  </a:cubicBezTo>
                  <a:cubicBezTo>
                    <a:pt x="-1984" y="1969287"/>
                    <a:pt x="8449" y="1931032"/>
                    <a:pt x="14826" y="1895091"/>
                  </a:cubicBezTo>
                  <a:cubicBezTo>
                    <a:pt x="32792" y="1841773"/>
                    <a:pt x="57709" y="1800642"/>
                    <a:pt x="79149" y="1772263"/>
                  </a:cubicBezTo>
                  <a:cubicBezTo>
                    <a:pt x="86682" y="1757199"/>
                    <a:pt x="96532" y="1746197"/>
                    <a:pt x="102327" y="1737508"/>
                  </a:cubicBezTo>
                  <a:cubicBezTo>
                    <a:pt x="106382" y="1735195"/>
                    <a:pt x="108121" y="1728820"/>
                    <a:pt x="108121" y="1728820"/>
                  </a:cubicBezTo>
                  <a:cubicBezTo>
                    <a:pt x="108121" y="1728820"/>
                    <a:pt x="108121" y="1728820"/>
                    <a:pt x="112177" y="1726507"/>
                  </a:cubicBezTo>
                  <a:cubicBezTo>
                    <a:pt x="112177" y="1726507"/>
                    <a:pt x="112177" y="1726507"/>
                    <a:pt x="135933" y="1702190"/>
                  </a:cubicBezTo>
                  <a:cubicBezTo>
                    <a:pt x="135933" y="1702190"/>
                    <a:pt x="135933" y="1702190"/>
                    <a:pt x="121454" y="1667376"/>
                  </a:cubicBezTo>
                  <a:cubicBezTo>
                    <a:pt x="97706" y="1616310"/>
                    <a:pt x="90759" y="1566431"/>
                    <a:pt x="90185" y="1518302"/>
                  </a:cubicBezTo>
                  <a:cubicBezTo>
                    <a:pt x="91350" y="1463797"/>
                    <a:pt x="103522" y="1419167"/>
                    <a:pt x="119749" y="1372224"/>
                  </a:cubicBezTo>
                  <a:cubicBezTo>
                    <a:pt x="134816" y="1342095"/>
                    <a:pt x="149883" y="1311967"/>
                    <a:pt x="171322" y="1283587"/>
                  </a:cubicBezTo>
                  <a:cubicBezTo>
                    <a:pt x="188706" y="1257521"/>
                    <a:pt x="212462" y="1233205"/>
                    <a:pt x="228107" y="1213515"/>
                  </a:cubicBezTo>
                  <a:cubicBezTo>
                    <a:pt x="239692" y="1233828"/>
                    <a:pt x="253594" y="1258204"/>
                    <a:pt x="267495" y="1282581"/>
                  </a:cubicBezTo>
                  <a:cubicBezTo>
                    <a:pt x="287770" y="1308707"/>
                    <a:pt x="308044" y="1334833"/>
                    <a:pt x="334691" y="1362708"/>
                  </a:cubicBezTo>
                  <a:cubicBezTo>
                    <a:pt x="376401" y="1398146"/>
                    <a:pt x="430856" y="1437083"/>
                    <a:pt x="499217" y="1462706"/>
                  </a:cubicBezTo>
                  <a:cubicBezTo>
                    <a:pt x="567578" y="1488328"/>
                    <a:pt x="645789" y="1502949"/>
                    <a:pt x="744279" y="1506005"/>
                  </a:cubicBezTo>
                  <a:cubicBezTo>
                    <a:pt x="809167" y="1506688"/>
                    <a:pt x="883905" y="1496370"/>
                    <a:pt x="966755" y="1481425"/>
                  </a:cubicBezTo>
                  <a:cubicBezTo>
                    <a:pt x="966755" y="1481425"/>
                    <a:pt x="969072" y="1485488"/>
                    <a:pt x="969072" y="1485488"/>
                  </a:cubicBezTo>
                  <a:cubicBezTo>
                    <a:pt x="1000353" y="1521489"/>
                    <a:pt x="1043801" y="1550551"/>
                    <a:pt x="1095361" y="1574987"/>
                  </a:cubicBezTo>
                  <a:cubicBezTo>
                    <a:pt x="1146921" y="1599423"/>
                    <a:pt x="1210648" y="1616920"/>
                    <a:pt x="1284225" y="1623416"/>
                  </a:cubicBezTo>
                  <a:cubicBezTo>
                    <a:pt x="1313772" y="1628102"/>
                    <a:pt x="1339845" y="1607848"/>
                    <a:pt x="1344483" y="1578283"/>
                  </a:cubicBezTo>
                  <a:cubicBezTo>
                    <a:pt x="1349122" y="1548717"/>
                    <a:pt x="1328847" y="1522591"/>
                    <a:pt x="1299301" y="1517905"/>
                  </a:cubicBezTo>
                  <a:cubicBezTo>
                    <a:pt x="1223406" y="1507347"/>
                    <a:pt x="1163735" y="1487537"/>
                    <a:pt x="1118548" y="1464851"/>
                  </a:cubicBezTo>
                  <a:cubicBezTo>
                    <a:pt x="1086106" y="1445663"/>
                    <a:pt x="1060037" y="1428226"/>
                    <a:pt x="1039763" y="1402100"/>
                  </a:cubicBezTo>
                  <a:cubicBezTo>
                    <a:pt x="1026439" y="1388162"/>
                    <a:pt x="1014854" y="1367849"/>
                    <a:pt x="1005587" y="1351598"/>
                  </a:cubicBezTo>
                  <a:cubicBezTo>
                    <a:pt x="989368" y="1323159"/>
                    <a:pt x="979522" y="1296470"/>
                    <a:pt x="973732" y="1267468"/>
                  </a:cubicBezTo>
                  <a:cubicBezTo>
                    <a:pt x="967941" y="1238465"/>
                    <a:pt x="964468" y="1213526"/>
                    <a:pt x="967367" y="1190336"/>
                  </a:cubicBezTo>
                  <a:cubicBezTo>
                    <a:pt x="967950" y="1163084"/>
                    <a:pt x="968533" y="1135831"/>
                    <a:pt x="972010" y="1123080"/>
                  </a:cubicBezTo>
                  <a:cubicBezTo>
                    <a:pt x="971432" y="1112641"/>
                    <a:pt x="973171" y="1106266"/>
                    <a:pt x="977226" y="1103953"/>
                  </a:cubicBezTo>
                  <a:cubicBezTo>
                    <a:pt x="974910" y="1099890"/>
                    <a:pt x="974910" y="1099890"/>
                    <a:pt x="974910" y="1099890"/>
                  </a:cubicBezTo>
                  <a:cubicBezTo>
                    <a:pt x="978965" y="1097577"/>
                    <a:pt x="978965" y="1097577"/>
                    <a:pt x="978965" y="1097577"/>
                  </a:cubicBezTo>
                  <a:cubicBezTo>
                    <a:pt x="976648" y="1093514"/>
                    <a:pt x="976648" y="1093514"/>
                    <a:pt x="980704" y="1091201"/>
                  </a:cubicBezTo>
                  <a:cubicBezTo>
                    <a:pt x="1005617" y="1087762"/>
                    <a:pt x="1032268" y="1077946"/>
                    <a:pt x="1050808" y="1072757"/>
                  </a:cubicBezTo>
                  <a:cubicBezTo>
                    <a:pt x="1077460" y="1062942"/>
                    <a:pt x="1096000" y="1057753"/>
                    <a:pt x="1096000" y="1057753"/>
                  </a:cubicBezTo>
                  <a:cubicBezTo>
                    <a:pt x="1116279" y="1046188"/>
                    <a:pt x="1119178" y="1022998"/>
                    <a:pt x="1109910" y="1006747"/>
                  </a:cubicBezTo>
                  <a:cubicBezTo>
                    <a:pt x="1100642" y="990496"/>
                    <a:pt x="1079207" y="981184"/>
                    <a:pt x="1062984" y="990436"/>
                  </a:cubicBezTo>
                  <a:cubicBezTo>
                    <a:pt x="1062984" y="990436"/>
                    <a:pt x="1046761" y="999689"/>
                    <a:pt x="1028221" y="1004878"/>
                  </a:cubicBezTo>
                  <a:cubicBezTo>
                    <a:pt x="1005625" y="1012380"/>
                    <a:pt x="976657" y="1018132"/>
                    <a:pt x="945372" y="1019822"/>
                  </a:cubicBezTo>
                  <a:cubicBezTo>
                    <a:pt x="924515" y="1020949"/>
                    <a:pt x="905397" y="1015700"/>
                    <a:pt x="883961" y="1006388"/>
                  </a:cubicBezTo>
                  <a:cubicBezTo>
                    <a:pt x="864843" y="1001139"/>
                    <a:pt x="845147" y="985451"/>
                    <a:pt x="823134" y="965701"/>
                  </a:cubicBezTo>
                  <a:cubicBezTo>
                    <a:pt x="809810" y="951763"/>
                    <a:pt x="788953" y="952889"/>
                    <a:pt x="772730" y="962142"/>
                  </a:cubicBezTo>
                  <a:cubicBezTo>
                    <a:pt x="758824" y="975456"/>
                    <a:pt x="758242" y="1002709"/>
                    <a:pt x="771565" y="1016647"/>
                  </a:cubicBezTo>
                  <a:cubicBezTo>
                    <a:pt x="798212" y="1044522"/>
                    <a:pt x="826598" y="1066022"/>
                    <a:pt x="858462" y="1074771"/>
                  </a:cubicBezTo>
                  <a:cubicBezTo>
                    <a:pt x="860779" y="1078833"/>
                    <a:pt x="864835" y="1076521"/>
                    <a:pt x="867152" y="1080583"/>
                  </a:cubicBezTo>
                  <a:cubicBezTo>
                    <a:pt x="869469" y="1084646"/>
                    <a:pt x="863674" y="1093335"/>
                    <a:pt x="864252" y="1103773"/>
                  </a:cubicBezTo>
                  <a:cubicBezTo>
                    <a:pt x="861353" y="1126963"/>
                    <a:pt x="856714" y="1156528"/>
                    <a:pt x="858449" y="1187843"/>
                  </a:cubicBezTo>
                  <a:cubicBezTo>
                    <a:pt x="858445" y="1225534"/>
                    <a:pt x="860757" y="1267288"/>
                    <a:pt x="869443" y="1310791"/>
                  </a:cubicBezTo>
                  <a:cubicBezTo>
                    <a:pt x="876972" y="1333418"/>
                    <a:pt x="886818" y="1360107"/>
                    <a:pt x="900719" y="1384483"/>
                  </a:cubicBezTo>
                  <a:cubicBezTo>
                    <a:pt x="840465" y="1391926"/>
                    <a:pt x="788323" y="1394742"/>
                    <a:pt x="746609" y="1396995"/>
                  </a:cubicBezTo>
                  <a:cubicBezTo>
                    <a:pt x="692150" y="1395749"/>
                    <a:pt x="649858" y="1387564"/>
                    <a:pt x="609883" y="1383441"/>
                  </a:cubicBezTo>
                  <a:cubicBezTo>
                    <a:pt x="542100" y="1368257"/>
                    <a:pt x="490540" y="1343821"/>
                    <a:pt x="447092" y="1314759"/>
                  </a:cubicBezTo>
                  <a:cubicBezTo>
                    <a:pt x="418706" y="1293259"/>
                    <a:pt x="394376" y="1269446"/>
                    <a:pt x="376418" y="1247382"/>
                  </a:cubicBezTo>
                  <a:cubicBezTo>
                    <a:pt x="345137" y="1211381"/>
                    <a:pt x="330657" y="1176567"/>
                    <a:pt x="320811" y="1149877"/>
                  </a:cubicBezTo>
                  <a:cubicBezTo>
                    <a:pt x="313860" y="1137689"/>
                    <a:pt x="313282" y="1127251"/>
                    <a:pt x="308648" y="1119126"/>
                  </a:cubicBezTo>
                  <a:cubicBezTo>
                    <a:pt x="308648" y="1119126"/>
                    <a:pt x="308648" y="1119126"/>
                    <a:pt x="308070" y="1108687"/>
                  </a:cubicBezTo>
                  <a:cubicBezTo>
                    <a:pt x="299385" y="1065184"/>
                    <a:pt x="295333" y="1029806"/>
                    <a:pt x="297655" y="996178"/>
                  </a:cubicBezTo>
                  <a:cubicBezTo>
                    <a:pt x="295342" y="954424"/>
                    <a:pt x="301719" y="918483"/>
                    <a:pt x="312730" y="890667"/>
                  </a:cubicBezTo>
                  <a:cubicBezTo>
                    <a:pt x="317368" y="861102"/>
                    <a:pt x="330696" y="837349"/>
                    <a:pt x="344024" y="813595"/>
                  </a:cubicBezTo>
                  <a:cubicBezTo>
                    <a:pt x="364885" y="774778"/>
                    <a:pt x="394436" y="741773"/>
                    <a:pt x="424565" y="719206"/>
                  </a:cubicBezTo>
                  <a:cubicBezTo>
                    <a:pt x="450639" y="698953"/>
                    <a:pt x="472656" y="681012"/>
                    <a:pt x="496991" y="667134"/>
                  </a:cubicBezTo>
                  <a:cubicBezTo>
                    <a:pt x="533493" y="646317"/>
                    <a:pt x="568256" y="631876"/>
                    <a:pt x="594907" y="622061"/>
                  </a:cubicBezTo>
                  <a:cubicBezTo>
                    <a:pt x="609391" y="619184"/>
                    <a:pt x="617503" y="614558"/>
                    <a:pt x="623876" y="616308"/>
                  </a:cubicBezTo>
                  <a:cubicBezTo>
                    <a:pt x="627931" y="613995"/>
                    <a:pt x="631987" y="611682"/>
                    <a:pt x="631987" y="611682"/>
                  </a:cubicBezTo>
                  <a:cubicBezTo>
                    <a:pt x="631987" y="611682"/>
                    <a:pt x="631987" y="611682"/>
                    <a:pt x="660955" y="605930"/>
                  </a:cubicBezTo>
                  <a:cubicBezTo>
                    <a:pt x="660955" y="605930"/>
                    <a:pt x="660955" y="605930"/>
                    <a:pt x="671966" y="578114"/>
                  </a:cubicBezTo>
                  <a:cubicBezTo>
                    <a:pt x="684716" y="543922"/>
                    <a:pt x="703839" y="511481"/>
                    <a:pt x="721222" y="485414"/>
                  </a:cubicBezTo>
                  <a:cubicBezTo>
                    <a:pt x="758307" y="437345"/>
                    <a:pt x="795969" y="399714"/>
                    <a:pt x="840582" y="374271"/>
                  </a:cubicBezTo>
                  <a:cubicBezTo>
                    <a:pt x="874767" y="349392"/>
                    <a:pt x="907213" y="330888"/>
                    <a:pt x="944293" y="320509"/>
                  </a:cubicBezTo>
                  <a:cubicBezTo>
                    <a:pt x="991224" y="299129"/>
                    <a:pt x="1045105" y="289937"/>
                    <a:pt x="1092613" y="278995"/>
                  </a:cubicBezTo>
                  <a:cubicBezTo>
                    <a:pt x="1123898" y="277305"/>
                    <a:pt x="1148811" y="273866"/>
                    <a:pt x="1171985" y="276802"/>
                  </a:cubicBezTo>
                  <a:cubicBezTo>
                    <a:pt x="1169086" y="299992"/>
                    <a:pt x="1168503" y="327244"/>
                    <a:pt x="1163865" y="356810"/>
                  </a:cubicBezTo>
                  <a:cubicBezTo>
                    <a:pt x="1165599" y="388125"/>
                    <a:pt x="1169651" y="423503"/>
                    <a:pt x="1173702" y="458881"/>
                  </a:cubicBezTo>
                  <a:cubicBezTo>
                    <a:pt x="1184126" y="496008"/>
                    <a:pt x="1196867" y="537199"/>
                    <a:pt x="1213664" y="576076"/>
                  </a:cubicBezTo>
                  <a:cubicBezTo>
                    <a:pt x="1229883" y="604515"/>
                    <a:pt x="1248419" y="637017"/>
                    <a:pt x="1268693" y="663143"/>
                  </a:cubicBezTo>
                  <a:cubicBezTo>
                    <a:pt x="1304608" y="707269"/>
                    <a:pt x="1350373" y="740394"/>
                    <a:pt x="1406567" y="772955"/>
                  </a:cubicBezTo>
                  <a:cubicBezTo>
                    <a:pt x="1460444" y="801454"/>
                    <a:pt x="1526488" y="823014"/>
                    <a:pt x="1606438" y="831259"/>
                  </a:cubicBezTo>
                  <a:cubicBezTo>
                    <a:pt x="1612811" y="833009"/>
                    <a:pt x="1616867" y="830696"/>
                    <a:pt x="1623239" y="832446"/>
                  </a:cubicBezTo>
                  <a:cubicBezTo>
                    <a:pt x="1630768" y="855072"/>
                    <a:pt x="1640614" y="881762"/>
                    <a:pt x="1649882" y="898012"/>
                  </a:cubicBezTo>
                  <a:cubicBezTo>
                    <a:pt x="1659150" y="914263"/>
                    <a:pt x="1670157" y="924138"/>
                    <a:pt x="1670157" y="924138"/>
                  </a:cubicBezTo>
                  <a:cubicBezTo>
                    <a:pt x="1681741" y="944452"/>
                    <a:pt x="1704915" y="947388"/>
                    <a:pt x="1718821" y="934073"/>
                  </a:cubicBezTo>
                  <a:cubicBezTo>
                    <a:pt x="1736783" y="918445"/>
                    <a:pt x="1742000" y="899318"/>
                    <a:pt x="1726359" y="881318"/>
                  </a:cubicBezTo>
                  <a:cubicBezTo>
                    <a:pt x="1726359" y="881318"/>
                    <a:pt x="1713035" y="867380"/>
                    <a:pt x="1705506" y="844753"/>
                  </a:cubicBezTo>
                  <a:cubicBezTo>
                    <a:pt x="1698555" y="832565"/>
                    <a:pt x="1695660" y="818064"/>
                    <a:pt x="1688710" y="805876"/>
                  </a:cubicBezTo>
                  <a:cubicBezTo>
                    <a:pt x="1685814" y="791375"/>
                    <a:pt x="1684658" y="770498"/>
                    <a:pt x="1681763" y="755997"/>
                  </a:cubicBezTo>
                  <a:cubicBezTo>
                    <a:pt x="1685240" y="743246"/>
                    <a:pt x="1686401" y="726432"/>
                    <a:pt x="1689879" y="713680"/>
                  </a:cubicBezTo>
                  <a:cubicBezTo>
                    <a:pt x="1697412" y="698616"/>
                    <a:pt x="1704945" y="683551"/>
                    <a:pt x="1712479" y="668487"/>
                  </a:cubicBezTo>
                  <a:cubicBezTo>
                    <a:pt x="1724068" y="651110"/>
                    <a:pt x="1722912" y="630233"/>
                    <a:pt x="1705532" y="618608"/>
                  </a:cubicBezTo>
                  <a:cubicBezTo>
                    <a:pt x="1692209" y="604670"/>
                    <a:pt x="1667296" y="608110"/>
                    <a:pt x="1655707" y="625487"/>
                  </a:cubicBezTo>
                  <a:cubicBezTo>
                    <a:pt x="1640062" y="645178"/>
                    <a:pt x="1626734" y="668931"/>
                    <a:pt x="1623835" y="692120"/>
                  </a:cubicBezTo>
                  <a:cubicBezTo>
                    <a:pt x="1618040" y="700809"/>
                    <a:pt x="1614562" y="713561"/>
                    <a:pt x="1615141" y="723999"/>
                  </a:cubicBezTo>
                  <a:cubicBezTo>
                    <a:pt x="1556048" y="714627"/>
                    <a:pt x="1509122" y="698317"/>
                    <a:pt x="1472624" y="681443"/>
                  </a:cubicBezTo>
                  <a:cubicBezTo>
                    <a:pt x="1438444" y="668631"/>
                    <a:pt x="1416430" y="648881"/>
                    <a:pt x="1390361" y="631444"/>
                  </a:cubicBezTo>
                  <a:cubicBezTo>
                    <a:pt x="1359658" y="605881"/>
                    <a:pt x="1334750" y="571630"/>
                    <a:pt x="1316214" y="539128"/>
                  </a:cubicBezTo>
                  <a:cubicBezTo>
                    <a:pt x="1297679" y="506626"/>
                    <a:pt x="1289572" y="473561"/>
                    <a:pt x="1281464" y="440497"/>
                  </a:cubicBezTo>
                  <a:cubicBezTo>
                    <a:pt x="1275674" y="411494"/>
                    <a:pt x="1276257" y="384242"/>
                    <a:pt x="1272783" y="359302"/>
                  </a:cubicBezTo>
                  <a:cubicBezTo>
                    <a:pt x="1272788" y="321611"/>
                    <a:pt x="1277426" y="292046"/>
                    <a:pt x="1282642" y="272919"/>
                  </a:cubicBezTo>
                  <a:cubicBezTo>
                    <a:pt x="1286120" y="260167"/>
                    <a:pt x="1287859" y="253792"/>
                    <a:pt x="1289598" y="247416"/>
                  </a:cubicBezTo>
                  <a:cubicBezTo>
                    <a:pt x="1291336" y="241040"/>
                    <a:pt x="1291336" y="241040"/>
                    <a:pt x="1291336" y="241040"/>
                  </a:cubicBezTo>
                  <a:cubicBezTo>
                    <a:pt x="1305825" y="200473"/>
                    <a:pt x="1324947" y="168031"/>
                    <a:pt x="1346387" y="139652"/>
                  </a:cubicBezTo>
                  <a:cubicBezTo>
                    <a:pt x="1379415" y="93896"/>
                    <a:pt x="1419395" y="60327"/>
                    <a:pt x="1470381" y="36634"/>
                  </a:cubicBezTo>
                  <a:cubicBezTo>
                    <a:pt x="1521367" y="12941"/>
                    <a:pt x="1576987" y="-2627"/>
                    <a:pt x="1637819" y="369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0000">
                  <a:schemeClr val="accent1">
                    <a:lumMod val="100000"/>
                  </a:schemeClr>
                </a:gs>
                <a:gs pos="501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" name="ValueShape2">
              <a:extLst>
                <a:ext uri="{FF2B5EF4-FFF2-40B4-BE49-F238E27FC236}">
                  <a16:creationId xmlns:a16="http://schemas.microsoft.com/office/drawing/2014/main" id="{2D6D0661-58A5-499D-9388-AB27B47247CF}"/>
                </a:ext>
              </a:extLst>
            </p:cNvPr>
            <p:cNvSpPr/>
            <p:nvPr/>
          </p:nvSpPr>
          <p:spPr>
            <a:xfrm flipH="1">
              <a:off x="6145585" y="1107828"/>
              <a:ext cx="1977281" cy="3678359"/>
            </a:xfrm>
            <a:custGeom>
              <a:avLst/>
              <a:gdLst>
                <a:gd name="connsiteX0" fmla="*/ 1637819 w 1977281"/>
                <a:gd name="connsiteY0" fmla="*/ 369 h 3678359"/>
                <a:gd name="connsiteX1" fmla="*/ 1768750 w 1977281"/>
                <a:gd name="connsiteY1" fmla="*/ 22612 h 3678359"/>
                <a:gd name="connsiteX2" fmla="*/ 1835373 w 1977281"/>
                <a:gd name="connsiteY2" fmla="*/ 54611 h 3678359"/>
                <a:gd name="connsiteX3" fmla="*/ 1917053 w 1977281"/>
                <a:gd name="connsiteY3" fmla="*/ 131862 h 3678359"/>
                <a:gd name="connsiteX4" fmla="*/ 1950069 w 1977281"/>
                <a:gd name="connsiteY4" fmla="*/ 199178 h 3678359"/>
                <a:gd name="connsiteX5" fmla="*/ 1972073 w 1977281"/>
                <a:gd name="connsiteY5" fmla="*/ 294310 h 3678359"/>
                <a:gd name="connsiteX6" fmla="*/ 1977281 w 1977281"/>
                <a:gd name="connsiteY6" fmla="*/ 350565 h 3678359"/>
                <a:gd name="connsiteX7" fmla="*/ 1976042 w 1977281"/>
                <a:gd name="connsiteY7" fmla="*/ 1045816 h 3678359"/>
                <a:gd name="connsiteX8" fmla="*/ 1968509 w 1977281"/>
                <a:gd name="connsiteY8" fmla="*/ 1060880 h 3678359"/>
                <a:gd name="connsiteX9" fmla="*/ 1944161 w 1977281"/>
                <a:gd name="connsiteY9" fmla="*/ 1187831 h 3678359"/>
                <a:gd name="connsiteX10" fmla="*/ 1863029 w 1977281"/>
                <a:gd name="connsiteY10" fmla="*/ 1384854 h 3678359"/>
                <a:gd name="connsiteX11" fmla="*/ 1748877 w 1977281"/>
                <a:gd name="connsiteY11" fmla="*/ 1552252 h 3678359"/>
                <a:gd name="connsiteX12" fmla="*/ 1468443 w 1977281"/>
                <a:gd name="connsiteY12" fmla="*/ 1776792 h 3678359"/>
                <a:gd name="connsiteX13" fmla="*/ 1015372 w 1977281"/>
                <a:gd name="connsiteY13" fmla="*/ 1905960 h 3678359"/>
                <a:gd name="connsiteX14" fmla="*/ 873429 w 1977281"/>
                <a:gd name="connsiteY14" fmla="*/ 1911533 h 3678359"/>
                <a:gd name="connsiteX15" fmla="*/ 615039 w 1977281"/>
                <a:gd name="connsiteY15" fmla="*/ 1891987 h 3678359"/>
                <a:gd name="connsiteX16" fmla="*/ 475995 w 1977281"/>
                <a:gd name="connsiteY16" fmla="*/ 1874370 h 3678359"/>
                <a:gd name="connsiteX17" fmla="*/ 354914 w 1977281"/>
                <a:gd name="connsiteY17" fmla="*/ 1841125 h 3678359"/>
                <a:gd name="connsiteX18" fmla="*/ 281332 w 1977281"/>
                <a:gd name="connsiteY18" fmla="*/ 1872321 h 3678359"/>
                <a:gd name="connsiteX19" fmla="*/ 316665 w 1977281"/>
                <a:gd name="connsiteY19" fmla="*/ 1943700 h 3678359"/>
                <a:gd name="connsiteX20" fmla="*/ 454547 w 1977281"/>
                <a:gd name="connsiteY20" fmla="*/ 1978131 h 3678359"/>
                <a:gd name="connsiteX21" fmla="*/ 675858 w 1977281"/>
                <a:gd name="connsiteY21" fmla="*/ 2008055 h 3678359"/>
                <a:gd name="connsiteX22" fmla="*/ 875155 w 1977281"/>
                <a:gd name="connsiteY22" fmla="*/ 2018230 h 3678359"/>
                <a:gd name="connsiteX23" fmla="*/ 1023470 w 1977281"/>
                <a:gd name="connsiteY23" fmla="*/ 2014407 h 3678359"/>
                <a:gd name="connsiteX24" fmla="*/ 1342123 w 1977281"/>
                <a:gd name="connsiteY24" fmla="*/ 1951129 h 3678359"/>
                <a:gd name="connsiteX25" fmla="*/ 1737270 w 1977281"/>
                <a:gd name="connsiteY25" fmla="*/ 1720393 h 3678359"/>
                <a:gd name="connsiteX26" fmla="*/ 1919792 w 1977281"/>
                <a:gd name="connsiteY26" fmla="*/ 1503236 h 3678359"/>
                <a:gd name="connsiteX27" fmla="*/ 1970787 w 1977281"/>
                <a:gd name="connsiteY27" fmla="*/ 1404161 h 3678359"/>
                <a:gd name="connsiteX28" fmla="*/ 1968866 w 1977281"/>
                <a:gd name="connsiteY28" fmla="*/ 2993555 h 3678359"/>
                <a:gd name="connsiteX29" fmla="*/ 1959577 w 1977281"/>
                <a:gd name="connsiteY29" fmla="*/ 3165759 h 3678359"/>
                <a:gd name="connsiteX30" fmla="*/ 1952035 w 1977281"/>
                <a:gd name="connsiteY30" fmla="*/ 3256205 h 3678359"/>
                <a:gd name="connsiteX31" fmla="*/ 1938124 w 1977281"/>
                <a:gd name="connsiteY31" fmla="*/ 3307210 h 3678359"/>
                <a:gd name="connsiteX32" fmla="*/ 1916681 w 1977281"/>
                <a:gd name="connsiteY32" fmla="*/ 3373280 h 3678359"/>
                <a:gd name="connsiteX33" fmla="*/ 1876697 w 1977281"/>
                <a:gd name="connsiteY33" fmla="*/ 3444540 h 3678359"/>
                <a:gd name="connsiteX34" fmla="*/ 1808323 w 1977281"/>
                <a:gd name="connsiteY34" fmla="*/ 3531990 h 3678359"/>
                <a:gd name="connsiteX35" fmla="*/ 1693601 w 1977281"/>
                <a:gd name="connsiteY35" fmla="*/ 3613568 h 3678359"/>
                <a:gd name="connsiteX36" fmla="*/ 1657099 w 1977281"/>
                <a:gd name="connsiteY36" fmla="*/ 3634385 h 3678359"/>
                <a:gd name="connsiteX37" fmla="*/ 1642615 w 1977281"/>
                <a:gd name="connsiteY37" fmla="*/ 3637261 h 3678359"/>
                <a:gd name="connsiteX38" fmla="*/ 1391749 w 1977281"/>
                <a:gd name="connsiteY38" fmla="*/ 3678032 h 3678359"/>
                <a:gd name="connsiteX39" fmla="*/ 1169861 w 1977281"/>
                <a:gd name="connsiteY39" fmla="*/ 3637669 h 3678359"/>
                <a:gd name="connsiteX40" fmla="*/ 1053418 w 1977281"/>
                <a:gd name="connsiteY40" fmla="*/ 3574859 h 3678359"/>
                <a:gd name="connsiteX41" fmla="*/ 943351 w 1977281"/>
                <a:gd name="connsiteY41" fmla="*/ 3476107 h 3678359"/>
                <a:gd name="connsiteX42" fmla="*/ 916126 w 1977281"/>
                <a:gd name="connsiteY42" fmla="*/ 3437793 h 3678359"/>
                <a:gd name="connsiteX43" fmla="*/ 907436 w 1977281"/>
                <a:gd name="connsiteY43" fmla="*/ 3431981 h 3678359"/>
                <a:gd name="connsiteX44" fmla="*/ 893535 w 1977281"/>
                <a:gd name="connsiteY44" fmla="*/ 3407605 h 3678359"/>
                <a:gd name="connsiteX45" fmla="*/ 891218 w 1977281"/>
                <a:gd name="connsiteY45" fmla="*/ 3403542 h 3678359"/>
                <a:gd name="connsiteX46" fmla="*/ 881950 w 1977281"/>
                <a:gd name="connsiteY46" fmla="*/ 3387291 h 3678359"/>
                <a:gd name="connsiteX47" fmla="*/ 840827 w 1977281"/>
                <a:gd name="connsiteY47" fmla="*/ 3286910 h 3678359"/>
                <a:gd name="connsiteX48" fmla="*/ 811880 w 1977281"/>
                <a:gd name="connsiteY48" fmla="*/ 3104208 h 3678359"/>
                <a:gd name="connsiteX49" fmla="*/ 850721 w 1977281"/>
                <a:gd name="connsiteY49" fmla="*/ 2898999 h 3678359"/>
                <a:gd name="connsiteX50" fmla="*/ 983996 w 1977281"/>
                <a:gd name="connsiteY50" fmla="*/ 2699159 h 3678359"/>
                <a:gd name="connsiteX51" fmla="*/ 1100456 w 1977281"/>
                <a:gd name="connsiteY51" fmla="*/ 2611206 h 3678359"/>
                <a:gd name="connsiteX52" fmla="*/ 1229080 w 1977281"/>
                <a:gd name="connsiteY52" fmla="*/ 2554004 h 3678359"/>
                <a:gd name="connsiteX53" fmla="*/ 1394779 w 1977281"/>
                <a:gd name="connsiteY53" fmla="*/ 2524115 h 3678359"/>
                <a:gd name="connsiteX54" fmla="*/ 1517021 w 1977281"/>
                <a:gd name="connsiteY54" fmla="*/ 2540545 h 3678359"/>
                <a:gd name="connsiteX55" fmla="*/ 1647370 w 1977281"/>
                <a:gd name="connsiteY55" fmla="*/ 2590041 h 3678359"/>
                <a:gd name="connsiteX56" fmla="*/ 1721530 w 1977281"/>
                <a:gd name="connsiteY56" fmla="*/ 2569283 h 3678359"/>
                <a:gd name="connsiteX57" fmla="*/ 1696626 w 1977281"/>
                <a:gd name="connsiteY57" fmla="*/ 2497341 h 3678359"/>
                <a:gd name="connsiteX58" fmla="*/ 1542525 w 1977281"/>
                <a:gd name="connsiteY58" fmla="*/ 2434471 h 3678359"/>
                <a:gd name="connsiteX59" fmla="*/ 1393053 w 1977281"/>
                <a:gd name="connsiteY59" fmla="*/ 2417418 h 3678359"/>
                <a:gd name="connsiteX60" fmla="*/ 1196068 w 1977281"/>
                <a:gd name="connsiteY60" fmla="*/ 2448997 h 3678359"/>
                <a:gd name="connsiteX61" fmla="*/ 982274 w 1977281"/>
                <a:gd name="connsiteY61" fmla="*/ 2554771 h 3678359"/>
                <a:gd name="connsiteX62" fmla="*/ 902315 w 1977281"/>
                <a:gd name="connsiteY62" fmla="*/ 2621908 h 3678359"/>
                <a:gd name="connsiteX63" fmla="*/ 748179 w 1977281"/>
                <a:gd name="connsiteY63" fmla="*/ 2860565 h 3678359"/>
                <a:gd name="connsiteX64" fmla="*/ 702962 w 1977281"/>
                <a:gd name="connsiteY64" fmla="*/ 3101715 h 3678359"/>
                <a:gd name="connsiteX65" fmla="*/ 735960 w 1977281"/>
                <a:gd name="connsiteY65" fmla="*/ 3319795 h 3678359"/>
                <a:gd name="connsiteX66" fmla="*/ 756230 w 1977281"/>
                <a:gd name="connsiteY66" fmla="*/ 3383612 h 3678359"/>
                <a:gd name="connsiteX67" fmla="*/ 702932 w 1977281"/>
                <a:gd name="connsiteY67" fmla="*/ 3365552 h 3678359"/>
                <a:gd name="connsiteX68" fmla="*/ 591122 w 1977281"/>
                <a:gd name="connsiteY68" fmla="*/ 3310867 h 3678359"/>
                <a:gd name="connsiteX69" fmla="*/ 452670 w 1977281"/>
                <a:gd name="connsiteY69" fmla="*/ 3190616 h 3678359"/>
                <a:gd name="connsiteX70" fmla="*/ 347829 w 1977281"/>
                <a:gd name="connsiteY70" fmla="*/ 2997355 h 3678359"/>
                <a:gd name="connsiteX71" fmla="*/ 329297 w 1977281"/>
                <a:gd name="connsiteY71" fmla="*/ 2927163 h 3678359"/>
                <a:gd name="connsiteX72" fmla="*/ 326980 w 1977281"/>
                <a:gd name="connsiteY72" fmla="*/ 2923100 h 3678359"/>
                <a:gd name="connsiteX73" fmla="*/ 328719 w 1977281"/>
                <a:gd name="connsiteY73" fmla="*/ 2916724 h 3678359"/>
                <a:gd name="connsiteX74" fmla="*/ 328141 w 1977281"/>
                <a:gd name="connsiteY74" fmla="*/ 2906286 h 3678359"/>
                <a:gd name="connsiteX75" fmla="*/ 323507 w 1977281"/>
                <a:gd name="connsiteY75" fmla="*/ 2898161 h 3678359"/>
                <a:gd name="connsiteX76" fmla="*/ 317721 w 1977281"/>
                <a:gd name="connsiteY76" fmla="*/ 2831467 h 3678359"/>
                <a:gd name="connsiteX77" fmla="*/ 328158 w 1977281"/>
                <a:gd name="connsiteY77" fmla="*/ 2755522 h 3678359"/>
                <a:gd name="connsiteX78" fmla="*/ 361191 w 1977281"/>
                <a:gd name="connsiteY78" fmla="*/ 2672075 h 3678359"/>
                <a:gd name="connsiteX79" fmla="*/ 340343 w 1977281"/>
                <a:gd name="connsiteY79" fmla="*/ 2597820 h 3678359"/>
                <a:gd name="connsiteX80" fmla="*/ 266183 w 1977281"/>
                <a:gd name="connsiteY80" fmla="*/ 2618577 h 3678359"/>
                <a:gd name="connsiteX81" fmla="*/ 222139 w 1977281"/>
                <a:gd name="connsiteY81" fmla="*/ 2729840 h 3678359"/>
                <a:gd name="connsiteX82" fmla="*/ 210546 w 1977281"/>
                <a:gd name="connsiteY82" fmla="*/ 2784908 h 3678359"/>
                <a:gd name="connsiteX83" fmla="*/ 198961 w 1977281"/>
                <a:gd name="connsiteY83" fmla="*/ 2764595 h 3678359"/>
                <a:gd name="connsiteX84" fmla="*/ 152622 w 1977281"/>
                <a:gd name="connsiteY84" fmla="*/ 2683340 h 3678359"/>
                <a:gd name="connsiteX85" fmla="*/ 112082 w 1977281"/>
                <a:gd name="connsiteY85" fmla="*/ 2555707 h 3678359"/>
                <a:gd name="connsiteX86" fmla="*/ 101666 w 1977281"/>
                <a:gd name="connsiteY86" fmla="*/ 2443197 h 3678359"/>
                <a:gd name="connsiteX87" fmla="*/ 192619 w 1977281"/>
                <a:gd name="connsiteY87" fmla="*/ 2499009 h 3678359"/>
                <a:gd name="connsiteX88" fmla="*/ 400023 w 1977281"/>
                <a:gd name="connsiteY88" fmla="*/ 2542248 h 3678359"/>
                <a:gd name="connsiteX89" fmla="*/ 603380 w 1977281"/>
                <a:gd name="connsiteY89" fmla="*/ 2512419 h 3678359"/>
                <a:gd name="connsiteX90" fmla="*/ 848460 w 1977281"/>
                <a:gd name="connsiteY90" fmla="*/ 2404954 h 3678359"/>
                <a:gd name="connsiteX91" fmla="*/ 854255 w 1977281"/>
                <a:gd name="connsiteY91" fmla="*/ 2396266 h 3678359"/>
                <a:gd name="connsiteX92" fmla="*/ 902915 w 1977281"/>
                <a:gd name="connsiteY92" fmla="*/ 2443892 h 3678359"/>
                <a:gd name="connsiteX93" fmla="*/ 933040 w 1977281"/>
                <a:gd name="connsiteY93" fmla="*/ 2459016 h 3678359"/>
                <a:gd name="connsiteX94" fmla="*/ 978231 w 1977281"/>
                <a:gd name="connsiteY94" fmla="*/ 2444011 h 3678359"/>
                <a:gd name="connsiteX95" fmla="*/ 967229 w 1977281"/>
                <a:gd name="connsiteY95" fmla="*/ 2396445 h 3678359"/>
                <a:gd name="connsiteX96" fmla="*/ 949850 w 1977281"/>
                <a:gd name="connsiteY96" fmla="*/ 2384820 h 3678359"/>
                <a:gd name="connsiteX97" fmla="*/ 896555 w 1977281"/>
                <a:gd name="connsiteY97" fmla="*/ 2329069 h 3678359"/>
                <a:gd name="connsiteX98" fmla="*/ 877442 w 1977281"/>
                <a:gd name="connsiteY98" fmla="*/ 2286129 h 3678359"/>
                <a:gd name="connsiteX99" fmla="*/ 868178 w 1977281"/>
                <a:gd name="connsiteY99" fmla="*/ 2232187 h 3678359"/>
                <a:gd name="connsiteX100" fmla="*/ 870499 w 1977281"/>
                <a:gd name="connsiteY100" fmla="*/ 2198559 h 3678359"/>
                <a:gd name="connsiteX101" fmla="*/ 840957 w 1977281"/>
                <a:gd name="connsiteY101" fmla="*/ 2156182 h 3678359"/>
                <a:gd name="connsiteX102" fmla="*/ 798661 w 1977281"/>
                <a:gd name="connsiteY102" fmla="*/ 2185688 h 3678359"/>
                <a:gd name="connsiteX103" fmla="*/ 792862 w 1977281"/>
                <a:gd name="connsiteY103" fmla="*/ 2232068 h 3678359"/>
                <a:gd name="connsiteX104" fmla="*/ 807337 w 1977281"/>
                <a:gd name="connsiteY104" fmla="*/ 2304573 h 3678359"/>
                <a:gd name="connsiteX105" fmla="*/ 792853 w 1977281"/>
                <a:gd name="connsiteY105" fmla="*/ 2307449 h 3678359"/>
                <a:gd name="connsiteX106" fmla="*/ 570369 w 1977281"/>
                <a:gd name="connsiteY106" fmla="*/ 2407411 h 3678359"/>
                <a:gd name="connsiteX107" fmla="*/ 398297 w 1977281"/>
                <a:gd name="connsiteY107" fmla="*/ 2435551 h 3678359"/>
                <a:gd name="connsiteX108" fmla="*/ 252303 w 1977281"/>
                <a:gd name="connsiteY108" fmla="*/ 2405746 h 3678359"/>
                <a:gd name="connsiteX109" fmla="*/ 174674 w 1977281"/>
                <a:gd name="connsiteY109" fmla="*/ 2363872 h 3678359"/>
                <a:gd name="connsiteX110" fmla="*/ 104001 w 1977281"/>
                <a:gd name="connsiteY110" fmla="*/ 2296496 h 3678359"/>
                <a:gd name="connsiteX111" fmla="*/ 90099 w 1977281"/>
                <a:gd name="connsiteY111" fmla="*/ 2272120 h 3678359"/>
                <a:gd name="connsiteX112" fmla="*/ 87782 w 1977281"/>
                <a:gd name="connsiteY112" fmla="*/ 2268057 h 3678359"/>
                <a:gd name="connsiteX113" fmla="*/ 85465 w 1977281"/>
                <a:gd name="connsiteY113" fmla="*/ 2263995 h 3678359"/>
                <a:gd name="connsiteX114" fmla="*/ 72141 w 1977281"/>
                <a:gd name="connsiteY114" fmla="*/ 2250057 h 3678359"/>
                <a:gd name="connsiteX115" fmla="*/ 22329 w 1977281"/>
                <a:gd name="connsiteY115" fmla="*/ 2143863 h 3678359"/>
                <a:gd name="connsiteX116" fmla="*/ 329 w 1977281"/>
                <a:gd name="connsiteY116" fmla="*/ 2011040 h 3678359"/>
                <a:gd name="connsiteX117" fmla="*/ 14826 w 1977281"/>
                <a:gd name="connsiteY117" fmla="*/ 1895091 h 3678359"/>
                <a:gd name="connsiteX118" fmla="*/ 79149 w 1977281"/>
                <a:gd name="connsiteY118" fmla="*/ 1772263 h 3678359"/>
                <a:gd name="connsiteX119" fmla="*/ 102327 w 1977281"/>
                <a:gd name="connsiteY119" fmla="*/ 1737508 h 3678359"/>
                <a:gd name="connsiteX120" fmla="*/ 108121 w 1977281"/>
                <a:gd name="connsiteY120" fmla="*/ 1728820 h 3678359"/>
                <a:gd name="connsiteX121" fmla="*/ 112177 w 1977281"/>
                <a:gd name="connsiteY121" fmla="*/ 1726507 h 3678359"/>
                <a:gd name="connsiteX122" fmla="*/ 135933 w 1977281"/>
                <a:gd name="connsiteY122" fmla="*/ 1702190 h 3678359"/>
                <a:gd name="connsiteX123" fmla="*/ 121454 w 1977281"/>
                <a:gd name="connsiteY123" fmla="*/ 1667376 h 3678359"/>
                <a:gd name="connsiteX124" fmla="*/ 90185 w 1977281"/>
                <a:gd name="connsiteY124" fmla="*/ 1518302 h 3678359"/>
                <a:gd name="connsiteX125" fmla="*/ 119749 w 1977281"/>
                <a:gd name="connsiteY125" fmla="*/ 1372224 h 3678359"/>
                <a:gd name="connsiteX126" fmla="*/ 171322 w 1977281"/>
                <a:gd name="connsiteY126" fmla="*/ 1283587 h 3678359"/>
                <a:gd name="connsiteX127" fmla="*/ 228107 w 1977281"/>
                <a:gd name="connsiteY127" fmla="*/ 1213515 h 3678359"/>
                <a:gd name="connsiteX128" fmla="*/ 267495 w 1977281"/>
                <a:gd name="connsiteY128" fmla="*/ 1282581 h 3678359"/>
                <a:gd name="connsiteX129" fmla="*/ 334691 w 1977281"/>
                <a:gd name="connsiteY129" fmla="*/ 1362708 h 3678359"/>
                <a:gd name="connsiteX130" fmla="*/ 499217 w 1977281"/>
                <a:gd name="connsiteY130" fmla="*/ 1462706 h 3678359"/>
                <a:gd name="connsiteX131" fmla="*/ 744279 w 1977281"/>
                <a:gd name="connsiteY131" fmla="*/ 1506005 h 3678359"/>
                <a:gd name="connsiteX132" fmla="*/ 966755 w 1977281"/>
                <a:gd name="connsiteY132" fmla="*/ 1481425 h 3678359"/>
                <a:gd name="connsiteX133" fmla="*/ 969072 w 1977281"/>
                <a:gd name="connsiteY133" fmla="*/ 1485488 h 3678359"/>
                <a:gd name="connsiteX134" fmla="*/ 1095361 w 1977281"/>
                <a:gd name="connsiteY134" fmla="*/ 1574987 h 3678359"/>
                <a:gd name="connsiteX135" fmla="*/ 1284225 w 1977281"/>
                <a:gd name="connsiteY135" fmla="*/ 1623416 h 3678359"/>
                <a:gd name="connsiteX136" fmla="*/ 1344483 w 1977281"/>
                <a:gd name="connsiteY136" fmla="*/ 1578283 h 3678359"/>
                <a:gd name="connsiteX137" fmla="*/ 1299301 w 1977281"/>
                <a:gd name="connsiteY137" fmla="*/ 1517905 h 3678359"/>
                <a:gd name="connsiteX138" fmla="*/ 1118548 w 1977281"/>
                <a:gd name="connsiteY138" fmla="*/ 1464851 h 3678359"/>
                <a:gd name="connsiteX139" fmla="*/ 1039763 w 1977281"/>
                <a:gd name="connsiteY139" fmla="*/ 1402100 h 3678359"/>
                <a:gd name="connsiteX140" fmla="*/ 1005587 w 1977281"/>
                <a:gd name="connsiteY140" fmla="*/ 1351598 h 3678359"/>
                <a:gd name="connsiteX141" fmla="*/ 973732 w 1977281"/>
                <a:gd name="connsiteY141" fmla="*/ 1267468 h 3678359"/>
                <a:gd name="connsiteX142" fmla="*/ 967367 w 1977281"/>
                <a:gd name="connsiteY142" fmla="*/ 1190336 h 3678359"/>
                <a:gd name="connsiteX143" fmla="*/ 972010 w 1977281"/>
                <a:gd name="connsiteY143" fmla="*/ 1123080 h 3678359"/>
                <a:gd name="connsiteX144" fmla="*/ 977226 w 1977281"/>
                <a:gd name="connsiteY144" fmla="*/ 1103953 h 3678359"/>
                <a:gd name="connsiteX145" fmla="*/ 974910 w 1977281"/>
                <a:gd name="connsiteY145" fmla="*/ 1099890 h 3678359"/>
                <a:gd name="connsiteX146" fmla="*/ 978965 w 1977281"/>
                <a:gd name="connsiteY146" fmla="*/ 1097577 h 3678359"/>
                <a:gd name="connsiteX147" fmla="*/ 980704 w 1977281"/>
                <a:gd name="connsiteY147" fmla="*/ 1091201 h 3678359"/>
                <a:gd name="connsiteX148" fmla="*/ 1050808 w 1977281"/>
                <a:gd name="connsiteY148" fmla="*/ 1072757 h 3678359"/>
                <a:gd name="connsiteX149" fmla="*/ 1096000 w 1977281"/>
                <a:gd name="connsiteY149" fmla="*/ 1057753 h 3678359"/>
                <a:gd name="connsiteX150" fmla="*/ 1109910 w 1977281"/>
                <a:gd name="connsiteY150" fmla="*/ 1006747 h 3678359"/>
                <a:gd name="connsiteX151" fmla="*/ 1062984 w 1977281"/>
                <a:gd name="connsiteY151" fmla="*/ 990436 h 3678359"/>
                <a:gd name="connsiteX152" fmla="*/ 1028221 w 1977281"/>
                <a:gd name="connsiteY152" fmla="*/ 1004878 h 3678359"/>
                <a:gd name="connsiteX153" fmla="*/ 945372 w 1977281"/>
                <a:gd name="connsiteY153" fmla="*/ 1019822 h 3678359"/>
                <a:gd name="connsiteX154" fmla="*/ 883961 w 1977281"/>
                <a:gd name="connsiteY154" fmla="*/ 1006388 h 3678359"/>
                <a:gd name="connsiteX155" fmla="*/ 823134 w 1977281"/>
                <a:gd name="connsiteY155" fmla="*/ 965701 h 3678359"/>
                <a:gd name="connsiteX156" fmla="*/ 772730 w 1977281"/>
                <a:gd name="connsiteY156" fmla="*/ 962142 h 3678359"/>
                <a:gd name="connsiteX157" fmla="*/ 771565 w 1977281"/>
                <a:gd name="connsiteY157" fmla="*/ 1016647 h 3678359"/>
                <a:gd name="connsiteX158" fmla="*/ 858462 w 1977281"/>
                <a:gd name="connsiteY158" fmla="*/ 1074771 h 3678359"/>
                <a:gd name="connsiteX159" fmla="*/ 867152 w 1977281"/>
                <a:gd name="connsiteY159" fmla="*/ 1080583 h 3678359"/>
                <a:gd name="connsiteX160" fmla="*/ 864252 w 1977281"/>
                <a:gd name="connsiteY160" fmla="*/ 1103773 h 3678359"/>
                <a:gd name="connsiteX161" fmla="*/ 858449 w 1977281"/>
                <a:gd name="connsiteY161" fmla="*/ 1187843 h 3678359"/>
                <a:gd name="connsiteX162" fmla="*/ 869443 w 1977281"/>
                <a:gd name="connsiteY162" fmla="*/ 1310791 h 3678359"/>
                <a:gd name="connsiteX163" fmla="*/ 900719 w 1977281"/>
                <a:gd name="connsiteY163" fmla="*/ 1384483 h 3678359"/>
                <a:gd name="connsiteX164" fmla="*/ 746609 w 1977281"/>
                <a:gd name="connsiteY164" fmla="*/ 1396995 h 3678359"/>
                <a:gd name="connsiteX165" fmla="*/ 609883 w 1977281"/>
                <a:gd name="connsiteY165" fmla="*/ 1383441 h 3678359"/>
                <a:gd name="connsiteX166" fmla="*/ 447092 w 1977281"/>
                <a:gd name="connsiteY166" fmla="*/ 1314759 h 3678359"/>
                <a:gd name="connsiteX167" fmla="*/ 376418 w 1977281"/>
                <a:gd name="connsiteY167" fmla="*/ 1247382 h 3678359"/>
                <a:gd name="connsiteX168" fmla="*/ 320811 w 1977281"/>
                <a:gd name="connsiteY168" fmla="*/ 1149877 h 3678359"/>
                <a:gd name="connsiteX169" fmla="*/ 308648 w 1977281"/>
                <a:gd name="connsiteY169" fmla="*/ 1119126 h 3678359"/>
                <a:gd name="connsiteX170" fmla="*/ 308070 w 1977281"/>
                <a:gd name="connsiteY170" fmla="*/ 1108687 h 3678359"/>
                <a:gd name="connsiteX171" fmla="*/ 297655 w 1977281"/>
                <a:gd name="connsiteY171" fmla="*/ 996178 h 3678359"/>
                <a:gd name="connsiteX172" fmla="*/ 312730 w 1977281"/>
                <a:gd name="connsiteY172" fmla="*/ 890667 h 3678359"/>
                <a:gd name="connsiteX173" fmla="*/ 344024 w 1977281"/>
                <a:gd name="connsiteY173" fmla="*/ 813595 h 3678359"/>
                <a:gd name="connsiteX174" fmla="*/ 424565 w 1977281"/>
                <a:gd name="connsiteY174" fmla="*/ 719206 h 3678359"/>
                <a:gd name="connsiteX175" fmla="*/ 496991 w 1977281"/>
                <a:gd name="connsiteY175" fmla="*/ 667134 h 3678359"/>
                <a:gd name="connsiteX176" fmla="*/ 594907 w 1977281"/>
                <a:gd name="connsiteY176" fmla="*/ 622061 h 3678359"/>
                <a:gd name="connsiteX177" fmla="*/ 623876 w 1977281"/>
                <a:gd name="connsiteY177" fmla="*/ 616308 h 3678359"/>
                <a:gd name="connsiteX178" fmla="*/ 631987 w 1977281"/>
                <a:gd name="connsiteY178" fmla="*/ 611682 h 3678359"/>
                <a:gd name="connsiteX179" fmla="*/ 660955 w 1977281"/>
                <a:gd name="connsiteY179" fmla="*/ 605930 h 3678359"/>
                <a:gd name="connsiteX180" fmla="*/ 671966 w 1977281"/>
                <a:gd name="connsiteY180" fmla="*/ 578114 h 3678359"/>
                <a:gd name="connsiteX181" fmla="*/ 721222 w 1977281"/>
                <a:gd name="connsiteY181" fmla="*/ 485414 h 3678359"/>
                <a:gd name="connsiteX182" fmla="*/ 840582 w 1977281"/>
                <a:gd name="connsiteY182" fmla="*/ 374271 h 3678359"/>
                <a:gd name="connsiteX183" fmla="*/ 944293 w 1977281"/>
                <a:gd name="connsiteY183" fmla="*/ 320509 h 3678359"/>
                <a:gd name="connsiteX184" fmla="*/ 1092613 w 1977281"/>
                <a:gd name="connsiteY184" fmla="*/ 278995 h 3678359"/>
                <a:gd name="connsiteX185" fmla="*/ 1171985 w 1977281"/>
                <a:gd name="connsiteY185" fmla="*/ 276802 h 3678359"/>
                <a:gd name="connsiteX186" fmla="*/ 1163865 w 1977281"/>
                <a:gd name="connsiteY186" fmla="*/ 356810 h 3678359"/>
                <a:gd name="connsiteX187" fmla="*/ 1173702 w 1977281"/>
                <a:gd name="connsiteY187" fmla="*/ 458881 h 3678359"/>
                <a:gd name="connsiteX188" fmla="*/ 1213664 w 1977281"/>
                <a:gd name="connsiteY188" fmla="*/ 576076 h 3678359"/>
                <a:gd name="connsiteX189" fmla="*/ 1268693 w 1977281"/>
                <a:gd name="connsiteY189" fmla="*/ 663143 h 3678359"/>
                <a:gd name="connsiteX190" fmla="*/ 1406567 w 1977281"/>
                <a:gd name="connsiteY190" fmla="*/ 772955 h 3678359"/>
                <a:gd name="connsiteX191" fmla="*/ 1606438 w 1977281"/>
                <a:gd name="connsiteY191" fmla="*/ 831259 h 3678359"/>
                <a:gd name="connsiteX192" fmla="*/ 1623239 w 1977281"/>
                <a:gd name="connsiteY192" fmla="*/ 832446 h 3678359"/>
                <a:gd name="connsiteX193" fmla="*/ 1649882 w 1977281"/>
                <a:gd name="connsiteY193" fmla="*/ 898012 h 3678359"/>
                <a:gd name="connsiteX194" fmla="*/ 1670157 w 1977281"/>
                <a:gd name="connsiteY194" fmla="*/ 924138 h 3678359"/>
                <a:gd name="connsiteX195" fmla="*/ 1718821 w 1977281"/>
                <a:gd name="connsiteY195" fmla="*/ 934073 h 3678359"/>
                <a:gd name="connsiteX196" fmla="*/ 1726359 w 1977281"/>
                <a:gd name="connsiteY196" fmla="*/ 881318 h 3678359"/>
                <a:gd name="connsiteX197" fmla="*/ 1705506 w 1977281"/>
                <a:gd name="connsiteY197" fmla="*/ 844753 h 3678359"/>
                <a:gd name="connsiteX198" fmla="*/ 1688710 w 1977281"/>
                <a:gd name="connsiteY198" fmla="*/ 805876 h 3678359"/>
                <a:gd name="connsiteX199" fmla="*/ 1681763 w 1977281"/>
                <a:gd name="connsiteY199" fmla="*/ 755997 h 3678359"/>
                <a:gd name="connsiteX200" fmla="*/ 1689879 w 1977281"/>
                <a:gd name="connsiteY200" fmla="*/ 713680 h 3678359"/>
                <a:gd name="connsiteX201" fmla="*/ 1712479 w 1977281"/>
                <a:gd name="connsiteY201" fmla="*/ 668487 h 3678359"/>
                <a:gd name="connsiteX202" fmla="*/ 1705532 w 1977281"/>
                <a:gd name="connsiteY202" fmla="*/ 618608 h 3678359"/>
                <a:gd name="connsiteX203" fmla="*/ 1655707 w 1977281"/>
                <a:gd name="connsiteY203" fmla="*/ 625487 h 3678359"/>
                <a:gd name="connsiteX204" fmla="*/ 1623835 w 1977281"/>
                <a:gd name="connsiteY204" fmla="*/ 692120 h 3678359"/>
                <a:gd name="connsiteX205" fmla="*/ 1615141 w 1977281"/>
                <a:gd name="connsiteY205" fmla="*/ 723999 h 3678359"/>
                <a:gd name="connsiteX206" fmla="*/ 1472624 w 1977281"/>
                <a:gd name="connsiteY206" fmla="*/ 681443 h 3678359"/>
                <a:gd name="connsiteX207" fmla="*/ 1390361 w 1977281"/>
                <a:gd name="connsiteY207" fmla="*/ 631444 h 3678359"/>
                <a:gd name="connsiteX208" fmla="*/ 1316214 w 1977281"/>
                <a:gd name="connsiteY208" fmla="*/ 539128 h 3678359"/>
                <a:gd name="connsiteX209" fmla="*/ 1281464 w 1977281"/>
                <a:gd name="connsiteY209" fmla="*/ 440497 h 3678359"/>
                <a:gd name="connsiteX210" fmla="*/ 1272783 w 1977281"/>
                <a:gd name="connsiteY210" fmla="*/ 359302 h 3678359"/>
                <a:gd name="connsiteX211" fmla="*/ 1282642 w 1977281"/>
                <a:gd name="connsiteY211" fmla="*/ 272919 h 3678359"/>
                <a:gd name="connsiteX212" fmla="*/ 1289598 w 1977281"/>
                <a:gd name="connsiteY212" fmla="*/ 247416 h 3678359"/>
                <a:gd name="connsiteX213" fmla="*/ 1291336 w 1977281"/>
                <a:gd name="connsiteY213" fmla="*/ 241040 h 3678359"/>
                <a:gd name="connsiteX214" fmla="*/ 1346387 w 1977281"/>
                <a:gd name="connsiteY214" fmla="*/ 139652 h 3678359"/>
                <a:gd name="connsiteX215" fmla="*/ 1470381 w 1977281"/>
                <a:gd name="connsiteY215" fmla="*/ 36634 h 3678359"/>
                <a:gd name="connsiteX216" fmla="*/ 1637819 w 1977281"/>
                <a:gd name="connsiteY216" fmla="*/ 369 h 3678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</a:cxnLst>
              <a:rect l="l" t="t" r="r" b="b"/>
              <a:pathLst>
                <a:path w="1977281" h="3678359">
                  <a:moveTo>
                    <a:pt x="1637819" y="369"/>
                  </a:moveTo>
                  <a:cubicBezTo>
                    <a:pt x="1679533" y="-1884"/>
                    <a:pt x="1721825" y="6302"/>
                    <a:pt x="1768750" y="22612"/>
                  </a:cubicBezTo>
                  <a:cubicBezTo>
                    <a:pt x="1794241" y="29611"/>
                    <a:pt x="1817993" y="42986"/>
                    <a:pt x="1835373" y="54611"/>
                  </a:cubicBezTo>
                  <a:cubicBezTo>
                    <a:pt x="1870131" y="77860"/>
                    <a:pt x="1894462" y="101673"/>
                    <a:pt x="1917053" y="131862"/>
                  </a:cubicBezTo>
                  <a:cubicBezTo>
                    <a:pt x="1928638" y="152175"/>
                    <a:pt x="1942540" y="176552"/>
                    <a:pt x="1950069" y="199178"/>
                  </a:cubicBezTo>
                  <a:cubicBezTo>
                    <a:pt x="1964548" y="233993"/>
                    <a:pt x="1972656" y="267058"/>
                    <a:pt x="1972073" y="294310"/>
                  </a:cubicBezTo>
                  <a:cubicBezTo>
                    <a:pt x="1977863" y="323312"/>
                    <a:pt x="1976703" y="340127"/>
                    <a:pt x="1977281" y="350565"/>
                  </a:cubicBezTo>
                  <a:cubicBezTo>
                    <a:pt x="1977281" y="350565"/>
                    <a:pt x="1977281" y="350565"/>
                    <a:pt x="1976042" y="1045816"/>
                  </a:cubicBezTo>
                  <a:cubicBezTo>
                    <a:pt x="1974303" y="1052191"/>
                    <a:pt x="1970248" y="1054504"/>
                    <a:pt x="1968509" y="1060880"/>
                  </a:cubicBezTo>
                  <a:cubicBezTo>
                    <a:pt x="1970826" y="1064943"/>
                    <a:pt x="1965027" y="1111322"/>
                    <a:pt x="1944161" y="1187831"/>
                  </a:cubicBezTo>
                  <a:cubicBezTo>
                    <a:pt x="1926195" y="1241149"/>
                    <a:pt x="1900696" y="1309532"/>
                    <a:pt x="1863029" y="1384854"/>
                  </a:cubicBezTo>
                  <a:cubicBezTo>
                    <a:pt x="1830579" y="1441049"/>
                    <a:pt x="1794072" y="1499557"/>
                    <a:pt x="1748877" y="1552252"/>
                  </a:cubicBezTo>
                  <a:cubicBezTo>
                    <a:pt x="1678186" y="1635640"/>
                    <a:pt x="1588377" y="1713778"/>
                    <a:pt x="1468443" y="1776792"/>
                  </a:cubicBezTo>
                  <a:cubicBezTo>
                    <a:pt x="1350826" y="1843869"/>
                    <a:pt x="1200767" y="1891758"/>
                    <a:pt x="1015372" y="1905960"/>
                  </a:cubicBezTo>
                  <a:cubicBezTo>
                    <a:pt x="1008999" y="1904211"/>
                    <a:pt x="952801" y="1909340"/>
                    <a:pt x="873429" y="1911533"/>
                  </a:cubicBezTo>
                  <a:cubicBezTo>
                    <a:pt x="802169" y="1909100"/>
                    <a:pt x="707734" y="1903731"/>
                    <a:pt x="615039" y="1891987"/>
                  </a:cubicBezTo>
                  <a:cubicBezTo>
                    <a:pt x="566952" y="1892490"/>
                    <a:pt x="518287" y="1882555"/>
                    <a:pt x="475995" y="1874370"/>
                  </a:cubicBezTo>
                  <a:cubicBezTo>
                    <a:pt x="433703" y="1866184"/>
                    <a:pt x="389094" y="1853936"/>
                    <a:pt x="354914" y="1841125"/>
                  </a:cubicBezTo>
                  <a:cubicBezTo>
                    <a:pt x="327106" y="1830064"/>
                    <a:pt x="292343" y="1844505"/>
                    <a:pt x="281332" y="1872321"/>
                  </a:cubicBezTo>
                  <a:cubicBezTo>
                    <a:pt x="274377" y="1897823"/>
                    <a:pt x="288857" y="1932638"/>
                    <a:pt x="316665" y="1943700"/>
                  </a:cubicBezTo>
                  <a:cubicBezTo>
                    <a:pt x="357218" y="1958261"/>
                    <a:pt x="405883" y="1968196"/>
                    <a:pt x="454547" y="1978131"/>
                  </a:cubicBezTo>
                  <a:cubicBezTo>
                    <a:pt x="528703" y="1995064"/>
                    <a:pt x="604597" y="2005623"/>
                    <a:pt x="675858" y="2008055"/>
                  </a:cubicBezTo>
                  <a:cubicBezTo>
                    <a:pt x="749435" y="2014551"/>
                    <a:pt x="816640" y="2019297"/>
                    <a:pt x="875155" y="2018230"/>
                  </a:cubicBezTo>
                  <a:cubicBezTo>
                    <a:pt x="960900" y="2017787"/>
                    <a:pt x="1023470" y="2014407"/>
                    <a:pt x="1023470" y="2014407"/>
                  </a:cubicBezTo>
                  <a:cubicBezTo>
                    <a:pt x="1142239" y="2005898"/>
                    <a:pt x="1247685" y="1983451"/>
                    <a:pt x="1342123" y="1951129"/>
                  </a:cubicBezTo>
                  <a:cubicBezTo>
                    <a:pt x="1508405" y="1893987"/>
                    <a:pt x="1639928" y="1813596"/>
                    <a:pt x="1737270" y="1720393"/>
                  </a:cubicBezTo>
                  <a:cubicBezTo>
                    <a:pt x="1814912" y="1649194"/>
                    <a:pt x="1875753" y="1576808"/>
                    <a:pt x="1919792" y="1503236"/>
                  </a:cubicBezTo>
                  <a:cubicBezTo>
                    <a:pt x="1938915" y="1470794"/>
                    <a:pt x="1958037" y="1438352"/>
                    <a:pt x="1970787" y="1404161"/>
                  </a:cubicBezTo>
                  <a:lnTo>
                    <a:pt x="1968866" y="2993555"/>
                  </a:lnTo>
                  <a:cubicBezTo>
                    <a:pt x="1966541" y="3064874"/>
                    <a:pt x="1965376" y="3119379"/>
                    <a:pt x="1959577" y="3165759"/>
                  </a:cubicBezTo>
                  <a:cubicBezTo>
                    <a:pt x="1959572" y="3203449"/>
                    <a:pt x="1954934" y="3233015"/>
                    <a:pt x="1952035" y="3256205"/>
                  </a:cubicBezTo>
                  <a:cubicBezTo>
                    <a:pt x="1946818" y="3275332"/>
                    <a:pt x="1945658" y="3292146"/>
                    <a:pt x="1938124" y="3307210"/>
                  </a:cubicBezTo>
                  <a:cubicBezTo>
                    <a:pt x="1931169" y="3332713"/>
                    <a:pt x="1925953" y="3351840"/>
                    <a:pt x="1916681" y="3373280"/>
                  </a:cubicBezTo>
                  <a:cubicBezTo>
                    <a:pt x="1907409" y="3394721"/>
                    <a:pt x="1894081" y="3418474"/>
                    <a:pt x="1876697" y="3444540"/>
                  </a:cubicBezTo>
                  <a:cubicBezTo>
                    <a:pt x="1857574" y="3476982"/>
                    <a:pt x="1836135" y="3505360"/>
                    <a:pt x="1808323" y="3531990"/>
                  </a:cubicBezTo>
                  <a:cubicBezTo>
                    <a:pt x="1770660" y="3569621"/>
                    <a:pt x="1726047" y="3595064"/>
                    <a:pt x="1693601" y="3613568"/>
                  </a:cubicBezTo>
                  <a:cubicBezTo>
                    <a:pt x="1677378" y="3622820"/>
                    <a:pt x="1665211" y="3629759"/>
                    <a:pt x="1657099" y="3634385"/>
                  </a:cubicBezTo>
                  <a:cubicBezTo>
                    <a:pt x="1648988" y="3639011"/>
                    <a:pt x="1646671" y="3634948"/>
                    <a:pt x="1642615" y="3637261"/>
                  </a:cubicBezTo>
                  <a:cubicBezTo>
                    <a:pt x="1548176" y="3669583"/>
                    <a:pt x="1463010" y="3680465"/>
                    <a:pt x="1391749" y="3678032"/>
                  </a:cubicBezTo>
                  <a:cubicBezTo>
                    <a:pt x="1306005" y="3678476"/>
                    <a:pt x="1231849" y="3661542"/>
                    <a:pt x="1169861" y="3637669"/>
                  </a:cubicBezTo>
                  <a:cubicBezTo>
                    <a:pt x="1126991" y="3619045"/>
                    <a:pt x="1088176" y="3598108"/>
                    <a:pt x="1053418" y="3574859"/>
                  </a:cubicBezTo>
                  <a:cubicBezTo>
                    <a:pt x="1001280" y="3539984"/>
                    <a:pt x="963626" y="3502233"/>
                    <a:pt x="943351" y="3476107"/>
                  </a:cubicBezTo>
                  <a:cubicBezTo>
                    <a:pt x="930028" y="3462169"/>
                    <a:pt x="923077" y="3449981"/>
                    <a:pt x="916126" y="3437793"/>
                  </a:cubicBezTo>
                  <a:cubicBezTo>
                    <a:pt x="913809" y="3433731"/>
                    <a:pt x="909753" y="3436044"/>
                    <a:pt x="907436" y="3431981"/>
                  </a:cubicBezTo>
                  <a:cubicBezTo>
                    <a:pt x="907436" y="3431981"/>
                    <a:pt x="907436" y="3431981"/>
                    <a:pt x="893535" y="3407605"/>
                  </a:cubicBezTo>
                  <a:cubicBezTo>
                    <a:pt x="893535" y="3407605"/>
                    <a:pt x="893535" y="3407605"/>
                    <a:pt x="891218" y="3403542"/>
                  </a:cubicBezTo>
                  <a:cubicBezTo>
                    <a:pt x="888901" y="3399479"/>
                    <a:pt x="884267" y="3391354"/>
                    <a:pt x="881950" y="3387291"/>
                  </a:cubicBezTo>
                  <a:cubicBezTo>
                    <a:pt x="868048" y="3362915"/>
                    <a:pt x="849512" y="3330413"/>
                    <a:pt x="840827" y="3286910"/>
                  </a:cubicBezTo>
                  <a:cubicBezTo>
                    <a:pt x="823452" y="3237594"/>
                    <a:pt x="813610" y="3173214"/>
                    <a:pt x="811880" y="3104208"/>
                  </a:cubicBezTo>
                  <a:cubicBezTo>
                    <a:pt x="812467" y="3039264"/>
                    <a:pt x="825221" y="2967382"/>
                    <a:pt x="850721" y="2898999"/>
                  </a:cubicBezTo>
                  <a:cubicBezTo>
                    <a:pt x="876220" y="2830616"/>
                    <a:pt x="918521" y="2763419"/>
                    <a:pt x="983996" y="2699159"/>
                  </a:cubicBezTo>
                  <a:cubicBezTo>
                    <a:pt x="983996" y="2699159"/>
                    <a:pt x="1027453" y="2652839"/>
                    <a:pt x="1100456" y="2611206"/>
                  </a:cubicBezTo>
                  <a:cubicBezTo>
                    <a:pt x="1136958" y="2590389"/>
                    <a:pt x="1181571" y="2564946"/>
                    <a:pt x="1229080" y="2554004"/>
                  </a:cubicBezTo>
                  <a:cubicBezTo>
                    <a:pt x="1278327" y="2536686"/>
                    <a:pt x="1336264" y="2525181"/>
                    <a:pt x="1394779" y="2524115"/>
                  </a:cubicBezTo>
                  <a:cubicBezTo>
                    <a:pt x="1432437" y="2524175"/>
                    <a:pt x="1472412" y="2528297"/>
                    <a:pt x="1517021" y="2540545"/>
                  </a:cubicBezTo>
                  <a:cubicBezTo>
                    <a:pt x="1555257" y="2551044"/>
                    <a:pt x="1602183" y="2567354"/>
                    <a:pt x="1647370" y="2590041"/>
                  </a:cubicBezTo>
                  <a:cubicBezTo>
                    <a:pt x="1673439" y="2607478"/>
                    <a:pt x="1704146" y="2595350"/>
                    <a:pt x="1721530" y="2569283"/>
                  </a:cubicBezTo>
                  <a:cubicBezTo>
                    <a:pt x="1734858" y="2545530"/>
                    <a:pt x="1724434" y="2508403"/>
                    <a:pt x="1696626" y="2497341"/>
                  </a:cubicBezTo>
                  <a:cubicBezTo>
                    <a:pt x="1642749" y="2468842"/>
                    <a:pt x="1593506" y="2448469"/>
                    <a:pt x="1542525" y="2434471"/>
                  </a:cubicBezTo>
                  <a:cubicBezTo>
                    <a:pt x="1491543" y="2420474"/>
                    <a:pt x="1441140" y="2416914"/>
                    <a:pt x="1393053" y="2417418"/>
                  </a:cubicBezTo>
                  <a:cubicBezTo>
                    <a:pt x="1321793" y="2414985"/>
                    <a:pt x="1253427" y="2427053"/>
                    <a:pt x="1196068" y="2448997"/>
                  </a:cubicBezTo>
                  <a:cubicBezTo>
                    <a:pt x="1105685" y="2479006"/>
                    <a:pt x="1032682" y="2520640"/>
                    <a:pt x="982274" y="2554771"/>
                  </a:cubicBezTo>
                  <a:cubicBezTo>
                    <a:pt x="938239" y="2590652"/>
                    <a:pt x="910427" y="2617282"/>
                    <a:pt x="902315" y="2621908"/>
                  </a:cubicBezTo>
                  <a:cubicBezTo>
                    <a:pt x="826990" y="2697170"/>
                    <a:pt x="777156" y="2779431"/>
                    <a:pt x="748179" y="2860565"/>
                  </a:cubicBezTo>
                  <a:cubicBezTo>
                    <a:pt x="715146" y="2944013"/>
                    <a:pt x="702970" y="3026333"/>
                    <a:pt x="702962" y="3101715"/>
                  </a:cubicBezTo>
                  <a:cubicBezTo>
                    <a:pt x="705270" y="3181160"/>
                    <a:pt x="718007" y="3260041"/>
                    <a:pt x="735960" y="3319795"/>
                  </a:cubicBezTo>
                  <a:cubicBezTo>
                    <a:pt x="743489" y="3342422"/>
                    <a:pt x="751018" y="3365048"/>
                    <a:pt x="756230" y="3383612"/>
                  </a:cubicBezTo>
                  <a:cubicBezTo>
                    <a:pt x="737112" y="3378363"/>
                    <a:pt x="717994" y="3373114"/>
                    <a:pt x="702932" y="3365552"/>
                  </a:cubicBezTo>
                  <a:cubicBezTo>
                    <a:pt x="658323" y="3353304"/>
                    <a:pt x="621825" y="3336429"/>
                    <a:pt x="591122" y="3310867"/>
                  </a:cubicBezTo>
                  <a:cubicBezTo>
                    <a:pt x="534928" y="3278305"/>
                    <a:pt x="488585" y="3234742"/>
                    <a:pt x="452670" y="3190616"/>
                  </a:cubicBezTo>
                  <a:cubicBezTo>
                    <a:pt x="398798" y="3124426"/>
                    <a:pt x="367521" y="3050734"/>
                    <a:pt x="347829" y="2997355"/>
                  </a:cubicBezTo>
                  <a:cubicBezTo>
                    <a:pt x="337983" y="2970666"/>
                    <a:pt x="334510" y="2945727"/>
                    <a:pt x="329297" y="2927163"/>
                  </a:cubicBezTo>
                  <a:cubicBezTo>
                    <a:pt x="326980" y="2923100"/>
                    <a:pt x="326980" y="2923100"/>
                    <a:pt x="326980" y="2923100"/>
                  </a:cubicBezTo>
                  <a:cubicBezTo>
                    <a:pt x="331036" y="2920787"/>
                    <a:pt x="331036" y="2920787"/>
                    <a:pt x="328719" y="2916724"/>
                  </a:cubicBezTo>
                  <a:cubicBezTo>
                    <a:pt x="326402" y="2912662"/>
                    <a:pt x="326402" y="2912662"/>
                    <a:pt x="328141" y="2906286"/>
                  </a:cubicBezTo>
                  <a:cubicBezTo>
                    <a:pt x="325824" y="2902223"/>
                    <a:pt x="325824" y="2902223"/>
                    <a:pt x="323507" y="2898161"/>
                  </a:cubicBezTo>
                  <a:cubicBezTo>
                    <a:pt x="320612" y="2883659"/>
                    <a:pt x="317139" y="2858720"/>
                    <a:pt x="317721" y="2831467"/>
                  </a:cubicBezTo>
                  <a:cubicBezTo>
                    <a:pt x="320621" y="2808278"/>
                    <a:pt x="321203" y="2781025"/>
                    <a:pt x="328158" y="2755522"/>
                  </a:cubicBezTo>
                  <a:cubicBezTo>
                    <a:pt x="332797" y="2725957"/>
                    <a:pt x="343808" y="2698141"/>
                    <a:pt x="361191" y="2672075"/>
                  </a:cubicBezTo>
                  <a:cubicBezTo>
                    <a:pt x="374519" y="2648322"/>
                    <a:pt x="366412" y="2615257"/>
                    <a:pt x="340343" y="2597820"/>
                  </a:cubicBezTo>
                  <a:cubicBezTo>
                    <a:pt x="316591" y="2584445"/>
                    <a:pt x="283567" y="2592511"/>
                    <a:pt x="266183" y="2618577"/>
                  </a:cubicBezTo>
                  <a:cubicBezTo>
                    <a:pt x="243005" y="2653331"/>
                    <a:pt x="228516" y="2693899"/>
                    <a:pt x="222139" y="2729840"/>
                  </a:cubicBezTo>
                  <a:cubicBezTo>
                    <a:pt x="216923" y="2748967"/>
                    <a:pt x="215762" y="2765781"/>
                    <a:pt x="210546" y="2784908"/>
                  </a:cubicBezTo>
                  <a:cubicBezTo>
                    <a:pt x="205912" y="2776783"/>
                    <a:pt x="203595" y="2772720"/>
                    <a:pt x="198961" y="2764595"/>
                  </a:cubicBezTo>
                  <a:cubicBezTo>
                    <a:pt x="178687" y="2738469"/>
                    <a:pt x="162468" y="2710030"/>
                    <a:pt x="152622" y="2683340"/>
                  </a:cubicBezTo>
                  <a:cubicBezTo>
                    <a:pt x="133508" y="2640400"/>
                    <a:pt x="118450" y="2595147"/>
                    <a:pt x="112082" y="2555707"/>
                  </a:cubicBezTo>
                  <a:cubicBezTo>
                    <a:pt x="105713" y="2516266"/>
                    <a:pt x="103401" y="2474512"/>
                    <a:pt x="101666" y="2443197"/>
                  </a:cubicBezTo>
                  <a:cubicBezTo>
                    <a:pt x="130052" y="2464697"/>
                    <a:pt x="156121" y="2482134"/>
                    <a:pt x="192619" y="2499009"/>
                  </a:cubicBezTo>
                  <a:cubicBezTo>
                    <a:pt x="250551" y="2525194"/>
                    <a:pt x="318334" y="2540378"/>
                    <a:pt x="400023" y="2542248"/>
                  </a:cubicBezTo>
                  <a:cubicBezTo>
                    <a:pt x="458538" y="2541181"/>
                    <a:pt x="525165" y="2535489"/>
                    <a:pt x="603380" y="2512419"/>
                  </a:cubicBezTo>
                  <a:cubicBezTo>
                    <a:pt x="675223" y="2487599"/>
                    <a:pt x="759233" y="2455840"/>
                    <a:pt x="848460" y="2404954"/>
                  </a:cubicBezTo>
                  <a:cubicBezTo>
                    <a:pt x="852516" y="2402641"/>
                    <a:pt x="856572" y="2400328"/>
                    <a:pt x="854255" y="2396266"/>
                  </a:cubicBezTo>
                  <a:cubicBezTo>
                    <a:pt x="872212" y="2418329"/>
                    <a:pt x="889592" y="2429954"/>
                    <a:pt x="902915" y="2443892"/>
                  </a:cubicBezTo>
                  <a:cubicBezTo>
                    <a:pt x="917977" y="2451454"/>
                    <a:pt x="928984" y="2461329"/>
                    <a:pt x="933040" y="2459016"/>
                  </a:cubicBezTo>
                  <a:cubicBezTo>
                    <a:pt x="950419" y="2470641"/>
                    <a:pt x="973015" y="2463138"/>
                    <a:pt x="978231" y="2444011"/>
                  </a:cubicBezTo>
                  <a:cubicBezTo>
                    <a:pt x="989820" y="2426634"/>
                    <a:pt x="982291" y="2404008"/>
                    <a:pt x="967229" y="2396445"/>
                  </a:cubicBezTo>
                  <a:cubicBezTo>
                    <a:pt x="967229" y="2396445"/>
                    <a:pt x="958539" y="2390633"/>
                    <a:pt x="949850" y="2384820"/>
                  </a:cubicBezTo>
                  <a:cubicBezTo>
                    <a:pt x="932470" y="2373196"/>
                    <a:pt x="912774" y="2357508"/>
                    <a:pt x="896555" y="2329069"/>
                  </a:cubicBezTo>
                  <a:cubicBezTo>
                    <a:pt x="889604" y="2316881"/>
                    <a:pt x="880337" y="2300630"/>
                    <a:pt x="877442" y="2286129"/>
                  </a:cubicBezTo>
                  <a:cubicBezTo>
                    <a:pt x="868174" y="2269878"/>
                    <a:pt x="869334" y="2253064"/>
                    <a:pt x="868178" y="2232187"/>
                  </a:cubicBezTo>
                  <a:cubicBezTo>
                    <a:pt x="867600" y="2221749"/>
                    <a:pt x="867022" y="2211311"/>
                    <a:pt x="870499" y="2198559"/>
                  </a:cubicBezTo>
                  <a:cubicBezTo>
                    <a:pt x="875716" y="2179432"/>
                    <a:pt x="860075" y="2161432"/>
                    <a:pt x="840957" y="2156182"/>
                  </a:cubicBezTo>
                  <a:cubicBezTo>
                    <a:pt x="821839" y="2150933"/>
                    <a:pt x="803877" y="2166561"/>
                    <a:pt x="798661" y="2185688"/>
                  </a:cubicBezTo>
                  <a:cubicBezTo>
                    <a:pt x="797500" y="2202502"/>
                    <a:pt x="794022" y="2215253"/>
                    <a:pt x="792862" y="2232068"/>
                  </a:cubicBezTo>
                  <a:cubicBezTo>
                    <a:pt x="796335" y="2257007"/>
                    <a:pt x="799808" y="2281947"/>
                    <a:pt x="807337" y="2304573"/>
                  </a:cubicBezTo>
                  <a:cubicBezTo>
                    <a:pt x="803282" y="2306886"/>
                    <a:pt x="796909" y="2305136"/>
                    <a:pt x="792853" y="2307449"/>
                  </a:cubicBezTo>
                  <a:cubicBezTo>
                    <a:pt x="707682" y="2356022"/>
                    <a:pt x="634101" y="2387218"/>
                    <a:pt x="570369" y="2407411"/>
                  </a:cubicBezTo>
                  <a:cubicBezTo>
                    <a:pt x="506638" y="2427605"/>
                    <a:pt x="446384" y="2435048"/>
                    <a:pt x="398297" y="2435551"/>
                  </a:cubicBezTo>
                  <a:cubicBezTo>
                    <a:pt x="337465" y="2432555"/>
                    <a:pt x="292856" y="2420307"/>
                    <a:pt x="252303" y="2405746"/>
                  </a:cubicBezTo>
                  <a:cubicBezTo>
                    <a:pt x="224495" y="2394684"/>
                    <a:pt x="198426" y="2377247"/>
                    <a:pt x="174674" y="2363872"/>
                  </a:cubicBezTo>
                  <a:cubicBezTo>
                    <a:pt x="143971" y="2338310"/>
                    <a:pt x="119641" y="2314497"/>
                    <a:pt x="104001" y="2296496"/>
                  </a:cubicBezTo>
                  <a:cubicBezTo>
                    <a:pt x="97050" y="2284308"/>
                    <a:pt x="92416" y="2276183"/>
                    <a:pt x="90099" y="2272120"/>
                  </a:cubicBezTo>
                  <a:cubicBezTo>
                    <a:pt x="87782" y="2268057"/>
                    <a:pt x="87782" y="2268057"/>
                    <a:pt x="87782" y="2268057"/>
                  </a:cubicBezTo>
                  <a:cubicBezTo>
                    <a:pt x="87782" y="2268057"/>
                    <a:pt x="85465" y="2263995"/>
                    <a:pt x="85465" y="2263995"/>
                  </a:cubicBezTo>
                  <a:cubicBezTo>
                    <a:pt x="83148" y="2259932"/>
                    <a:pt x="78514" y="2251806"/>
                    <a:pt x="72141" y="2250057"/>
                  </a:cubicBezTo>
                  <a:cubicBezTo>
                    <a:pt x="48972" y="2209430"/>
                    <a:pt x="30436" y="2176928"/>
                    <a:pt x="22329" y="2143863"/>
                  </a:cubicBezTo>
                  <a:cubicBezTo>
                    <a:pt x="4954" y="2094547"/>
                    <a:pt x="-1414" y="2055107"/>
                    <a:pt x="329" y="2011040"/>
                  </a:cubicBezTo>
                  <a:cubicBezTo>
                    <a:pt x="-1984" y="1969287"/>
                    <a:pt x="8449" y="1931032"/>
                    <a:pt x="14826" y="1895091"/>
                  </a:cubicBezTo>
                  <a:cubicBezTo>
                    <a:pt x="32792" y="1841773"/>
                    <a:pt x="57709" y="1800642"/>
                    <a:pt x="79149" y="1772263"/>
                  </a:cubicBezTo>
                  <a:cubicBezTo>
                    <a:pt x="86682" y="1757199"/>
                    <a:pt x="96532" y="1746197"/>
                    <a:pt x="102327" y="1737508"/>
                  </a:cubicBezTo>
                  <a:cubicBezTo>
                    <a:pt x="106382" y="1735195"/>
                    <a:pt x="108121" y="1728820"/>
                    <a:pt x="108121" y="1728820"/>
                  </a:cubicBezTo>
                  <a:cubicBezTo>
                    <a:pt x="108121" y="1728820"/>
                    <a:pt x="108121" y="1728820"/>
                    <a:pt x="112177" y="1726507"/>
                  </a:cubicBezTo>
                  <a:cubicBezTo>
                    <a:pt x="112177" y="1726507"/>
                    <a:pt x="112177" y="1726507"/>
                    <a:pt x="135933" y="1702190"/>
                  </a:cubicBezTo>
                  <a:cubicBezTo>
                    <a:pt x="135933" y="1702190"/>
                    <a:pt x="135933" y="1702190"/>
                    <a:pt x="121454" y="1667376"/>
                  </a:cubicBezTo>
                  <a:cubicBezTo>
                    <a:pt x="97706" y="1616310"/>
                    <a:pt x="90759" y="1566431"/>
                    <a:pt x="90185" y="1518302"/>
                  </a:cubicBezTo>
                  <a:cubicBezTo>
                    <a:pt x="91350" y="1463797"/>
                    <a:pt x="103522" y="1419167"/>
                    <a:pt x="119749" y="1372224"/>
                  </a:cubicBezTo>
                  <a:cubicBezTo>
                    <a:pt x="134816" y="1342095"/>
                    <a:pt x="149883" y="1311967"/>
                    <a:pt x="171322" y="1283587"/>
                  </a:cubicBezTo>
                  <a:cubicBezTo>
                    <a:pt x="188706" y="1257521"/>
                    <a:pt x="212462" y="1233205"/>
                    <a:pt x="228107" y="1213515"/>
                  </a:cubicBezTo>
                  <a:cubicBezTo>
                    <a:pt x="239692" y="1233828"/>
                    <a:pt x="253594" y="1258204"/>
                    <a:pt x="267495" y="1282581"/>
                  </a:cubicBezTo>
                  <a:cubicBezTo>
                    <a:pt x="287770" y="1308707"/>
                    <a:pt x="308044" y="1334833"/>
                    <a:pt x="334691" y="1362708"/>
                  </a:cubicBezTo>
                  <a:cubicBezTo>
                    <a:pt x="376401" y="1398146"/>
                    <a:pt x="430856" y="1437083"/>
                    <a:pt x="499217" y="1462706"/>
                  </a:cubicBezTo>
                  <a:cubicBezTo>
                    <a:pt x="567578" y="1488328"/>
                    <a:pt x="645789" y="1502949"/>
                    <a:pt x="744279" y="1506005"/>
                  </a:cubicBezTo>
                  <a:cubicBezTo>
                    <a:pt x="809167" y="1506688"/>
                    <a:pt x="883905" y="1496370"/>
                    <a:pt x="966755" y="1481425"/>
                  </a:cubicBezTo>
                  <a:cubicBezTo>
                    <a:pt x="966755" y="1481425"/>
                    <a:pt x="969072" y="1485488"/>
                    <a:pt x="969072" y="1485488"/>
                  </a:cubicBezTo>
                  <a:cubicBezTo>
                    <a:pt x="1000353" y="1521489"/>
                    <a:pt x="1043801" y="1550551"/>
                    <a:pt x="1095361" y="1574987"/>
                  </a:cubicBezTo>
                  <a:cubicBezTo>
                    <a:pt x="1146921" y="1599423"/>
                    <a:pt x="1210648" y="1616920"/>
                    <a:pt x="1284225" y="1623416"/>
                  </a:cubicBezTo>
                  <a:cubicBezTo>
                    <a:pt x="1313772" y="1628102"/>
                    <a:pt x="1339845" y="1607848"/>
                    <a:pt x="1344483" y="1578283"/>
                  </a:cubicBezTo>
                  <a:cubicBezTo>
                    <a:pt x="1349122" y="1548717"/>
                    <a:pt x="1328847" y="1522591"/>
                    <a:pt x="1299301" y="1517905"/>
                  </a:cubicBezTo>
                  <a:cubicBezTo>
                    <a:pt x="1223406" y="1507347"/>
                    <a:pt x="1163735" y="1487537"/>
                    <a:pt x="1118548" y="1464851"/>
                  </a:cubicBezTo>
                  <a:cubicBezTo>
                    <a:pt x="1086106" y="1445663"/>
                    <a:pt x="1060037" y="1428226"/>
                    <a:pt x="1039763" y="1402100"/>
                  </a:cubicBezTo>
                  <a:cubicBezTo>
                    <a:pt x="1026439" y="1388162"/>
                    <a:pt x="1014854" y="1367849"/>
                    <a:pt x="1005587" y="1351598"/>
                  </a:cubicBezTo>
                  <a:cubicBezTo>
                    <a:pt x="989368" y="1323159"/>
                    <a:pt x="979522" y="1296470"/>
                    <a:pt x="973732" y="1267468"/>
                  </a:cubicBezTo>
                  <a:cubicBezTo>
                    <a:pt x="967941" y="1238465"/>
                    <a:pt x="964468" y="1213526"/>
                    <a:pt x="967367" y="1190336"/>
                  </a:cubicBezTo>
                  <a:cubicBezTo>
                    <a:pt x="967950" y="1163084"/>
                    <a:pt x="968533" y="1135831"/>
                    <a:pt x="972010" y="1123080"/>
                  </a:cubicBezTo>
                  <a:cubicBezTo>
                    <a:pt x="971432" y="1112641"/>
                    <a:pt x="973171" y="1106266"/>
                    <a:pt x="977226" y="1103953"/>
                  </a:cubicBezTo>
                  <a:cubicBezTo>
                    <a:pt x="974910" y="1099890"/>
                    <a:pt x="974910" y="1099890"/>
                    <a:pt x="974910" y="1099890"/>
                  </a:cubicBezTo>
                  <a:cubicBezTo>
                    <a:pt x="978965" y="1097577"/>
                    <a:pt x="978965" y="1097577"/>
                    <a:pt x="978965" y="1097577"/>
                  </a:cubicBezTo>
                  <a:cubicBezTo>
                    <a:pt x="976648" y="1093514"/>
                    <a:pt x="976648" y="1093514"/>
                    <a:pt x="980704" y="1091201"/>
                  </a:cubicBezTo>
                  <a:cubicBezTo>
                    <a:pt x="1005617" y="1087762"/>
                    <a:pt x="1032268" y="1077946"/>
                    <a:pt x="1050808" y="1072757"/>
                  </a:cubicBezTo>
                  <a:cubicBezTo>
                    <a:pt x="1077460" y="1062942"/>
                    <a:pt x="1096000" y="1057753"/>
                    <a:pt x="1096000" y="1057753"/>
                  </a:cubicBezTo>
                  <a:cubicBezTo>
                    <a:pt x="1116279" y="1046188"/>
                    <a:pt x="1119178" y="1022998"/>
                    <a:pt x="1109910" y="1006747"/>
                  </a:cubicBezTo>
                  <a:cubicBezTo>
                    <a:pt x="1100642" y="990496"/>
                    <a:pt x="1079207" y="981184"/>
                    <a:pt x="1062984" y="990436"/>
                  </a:cubicBezTo>
                  <a:cubicBezTo>
                    <a:pt x="1062984" y="990436"/>
                    <a:pt x="1046761" y="999689"/>
                    <a:pt x="1028221" y="1004878"/>
                  </a:cubicBezTo>
                  <a:cubicBezTo>
                    <a:pt x="1005625" y="1012380"/>
                    <a:pt x="976657" y="1018132"/>
                    <a:pt x="945372" y="1019822"/>
                  </a:cubicBezTo>
                  <a:cubicBezTo>
                    <a:pt x="924515" y="1020949"/>
                    <a:pt x="905397" y="1015700"/>
                    <a:pt x="883961" y="1006388"/>
                  </a:cubicBezTo>
                  <a:cubicBezTo>
                    <a:pt x="864843" y="1001139"/>
                    <a:pt x="845147" y="985451"/>
                    <a:pt x="823134" y="965701"/>
                  </a:cubicBezTo>
                  <a:cubicBezTo>
                    <a:pt x="809810" y="951763"/>
                    <a:pt x="788953" y="952889"/>
                    <a:pt x="772730" y="962142"/>
                  </a:cubicBezTo>
                  <a:cubicBezTo>
                    <a:pt x="758824" y="975456"/>
                    <a:pt x="758242" y="1002709"/>
                    <a:pt x="771565" y="1016647"/>
                  </a:cubicBezTo>
                  <a:cubicBezTo>
                    <a:pt x="798212" y="1044522"/>
                    <a:pt x="826598" y="1066022"/>
                    <a:pt x="858462" y="1074771"/>
                  </a:cubicBezTo>
                  <a:cubicBezTo>
                    <a:pt x="860779" y="1078833"/>
                    <a:pt x="864835" y="1076521"/>
                    <a:pt x="867152" y="1080583"/>
                  </a:cubicBezTo>
                  <a:cubicBezTo>
                    <a:pt x="869469" y="1084646"/>
                    <a:pt x="863674" y="1093335"/>
                    <a:pt x="864252" y="1103773"/>
                  </a:cubicBezTo>
                  <a:cubicBezTo>
                    <a:pt x="861353" y="1126963"/>
                    <a:pt x="856714" y="1156528"/>
                    <a:pt x="858449" y="1187843"/>
                  </a:cubicBezTo>
                  <a:cubicBezTo>
                    <a:pt x="858445" y="1225534"/>
                    <a:pt x="860757" y="1267288"/>
                    <a:pt x="869443" y="1310791"/>
                  </a:cubicBezTo>
                  <a:cubicBezTo>
                    <a:pt x="876972" y="1333418"/>
                    <a:pt x="886818" y="1360107"/>
                    <a:pt x="900719" y="1384483"/>
                  </a:cubicBezTo>
                  <a:cubicBezTo>
                    <a:pt x="840465" y="1391926"/>
                    <a:pt x="788323" y="1394742"/>
                    <a:pt x="746609" y="1396995"/>
                  </a:cubicBezTo>
                  <a:cubicBezTo>
                    <a:pt x="692150" y="1395749"/>
                    <a:pt x="649858" y="1387564"/>
                    <a:pt x="609883" y="1383441"/>
                  </a:cubicBezTo>
                  <a:cubicBezTo>
                    <a:pt x="542100" y="1368257"/>
                    <a:pt x="490540" y="1343821"/>
                    <a:pt x="447092" y="1314759"/>
                  </a:cubicBezTo>
                  <a:cubicBezTo>
                    <a:pt x="418706" y="1293259"/>
                    <a:pt x="394376" y="1269446"/>
                    <a:pt x="376418" y="1247382"/>
                  </a:cubicBezTo>
                  <a:cubicBezTo>
                    <a:pt x="345137" y="1211381"/>
                    <a:pt x="330657" y="1176567"/>
                    <a:pt x="320811" y="1149877"/>
                  </a:cubicBezTo>
                  <a:cubicBezTo>
                    <a:pt x="313860" y="1137689"/>
                    <a:pt x="313282" y="1127251"/>
                    <a:pt x="308648" y="1119126"/>
                  </a:cubicBezTo>
                  <a:cubicBezTo>
                    <a:pt x="308648" y="1119126"/>
                    <a:pt x="308648" y="1119126"/>
                    <a:pt x="308070" y="1108687"/>
                  </a:cubicBezTo>
                  <a:cubicBezTo>
                    <a:pt x="299385" y="1065184"/>
                    <a:pt x="295333" y="1029806"/>
                    <a:pt x="297655" y="996178"/>
                  </a:cubicBezTo>
                  <a:cubicBezTo>
                    <a:pt x="295342" y="954424"/>
                    <a:pt x="301719" y="918483"/>
                    <a:pt x="312730" y="890667"/>
                  </a:cubicBezTo>
                  <a:cubicBezTo>
                    <a:pt x="317368" y="861102"/>
                    <a:pt x="330696" y="837349"/>
                    <a:pt x="344024" y="813595"/>
                  </a:cubicBezTo>
                  <a:cubicBezTo>
                    <a:pt x="364885" y="774778"/>
                    <a:pt x="394436" y="741773"/>
                    <a:pt x="424565" y="719206"/>
                  </a:cubicBezTo>
                  <a:cubicBezTo>
                    <a:pt x="450639" y="698953"/>
                    <a:pt x="472656" y="681012"/>
                    <a:pt x="496991" y="667134"/>
                  </a:cubicBezTo>
                  <a:cubicBezTo>
                    <a:pt x="533493" y="646317"/>
                    <a:pt x="568256" y="631876"/>
                    <a:pt x="594907" y="622061"/>
                  </a:cubicBezTo>
                  <a:cubicBezTo>
                    <a:pt x="609391" y="619184"/>
                    <a:pt x="617503" y="614558"/>
                    <a:pt x="623876" y="616308"/>
                  </a:cubicBezTo>
                  <a:cubicBezTo>
                    <a:pt x="627931" y="613995"/>
                    <a:pt x="631987" y="611682"/>
                    <a:pt x="631987" y="611682"/>
                  </a:cubicBezTo>
                  <a:cubicBezTo>
                    <a:pt x="631987" y="611682"/>
                    <a:pt x="631987" y="611682"/>
                    <a:pt x="660955" y="605930"/>
                  </a:cubicBezTo>
                  <a:cubicBezTo>
                    <a:pt x="660955" y="605930"/>
                    <a:pt x="660955" y="605930"/>
                    <a:pt x="671966" y="578114"/>
                  </a:cubicBezTo>
                  <a:cubicBezTo>
                    <a:pt x="684716" y="543922"/>
                    <a:pt x="703839" y="511481"/>
                    <a:pt x="721222" y="485414"/>
                  </a:cubicBezTo>
                  <a:cubicBezTo>
                    <a:pt x="758307" y="437345"/>
                    <a:pt x="795969" y="399714"/>
                    <a:pt x="840582" y="374271"/>
                  </a:cubicBezTo>
                  <a:cubicBezTo>
                    <a:pt x="874767" y="349392"/>
                    <a:pt x="907213" y="330888"/>
                    <a:pt x="944293" y="320509"/>
                  </a:cubicBezTo>
                  <a:cubicBezTo>
                    <a:pt x="991224" y="299129"/>
                    <a:pt x="1045105" y="289937"/>
                    <a:pt x="1092613" y="278995"/>
                  </a:cubicBezTo>
                  <a:cubicBezTo>
                    <a:pt x="1123898" y="277305"/>
                    <a:pt x="1148811" y="273866"/>
                    <a:pt x="1171985" y="276802"/>
                  </a:cubicBezTo>
                  <a:cubicBezTo>
                    <a:pt x="1169086" y="299992"/>
                    <a:pt x="1168503" y="327244"/>
                    <a:pt x="1163865" y="356810"/>
                  </a:cubicBezTo>
                  <a:cubicBezTo>
                    <a:pt x="1165599" y="388125"/>
                    <a:pt x="1169651" y="423503"/>
                    <a:pt x="1173702" y="458881"/>
                  </a:cubicBezTo>
                  <a:cubicBezTo>
                    <a:pt x="1184126" y="496008"/>
                    <a:pt x="1196867" y="537199"/>
                    <a:pt x="1213664" y="576076"/>
                  </a:cubicBezTo>
                  <a:cubicBezTo>
                    <a:pt x="1229883" y="604515"/>
                    <a:pt x="1248419" y="637017"/>
                    <a:pt x="1268693" y="663143"/>
                  </a:cubicBezTo>
                  <a:cubicBezTo>
                    <a:pt x="1304608" y="707269"/>
                    <a:pt x="1350373" y="740394"/>
                    <a:pt x="1406567" y="772955"/>
                  </a:cubicBezTo>
                  <a:cubicBezTo>
                    <a:pt x="1460444" y="801454"/>
                    <a:pt x="1526488" y="823014"/>
                    <a:pt x="1606438" y="831259"/>
                  </a:cubicBezTo>
                  <a:cubicBezTo>
                    <a:pt x="1612811" y="833009"/>
                    <a:pt x="1616867" y="830696"/>
                    <a:pt x="1623239" y="832446"/>
                  </a:cubicBezTo>
                  <a:cubicBezTo>
                    <a:pt x="1630768" y="855072"/>
                    <a:pt x="1640614" y="881762"/>
                    <a:pt x="1649882" y="898012"/>
                  </a:cubicBezTo>
                  <a:cubicBezTo>
                    <a:pt x="1659150" y="914263"/>
                    <a:pt x="1670157" y="924138"/>
                    <a:pt x="1670157" y="924138"/>
                  </a:cubicBezTo>
                  <a:cubicBezTo>
                    <a:pt x="1681741" y="944452"/>
                    <a:pt x="1704915" y="947388"/>
                    <a:pt x="1718821" y="934073"/>
                  </a:cubicBezTo>
                  <a:cubicBezTo>
                    <a:pt x="1736783" y="918445"/>
                    <a:pt x="1742000" y="899318"/>
                    <a:pt x="1726359" y="881318"/>
                  </a:cubicBezTo>
                  <a:cubicBezTo>
                    <a:pt x="1726359" y="881318"/>
                    <a:pt x="1713035" y="867380"/>
                    <a:pt x="1705506" y="844753"/>
                  </a:cubicBezTo>
                  <a:cubicBezTo>
                    <a:pt x="1698555" y="832565"/>
                    <a:pt x="1695660" y="818064"/>
                    <a:pt x="1688710" y="805876"/>
                  </a:cubicBezTo>
                  <a:cubicBezTo>
                    <a:pt x="1685814" y="791375"/>
                    <a:pt x="1684658" y="770498"/>
                    <a:pt x="1681763" y="755997"/>
                  </a:cubicBezTo>
                  <a:cubicBezTo>
                    <a:pt x="1685240" y="743246"/>
                    <a:pt x="1686401" y="726432"/>
                    <a:pt x="1689879" y="713680"/>
                  </a:cubicBezTo>
                  <a:cubicBezTo>
                    <a:pt x="1697412" y="698616"/>
                    <a:pt x="1704945" y="683551"/>
                    <a:pt x="1712479" y="668487"/>
                  </a:cubicBezTo>
                  <a:cubicBezTo>
                    <a:pt x="1724068" y="651110"/>
                    <a:pt x="1722912" y="630233"/>
                    <a:pt x="1705532" y="618608"/>
                  </a:cubicBezTo>
                  <a:cubicBezTo>
                    <a:pt x="1692209" y="604670"/>
                    <a:pt x="1667296" y="608110"/>
                    <a:pt x="1655707" y="625487"/>
                  </a:cubicBezTo>
                  <a:cubicBezTo>
                    <a:pt x="1640062" y="645178"/>
                    <a:pt x="1626734" y="668931"/>
                    <a:pt x="1623835" y="692120"/>
                  </a:cubicBezTo>
                  <a:cubicBezTo>
                    <a:pt x="1618040" y="700809"/>
                    <a:pt x="1614562" y="713561"/>
                    <a:pt x="1615141" y="723999"/>
                  </a:cubicBezTo>
                  <a:cubicBezTo>
                    <a:pt x="1556048" y="714627"/>
                    <a:pt x="1509122" y="698317"/>
                    <a:pt x="1472624" y="681443"/>
                  </a:cubicBezTo>
                  <a:cubicBezTo>
                    <a:pt x="1438444" y="668631"/>
                    <a:pt x="1416430" y="648881"/>
                    <a:pt x="1390361" y="631444"/>
                  </a:cubicBezTo>
                  <a:cubicBezTo>
                    <a:pt x="1359658" y="605881"/>
                    <a:pt x="1334750" y="571630"/>
                    <a:pt x="1316214" y="539128"/>
                  </a:cubicBezTo>
                  <a:cubicBezTo>
                    <a:pt x="1297679" y="506626"/>
                    <a:pt x="1289572" y="473561"/>
                    <a:pt x="1281464" y="440497"/>
                  </a:cubicBezTo>
                  <a:cubicBezTo>
                    <a:pt x="1275674" y="411494"/>
                    <a:pt x="1276257" y="384242"/>
                    <a:pt x="1272783" y="359302"/>
                  </a:cubicBezTo>
                  <a:cubicBezTo>
                    <a:pt x="1272788" y="321611"/>
                    <a:pt x="1277426" y="292046"/>
                    <a:pt x="1282642" y="272919"/>
                  </a:cubicBezTo>
                  <a:cubicBezTo>
                    <a:pt x="1286120" y="260167"/>
                    <a:pt x="1287859" y="253792"/>
                    <a:pt x="1289598" y="247416"/>
                  </a:cubicBezTo>
                  <a:cubicBezTo>
                    <a:pt x="1291336" y="241040"/>
                    <a:pt x="1291336" y="241040"/>
                    <a:pt x="1291336" y="241040"/>
                  </a:cubicBezTo>
                  <a:cubicBezTo>
                    <a:pt x="1305825" y="200473"/>
                    <a:pt x="1324947" y="168031"/>
                    <a:pt x="1346387" y="139652"/>
                  </a:cubicBezTo>
                  <a:cubicBezTo>
                    <a:pt x="1379415" y="93896"/>
                    <a:pt x="1419395" y="60327"/>
                    <a:pt x="1470381" y="36634"/>
                  </a:cubicBezTo>
                  <a:cubicBezTo>
                    <a:pt x="1521367" y="12941"/>
                    <a:pt x="1576987" y="-2627"/>
                    <a:pt x="1637819" y="369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65385">
                  <a:schemeClr val="accent3">
                    <a:lumMod val="100000"/>
                  </a:schemeClr>
                </a:gs>
                <a:gs pos="65485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" name="CustomText1">
              <a:extLst>
                <a:ext uri="{FF2B5EF4-FFF2-40B4-BE49-F238E27FC236}">
                  <a16:creationId xmlns:a16="http://schemas.microsoft.com/office/drawing/2014/main" id="{74FB3EEF-2ABF-4E2A-85D1-652D43971565}"/>
                </a:ext>
              </a:extLst>
            </p:cNvPr>
            <p:cNvSpPr/>
            <p:nvPr/>
          </p:nvSpPr>
          <p:spPr bwMode="auto">
            <a:xfrm>
              <a:off x="4830559" y="5643397"/>
              <a:ext cx="2530883" cy="713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+mj-lt"/>
                </a:rPr>
                <a:t>Go ahead and replace it with your own text.</a:t>
              </a:r>
            </a:p>
          </p:txBody>
        </p:sp>
        <p:sp>
          <p:nvSpPr>
            <p:cNvPr id="6" name="CustomText2">
              <a:extLst>
                <a:ext uri="{FF2B5EF4-FFF2-40B4-BE49-F238E27FC236}">
                  <a16:creationId xmlns:a16="http://schemas.microsoft.com/office/drawing/2014/main" id="{857C0472-2379-4CE0-85A1-1FFF8AC7D9E8}"/>
                </a:ext>
              </a:extLst>
            </p:cNvPr>
            <p:cNvSpPr txBox="1"/>
            <p:nvPr/>
          </p:nvSpPr>
          <p:spPr bwMode="auto">
            <a:xfrm>
              <a:off x="4830559" y="4914608"/>
              <a:ext cx="2530883" cy="6003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/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3200" b="1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+mj-lt"/>
                </a:rPr>
                <a:t>TEXT HERE</a:t>
              </a:r>
              <a:endParaRPr lang="zh-CN" altLang="en-US" sz="32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endParaRPr>
            </a:p>
          </p:txBody>
        </p:sp>
        <p:sp>
          <p:nvSpPr>
            <p:cNvPr id="7" name="ValueBack1">
              <a:extLst>
                <a:ext uri="{FF2B5EF4-FFF2-40B4-BE49-F238E27FC236}">
                  <a16:creationId xmlns:a16="http://schemas.microsoft.com/office/drawing/2014/main" id="{83511E64-F579-4497-A3A8-D2359351B25D}"/>
                </a:ext>
              </a:extLst>
            </p:cNvPr>
            <p:cNvSpPr/>
            <p:nvPr/>
          </p:nvSpPr>
          <p:spPr>
            <a:xfrm>
              <a:off x="3148184" y="2570833"/>
              <a:ext cx="478835" cy="60347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8" name="ValueBack2">
              <a:extLst>
                <a:ext uri="{FF2B5EF4-FFF2-40B4-BE49-F238E27FC236}">
                  <a16:creationId xmlns:a16="http://schemas.microsoft.com/office/drawing/2014/main" id="{E680AB2A-0996-46E8-9737-F39466D32007}"/>
                </a:ext>
              </a:extLst>
            </p:cNvPr>
            <p:cNvSpPr/>
            <p:nvPr/>
          </p:nvSpPr>
          <p:spPr>
            <a:xfrm>
              <a:off x="8309730" y="3316298"/>
              <a:ext cx="478835" cy="60347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9" name="CustomText">
              <a:extLst>
                <a:ext uri="{FF2B5EF4-FFF2-40B4-BE49-F238E27FC236}">
                  <a16:creationId xmlns:a16="http://schemas.microsoft.com/office/drawing/2014/main" id="{3F8BE1C2-68A8-4936-A4FC-DEC293A68767}"/>
                </a:ext>
              </a:extLst>
            </p:cNvPr>
            <p:cNvSpPr/>
            <p:nvPr/>
          </p:nvSpPr>
          <p:spPr>
            <a:xfrm>
              <a:off x="8222035" y="3370024"/>
              <a:ext cx="11330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rgbClr val="2C496B"/>
                  </a:solidFill>
                  <a:latin typeface="+mj-lt"/>
                </a:rPr>
                <a:t>Category</a:t>
              </a:r>
              <a:endParaRPr lang="zh-CN" altLang="en-US" sz="1200" dirty="0">
                <a:solidFill>
                  <a:srgbClr val="2C496B"/>
                </a:solidFill>
                <a:latin typeface="+mj-lt"/>
              </a:endParaRPr>
            </a:p>
          </p:txBody>
        </p:sp>
        <p:sp>
          <p:nvSpPr>
            <p:cNvPr id="10" name="CustomText">
              <a:extLst>
                <a:ext uri="{FF2B5EF4-FFF2-40B4-BE49-F238E27FC236}">
                  <a16:creationId xmlns:a16="http://schemas.microsoft.com/office/drawing/2014/main" id="{FF046D74-A9CB-47F9-9FAF-AE15CDA4C8C2}"/>
                </a:ext>
              </a:extLst>
            </p:cNvPr>
            <p:cNvSpPr/>
            <p:nvPr/>
          </p:nvSpPr>
          <p:spPr>
            <a:xfrm>
              <a:off x="3060489" y="2588211"/>
              <a:ext cx="90947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rgbClr val="2C496B"/>
                  </a:solidFill>
                  <a:latin typeface="+mj-lt"/>
                </a:rPr>
                <a:t>Category</a:t>
              </a:r>
              <a:endParaRPr lang="zh-CN" altLang="en-US" sz="1200" dirty="0">
                <a:solidFill>
                  <a:srgbClr val="2C496B"/>
                </a:solidFill>
                <a:latin typeface="+mj-lt"/>
              </a:endParaRPr>
            </a:p>
          </p:txBody>
        </p:sp>
        <p:sp>
          <p:nvSpPr>
            <p:cNvPr id="11" name="CustomText2">
              <a:extLst>
                <a:ext uri="{FF2B5EF4-FFF2-40B4-BE49-F238E27FC236}">
                  <a16:creationId xmlns:a16="http://schemas.microsoft.com/office/drawing/2014/main" id="{FCFEBEAC-B1C5-4AE1-A199-C2051B903D91}"/>
                </a:ext>
              </a:extLst>
            </p:cNvPr>
            <p:cNvSpPr/>
            <p:nvPr/>
          </p:nvSpPr>
          <p:spPr bwMode="auto">
            <a:xfrm>
              <a:off x="3060489" y="2790694"/>
              <a:ext cx="909477" cy="235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700" dirty="0">
                  <a:solidFill>
                    <a:schemeClr val="bg2">
                      <a:lumMod val="75000"/>
                    </a:schemeClr>
                  </a:solidFill>
                  <a:latin typeface="+mj-lt"/>
                </a:rPr>
                <a:t>Text Here</a:t>
              </a:r>
              <a:endParaRPr lang="zh-CN" altLang="en-US" sz="700" dirty="0">
                <a:solidFill>
                  <a:schemeClr val="bg2">
                    <a:lumMod val="75000"/>
                  </a:schemeClr>
                </a:solidFill>
                <a:latin typeface="+mj-lt"/>
              </a:endParaRPr>
            </a:p>
            <a:p>
              <a:pPr>
                <a:spcBef>
                  <a:spcPct val="0"/>
                </a:spcBef>
              </a:pPr>
              <a:endParaRPr lang="zh-CN" altLang="en-US" sz="700" dirty="0">
                <a:solidFill>
                  <a:schemeClr val="bg2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12" name="ValueText1">
              <a:extLst>
                <a:ext uri="{FF2B5EF4-FFF2-40B4-BE49-F238E27FC236}">
                  <a16:creationId xmlns:a16="http://schemas.microsoft.com/office/drawing/2014/main" id="{9631FC45-7676-4C92-AB7E-385C54C25686}"/>
                </a:ext>
              </a:extLst>
            </p:cNvPr>
            <p:cNvSpPr txBox="1"/>
            <p:nvPr/>
          </p:nvSpPr>
          <p:spPr>
            <a:xfrm>
              <a:off x="2603697" y="2573540"/>
              <a:ext cx="459060" cy="344292"/>
            </a:xfrm>
            <a:prstGeom prst="rect">
              <a:avLst/>
            </a:prstGeom>
            <a:noFill/>
          </p:spPr>
          <p:txBody>
            <a:bodyPr wrap="none" anchor="ctr" anchorCtr="0">
              <a:prstTxWarp prst="textPlain">
                <a:avLst/>
              </a:prstTxWarp>
              <a:normAutofit fontScale="32500" lnSpcReduction="20000"/>
            </a:bodyPr>
            <a:lstStyle/>
            <a:p>
              <a:r>
                <a:rPr lang="en-US" sz="6000" dirty="0">
                  <a:solidFill>
                    <a:schemeClr val="accent1">
                      <a:lumMod val="100000"/>
                    </a:schemeClr>
                  </a:solidFill>
                  <a:latin typeface="+mj-lt"/>
                </a:rPr>
                <a:t>61%</a:t>
              </a:r>
            </a:p>
          </p:txBody>
        </p:sp>
        <p:sp>
          <p:nvSpPr>
            <p:cNvPr id="13" name="ValueText2">
              <a:extLst>
                <a:ext uri="{FF2B5EF4-FFF2-40B4-BE49-F238E27FC236}">
                  <a16:creationId xmlns:a16="http://schemas.microsoft.com/office/drawing/2014/main" id="{0955A236-9706-4682-94D8-0F41CE078C3B}"/>
                </a:ext>
              </a:extLst>
            </p:cNvPr>
            <p:cNvSpPr txBox="1"/>
            <p:nvPr/>
          </p:nvSpPr>
          <p:spPr>
            <a:xfrm>
              <a:off x="9065996" y="3326371"/>
              <a:ext cx="459060" cy="344292"/>
            </a:xfrm>
            <a:prstGeom prst="rect">
              <a:avLst/>
            </a:prstGeom>
            <a:noFill/>
          </p:spPr>
          <p:txBody>
            <a:bodyPr wrap="none" anchor="ctr" anchorCtr="0">
              <a:prstTxWarp prst="textPlain">
                <a:avLst/>
              </a:prstTxWarp>
              <a:normAutofit fontScale="32500" lnSpcReduction="20000"/>
            </a:bodyPr>
            <a:lstStyle/>
            <a:p>
              <a:r>
                <a:rPr lang="en-US" sz="6000">
                  <a:solidFill>
                    <a:schemeClr val="accent3">
                      <a:lumMod val="100000"/>
                    </a:schemeClr>
                  </a:solidFill>
                  <a:latin typeface="+mj-lt"/>
                </a:rPr>
                <a:t>65%</a:t>
              </a:r>
              <a:endParaRPr lang="en-US" sz="6000" dirty="0">
                <a:solidFill>
                  <a:schemeClr val="accent3">
                    <a:lumMod val="100000"/>
                  </a:schemeClr>
                </a:solidFill>
                <a:latin typeface="+mj-lt"/>
              </a:endParaRPr>
            </a:p>
          </p:txBody>
        </p:sp>
      </p:grpSp>
      <p:sp>
        <p:nvSpPr>
          <p:cNvPr id="16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18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4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98252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03cdf1aa-cf1c-4df9-b158-32d001988974" descr="jxgAAB+LCAAAAAAABADtWE1v2kAQ/S/b9IaQ15/ALZQS5ZAmCqiXioNjL2Zbf6D1IgVF/Peu1zaMsaF2IifQwAGxszP223lvZke8oCvqogHCqIOu+HpJxO9JYDM+orbH7OAucokv9h5YtCSMUxKjwa+XLEgFQT9tf0Uyr7Ww39GQBqtAmtFA6SrCZD8DE1akcUQcGtj+iHqUi2cLy238QJhDQp45crYiHZQtjH7XxIbW09Nvw+p10A2LVkt5hk0nh6YBaN8iP2IAWvao3FUHrvfzOXXIdEECIqPE1pSG/Dp0JwvbzQ8yZNRb8JDEcWa4f/pNHA7CBoYIlI+U7qt4IR7+ZSw+w7GiCJyVoI36oM0S6EeS5CxH/eg9oYFlYhWbSg4FF6AoimpZ+iEoFtQDZzT0yliQ8hVVR/dA9DCKfGKH5fCU16rw/vvrysJdICsT74CpABhW6jOEcRu66lXrStO+a6MRJLMAW20AW2tBWQUwemNpFcKN5toS8TOBkIaueBlsYBiW0Q2zXSoOmvnJpickxNbFjCWZYmQue4w44oQ4Uege8TISrwq7Ku226LGEExbLnT0kYDfPNBpTP+nH16Hni6VqSZ0IES3JD+GbHC7NgTRhNNuUe/fu/YWjFBBf3C5uR91moCThZTElz6CC9up7p36reVVIRceFmqjQffL+2rI/pwVMeG+/n8OeVd2nqnOaNq2KNpOkMWkzTtL6xTUQE57dOfkVtTUmDQheZoWNVzCkHZTdiS8gQ/3WGcovghYYGtrOn/+dIbU0yn0oQ2Zthm7FvPHPy/0ksv1WhvBbhjOs1JrOsHrgIuq/w3imHmGwDxMjD1PEfHG8OL7aEVaZ2nx4w3rzoqk/vdWuinNawIyX/ps6evOkjey0xrdjFO2p7WxXkDG9fcZaHuc+G2Olv1I/lrH64922xpIusZ31Pgd9s81fFeU/VY8YAAA=">
            <a:extLst>
              <a:ext uri="{FF2B5EF4-FFF2-40B4-BE49-F238E27FC236}">
                <a16:creationId xmlns:a16="http://schemas.microsoft.com/office/drawing/2014/main" id="{B2B1D634-CFAE-4EEB-83FD-934B497D05F3}"/>
              </a:ext>
            </a:extLst>
          </p:cNvPr>
          <p:cNvGrpSpPr>
            <a:grpSpLocks noChangeAspect="1"/>
          </p:cNvGrpSpPr>
          <p:nvPr/>
        </p:nvGrpSpPr>
        <p:grpSpPr>
          <a:xfrm>
            <a:off x="1919357" y="1807381"/>
            <a:ext cx="8353286" cy="3243239"/>
            <a:chOff x="1919357" y="1807381"/>
            <a:chExt cx="8353286" cy="3243239"/>
          </a:xfrm>
        </p:grpSpPr>
        <p:sp>
          <p:nvSpPr>
            <p:cNvPr id="3" name="IconShape1">
              <a:extLst>
                <a:ext uri="{FF2B5EF4-FFF2-40B4-BE49-F238E27FC236}">
                  <a16:creationId xmlns:a16="http://schemas.microsoft.com/office/drawing/2014/main" id="{1EFD41F8-D189-454A-BAD9-8F2CA58E9E92}"/>
                </a:ext>
              </a:extLst>
            </p:cNvPr>
            <p:cNvSpPr/>
            <p:nvPr/>
          </p:nvSpPr>
          <p:spPr bwMode="auto">
            <a:xfrm>
              <a:off x="1919357" y="3328695"/>
              <a:ext cx="1316450" cy="1643314"/>
            </a:xfrm>
            <a:custGeom>
              <a:avLst/>
              <a:gdLst>
                <a:gd name="T0" fmla="*/ 1269 w 6165"/>
                <a:gd name="T1" fmla="*/ 2992 h 7707"/>
                <a:gd name="T2" fmla="*/ 1269 w 6165"/>
                <a:gd name="T3" fmla="*/ 4624 h 7707"/>
                <a:gd name="T4" fmla="*/ 4896 w 6165"/>
                <a:gd name="T5" fmla="*/ 4624 h 7707"/>
                <a:gd name="T6" fmla="*/ 4896 w 6165"/>
                <a:gd name="T7" fmla="*/ 2992 h 7707"/>
                <a:gd name="T8" fmla="*/ 4896 w 6165"/>
                <a:gd name="T9" fmla="*/ 4624 h 7707"/>
                <a:gd name="T10" fmla="*/ 4533 w 6165"/>
                <a:gd name="T11" fmla="*/ 4896 h 7707"/>
                <a:gd name="T12" fmla="*/ 3626 w 6165"/>
                <a:gd name="T13" fmla="*/ 6318 h 7707"/>
                <a:gd name="T14" fmla="*/ 3119 w 6165"/>
                <a:gd name="T15" fmla="*/ 6758 h 7707"/>
                <a:gd name="T16" fmla="*/ 2612 w 6165"/>
                <a:gd name="T17" fmla="*/ 6464 h 7707"/>
                <a:gd name="T18" fmla="*/ 2538 w 6165"/>
                <a:gd name="T19" fmla="*/ 5803 h 7707"/>
                <a:gd name="T20" fmla="*/ 906 w 6165"/>
                <a:gd name="T21" fmla="*/ 4896 h 7707"/>
                <a:gd name="T22" fmla="*/ 0 w 6165"/>
                <a:gd name="T23" fmla="*/ 6984 h 7707"/>
                <a:gd name="T24" fmla="*/ 229 w 6165"/>
                <a:gd name="T25" fmla="*/ 7208 h 7707"/>
                <a:gd name="T26" fmla="*/ 453 w 6165"/>
                <a:gd name="T27" fmla="*/ 7707 h 7707"/>
                <a:gd name="T28" fmla="*/ 2085 w 6165"/>
                <a:gd name="T29" fmla="*/ 6664 h 7707"/>
                <a:gd name="T30" fmla="*/ 2882 w 6165"/>
                <a:gd name="T31" fmla="*/ 7210 h 7707"/>
                <a:gd name="T32" fmla="*/ 3626 w 6165"/>
                <a:gd name="T33" fmla="*/ 6982 h 7707"/>
                <a:gd name="T34" fmla="*/ 4080 w 6165"/>
                <a:gd name="T35" fmla="*/ 7707 h 7707"/>
                <a:gd name="T36" fmla="*/ 5712 w 6165"/>
                <a:gd name="T37" fmla="*/ 6984 h 7707"/>
                <a:gd name="T38" fmla="*/ 5941 w 6165"/>
                <a:gd name="T39" fmla="*/ 7208 h 7707"/>
                <a:gd name="T40" fmla="*/ 6165 w 6165"/>
                <a:gd name="T41" fmla="*/ 5803 h 7707"/>
                <a:gd name="T42" fmla="*/ 4896 w 6165"/>
                <a:gd name="T43" fmla="*/ 1269 h 7707"/>
                <a:gd name="T44" fmla="*/ 2663 w 6165"/>
                <a:gd name="T45" fmla="*/ 2518 h 7707"/>
                <a:gd name="T46" fmla="*/ 2032 w 6165"/>
                <a:gd name="T47" fmla="*/ 2364 h 7707"/>
                <a:gd name="T48" fmla="*/ 2992 w 6165"/>
                <a:gd name="T49" fmla="*/ 0 h 7707"/>
                <a:gd name="T50" fmla="*/ 2493 w 6165"/>
                <a:gd name="T51" fmla="*/ 1269 h 7707"/>
                <a:gd name="T52" fmla="*/ 1949 w 6165"/>
                <a:gd name="T53" fmla="*/ 1269 h 7707"/>
                <a:gd name="T54" fmla="*/ 2493 w 6165"/>
                <a:gd name="T55" fmla="*/ 1269 h 7707"/>
                <a:gd name="T56" fmla="*/ 3037 w 6165"/>
                <a:gd name="T57" fmla="*/ 997 h 7707"/>
                <a:gd name="T58" fmla="*/ 3037 w 6165"/>
                <a:gd name="T59" fmla="*/ 1541 h 7707"/>
                <a:gd name="T60" fmla="*/ 4125 w 6165"/>
                <a:gd name="T61" fmla="*/ 1269 h 7707"/>
                <a:gd name="T62" fmla="*/ 3581 w 6165"/>
                <a:gd name="T63" fmla="*/ 1269 h 7707"/>
                <a:gd name="T64" fmla="*/ 4125 w 6165"/>
                <a:gd name="T65" fmla="*/ 1269 h 7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65" h="7707">
                  <a:moveTo>
                    <a:pt x="453" y="3808"/>
                  </a:moveTo>
                  <a:cubicBezTo>
                    <a:pt x="453" y="3357"/>
                    <a:pt x="818" y="2992"/>
                    <a:pt x="1269" y="2992"/>
                  </a:cubicBezTo>
                  <a:cubicBezTo>
                    <a:pt x="1720" y="2992"/>
                    <a:pt x="2085" y="3357"/>
                    <a:pt x="2085" y="3808"/>
                  </a:cubicBezTo>
                  <a:cubicBezTo>
                    <a:pt x="2085" y="4259"/>
                    <a:pt x="1720" y="4624"/>
                    <a:pt x="1269" y="4624"/>
                  </a:cubicBezTo>
                  <a:cubicBezTo>
                    <a:pt x="818" y="4624"/>
                    <a:pt x="453" y="4259"/>
                    <a:pt x="453" y="3808"/>
                  </a:cubicBezTo>
                  <a:close/>
                  <a:moveTo>
                    <a:pt x="4896" y="4624"/>
                  </a:moveTo>
                  <a:cubicBezTo>
                    <a:pt x="5346" y="4624"/>
                    <a:pt x="5712" y="4259"/>
                    <a:pt x="5712" y="3808"/>
                  </a:cubicBezTo>
                  <a:cubicBezTo>
                    <a:pt x="5712" y="3357"/>
                    <a:pt x="5346" y="2992"/>
                    <a:pt x="4896" y="2992"/>
                  </a:cubicBezTo>
                  <a:cubicBezTo>
                    <a:pt x="4445" y="2992"/>
                    <a:pt x="4080" y="3357"/>
                    <a:pt x="4080" y="3808"/>
                  </a:cubicBezTo>
                  <a:cubicBezTo>
                    <a:pt x="4080" y="4259"/>
                    <a:pt x="4445" y="4624"/>
                    <a:pt x="4896" y="4624"/>
                  </a:cubicBezTo>
                  <a:close/>
                  <a:moveTo>
                    <a:pt x="5258" y="4896"/>
                  </a:moveTo>
                  <a:lnTo>
                    <a:pt x="4533" y="4896"/>
                  </a:lnTo>
                  <a:cubicBezTo>
                    <a:pt x="4032" y="4896"/>
                    <a:pt x="3626" y="5302"/>
                    <a:pt x="3626" y="5803"/>
                  </a:cubicBezTo>
                  <a:lnTo>
                    <a:pt x="3626" y="6318"/>
                  </a:lnTo>
                  <a:cubicBezTo>
                    <a:pt x="3626" y="6375"/>
                    <a:pt x="3599" y="6429"/>
                    <a:pt x="3553" y="6464"/>
                  </a:cubicBezTo>
                  <a:lnTo>
                    <a:pt x="3119" y="6758"/>
                  </a:lnTo>
                  <a:cubicBezTo>
                    <a:pt x="3088" y="6779"/>
                    <a:pt x="3046" y="6778"/>
                    <a:pt x="3015" y="6756"/>
                  </a:cubicBezTo>
                  <a:lnTo>
                    <a:pt x="2612" y="6464"/>
                  </a:lnTo>
                  <a:cubicBezTo>
                    <a:pt x="2566" y="6429"/>
                    <a:pt x="2538" y="6375"/>
                    <a:pt x="2538" y="6318"/>
                  </a:cubicBezTo>
                  <a:lnTo>
                    <a:pt x="2538" y="5803"/>
                  </a:lnTo>
                  <a:cubicBezTo>
                    <a:pt x="2538" y="5302"/>
                    <a:pt x="2132" y="4896"/>
                    <a:pt x="1632" y="4896"/>
                  </a:cubicBezTo>
                  <a:lnTo>
                    <a:pt x="906" y="4896"/>
                  </a:lnTo>
                  <a:cubicBezTo>
                    <a:pt x="406" y="4896"/>
                    <a:pt x="0" y="5302"/>
                    <a:pt x="0" y="5803"/>
                  </a:cubicBezTo>
                  <a:lnTo>
                    <a:pt x="0" y="6984"/>
                  </a:lnTo>
                  <a:cubicBezTo>
                    <a:pt x="0" y="7108"/>
                    <a:pt x="100" y="7208"/>
                    <a:pt x="224" y="7208"/>
                  </a:cubicBezTo>
                  <a:lnTo>
                    <a:pt x="229" y="7208"/>
                  </a:lnTo>
                  <a:cubicBezTo>
                    <a:pt x="353" y="7208"/>
                    <a:pt x="453" y="7108"/>
                    <a:pt x="453" y="6984"/>
                  </a:cubicBezTo>
                  <a:lnTo>
                    <a:pt x="453" y="7707"/>
                  </a:lnTo>
                  <a:lnTo>
                    <a:pt x="2085" y="7707"/>
                  </a:lnTo>
                  <a:lnTo>
                    <a:pt x="2085" y="6664"/>
                  </a:lnTo>
                  <a:lnTo>
                    <a:pt x="2538" y="6982"/>
                  </a:lnTo>
                  <a:lnTo>
                    <a:pt x="2882" y="7210"/>
                  </a:lnTo>
                  <a:cubicBezTo>
                    <a:pt x="3003" y="7291"/>
                    <a:pt x="3162" y="7291"/>
                    <a:pt x="3283" y="7210"/>
                  </a:cubicBezTo>
                  <a:lnTo>
                    <a:pt x="3626" y="6982"/>
                  </a:lnTo>
                  <a:lnTo>
                    <a:pt x="4080" y="6664"/>
                  </a:lnTo>
                  <a:lnTo>
                    <a:pt x="4080" y="7707"/>
                  </a:lnTo>
                  <a:lnTo>
                    <a:pt x="5712" y="7707"/>
                  </a:lnTo>
                  <a:lnTo>
                    <a:pt x="5712" y="6984"/>
                  </a:lnTo>
                  <a:cubicBezTo>
                    <a:pt x="5712" y="7108"/>
                    <a:pt x="5812" y="7208"/>
                    <a:pt x="5936" y="7208"/>
                  </a:cubicBezTo>
                  <a:lnTo>
                    <a:pt x="5941" y="7208"/>
                  </a:lnTo>
                  <a:cubicBezTo>
                    <a:pt x="6065" y="7208"/>
                    <a:pt x="6165" y="7108"/>
                    <a:pt x="6165" y="6984"/>
                  </a:cubicBezTo>
                  <a:lnTo>
                    <a:pt x="6165" y="5803"/>
                  </a:lnTo>
                  <a:cubicBezTo>
                    <a:pt x="6165" y="5302"/>
                    <a:pt x="5759" y="4896"/>
                    <a:pt x="5258" y="4896"/>
                  </a:cubicBezTo>
                  <a:close/>
                  <a:moveTo>
                    <a:pt x="4896" y="1269"/>
                  </a:moveTo>
                  <a:cubicBezTo>
                    <a:pt x="4896" y="1970"/>
                    <a:pt x="4043" y="2539"/>
                    <a:pt x="2992" y="2539"/>
                  </a:cubicBezTo>
                  <a:cubicBezTo>
                    <a:pt x="2879" y="2539"/>
                    <a:pt x="2770" y="2531"/>
                    <a:pt x="2663" y="2518"/>
                  </a:cubicBezTo>
                  <a:cubicBezTo>
                    <a:pt x="2392" y="2810"/>
                    <a:pt x="1858" y="2856"/>
                    <a:pt x="1858" y="2856"/>
                  </a:cubicBezTo>
                  <a:cubicBezTo>
                    <a:pt x="1951" y="2686"/>
                    <a:pt x="2011" y="2521"/>
                    <a:pt x="2032" y="2364"/>
                  </a:cubicBezTo>
                  <a:cubicBezTo>
                    <a:pt x="1468" y="2144"/>
                    <a:pt x="1088" y="1737"/>
                    <a:pt x="1088" y="1269"/>
                  </a:cubicBezTo>
                  <a:cubicBezTo>
                    <a:pt x="1088" y="568"/>
                    <a:pt x="1940" y="0"/>
                    <a:pt x="2992" y="0"/>
                  </a:cubicBezTo>
                  <a:cubicBezTo>
                    <a:pt x="4043" y="0"/>
                    <a:pt x="4896" y="568"/>
                    <a:pt x="4896" y="1269"/>
                  </a:cubicBezTo>
                  <a:close/>
                  <a:moveTo>
                    <a:pt x="2493" y="1269"/>
                  </a:moveTo>
                  <a:cubicBezTo>
                    <a:pt x="2493" y="1119"/>
                    <a:pt x="2371" y="997"/>
                    <a:pt x="2221" y="997"/>
                  </a:cubicBezTo>
                  <a:cubicBezTo>
                    <a:pt x="2071" y="997"/>
                    <a:pt x="1949" y="1119"/>
                    <a:pt x="1949" y="1269"/>
                  </a:cubicBezTo>
                  <a:cubicBezTo>
                    <a:pt x="1949" y="1420"/>
                    <a:pt x="2071" y="1541"/>
                    <a:pt x="2221" y="1541"/>
                  </a:cubicBezTo>
                  <a:cubicBezTo>
                    <a:pt x="2371" y="1541"/>
                    <a:pt x="2493" y="1420"/>
                    <a:pt x="2493" y="1269"/>
                  </a:cubicBezTo>
                  <a:close/>
                  <a:moveTo>
                    <a:pt x="3309" y="1269"/>
                  </a:moveTo>
                  <a:cubicBezTo>
                    <a:pt x="3309" y="1119"/>
                    <a:pt x="3187" y="997"/>
                    <a:pt x="3037" y="997"/>
                  </a:cubicBezTo>
                  <a:cubicBezTo>
                    <a:pt x="2887" y="997"/>
                    <a:pt x="2765" y="1119"/>
                    <a:pt x="2765" y="1269"/>
                  </a:cubicBezTo>
                  <a:cubicBezTo>
                    <a:pt x="2765" y="1420"/>
                    <a:pt x="2887" y="1541"/>
                    <a:pt x="3037" y="1541"/>
                  </a:cubicBezTo>
                  <a:cubicBezTo>
                    <a:pt x="3187" y="1541"/>
                    <a:pt x="3309" y="1420"/>
                    <a:pt x="3309" y="1269"/>
                  </a:cubicBezTo>
                  <a:close/>
                  <a:moveTo>
                    <a:pt x="4125" y="1269"/>
                  </a:moveTo>
                  <a:cubicBezTo>
                    <a:pt x="4125" y="1119"/>
                    <a:pt x="4003" y="997"/>
                    <a:pt x="3853" y="997"/>
                  </a:cubicBezTo>
                  <a:cubicBezTo>
                    <a:pt x="3703" y="997"/>
                    <a:pt x="3581" y="1119"/>
                    <a:pt x="3581" y="1269"/>
                  </a:cubicBezTo>
                  <a:cubicBezTo>
                    <a:pt x="3581" y="1420"/>
                    <a:pt x="3703" y="1541"/>
                    <a:pt x="3853" y="1541"/>
                  </a:cubicBezTo>
                  <a:cubicBezTo>
                    <a:pt x="4003" y="1541"/>
                    <a:pt x="4125" y="1420"/>
                    <a:pt x="4125" y="1269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</p:sp>
        <p:sp>
          <p:nvSpPr>
            <p:cNvPr id="4" name="IconShape2">
              <a:extLst>
                <a:ext uri="{FF2B5EF4-FFF2-40B4-BE49-F238E27FC236}">
                  <a16:creationId xmlns:a16="http://schemas.microsoft.com/office/drawing/2014/main" id="{8DDE6EA3-2C77-44BF-A56C-901A359DAFFC}"/>
                </a:ext>
              </a:extLst>
            </p:cNvPr>
            <p:cNvSpPr/>
            <p:nvPr/>
          </p:nvSpPr>
          <p:spPr bwMode="auto">
            <a:xfrm>
              <a:off x="8836498" y="2069127"/>
              <a:ext cx="1436145" cy="1522475"/>
            </a:xfrm>
            <a:custGeom>
              <a:avLst/>
              <a:gdLst>
                <a:gd name="connsiteX0" fmla="*/ 163934 w 574049"/>
                <a:gd name="connsiteY0" fmla="*/ 419229 h 608556"/>
                <a:gd name="connsiteX1" fmla="*/ 243204 w 574049"/>
                <a:gd name="connsiteY1" fmla="*/ 456825 h 608556"/>
                <a:gd name="connsiteX2" fmla="*/ 322474 w 574049"/>
                <a:gd name="connsiteY2" fmla="*/ 419229 h 608556"/>
                <a:gd name="connsiteX3" fmla="*/ 465217 w 574049"/>
                <a:gd name="connsiteY3" fmla="*/ 530768 h 608556"/>
                <a:gd name="connsiteX4" fmla="*/ 476968 w 574049"/>
                <a:gd name="connsiteY4" fmla="*/ 565383 h 608556"/>
                <a:gd name="connsiteX5" fmla="*/ 472634 w 574049"/>
                <a:gd name="connsiteY5" fmla="*/ 594902 h 608556"/>
                <a:gd name="connsiteX6" fmla="*/ 446050 w 574049"/>
                <a:gd name="connsiteY6" fmla="*/ 608556 h 608556"/>
                <a:gd name="connsiteX7" fmla="*/ 40358 w 574049"/>
                <a:gd name="connsiteY7" fmla="*/ 608556 h 608556"/>
                <a:gd name="connsiteX8" fmla="*/ 13871 w 574049"/>
                <a:gd name="connsiteY8" fmla="*/ 594902 h 608556"/>
                <a:gd name="connsiteX9" fmla="*/ 9440 w 574049"/>
                <a:gd name="connsiteY9" fmla="*/ 565383 h 608556"/>
                <a:gd name="connsiteX10" fmla="*/ 21191 w 574049"/>
                <a:gd name="connsiteY10" fmla="*/ 530768 h 608556"/>
                <a:gd name="connsiteX11" fmla="*/ 163934 w 574049"/>
                <a:gd name="connsiteY11" fmla="*/ 419229 h 608556"/>
                <a:gd name="connsiteX12" fmla="*/ 406631 w 574049"/>
                <a:gd name="connsiteY12" fmla="*/ 313875 h 608556"/>
                <a:gd name="connsiteX13" fmla="*/ 472435 w 574049"/>
                <a:gd name="connsiteY13" fmla="*/ 379473 h 608556"/>
                <a:gd name="connsiteX14" fmla="*/ 438040 w 574049"/>
                <a:gd name="connsiteY14" fmla="*/ 436800 h 608556"/>
                <a:gd name="connsiteX15" fmla="*/ 344006 w 574049"/>
                <a:gd name="connsiteY15" fmla="*/ 390920 h 608556"/>
                <a:gd name="connsiteX16" fmla="*/ 371946 w 574049"/>
                <a:gd name="connsiteY16" fmla="*/ 323974 h 608556"/>
                <a:gd name="connsiteX17" fmla="*/ 406631 w 574049"/>
                <a:gd name="connsiteY17" fmla="*/ 313875 h 608556"/>
                <a:gd name="connsiteX18" fmla="*/ 381817 w 574049"/>
                <a:gd name="connsiteY18" fmla="*/ 212472 h 608556"/>
                <a:gd name="connsiteX19" fmla="*/ 431512 w 574049"/>
                <a:gd name="connsiteY19" fmla="*/ 212472 h 608556"/>
                <a:gd name="connsiteX20" fmla="*/ 445284 w 574049"/>
                <a:gd name="connsiteY20" fmla="*/ 226127 h 608556"/>
                <a:gd name="connsiteX21" fmla="*/ 445284 w 574049"/>
                <a:gd name="connsiteY21" fmla="*/ 254301 h 608556"/>
                <a:gd name="connsiteX22" fmla="*/ 468013 w 574049"/>
                <a:gd name="connsiteY22" fmla="*/ 263725 h 608556"/>
                <a:gd name="connsiteX23" fmla="*/ 488045 w 574049"/>
                <a:gd name="connsiteY23" fmla="*/ 243820 h 608556"/>
                <a:gd name="connsiteX24" fmla="*/ 497773 w 574049"/>
                <a:gd name="connsiteY24" fmla="*/ 239781 h 608556"/>
                <a:gd name="connsiteX25" fmla="*/ 507403 w 574049"/>
                <a:gd name="connsiteY25" fmla="*/ 243820 h 608556"/>
                <a:gd name="connsiteX26" fmla="*/ 542556 w 574049"/>
                <a:gd name="connsiteY26" fmla="*/ 278918 h 608556"/>
                <a:gd name="connsiteX27" fmla="*/ 546601 w 574049"/>
                <a:gd name="connsiteY27" fmla="*/ 288630 h 608556"/>
                <a:gd name="connsiteX28" fmla="*/ 542556 w 574049"/>
                <a:gd name="connsiteY28" fmla="*/ 298246 h 608556"/>
                <a:gd name="connsiteX29" fmla="*/ 522620 w 574049"/>
                <a:gd name="connsiteY29" fmla="*/ 318247 h 608556"/>
                <a:gd name="connsiteX30" fmla="*/ 532155 w 574049"/>
                <a:gd name="connsiteY30" fmla="*/ 340941 h 608556"/>
                <a:gd name="connsiteX31" fmla="*/ 560277 w 574049"/>
                <a:gd name="connsiteY31" fmla="*/ 340941 h 608556"/>
                <a:gd name="connsiteX32" fmla="*/ 574049 w 574049"/>
                <a:gd name="connsiteY32" fmla="*/ 354692 h 608556"/>
                <a:gd name="connsiteX33" fmla="*/ 574049 w 574049"/>
                <a:gd name="connsiteY33" fmla="*/ 404310 h 608556"/>
                <a:gd name="connsiteX34" fmla="*/ 570004 w 574049"/>
                <a:gd name="connsiteY34" fmla="*/ 414022 h 608556"/>
                <a:gd name="connsiteX35" fmla="*/ 560277 w 574049"/>
                <a:gd name="connsiteY35" fmla="*/ 418060 h 608556"/>
                <a:gd name="connsiteX36" fmla="*/ 532155 w 574049"/>
                <a:gd name="connsiteY36" fmla="*/ 418060 h 608556"/>
                <a:gd name="connsiteX37" fmla="*/ 522620 w 574049"/>
                <a:gd name="connsiteY37" fmla="*/ 440754 h 608556"/>
                <a:gd name="connsiteX38" fmla="*/ 542652 w 574049"/>
                <a:gd name="connsiteY38" fmla="*/ 460755 h 608556"/>
                <a:gd name="connsiteX39" fmla="*/ 546601 w 574049"/>
                <a:gd name="connsiteY39" fmla="*/ 470371 h 608556"/>
                <a:gd name="connsiteX40" fmla="*/ 542652 w 574049"/>
                <a:gd name="connsiteY40" fmla="*/ 480083 h 608556"/>
                <a:gd name="connsiteX41" fmla="*/ 507500 w 574049"/>
                <a:gd name="connsiteY41" fmla="*/ 515181 h 608556"/>
                <a:gd name="connsiteX42" fmla="*/ 497773 w 574049"/>
                <a:gd name="connsiteY42" fmla="*/ 519220 h 608556"/>
                <a:gd name="connsiteX43" fmla="*/ 493246 w 574049"/>
                <a:gd name="connsiteY43" fmla="*/ 518355 h 608556"/>
                <a:gd name="connsiteX44" fmla="*/ 453182 w 574049"/>
                <a:gd name="connsiteY44" fmla="*/ 451716 h 608556"/>
                <a:gd name="connsiteX45" fmla="*/ 492861 w 574049"/>
                <a:gd name="connsiteY45" fmla="*/ 379501 h 608556"/>
                <a:gd name="connsiteX46" fmla="*/ 406665 w 574049"/>
                <a:gd name="connsiteY46" fmla="*/ 293534 h 608556"/>
                <a:gd name="connsiteX47" fmla="*/ 377098 w 574049"/>
                <a:gd name="connsiteY47" fmla="*/ 299015 h 608556"/>
                <a:gd name="connsiteX48" fmla="*/ 379698 w 574049"/>
                <a:gd name="connsiteY48" fmla="*/ 265167 h 608556"/>
                <a:gd name="connsiteX49" fmla="*/ 373149 w 574049"/>
                <a:gd name="connsiteY49" fmla="*/ 215741 h 608556"/>
                <a:gd name="connsiteX50" fmla="*/ 381817 w 574049"/>
                <a:gd name="connsiteY50" fmla="*/ 212472 h 608556"/>
                <a:gd name="connsiteX51" fmla="*/ 243227 w 574049"/>
                <a:gd name="connsiteY51" fmla="*/ 144222 h 608556"/>
                <a:gd name="connsiteX52" fmla="*/ 348920 w 574049"/>
                <a:gd name="connsiteY52" fmla="*/ 265117 h 608556"/>
                <a:gd name="connsiteX53" fmla="*/ 243190 w 574049"/>
                <a:gd name="connsiteY53" fmla="*/ 426215 h 608556"/>
                <a:gd name="connsiteX54" fmla="*/ 137461 w 574049"/>
                <a:gd name="connsiteY54" fmla="*/ 265117 h 608556"/>
                <a:gd name="connsiteX55" fmla="*/ 243227 w 574049"/>
                <a:gd name="connsiteY55" fmla="*/ 144222 h 608556"/>
                <a:gd name="connsiteX56" fmla="*/ 279862 w 574049"/>
                <a:gd name="connsiteY56" fmla="*/ 119148 h 608556"/>
                <a:gd name="connsiteX57" fmla="*/ 310064 w 574049"/>
                <a:gd name="connsiteY57" fmla="*/ 131181 h 608556"/>
                <a:gd name="connsiteX58" fmla="*/ 279862 w 574049"/>
                <a:gd name="connsiteY58" fmla="*/ 119148 h 608556"/>
                <a:gd name="connsiteX59" fmla="*/ 155080 w 574049"/>
                <a:gd name="connsiteY59" fmla="*/ 94840 h 608556"/>
                <a:gd name="connsiteX60" fmla="*/ 203722 w 574049"/>
                <a:gd name="connsiteY60" fmla="*/ 119842 h 608556"/>
                <a:gd name="connsiteX61" fmla="*/ 117804 w 574049"/>
                <a:gd name="connsiteY61" fmla="*/ 201676 h 608556"/>
                <a:gd name="connsiteX62" fmla="*/ 155080 w 574049"/>
                <a:gd name="connsiteY62" fmla="*/ 94840 h 608556"/>
                <a:gd name="connsiteX63" fmla="*/ 131962 w 574049"/>
                <a:gd name="connsiteY63" fmla="*/ 0 h 608556"/>
                <a:gd name="connsiteX64" fmla="*/ 178101 w 574049"/>
                <a:gd name="connsiteY64" fmla="*/ 0 h 608556"/>
                <a:gd name="connsiteX65" fmla="*/ 190816 w 574049"/>
                <a:gd name="connsiteY65" fmla="*/ 12695 h 608556"/>
                <a:gd name="connsiteX66" fmla="*/ 190816 w 574049"/>
                <a:gd name="connsiteY66" fmla="*/ 38757 h 608556"/>
                <a:gd name="connsiteX67" fmla="*/ 211911 w 574049"/>
                <a:gd name="connsiteY67" fmla="*/ 47509 h 608556"/>
                <a:gd name="connsiteX68" fmla="*/ 230501 w 574049"/>
                <a:gd name="connsiteY68" fmla="*/ 29044 h 608556"/>
                <a:gd name="connsiteX69" fmla="*/ 239459 w 574049"/>
                <a:gd name="connsiteY69" fmla="*/ 25389 h 608556"/>
                <a:gd name="connsiteX70" fmla="*/ 248417 w 574049"/>
                <a:gd name="connsiteY70" fmla="*/ 29044 h 608556"/>
                <a:gd name="connsiteX71" fmla="*/ 280975 w 574049"/>
                <a:gd name="connsiteY71" fmla="*/ 61646 h 608556"/>
                <a:gd name="connsiteX72" fmla="*/ 284731 w 574049"/>
                <a:gd name="connsiteY72" fmla="*/ 70590 h 608556"/>
                <a:gd name="connsiteX73" fmla="*/ 280975 w 574049"/>
                <a:gd name="connsiteY73" fmla="*/ 79534 h 608556"/>
                <a:gd name="connsiteX74" fmla="*/ 262481 w 574049"/>
                <a:gd name="connsiteY74" fmla="*/ 97999 h 608556"/>
                <a:gd name="connsiteX75" fmla="*/ 270379 w 574049"/>
                <a:gd name="connsiteY75" fmla="*/ 116848 h 608556"/>
                <a:gd name="connsiteX76" fmla="*/ 224915 w 574049"/>
                <a:gd name="connsiteY76" fmla="*/ 115502 h 608556"/>
                <a:gd name="connsiteX77" fmla="*/ 155080 w 574049"/>
                <a:gd name="connsiteY77" fmla="*/ 74437 h 608556"/>
                <a:gd name="connsiteX78" fmla="*/ 74458 w 574049"/>
                <a:gd name="connsiteY78" fmla="*/ 154836 h 608556"/>
                <a:gd name="connsiteX79" fmla="*/ 111638 w 574049"/>
                <a:gd name="connsiteY79" fmla="*/ 222445 h 608556"/>
                <a:gd name="connsiteX80" fmla="*/ 106822 w 574049"/>
                <a:gd name="connsiteY80" fmla="*/ 265145 h 608556"/>
                <a:gd name="connsiteX81" fmla="*/ 106822 w 574049"/>
                <a:gd name="connsiteY81" fmla="*/ 265818 h 608556"/>
                <a:gd name="connsiteX82" fmla="*/ 98153 w 574049"/>
                <a:gd name="connsiteY82" fmla="*/ 262163 h 608556"/>
                <a:gd name="connsiteX83" fmla="*/ 79659 w 574049"/>
                <a:gd name="connsiteY83" fmla="*/ 280628 h 608556"/>
                <a:gd name="connsiteX84" fmla="*/ 70701 w 574049"/>
                <a:gd name="connsiteY84" fmla="*/ 284379 h 608556"/>
                <a:gd name="connsiteX85" fmla="*/ 61647 w 574049"/>
                <a:gd name="connsiteY85" fmla="*/ 280628 h 608556"/>
                <a:gd name="connsiteX86" fmla="*/ 29089 w 574049"/>
                <a:gd name="connsiteY86" fmla="*/ 248122 h 608556"/>
                <a:gd name="connsiteX87" fmla="*/ 29089 w 574049"/>
                <a:gd name="connsiteY87" fmla="*/ 230138 h 608556"/>
                <a:gd name="connsiteX88" fmla="*/ 47583 w 574049"/>
                <a:gd name="connsiteY88" fmla="*/ 211673 h 608556"/>
                <a:gd name="connsiteX89" fmla="*/ 38722 w 574049"/>
                <a:gd name="connsiteY89" fmla="*/ 190612 h 608556"/>
                <a:gd name="connsiteX90" fmla="*/ 12715 w 574049"/>
                <a:gd name="connsiteY90" fmla="*/ 190612 h 608556"/>
                <a:gd name="connsiteX91" fmla="*/ 0 w 574049"/>
                <a:gd name="connsiteY91" fmla="*/ 177821 h 608556"/>
                <a:gd name="connsiteX92" fmla="*/ 0 w 574049"/>
                <a:gd name="connsiteY92" fmla="*/ 131851 h 608556"/>
                <a:gd name="connsiteX93" fmla="*/ 12715 w 574049"/>
                <a:gd name="connsiteY93" fmla="*/ 119156 h 608556"/>
                <a:gd name="connsiteX94" fmla="*/ 38818 w 574049"/>
                <a:gd name="connsiteY94" fmla="*/ 119156 h 608556"/>
                <a:gd name="connsiteX95" fmla="*/ 47583 w 574049"/>
                <a:gd name="connsiteY95" fmla="*/ 98095 h 608556"/>
                <a:gd name="connsiteX96" fmla="*/ 29089 w 574049"/>
                <a:gd name="connsiteY96" fmla="*/ 79630 h 608556"/>
                <a:gd name="connsiteX97" fmla="*/ 25333 w 574049"/>
                <a:gd name="connsiteY97" fmla="*/ 70590 h 608556"/>
                <a:gd name="connsiteX98" fmla="*/ 29089 w 574049"/>
                <a:gd name="connsiteY98" fmla="*/ 61646 h 608556"/>
                <a:gd name="connsiteX99" fmla="*/ 61647 w 574049"/>
                <a:gd name="connsiteY99" fmla="*/ 29044 h 608556"/>
                <a:gd name="connsiteX100" fmla="*/ 70701 w 574049"/>
                <a:gd name="connsiteY100" fmla="*/ 25389 h 608556"/>
                <a:gd name="connsiteX101" fmla="*/ 79659 w 574049"/>
                <a:gd name="connsiteY101" fmla="*/ 29140 h 608556"/>
                <a:gd name="connsiteX102" fmla="*/ 98153 w 574049"/>
                <a:gd name="connsiteY102" fmla="*/ 47509 h 608556"/>
                <a:gd name="connsiteX103" fmla="*/ 119248 w 574049"/>
                <a:gd name="connsiteY103" fmla="*/ 38757 h 608556"/>
                <a:gd name="connsiteX104" fmla="*/ 119248 w 574049"/>
                <a:gd name="connsiteY104" fmla="*/ 12695 h 608556"/>
                <a:gd name="connsiteX105" fmla="*/ 131962 w 574049"/>
                <a:gd name="connsiteY105" fmla="*/ 0 h 608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574049" h="608556">
                  <a:moveTo>
                    <a:pt x="163934" y="419229"/>
                  </a:moveTo>
                  <a:cubicBezTo>
                    <a:pt x="185702" y="442210"/>
                    <a:pt x="212671" y="456825"/>
                    <a:pt x="243204" y="456825"/>
                  </a:cubicBezTo>
                  <a:cubicBezTo>
                    <a:pt x="273737" y="456825"/>
                    <a:pt x="300706" y="442210"/>
                    <a:pt x="322474" y="419229"/>
                  </a:cubicBezTo>
                  <a:cubicBezTo>
                    <a:pt x="387585" y="424998"/>
                    <a:pt x="443835" y="468075"/>
                    <a:pt x="465217" y="530768"/>
                  </a:cubicBezTo>
                  <a:lnTo>
                    <a:pt x="476968" y="565383"/>
                  </a:lnTo>
                  <a:cubicBezTo>
                    <a:pt x="480339" y="575383"/>
                    <a:pt x="478702" y="586344"/>
                    <a:pt x="472634" y="594902"/>
                  </a:cubicBezTo>
                  <a:cubicBezTo>
                    <a:pt x="466469" y="603460"/>
                    <a:pt x="456549" y="608556"/>
                    <a:pt x="446050" y="608556"/>
                  </a:cubicBezTo>
                  <a:lnTo>
                    <a:pt x="40358" y="608556"/>
                  </a:lnTo>
                  <a:cubicBezTo>
                    <a:pt x="29859" y="608556"/>
                    <a:pt x="19939" y="603460"/>
                    <a:pt x="13871" y="594902"/>
                  </a:cubicBezTo>
                  <a:cubicBezTo>
                    <a:pt x="7706" y="586344"/>
                    <a:pt x="6069" y="575383"/>
                    <a:pt x="9440" y="565383"/>
                  </a:cubicBezTo>
                  <a:lnTo>
                    <a:pt x="21191" y="530768"/>
                  </a:lnTo>
                  <a:cubicBezTo>
                    <a:pt x="42573" y="468075"/>
                    <a:pt x="98919" y="424998"/>
                    <a:pt x="163934" y="419229"/>
                  </a:cubicBezTo>
                  <a:close/>
                  <a:moveTo>
                    <a:pt x="406631" y="313875"/>
                  </a:moveTo>
                  <a:cubicBezTo>
                    <a:pt x="442857" y="313875"/>
                    <a:pt x="472435" y="343308"/>
                    <a:pt x="472435" y="379473"/>
                  </a:cubicBezTo>
                  <a:cubicBezTo>
                    <a:pt x="472435" y="404289"/>
                    <a:pt x="458369" y="425642"/>
                    <a:pt x="438040" y="436800"/>
                  </a:cubicBezTo>
                  <a:cubicBezTo>
                    <a:pt x="411641" y="413523"/>
                    <a:pt x="379269" y="397556"/>
                    <a:pt x="344006" y="390920"/>
                  </a:cubicBezTo>
                  <a:cubicBezTo>
                    <a:pt x="356435" y="370913"/>
                    <a:pt x="365973" y="347925"/>
                    <a:pt x="371946" y="323974"/>
                  </a:cubicBezTo>
                  <a:cubicBezTo>
                    <a:pt x="382063" y="317626"/>
                    <a:pt x="393913" y="313875"/>
                    <a:pt x="406631" y="313875"/>
                  </a:cubicBezTo>
                  <a:close/>
                  <a:moveTo>
                    <a:pt x="381817" y="212472"/>
                  </a:moveTo>
                  <a:lnTo>
                    <a:pt x="431512" y="212472"/>
                  </a:lnTo>
                  <a:cubicBezTo>
                    <a:pt x="439121" y="212472"/>
                    <a:pt x="445284" y="218530"/>
                    <a:pt x="445284" y="226127"/>
                  </a:cubicBezTo>
                  <a:lnTo>
                    <a:pt x="445284" y="254301"/>
                  </a:lnTo>
                  <a:cubicBezTo>
                    <a:pt x="453182" y="256705"/>
                    <a:pt x="460790" y="259879"/>
                    <a:pt x="468013" y="263725"/>
                  </a:cubicBezTo>
                  <a:lnTo>
                    <a:pt x="488045" y="243820"/>
                  </a:lnTo>
                  <a:cubicBezTo>
                    <a:pt x="490742" y="241127"/>
                    <a:pt x="494209" y="239781"/>
                    <a:pt x="497773" y="239781"/>
                  </a:cubicBezTo>
                  <a:cubicBezTo>
                    <a:pt x="501240" y="239781"/>
                    <a:pt x="504803" y="241127"/>
                    <a:pt x="507403" y="243820"/>
                  </a:cubicBezTo>
                  <a:lnTo>
                    <a:pt x="542556" y="278918"/>
                  </a:lnTo>
                  <a:cubicBezTo>
                    <a:pt x="545157" y="281514"/>
                    <a:pt x="546601" y="284976"/>
                    <a:pt x="546601" y="288630"/>
                  </a:cubicBezTo>
                  <a:cubicBezTo>
                    <a:pt x="546601" y="292188"/>
                    <a:pt x="545157" y="295746"/>
                    <a:pt x="542556" y="298246"/>
                  </a:cubicBezTo>
                  <a:lnTo>
                    <a:pt x="522620" y="318247"/>
                  </a:lnTo>
                  <a:cubicBezTo>
                    <a:pt x="526473" y="325459"/>
                    <a:pt x="529651" y="333056"/>
                    <a:pt x="532155" y="340941"/>
                  </a:cubicBezTo>
                  <a:lnTo>
                    <a:pt x="560277" y="340941"/>
                  </a:lnTo>
                  <a:cubicBezTo>
                    <a:pt x="567885" y="340941"/>
                    <a:pt x="574049" y="347095"/>
                    <a:pt x="574049" y="354692"/>
                  </a:cubicBezTo>
                  <a:lnTo>
                    <a:pt x="574049" y="404310"/>
                  </a:lnTo>
                  <a:cubicBezTo>
                    <a:pt x="574049" y="407964"/>
                    <a:pt x="572605" y="411425"/>
                    <a:pt x="570004" y="414022"/>
                  </a:cubicBezTo>
                  <a:cubicBezTo>
                    <a:pt x="567500" y="416618"/>
                    <a:pt x="563937" y="418060"/>
                    <a:pt x="560277" y="418060"/>
                  </a:cubicBezTo>
                  <a:lnTo>
                    <a:pt x="532155" y="418060"/>
                  </a:lnTo>
                  <a:cubicBezTo>
                    <a:pt x="529651" y="425946"/>
                    <a:pt x="526473" y="433542"/>
                    <a:pt x="522620" y="440754"/>
                  </a:cubicBezTo>
                  <a:lnTo>
                    <a:pt x="542652" y="460755"/>
                  </a:lnTo>
                  <a:cubicBezTo>
                    <a:pt x="545157" y="463255"/>
                    <a:pt x="546601" y="466813"/>
                    <a:pt x="546601" y="470371"/>
                  </a:cubicBezTo>
                  <a:cubicBezTo>
                    <a:pt x="546601" y="474025"/>
                    <a:pt x="545157" y="477487"/>
                    <a:pt x="542652" y="480083"/>
                  </a:cubicBezTo>
                  <a:lnTo>
                    <a:pt x="507500" y="515181"/>
                  </a:lnTo>
                  <a:cubicBezTo>
                    <a:pt x="504803" y="517874"/>
                    <a:pt x="501240" y="519220"/>
                    <a:pt x="497773" y="519220"/>
                  </a:cubicBezTo>
                  <a:cubicBezTo>
                    <a:pt x="496232" y="519220"/>
                    <a:pt x="494691" y="518835"/>
                    <a:pt x="493246" y="518355"/>
                  </a:cubicBezTo>
                  <a:cubicBezTo>
                    <a:pt x="484289" y="493161"/>
                    <a:pt x="470517" y="470660"/>
                    <a:pt x="453182" y="451716"/>
                  </a:cubicBezTo>
                  <a:cubicBezTo>
                    <a:pt x="476970" y="436331"/>
                    <a:pt x="492861" y="409791"/>
                    <a:pt x="492861" y="379501"/>
                  </a:cubicBezTo>
                  <a:cubicBezTo>
                    <a:pt x="492861" y="332094"/>
                    <a:pt x="454145" y="293534"/>
                    <a:pt x="406665" y="293534"/>
                  </a:cubicBezTo>
                  <a:cubicBezTo>
                    <a:pt x="396263" y="293534"/>
                    <a:pt x="386440" y="295650"/>
                    <a:pt x="377098" y="299015"/>
                  </a:cubicBezTo>
                  <a:cubicBezTo>
                    <a:pt x="378735" y="287765"/>
                    <a:pt x="379698" y="276418"/>
                    <a:pt x="379698" y="265167"/>
                  </a:cubicBezTo>
                  <a:cubicBezTo>
                    <a:pt x="379698" y="247570"/>
                    <a:pt x="377387" y="231031"/>
                    <a:pt x="373149" y="215741"/>
                  </a:cubicBezTo>
                  <a:cubicBezTo>
                    <a:pt x="375557" y="213818"/>
                    <a:pt x="378542" y="212472"/>
                    <a:pt x="381817" y="212472"/>
                  </a:cubicBezTo>
                  <a:close/>
                  <a:moveTo>
                    <a:pt x="243227" y="144222"/>
                  </a:moveTo>
                  <a:cubicBezTo>
                    <a:pt x="296103" y="144270"/>
                    <a:pt x="348968" y="184617"/>
                    <a:pt x="348920" y="265117"/>
                  </a:cubicBezTo>
                  <a:cubicBezTo>
                    <a:pt x="348920" y="342829"/>
                    <a:pt x="301640" y="426215"/>
                    <a:pt x="243190" y="426215"/>
                  </a:cubicBezTo>
                  <a:cubicBezTo>
                    <a:pt x="184837" y="426215"/>
                    <a:pt x="137461" y="342829"/>
                    <a:pt x="137461" y="265117"/>
                  </a:cubicBezTo>
                  <a:cubicBezTo>
                    <a:pt x="137461" y="184424"/>
                    <a:pt x="190350" y="144174"/>
                    <a:pt x="243227" y="144222"/>
                  </a:cubicBezTo>
                  <a:close/>
                  <a:moveTo>
                    <a:pt x="279862" y="119148"/>
                  </a:moveTo>
                  <a:cubicBezTo>
                    <a:pt x="294336" y="119148"/>
                    <a:pt x="309292" y="116645"/>
                    <a:pt x="310064" y="131181"/>
                  </a:cubicBezTo>
                  <a:cubicBezTo>
                    <a:pt x="300704" y="125983"/>
                    <a:pt x="290573" y="121940"/>
                    <a:pt x="279862" y="119148"/>
                  </a:cubicBezTo>
                  <a:close/>
                  <a:moveTo>
                    <a:pt x="155080" y="94840"/>
                  </a:moveTo>
                  <a:cubicBezTo>
                    <a:pt x="175115" y="94840"/>
                    <a:pt x="192838" y="104745"/>
                    <a:pt x="203722" y="119842"/>
                  </a:cubicBezTo>
                  <a:cubicBezTo>
                    <a:pt x="163749" y="131478"/>
                    <a:pt x="133216" y="160807"/>
                    <a:pt x="117804" y="201676"/>
                  </a:cubicBezTo>
                  <a:cubicBezTo>
                    <a:pt x="72823" y="165904"/>
                    <a:pt x="98733" y="94840"/>
                    <a:pt x="155080" y="94840"/>
                  </a:cubicBezTo>
                  <a:close/>
                  <a:moveTo>
                    <a:pt x="131962" y="0"/>
                  </a:moveTo>
                  <a:lnTo>
                    <a:pt x="178101" y="0"/>
                  </a:lnTo>
                  <a:cubicBezTo>
                    <a:pt x="185133" y="0"/>
                    <a:pt x="190816" y="5674"/>
                    <a:pt x="190816" y="12695"/>
                  </a:cubicBezTo>
                  <a:lnTo>
                    <a:pt x="190816" y="38757"/>
                  </a:lnTo>
                  <a:cubicBezTo>
                    <a:pt x="198233" y="41065"/>
                    <a:pt x="205265" y="44047"/>
                    <a:pt x="211911" y="47509"/>
                  </a:cubicBezTo>
                  <a:lnTo>
                    <a:pt x="230501" y="29044"/>
                  </a:lnTo>
                  <a:cubicBezTo>
                    <a:pt x="232909" y="26543"/>
                    <a:pt x="236184" y="25389"/>
                    <a:pt x="239459" y="25389"/>
                  </a:cubicBezTo>
                  <a:cubicBezTo>
                    <a:pt x="242734" y="25389"/>
                    <a:pt x="245913" y="26543"/>
                    <a:pt x="248417" y="29044"/>
                  </a:cubicBezTo>
                  <a:lnTo>
                    <a:pt x="280975" y="61646"/>
                  </a:lnTo>
                  <a:cubicBezTo>
                    <a:pt x="283383" y="63954"/>
                    <a:pt x="284731" y="67224"/>
                    <a:pt x="284731" y="70590"/>
                  </a:cubicBezTo>
                  <a:cubicBezTo>
                    <a:pt x="284731" y="73956"/>
                    <a:pt x="283383" y="77226"/>
                    <a:pt x="280975" y="79534"/>
                  </a:cubicBezTo>
                  <a:lnTo>
                    <a:pt x="262481" y="97999"/>
                  </a:lnTo>
                  <a:cubicBezTo>
                    <a:pt x="265659" y="103961"/>
                    <a:pt x="268260" y="110405"/>
                    <a:pt x="270379" y="116848"/>
                  </a:cubicBezTo>
                  <a:cubicBezTo>
                    <a:pt x="253619" y="113675"/>
                    <a:pt x="239748" y="113675"/>
                    <a:pt x="224915" y="115502"/>
                  </a:cubicBezTo>
                  <a:cubicBezTo>
                    <a:pt x="211044" y="91171"/>
                    <a:pt x="185133" y="74437"/>
                    <a:pt x="155080" y="74437"/>
                  </a:cubicBezTo>
                  <a:cubicBezTo>
                    <a:pt x="110675" y="74437"/>
                    <a:pt x="74458" y="110501"/>
                    <a:pt x="74458" y="154836"/>
                  </a:cubicBezTo>
                  <a:cubicBezTo>
                    <a:pt x="74458" y="183207"/>
                    <a:pt x="89388" y="208115"/>
                    <a:pt x="111638" y="222445"/>
                  </a:cubicBezTo>
                  <a:cubicBezTo>
                    <a:pt x="108556" y="235812"/>
                    <a:pt x="106822" y="250046"/>
                    <a:pt x="106822" y="265145"/>
                  </a:cubicBezTo>
                  <a:cubicBezTo>
                    <a:pt x="106822" y="265337"/>
                    <a:pt x="106822" y="265626"/>
                    <a:pt x="106822" y="265818"/>
                  </a:cubicBezTo>
                  <a:cubicBezTo>
                    <a:pt x="104029" y="264568"/>
                    <a:pt x="100946" y="263606"/>
                    <a:pt x="98153" y="262163"/>
                  </a:cubicBezTo>
                  <a:lnTo>
                    <a:pt x="79659" y="280628"/>
                  </a:lnTo>
                  <a:cubicBezTo>
                    <a:pt x="77251" y="283033"/>
                    <a:pt x="74072" y="284379"/>
                    <a:pt x="70701" y="284379"/>
                  </a:cubicBezTo>
                  <a:cubicBezTo>
                    <a:pt x="67330" y="284379"/>
                    <a:pt x="64055" y="283033"/>
                    <a:pt x="61647" y="280628"/>
                  </a:cubicBezTo>
                  <a:lnTo>
                    <a:pt x="29089" y="248122"/>
                  </a:lnTo>
                  <a:cubicBezTo>
                    <a:pt x="24081" y="243121"/>
                    <a:pt x="24081" y="235043"/>
                    <a:pt x="29089" y="230138"/>
                  </a:cubicBezTo>
                  <a:lnTo>
                    <a:pt x="47583" y="211673"/>
                  </a:lnTo>
                  <a:cubicBezTo>
                    <a:pt x="44020" y="204941"/>
                    <a:pt x="41034" y="197921"/>
                    <a:pt x="38722" y="190612"/>
                  </a:cubicBezTo>
                  <a:lnTo>
                    <a:pt x="12715" y="190612"/>
                  </a:lnTo>
                  <a:cubicBezTo>
                    <a:pt x="5683" y="190612"/>
                    <a:pt x="0" y="184842"/>
                    <a:pt x="0" y="177821"/>
                  </a:cubicBezTo>
                  <a:lnTo>
                    <a:pt x="0" y="131851"/>
                  </a:lnTo>
                  <a:cubicBezTo>
                    <a:pt x="0" y="124831"/>
                    <a:pt x="5683" y="119156"/>
                    <a:pt x="12715" y="119156"/>
                  </a:cubicBezTo>
                  <a:lnTo>
                    <a:pt x="38818" y="119156"/>
                  </a:lnTo>
                  <a:cubicBezTo>
                    <a:pt x="41034" y="111751"/>
                    <a:pt x="44020" y="104731"/>
                    <a:pt x="47583" y="98095"/>
                  </a:cubicBezTo>
                  <a:lnTo>
                    <a:pt x="29089" y="79630"/>
                  </a:lnTo>
                  <a:cubicBezTo>
                    <a:pt x="26681" y="77226"/>
                    <a:pt x="25333" y="73956"/>
                    <a:pt x="25333" y="70590"/>
                  </a:cubicBezTo>
                  <a:cubicBezTo>
                    <a:pt x="25333" y="67224"/>
                    <a:pt x="26681" y="63954"/>
                    <a:pt x="29089" y="61646"/>
                  </a:cubicBezTo>
                  <a:lnTo>
                    <a:pt x="61647" y="29044"/>
                  </a:lnTo>
                  <a:cubicBezTo>
                    <a:pt x="64151" y="26639"/>
                    <a:pt x="67426" y="25389"/>
                    <a:pt x="70701" y="25389"/>
                  </a:cubicBezTo>
                  <a:cubicBezTo>
                    <a:pt x="73976" y="25389"/>
                    <a:pt x="77155" y="26639"/>
                    <a:pt x="79659" y="29140"/>
                  </a:cubicBezTo>
                  <a:lnTo>
                    <a:pt x="98153" y="47509"/>
                  </a:lnTo>
                  <a:cubicBezTo>
                    <a:pt x="104896" y="44047"/>
                    <a:pt x="111927" y="41065"/>
                    <a:pt x="119248" y="38757"/>
                  </a:cubicBezTo>
                  <a:lnTo>
                    <a:pt x="119248" y="12695"/>
                  </a:lnTo>
                  <a:cubicBezTo>
                    <a:pt x="119248" y="5674"/>
                    <a:pt x="125027" y="0"/>
                    <a:pt x="131962" y="0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" name="ValueShape1">
              <a:extLst>
                <a:ext uri="{FF2B5EF4-FFF2-40B4-BE49-F238E27FC236}">
                  <a16:creationId xmlns:a16="http://schemas.microsoft.com/office/drawing/2014/main" id="{8B7A7116-12F7-4A72-9DD7-5BA58E4C82AD}"/>
                </a:ext>
              </a:extLst>
            </p:cNvPr>
            <p:cNvSpPr/>
            <p:nvPr/>
          </p:nvSpPr>
          <p:spPr bwMode="auto">
            <a:xfrm>
              <a:off x="4691989" y="1807381"/>
              <a:ext cx="1017392" cy="3243239"/>
            </a:xfrm>
            <a:custGeom>
              <a:avLst/>
              <a:gdLst>
                <a:gd name="connsiteX0" fmla="*/ 0 w 1017392"/>
                <a:gd name="connsiteY0" fmla="*/ 3107108 h 3243239"/>
                <a:gd name="connsiteX1" fmla="*/ 1017392 w 1017392"/>
                <a:gd name="connsiteY1" fmla="*/ 3107108 h 3243239"/>
                <a:gd name="connsiteX2" fmla="*/ 1017392 w 1017392"/>
                <a:gd name="connsiteY2" fmla="*/ 3243239 h 3243239"/>
                <a:gd name="connsiteX3" fmla="*/ 0 w 1017392"/>
                <a:gd name="connsiteY3" fmla="*/ 3243239 h 3243239"/>
                <a:gd name="connsiteX4" fmla="*/ 0 w 1017392"/>
                <a:gd name="connsiteY4" fmla="*/ 2758424 h 3243239"/>
                <a:gd name="connsiteX5" fmla="*/ 1017392 w 1017392"/>
                <a:gd name="connsiteY5" fmla="*/ 2758424 h 3243239"/>
                <a:gd name="connsiteX6" fmla="*/ 1017392 w 1017392"/>
                <a:gd name="connsiteY6" fmla="*/ 2899332 h 3243239"/>
                <a:gd name="connsiteX7" fmla="*/ 0 w 1017392"/>
                <a:gd name="connsiteY7" fmla="*/ 2899332 h 3243239"/>
                <a:gd name="connsiteX8" fmla="*/ 0 w 1017392"/>
                <a:gd name="connsiteY8" fmla="*/ 2414517 h 3243239"/>
                <a:gd name="connsiteX9" fmla="*/ 1017392 w 1017392"/>
                <a:gd name="connsiteY9" fmla="*/ 2414517 h 3243239"/>
                <a:gd name="connsiteX10" fmla="*/ 1017392 w 1017392"/>
                <a:gd name="connsiteY10" fmla="*/ 2555425 h 3243239"/>
                <a:gd name="connsiteX11" fmla="*/ 0 w 1017392"/>
                <a:gd name="connsiteY11" fmla="*/ 2555425 h 3243239"/>
                <a:gd name="connsiteX12" fmla="*/ 0 w 1017392"/>
                <a:gd name="connsiteY12" fmla="*/ 2072997 h 3243239"/>
                <a:gd name="connsiteX13" fmla="*/ 1017392 w 1017392"/>
                <a:gd name="connsiteY13" fmla="*/ 2072997 h 3243239"/>
                <a:gd name="connsiteX14" fmla="*/ 1017392 w 1017392"/>
                <a:gd name="connsiteY14" fmla="*/ 2206738 h 3243239"/>
                <a:gd name="connsiteX15" fmla="*/ 0 w 1017392"/>
                <a:gd name="connsiteY15" fmla="*/ 2206738 h 3243239"/>
                <a:gd name="connsiteX16" fmla="*/ 0 w 1017392"/>
                <a:gd name="connsiteY16" fmla="*/ 1721926 h 3243239"/>
                <a:gd name="connsiteX17" fmla="*/ 1017392 w 1017392"/>
                <a:gd name="connsiteY17" fmla="*/ 1721926 h 3243239"/>
                <a:gd name="connsiteX18" fmla="*/ 1017392 w 1017392"/>
                <a:gd name="connsiteY18" fmla="*/ 1862834 h 3243239"/>
                <a:gd name="connsiteX19" fmla="*/ 0 w 1017392"/>
                <a:gd name="connsiteY19" fmla="*/ 1862834 h 3243239"/>
                <a:gd name="connsiteX20" fmla="*/ 0 w 1017392"/>
                <a:gd name="connsiteY20" fmla="*/ 1380406 h 3243239"/>
                <a:gd name="connsiteX21" fmla="*/ 1017392 w 1017392"/>
                <a:gd name="connsiteY21" fmla="*/ 1380406 h 3243239"/>
                <a:gd name="connsiteX22" fmla="*/ 1017392 w 1017392"/>
                <a:gd name="connsiteY22" fmla="*/ 1521314 h 3243239"/>
                <a:gd name="connsiteX23" fmla="*/ 0 w 1017392"/>
                <a:gd name="connsiteY23" fmla="*/ 1521314 h 3243239"/>
                <a:gd name="connsiteX24" fmla="*/ 0 w 1017392"/>
                <a:gd name="connsiteY24" fmla="*/ 1036498 h 3243239"/>
                <a:gd name="connsiteX25" fmla="*/ 1017392 w 1017392"/>
                <a:gd name="connsiteY25" fmla="*/ 1036498 h 3243239"/>
                <a:gd name="connsiteX26" fmla="*/ 1017392 w 1017392"/>
                <a:gd name="connsiteY26" fmla="*/ 1170239 h 3243239"/>
                <a:gd name="connsiteX27" fmla="*/ 0 w 1017392"/>
                <a:gd name="connsiteY27" fmla="*/ 1170239 h 3243239"/>
                <a:gd name="connsiteX28" fmla="*/ 0 w 1017392"/>
                <a:gd name="connsiteY28" fmla="*/ 692591 h 3243239"/>
                <a:gd name="connsiteX29" fmla="*/ 1017392 w 1017392"/>
                <a:gd name="connsiteY29" fmla="*/ 692591 h 3243239"/>
                <a:gd name="connsiteX30" fmla="*/ 1017392 w 1017392"/>
                <a:gd name="connsiteY30" fmla="*/ 828722 h 3243239"/>
                <a:gd name="connsiteX31" fmla="*/ 0 w 1017392"/>
                <a:gd name="connsiteY31" fmla="*/ 828722 h 3243239"/>
                <a:gd name="connsiteX32" fmla="*/ 0 w 1017392"/>
                <a:gd name="connsiteY32" fmla="*/ 343907 h 3243239"/>
                <a:gd name="connsiteX33" fmla="*/ 1017392 w 1017392"/>
                <a:gd name="connsiteY33" fmla="*/ 343907 h 3243239"/>
                <a:gd name="connsiteX34" fmla="*/ 1017392 w 1017392"/>
                <a:gd name="connsiteY34" fmla="*/ 484815 h 3243239"/>
                <a:gd name="connsiteX35" fmla="*/ 0 w 1017392"/>
                <a:gd name="connsiteY35" fmla="*/ 484815 h 3243239"/>
                <a:gd name="connsiteX36" fmla="*/ 0 w 1017392"/>
                <a:gd name="connsiteY36" fmla="*/ 0 h 3243239"/>
                <a:gd name="connsiteX37" fmla="*/ 1017392 w 1017392"/>
                <a:gd name="connsiteY37" fmla="*/ 0 h 3243239"/>
                <a:gd name="connsiteX38" fmla="*/ 1017392 w 1017392"/>
                <a:gd name="connsiteY38" fmla="*/ 140908 h 3243239"/>
                <a:gd name="connsiteX39" fmla="*/ 0 w 1017392"/>
                <a:gd name="connsiteY39" fmla="*/ 140908 h 3243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17392" h="3243239">
                  <a:moveTo>
                    <a:pt x="0" y="3107108"/>
                  </a:moveTo>
                  <a:lnTo>
                    <a:pt x="1017392" y="3107108"/>
                  </a:lnTo>
                  <a:lnTo>
                    <a:pt x="1017392" y="3243239"/>
                  </a:lnTo>
                  <a:lnTo>
                    <a:pt x="0" y="3243239"/>
                  </a:lnTo>
                  <a:close/>
                  <a:moveTo>
                    <a:pt x="0" y="2758424"/>
                  </a:moveTo>
                  <a:lnTo>
                    <a:pt x="1017392" y="2758424"/>
                  </a:lnTo>
                  <a:lnTo>
                    <a:pt x="1017392" y="2899332"/>
                  </a:lnTo>
                  <a:lnTo>
                    <a:pt x="0" y="2899332"/>
                  </a:lnTo>
                  <a:close/>
                  <a:moveTo>
                    <a:pt x="0" y="2414517"/>
                  </a:moveTo>
                  <a:lnTo>
                    <a:pt x="1017392" y="2414517"/>
                  </a:lnTo>
                  <a:lnTo>
                    <a:pt x="1017392" y="2555425"/>
                  </a:lnTo>
                  <a:lnTo>
                    <a:pt x="0" y="2555425"/>
                  </a:lnTo>
                  <a:close/>
                  <a:moveTo>
                    <a:pt x="0" y="2072997"/>
                  </a:moveTo>
                  <a:lnTo>
                    <a:pt x="1017392" y="2072997"/>
                  </a:lnTo>
                  <a:lnTo>
                    <a:pt x="1017392" y="2206738"/>
                  </a:lnTo>
                  <a:lnTo>
                    <a:pt x="0" y="2206738"/>
                  </a:lnTo>
                  <a:close/>
                  <a:moveTo>
                    <a:pt x="0" y="1721926"/>
                  </a:moveTo>
                  <a:lnTo>
                    <a:pt x="1017392" y="1721926"/>
                  </a:lnTo>
                  <a:lnTo>
                    <a:pt x="1017392" y="1862834"/>
                  </a:lnTo>
                  <a:lnTo>
                    <a:pt x="0" y="1862834"/>
                  </a:lnTo>
                  <a:close/>
                  <a:moveTo>
                    <a:pt x="0" y="1380406"/>
                  </a:moveTo>
                  <a:lnTo>
                    <a:pt x="1017392" y="1380406"/>
                  </a:lnTo>
                  <a:lnTo>
                    <a:pt x="1017392" y="1521314"/>
                  </a:lnTo>
                  <a:lnTo>
                    <a:pt x="0" y="1521314"/>
                  </a:lnTo>
                  <a:close/>
                  <a:moveTo>
                    <a:pt x="0" y="1036498"/>
                  </a:moveTo>
                  <a:lnTo>
                    <a:pt x="1017392" y="1036498"/>
                  </a:lnTo>
                  <a:lnTo>
                    <a:pt x="1017392" y="1170239"/>
                  </a:lnTo>
                  <a:lnTo>
                    <a:pt x="0" y="1170239"/>
                  </a:lnTo>
                  <a:close/>
                  <a:moveTo>
                    <a:pt x="0" y="692591"/>
                  </a:moveTo>
                  <a:lnTo>
                    <a:pt x="1017392" y="692591"/>
                  </a:lnTo>
                  <a:lnTo>
                    <a:pt x="1017392" y="828722"/>
                  </a:lnTo>
                  <a:lnTo>
                    <a:pt x="0" y="828722"/>
                  </a:lnTo>
                  <a:close/>
                  <a:moveTo>
                    <a:pt x="0" y="343907"/>
                  </a:moveTo>
                  <a:lnTo>
                    <a:pt x="1017392" y="343907"/>
                  </a:lnTo>
                  <a:lnTo>
                    <a:pt x="1017392" y="484815"/>
                  </a:lnTo>
                  <a:lnTo>
                    <a:pt x="0" y="484815"/>
                  </a:lnTo>
                  <a:close/>
                  <a:moveTo>
                    <a:pt x="0" y="0"/>
                  </a:moveTo>
                  <a:lnTo>
                    <a:pt x="1017392" y="0"/>
                  </a:lnTo>
                  <a:lnTo>
                    <a:pt x="1017392" y="140908"/>
                  </a:lnTo>
                  <a:lnTo>
                    <a:pt x="0" y="14090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rgbClr val="002774"/>
                </a:gs>
                <a:gs pos="59615">
                  <a:schemeClr val="accent1">
                    <a:lumMod val="100000"/>
                  </a:schemeClr>
                </a:gs>
                <a:gs pos="59715">
                  <a:srgbClr val="002774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" name="ValueShape2">
              <a:extLst>
                <a:ext uri="{FF2B5EF4-FFF2-40B4-BE49-F238E27FC236}">
                  <a16:creationId xmlns:a16="http://schemas.microsoft.com/office/drawing/2014/main" id="{5FF9A825-087F-4957-8E51-14ED103F83DC}"/>
                </a:ext>
              </a:extLst>
            </p:cNvPr>
            <p:cNvSpPr/>
            <p:nvPr/>
          </p:nvSpPr>
          <p:spPr bwMode="auto">
            <a:xfrm flipH="1">
              <a:off x="6302519" y="1807381"/>
              <a:ext cx="1017393" cy="3243239"/>
            </a:xfrm>
            <a:custGeom>
              <a:avLst/>
              <a:gdLst>
                <a:gd name="connsiteX0" fmla="*/ 1017393 w 1017393"/>
                <a:gd name="connsiteY0" fmla="*/ 3107108 h 3243239"/>
                <a:gd name="connsiteX1" fmla="*/ 0 w 1017393"/>
                <a:gd name="connsiteY1" fmla="*/ 3107108 h 3243239"/>
                <a:gd name="connsiteX2" fmla="*/ 0 w 1017393"/>
                <a:gd name="connsiteY2" fmla="*/ 3243239 h 3243239"/>
                <a:gd name="connsiteX3" fmla="*/ 1017393 w 1017393"/>
                <a:gd name="connsiteY3" fmla="*/ 3243239 h 3243239"/>
                <a:gd name="connsiteX4" fmla="*/ 1017393 w 1017393"/>
                <a:gd name="connsiteY4" fmla="*/ 2758425 h 3243239"/>
                <a:gd name="connsiteX5" fmla="*/ 0 w 1017393"/>
                <a:gd name="connsiteY5" fmla="*/ 2758425 h 3243239"/>
                <a:gd name="connsiteX6" fmla="*/ 0 w 1017393"/>
                <a:gd name="connsiteY6" fmla="*/ 2899333 h 3243239"/>
                <a:gd name="connsiteX7" fmla="*/ 1017393 w 1017393"/>
                <a:gd name="connsiteY7" fmla="*/ 2899333 h 3243239"/>
                <a:gd name="connsiteX8" fmla="*/ 1017393 w 1017393"/>
                <a:gd name="connsiteY8" fmla="*/ 2414517 h 3243239"/>
                <a:gd name="connsiteX9" fmla="*/ 0 w 1017393"/>
                <a:gd name="connsiteY9" fmla="*/ 2414517 h 3243239"/>
                <a:gd name="connsiteX10" fmla="*/ 0 w 1017393"/>
                <a:gd name="connsiteY10" fmla="*/ 2555425 h 3243239"/>
                <a:gd name="connsiteX11" fmla="*/ 1017393 w 1017393"/>
                <a:gd name="connsiteY11" fmla="*/ 2555425 h 3243239"/>
                <a:gd name="connsiteX12" fmla="*/ 1017393 w 1017393"/>
                <a:gd name="connsiteY12" fmla="*/ 2072997 h 3243239"/>
                <a:gd name="connsiteX13" fmla="*/ 0 w 1017393"/>
                <a:gd name="connsiteY13" fmla="*/ 2072997 h 3243239"/>
                <a:gd name="connsiteX14" fmla="*/ 0 w 1017393"/>
                <a:gd name="connsiteY14" fmla="*/ 2206739 h 3243239"/>
                <a:gd name="connsiteX15" fmla="*/ 1017393 w 1017393"/>
                <a:gd name="connsiteY15" fmla="*/ 2206739 h 3243239"/>
                <a:gd name="connsiteX16" fmla="*/ 1017393 w 1017393"/>
                <a:gd name="connsiteY16" fmla="*/ 1721926 h 3243239"/>
                <a:gd name="connsiteX17" fmla="*/ 0 w 1017393"/>
                <a:gd name="connsiteY17" fmla="*/ 1721926 h 3243239"/>
                <a:gd name="connsiteX18" fmla="*/ 0 w 1017393"/>
                <a:gd name="connsiteY18" fmla="*/ 1862834 h 3243239"/>
                <a:gd name="connsiteX19" fmla="*/ 1017393 w 1017393"/>
                <a:gd name="connsiteY19" fmla="*/ 1862834 h 3243239"/>
                <a:gd name="connsiteX20" fmla="*/ 1017393 w 1017393"/>
                <a:gd name="connsiteY20" fmla="*/ 1380407 h 3243239"/>
                <a:gd name="connsiteX21" fmla="*/ 0 w 1017393"/>
                <a:gd name="connsiteY21" fmla="*/ 1380407 h 3243239"/>
                <a:gd name="connsiteX22" fmla="*/ 0 w 1017393"/>
                <a:gd name="connsiteY22" fmla="*/ 1521315 h 3243239"/>
                <a:gd name="connsiteX23" fmla="*/ 1017393 w 1017393"/>
                <a:gd name="connsiteY23" fmla="*/ 1521315 h 3243239"/>
                <a:gd name="connsiteX24" fmla="*/ 1017393 w 1017393"/>
                <a:gd name="connsiteY24" fmla="*/ 1036498 h 3243239"/>
                <a:gd name="connsiteX25" fmla="*/ 0 w 1017393"/>
                <a:gd name="connsiteY25" fmla="*/ 1036498 h 3243239"/>
                <a:gd name="connsiteX26" fmla="*/ 0 w 1017393"/>
                <a:gd name="connsiteY26" fmla="*/ 1170240 h 3243239"/>
                <a:gd name="connsiteX27" fmla="*/ 1017393 w 1017393"/>
                <a:gd name="connsiteY27" fmla="*/ 1170240 h 3243239"/>
                <a:gd name="connsiteX28" fmla="*/ 1017393 w 1017393"/>
                <a:gd name="connsiteY28" fmla="*/ 692591 h 3243239"/>
                <a:gd name="connsiteX29" fmla="*/ 0 w 1017393"/>
                <a:gd name="connsiteY29" fmla="*/ 692591 h 3243239"/>
                <a:gd name="connsiteX30" fmla="*/ 0 w 1017393"/>
                <a:gd name="connsiteY30" fmla="*/ 828722 h 3243239"/>
                <a:gd name="connsiteX31" fmla="*/ 1017393 w 1017393"/>
                <a:gd name="connsiteY31" fmla="*/ 828722 h 3243239"/>
                <a:gd name="connsiteX32" fmla="*/ 1017393 w 1017393"/>
                <a:gd name="connsiteY32" fmla="*/ 343907 h 3243239"/>
                <a:gd name="connsiteX33" fmla="*/ 0 w 1017393"/>
                <a:gd name="connsiteY33" fmla="*/ 343907 h 3243239"/>
                <a:gd name="connsiteX34" fmla="*/ 0 w 1017393"/>
                <a:gd name="connsiteY34" fmla="*/ 484815 h 3243239"/>
                <a:gd name="connsiteX35" fmla="*/ 1017393 w 1017393"/>
                <a:gd name="connsiteY35" fmla="*/ 484815 h 3243239"/>
                <a:gd name="connsiteX36" fmla="*/ 1017393 w 1017393"/>
                <a:gd name="connsiteY36" fmla="*/ 0 h 3243239"/>
                <a:gd name="connsiteX37" fmla="*/ 0 w 1017393"/>
                <a:gd name="connsiteY37" fmla="*/ 0 h 3243239"/>
                <a:gd name="connsiteX38" fmla="*/ 0 w 1017393"/>
                <a:gd name="connsiteY38" fmla="*/ 140908 h 3243239"/>
                <a:gd name="connsiteX39" fmla="*/ 1017393 w 1017393"/>
                <a:gd name="connsiteY39" fmla="*/ 140908 h 3243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17393" h="3243239">
                  <a:moveTo>
                    <a:pt x="1017393" y="3107108"/>
                  </a:moveTo>
                  <a:lnTo>
                    <a:pt x="0" y="3107108"/>
                  </a:lnTo>
                  <a:lnTo>
                    <a:pt x="0" y="3243239"/>
                  </a:lnTo>
                  <a:lnTo>
                    <a:pt x="1017393" y="3243239"/>
                  </a:lnTo>
                  <a:close/>
                  <a:moveTo>
                    <a:pt x="1017393" y="2758425"/>
                  </a:moveTo>
                  <a:lnTo>
                    <a:pt x="0" y="2758425"/>
                  </a:lnTo>
                  <a:lnTo>
                    <a:pt x="0" y="2899333"/>
                  </a:lnTo>
                  <a:lnTo>
                    <a:pt x="1017393" y="2899333"/>
                  </a:lnTo>
                  <a:close/>
                  <a:moveTo>
                    <a:pt x="1017393" y="2414517"/>
                  </a:moveTo>
                  <a:lnTo>
                    <a:pt x="0" y="2414517"/>
                  </a:lnTo>
                  <a:lnTo>
                    <a:pt x="0" y="2555425"/>
                  </a:lnTo>
                  <a:lnTo>
                    <a:pt x="1017393" y="2555425"/>
                  </a:lnTo>
                  <a:close/>
                  <a:moveTo>
                    <a:pt x="1017393" y="2072997"/>
                  </a:moveTo>
                  <a:lnTo>
                    <a:pt x="0" y="2072997"/>
                  </a:lnTo>
                  <a:lnTo>
                    <a:pt x="0" y="2206739"/>
                  </a:lnTo>
                  <a:lnTo>
                    <a:pt x="1017393" y="2206739"/>
                  </a:lnTo>
                  <a:close/>
                  <a:moveTo>
                    <a:pt x="1017393" y="1721926"/>
                  </a:moveTo>
                  <a:lnTo>
                    <a:pt x="0" y="1721926"/>
                  </a:lnTo>
                  <a:lnTo>
                    <a:pt x="0" y="1862834"/>
                  </a:lnTo>
                  <a:lnTo>
                    <a:pt x="1017393" y="1862834"/>
                  </a:lnTo>
                  <a:close/>
                  <a:moveTo>
                    <a:pt x="1017393" y="1380407"/>
                  </a:moveTo>
                  <a:lnTo>
                    <a:pt x="0" y="1380407"/>
                  </a:lnTo>
                  <a:lnTo>
                    <a:pt x="0" y="1521315"/>
                  </a:lnTo>
                  <a:lnTo>
                    <a:pt x="1017393" y="1521315"/>
                  </a:lnTo>
                  <a:close/>
                  <a:moveTo>
                    <a:pt x="1017393" y="1036498"/>
                  </a:moveTo>
                  <a:lnTo>
                    <a:pt x="0" y="1036498"/>
                  </a:lnTo>
                  <a:lnTo>
                    <a:pt x="0" y="1170240"/>
                  </a:lnTo>
                  <a:lnTo>
                    <a:pt x="1017393" y="1170240"/>
                  </a:lnTo>
                  <a:close/>
                  <a:moveTo>
                    <a:pt x="1017393" y="692591"/>
                  </a:moveTo>
                  <a:lnTo>
                    <a:pt x="0" y="692591"/>
                  </a:lnTo>
                  <a:lnTo>
                    <a:pt x="0" y="828722"/>
                  </a:lnTo>
                  <a:lnTo>
                    <a:pt x="1017393" y="828722"/>
                  </a:lnTo>
                  <a:close/>
                  <a:moveTo>
                    <a:pt x="1017393" y="343907"/>
                  </a:moveTo>
                  <a:lnTo>
                    <a:pt x="0" y="343907"/>
                  </a:lnTo>
                  <a:lnTo>
                    <a:pt x="0" y="484815"/>
                  </a:lnTo>
                  <a:lnTo>
                    <a:pt x="1017393" y="484815"/>
                  </a:lnTo>
                  <a:close/>
                  <a:moveTo>
                    <a:pt x="1017393" y="0"/>
                  </a:moveTo>
                  <a:lnTo>
                    <a:pt x="0" y="0"/>
                  </a:lnTo>
                  <a:lnTo>
                    <a:pt x="0" y="140908"/>
                  </a:lnTo>
                  <a:lnTo>
                    <a:pt x="1017393" y="14090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100000"/>
                  </a:schemeClr>
                </a:gs>
                <a:gs pos="100000">
                  <a:srgbClr val="002774"/>
                </a:gs>
                <a:gs pos="71154">
                  <a:schemeClr val="accent4">
                    <a:lumMod val="100000"/>
                  </a:schemeClr>
                </a:gs>
                <a:gs pos="71254">
                  <a:srgbClr val="002774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" name="ValueBack1">
              <a:extLst>
                <a:ext uri="{FF2B5EF4-FFF2-40B4-BE49-F238E27FC236}">
                  <a16:creationId xmlns:a16="http://schemas.microsoft.com/office/drawing/2014/main" id="{7298514E-E074-4199-8306-FDF3CE532950}"/>
                </a:ext>
              </a:extLst>
            </p:cNvPr>
            <p:cNvSpPr/>
            <p:nvPr/>
          </p:nvSpPr>
          <p:spPr bwMode="auto">
            <a:xfrm>
              <a:off x="4294927" y="4106068"/>
              <a:ext cx="272260" cy="372566"/>
            </a:xfrm>
            <a:custGeom>
              <a:avLst/>
              <a:gdLst>
                <a:gd name="T0" fmla="*/ 0 w 114"/>
                <a:gd name="T1" fmla="*/ 0 h 156"/>
                <a:gd name="T2" fmla="*/ 114 w 114"/>
                <a:gd name="T3" fmla="*/ 78 h 156"/>
                <a:gd name="T4" fmla="*/ 0 w 114"/>
                <a:gd name="T5" fmla="*/ 156 h 156"/>
                <a:gd name="T6" fmla="*/ 0 w 114"/>
                <a:gd name="T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56">
                  <a:moveTo>
                    <a:pt x="0" y="0"/>
                  </a:moveTo>
                  <a:lnTo>
                    <a:pt x="114" y="78"/>
                  </a:lnTo>
                  <a:lnTo>
                    <a:pt x="0" y="1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" name="ValueBack2">
              <a:extLst>
                <a:ext uri="{FF2B5EF4-FFF2-40B4-BE49-F238E27FC236}">
                  <a16:creationId xmlns:a16="http://schemas.microsoft.com/office/drawing/2014/main" id="{FAA8FC60-342D-42E0-88B5-437BC2BBE384}"/>
                </a:ext>
              </a:extLst>
            </p:cNvPr>
            <p:cNvSpPr/>
            <p:nvPr/>
          </p:nvSpPr>
          <p:spPr bwMode="auto">
            <a:xfrm flipH="1">
              <a:off x="7444712" y="2725367"/>
              <a:ext cx="272260" cy="372566"/>
            </a:xfrm>
            <a:custGeom>
              <a:avLst/>
              <a:gdLst>
                <a:gd name="T0" fmla="*/ 0 w 114"/>
                <a:gd name="T1" fmla="*/ 0 h 156"/>
                <a:gd name="T2" fmla="*/ 114 w 114"/>
                <a:gd name="T3" fmla="*/ 78 h 156"/>
                <a:gd name="T4" fmla="*/ 0 w 114"/>
                <a:gd name="T5" fmla="*/ 156 h 156"/>
                <a:gd name="T6" fmla="*/ 0 w 114"/>
                <a:gd name="T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56">
                  <a:moveTo>
                    <a:pt x="0" y="0"/>
                  </a:moveTo>
                  <a:lnTo>
                    <a:pt x="114" y="78"/>
                  </a:lnTo>
                  <a:lnTo>
                    <a:pt x="0" y="1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" name="ValueText1">
              <a:extLst>
                <a:ext uri="{FF2B5EF4-FFF2-40B4-BE49-F238E27FC236}">
                  <a16:creationId xmlns:a16="http://schemas.microsoft.com/office/drawing/2014/main" id="{50BCAF67-23B3-491C-92AB-BF3F94B79AED}"/>
                </a:ext>
              </a:extLst>
            </p:cNvPr>
            <p:cNvSpPr txBox="1"/>
            <p:nvPr/>
          </p:nvSpPr>
          <p:spPr>
            <a:xfrm>
              <a:off x="3252215" y="3994995"/>
              <a:ext cx="846633" cy="599472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sz="1600" dirty="0">
                  <a:solidFill>
                    <a:schemeClr val="accent1">
                      <a:lumMod val="100000"/>
                    </a:schemeClr>
                  </a:solidFill>
                  <a:latin typeface="+mj-lt"/>
                </a:rPr>
                <a:t>60%</a:t>
              </a:r>
            </a:p>
          </p:txBody>
        </p:sp>
        <p:sp>
          <p:nvSpPr>
            <p:cNvPr id="10" name="ValueText2">
              <a:extLst>
                <a:ext uri="{FF2B5EF4-FFF2-40B4-BE49-F238E27FC236}">
                  <a16:creationId xmlns:a16="http://schemas.microsoft.com/office/drawing/2014/main" id="{3657FD0B-10F1-4451-8886-2F4194CF5D17}"/>
                </a:ext>
              </a:extLst>
            </p:cNvPr>
            <p:cNvSpPr txBox="1"/>
            <p:nvPr/>
          </p:nvSpPr>
          <p:spPr>
            <a:xfrm>
              <a:off x="7913052" y="2614295"/>
              <a:ext cx="846634" cy="599472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sz="1600" dirty="0">
                  <a:solidFill>
                    <a:schemeClr val="accent4">
                      <a:lumMod val="100000"/>
                    </a:schemeClr>
                  </a:solidFill>
                  <a:latin typeface="+mj-lt"/>
                </a:rPr>
                <a:t>71%</a:t>
              </a:r>
            </a:p>
          </p:txBody>
        </p:sp>
        <p:sp>
          <p:nvSpPr>
            <p:cNvPr id="11" name="CustomText">
              <a:extLst>
                <a:ext uri="{FF2B5EF4-FFF2-40B4-BE49-F238E27FC236}">
                  <a16:creationId xmlns:a16="http://schemas.microsoft.com/office/drawing/2014/main" id="{3CFC00F0-B8EA-4190-A468-6D31742EA0D2}"/>
                </a:ext>
              </a:extLst>
            </p:cNvPr>
            <p:cNvSpPr/>
            <p:nvPr/>
          </p:nvSpPr>
          <p:spPr>
            <a:xfrm>
              <a:off x="3261402" y="4630299"/>
              <a:ext cx="1305785" cy="40699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1" kern="1200" cap="none" normalizeH="0" baseline="0" noProof="0" dirty="0"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12" name="CustomText">
              <a:extLst>
                <a:ext uri="{FF2B5EF4-FFF2-40B4-BE49-F238E27FC236}">
                  <a16:creationId xmlns:a16="http://schemas.microsoft.com/office/drawing/2014/main" id="{A341103D-E186-467E-94C7-81A4A084DCBB}"/>
                </a:ext>
              </a:extLst>
            </p:cNvPr>
            <p:cNvSpPr/>
            <p:nvPr/>
          </p:nvSpPr>
          <p:spPr>
            <a:xfrm>
              <a:off x="7913054" y="3249598"/>
              <a:ext cx="1195542" cy="40699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1" kern="1200" cap="none" normalizeH="0" baseline="0" noProof="0" dirty="0"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</p:grpSp>
      <p:sp>
        <p:nvSpPr>
          <p:cNvPr id="15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17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4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4802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f44eb29d-4f85-4efb-9455-b9e19d476237" descr="5xUAAB+LCAAAAAAABADNWF2PojAU/S/d2TdjaJEivumok32YnUk0+7LxgYWq3UUwBZMxE//7FoTxVj4GRhnHB2Jv74XTc08P1Vd0x100QBh10F203zL5fbaxRTTm9krYm8fAZZ6cexbBlomIsxANfr+mRQQU/bK9HUuz9jL+yH2+2W2SMBpoXU2G7BcQwloSHDOHb2xvzFc8kveWkR/hMxMO86M0MRI71kHpwMBdi+iaSdOrRjvoQQS7bbKGQyeDpgNo94EXCAAtvVWW2gOpT8sld9h8zTYsqZJTc+5HQ9+drW03W8hI8NU68lkYpoGnP3+ZE4GygSELk1sm6btwLW/+bSo/lqVpEmchaKM+aHoh6H4j0JPJmJaBNqFyIsH9VR410r6j4uo+qB4FgcdsP19+VEBRufX5Cuxr3Tf1xdeecYJGADSs1e8mxm1o0Cxr5/1Q1aACmzSArbehwlLYU6qqUIHdayxDpdxorkOlnn6+EKne7VFs6P302gNWqENsZoOO9tsQIi3uKJmMxtMp7KgC26oPm2htCLEE9phOSTlsghsLUSknzYUo6xcSIfdd+TDl/Qz354OwXS6llOYl73QpN7FXuY05FWyZwkIz5gS+W5FlxFkFcZLEbXmEYBETYTJzhgTMZkyjKffi48bQX3lZp2TXtuynzIyXdmQgCWG0OOQPJqenKwtR8N4ibQF6DL1qzl5AS84Ec6LTbE5zQlKokFxAZfz82kxWDuAKcycZqLpipRUv4ii7AqHEuGOhOLE9yi0fsijdqNm+fgvGIoIOoEx8gBK9tM/nA0gJbZ2SbO+0QMnIdv5dnxLzEnvCWi1/wqRk51itGxSpIMyCtCRLURHfLhE2qN/cqORBrDHf9Z2qNqWVA7jE3CmjclseRfe1rKqKk7P2vjMCvOi5Xy/X56Vlv2qHF3yRZ5n1PMsq2UOYtm5aehVrVGHGVEaqrdwgE3aJNDcugj9Aen3nasDrOyO4ztzfXNW71Px67lXJi1nR8dwI8tJrn5eW3euavCwO/wEj3HCH5xUAAA==">
            <a:extLst>
              <a:ext uri="{FF2B5EF4-FFF2-40B4-BE49-F238E27FC236}">
                <a16:creationId xmlns:a16="http://schemas.microsoft.com/office/drawing/2014/main" id="{669D6A53-8F31-480F-B5AC-8023B9894807}"/>
              </a:ext>
            </a:extLst>
          </p:cNvPr>
          <p:cNvGrpSpPr>
            <a:grpSpLocks noChangeAspect="1"/>
          </p:cNvGrpSpPr>
          <p:nvPr/>
        </p:nvGrpSpPr>
        <p:grpSpPr>
          <a:xfrm>
            <a:off x="1899053" y="1757611"/>
            <a:ext cx="8393894" cy="3342779"/>
            <a:chOff x="1899053" y="1757611"/>
            <a:chExt cx="8393894" cy="3342779"/>
          </a:xfrm>
        </p:grpSpPr>
        <p:sp>
          <p:nvSpPr>
            <p:cNvPr id="3" name="ExtraShape">
              <a:extLst>
                <a:ext uri="{FF2B5EF4-FFF2-40B4-BE49-F238E27FC236}">
                  <a16:creationId xmlns:a16="http://schemas.microsoft.com/office/drawing/2014/main" id="{001FB974-CBC5-4065-8208-E7406B4C8E00}"/>
                </a:ext>
              </a:extLst>
            </p:cNvPr>
            <p:cNvSpPr/>
            <p:nvPr/>
          </p:nvSpPr>
          <p:spPr bwMode="auto">
            <a:xfrm>
              <a:off x="3004277" y="2877176"/>
              <a:ext cx="407956" cy="415442"/>
            </a:xfrm>
            <a:custGeom>
              <a:avLst/>
              <a:gdLst>
                <a:gd name="T0" fmla="*/ 0 w 262"/>
                <a:gd name="T1" fmla="*/ 249 h 267"/>
                <a:gd name="T2" fmla="*/ 131 w 262"/>
                <a:gd name="T3" fmla="*/ 267 h 267"/>
                <a:gd name="T4" fmla="*/ 262 w 262"/>
                <a:gd name="T5" fmla="*/ 249 h 267"/>
                <a:gd name="T6" fmla="*/ 131 w 262"/>
                <a:gd name="T7" fmla="*/ 0 h 267"/>
                <a:gd name="T8" fmla="*/ 0 w 262"/>
                <a:gd name="T9" fmla="*/ 249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67">
                  <a:moveTo>
                    <a:pt x="0" y="249"/>
                  </a:moveTo>
                  <a:cubicBezTo>
                    <a:pt x="42" y="260"/>
                    <a:pt x="86" y="267"/>
                    <a:pt x="131" y="267"/>
                  </a:cubicBezTo>
                  <a:cubicBezTo>
                    <a:pt x="176" y="267"/>
                    <a:pt x="220" y="260"/>
                    <a:pt x="262" y="249"/>
                  </a:cubicBezTo>
                  <a:cubicBezTo>
                    <a:pt x="244" y="153"/>
                    <a:pt x="197" y="67"/>
                    <a:pt x="131" y="0"/>
                  </a:cubicBezTo>
                  <a:cubicBezTo>
                    <a:pt x="65" y="67"/>
                    <a:pt x="19" y="153"/>
                    <a:pt x="0" y="249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" name="ValueBack1">
              <a:extLst>
                <a:ext uri="{FF2B5EF4-FFF2-40B4-BE49-F238E27FC236}">
                  <a16:creationId xmlns:a16="http://schemas.microsoft.com/office/drawing/2014/main" id="{7657050B-AD46-4FA6-9146-5614D865D281}"/>
                </a:ext>
              </a:extLst>
            </p:cNvPr>
            <p:cNvSpPr/>
            <p:nvPr/>
          </p:nvSpPr>
          <p:spPr bwMode="auto">
            <a:xfrm>
              <a:off x="1923754" y="2673080"/>
              <a:ext cx="1502328" cy="1471637"/>
            </a:xfrm>
            <a:custGeom>
              <a:avLst/>
              <a:gdLst>
                <a:gd name="connsiteX0" fmla="*/ 1081403 w 1502328"/>
                <a:gd name="connsiteY0" fmla="*/ 580871 h 1471637"/>
                <a:gd name="connsiteX1" fmla="*/ 1284876 w 1502328"/>
                <a:gd name="connsiteY1" fmla="*/ 608853 h 1471637"/>
                <a:gd name="connsiteX2" fmla="*/ 1488349 w 1502328"/>
                <a:gd name="connsiteY2" fmla="*/ 580871 h 1471637"/>
                <a:gd name="connsiteX3" fmla="*/ 1502328 w 1502328"/>
                <a:gd name="connsiteY3" fmla="*/ 720779 h 1471637"/>
                <a:gd name="connsiteX4" fmla="*/ 1284876 w 1502328"/>
                <a:gd name="connsiteY4" fmla="*/ 1249321 h 1471637"/>
                <a:gd name="connsiteX5" fmla="*/ 1067424 w 1502328"/>
                <a:gd name="connsiteY5" fmla="*/ 720779 h 1471637"/>
                <a:gd name="connsiteX6" fmla="*/ 1081403 w 1502328"/>
                <a:gd name="connsiteY6" fmla="*/ 580871 h 1471637"/>
                <a:gd name="connsiteX7" fmla="*/ 547390 w 1502328"/>
                <a:gd name="connsiteY7" fmla="*/ 0 h 1471637"/>
                <a:gd name="connsiteX8" fmla="*/ 1080785 w 1502328"/>
                <a:gd name="connsiteY8" fmla="*/ 581196 h 1471637"/>
                <a:gd name="connsiteX9" fmla="*/ 1066789 w 1502328"/>
                <a:gd name="connsiteY9" fmla="*/ 721056 h 1471637"/>
                <a:gd name="connsiteX10" fmla="*/ 1284501 w 1502328"/>
                <a:gd name="connsiteY10" fmla="*/ 1249415 h 1471637"/>
                <a:gd name="connsiteX11" fmla="*/ 751107 w 1502328"/>
                <a:gd name="connsiteY11" fmla="*/ 1471637 h 1471637"/>
                <a:gd name="connsiteX12" fmla="*/ 0 w 1502328"/>
                <a:gd name="connsiteY12" fmla="*/ 721056 h 1471637"/>
                <a:gd name="connsiteX13" fmla="*/ 547390 w 1502328"/>
                <a:gd name="connsiteY13" fmla="*/ 0 h 14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2328" h="1471637">
                  <a:moveTo>
                    <a:pt x="1081403" y="580871"/>
                  </a:moveTo>
                  <a:cubicBezTo>
                    <a:pt x="1146639" y="597971"/>
                    <a:pt x="1214981" y="608853"/>
                    <a:pt x="1284876" y="608853"/>
                  </a:cubicBezTo>
                  <a:cubicBezTo>
                    <a:pt x="1354771" y="608853"/>
                    <a:pt x="1423113" y="597971"/>
                    <a:pt x="1488349" y="580871"/>
                  </a:cubicBezTo>
                  <a:cubicBezTo>
                    <a:pt x="1496115" y="625953"/>
                    <a:pt x="1502328" y="672589"/>
                    <a:pt x="1502328" y="720779"/>
                  </a:cubicBezTo>
                  <a:cubicBezTo>
                    <a:pt x="1502328" y="927532"/>
                    <a:pt x="1418454" y="1112522"/>
                    <a:pt x="1284876" y="1249321"/>
                  </a:cubicBezTo>
                  <a:cubicBezTo>
                    <a:pt x="1151298" y="1112522"/>
                    <a:pt x="1067424" y="927532"/>
                    <a:pt x="1067424" y="720779"/>
                  </a:cubicBezTo>
                  <a:cubicBezTo>
                    <a:pt x="1067424" y="672589"/>
                    <a:pt x="1073637" y="625953"/>
                    <a:pt x="1081403" y="580871"/>
                  </a:cubicBezTo>
                  <a:close/>
                  <a:moveTo>
                    <a:pt x="547390" y="0"/>
                  </a:moveTo>
                  <a:cubicBezTo>
                    <a:pt x="601818" y="279720"/>
                    <a:pt x="810200" y="505050"/>
                    <a:pt x="1080785" y="581196"/>
                  </a:cubicBezTo>
                  <a:cubicBezTo>
                    <a:pt x="1073009" y="626262"/>
                    <a:pt x="1066789" y="672882"/>
                    <a:pt x="1066789" y="721056"/>
                  </a:cubicBezTo>
                  <a:cubicBezTo>
                    <a:pt x="1066789" y="927738"/>
                    <a:pt x="1150764" y="1112663"/>
                    <a:pt x="1284501" y="1249415"/>
                  </a:cubicBezTo>
                  <a:cubicBezTo>
                    <a:pt x="1149209" y="1386167"/>
                    <a:pt x="959488" y="1471637"/>
                    <a:pt x="751107" y="1471637"/>
                  </a:cubicBezTo>
                  <a:cubicBezTo>
                    <a:pt x="335899" y="1471637"/>
                    <a:pt x="0" y="1135973"/>
                    <a:pt x="0" y="721056"/>
                  </a:cubicBezTo>
                  <a:cubicBezTo>
                    <a:pt x="0" y="377622"/>
                    <a:pt x="231708" y="88578"/>
                    <a:pt x="547390" y="0"/>
                  </a:cubicBez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5" name="ValueBack2">
              <a:extLst>
                <a:ext uri="{FF2B5EF4-FFF2-40B4-BE49-F238E27FC236}">
                  <a16:creationId xmlns:a16="http://schemas.microsoft.com/office/drawing/2014/main" id="{A2A15376-B821-4078-BDE3-331F8843F4C4}"/>
                </a:ext>
              </a:extLst>
            </p:cNvPr>
            <p:cNvSpPr/>
            <p:nvPr/>
          </p:nvSpPr>
          <p:spPr bwMode="auto">
            <a:xfrm>
              <a:off x="2458964" y="1782313"/>
              <a:ext cx="1500831" cy="1471637"/>
            </a:xfrm>
            <a:custGeom>
              <a:avLst/>
              <a:gdLst>
                <a:gd name="connsiteX0" fmla="*/ 216292 w 1500831"/>
                <a:gd name="connsiteY0" fmla="*/ 863071 h 1471637"/>
                <a:gd name="connsiteX1" fmla="*/ 749293 w 1500831"/>
                <a:gd name="connsiteY1" fmla="*/ 1085074 h 1471637"/>
                <a:gd name="connsiteX2" fmla="*/ 545727 w 1500831"/>
                <a:gd name="connsiteY2" fmla="*/ 1471637 h 1471637"/>
                <a:gd name="connsiteX3" fmla="*/ 12726 w 1500831"/>
                <a:gd name="connsiteY3" fmla="*/ 891015 h 1471637"/>
                <a:gd name="connsiteX4" fmla="*/ 216292 w 1500831"/>
                <a:gd name="connsiteY4" fmla="*/ 863071 h 1471637"/>
                <a:gd name="connsiteX5" fmla="*/ 749638 w 1500831"/>
                <a:gd name="connsiteY5" fmla="*/ 0 h 1471637"/>
                <a:gd name="connsiteX6" fmla="*/ 1500831 w 1500831"/>
                <a:gd name="connsiteY6" fmla="*/ 750546 h 1471637"/>
                <a:gd name="connsiteX7" fmla="*/ 1486834 w 1500831"/>
                <a:gd name="connsiteY7" fmla="*/ 890399 h 1471637"/>
                <a:gd name="connsiteX8" fmla="*/ 1283094 w 1500831"/>
                <a:gd name="connsiteY8" fmla="*/ 862428 h 1471637"/>
                <a:gd name="connsiteX9" fmla="*/ 749638 w 1500831"/>
                <a:gd name="connsiteY9" fmla="*/ 1084640 h 1471637"/>
                <a:gd name="connsiteX10" fmla="*/ 216182 w 1500831"/>
                <a:gd name="connsiteY10" fmla="*/ 862428 h 1471637"/>
                <a:gd name="connsiteX11" fmla="*/ 12442 w 1500831"/>
                <a:gd name="connsiteY11" fmla="*/ 890399 h 1471637"/>
                <a:gd name="connsiteX12" fmla="*/ 0 w 1500831"/>
                <a:gd name="connsiteY12" fmla="*/ 750546 h 1471637"/>
                <a:gd name="connsiteX13" fmla="*/ 749638 w 1500831"/>
                <a:gd name="connsiteY13" fmla="*/ 0 h 14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0831" h="1471637">
                  <a:moveTo>
                    <a:pt x="216292" y="863071"/>
                  </a:moveTo>
                  <a:cubicBezTo>
                    <a:pt x="424520" y="863071"/>
                    <a:pt x="614100" y="948457"/>
                    <a:pt x="749293" y="1085074"/>
                  </a:cubicBezTo>
                  <a:cubicBezTo>
                    <a:pt x="646733" y="1189089"/>
                    <a:pt x="575252" y="1322601"/>
                    <a:pt x="545727" y="1471637"/>
                  </a:cubicBezTo>
                  <a:cubicBezTo>
                    <a:pt x="275342" y="1395566"/>
                    <a:pt x="67114" y="1170459"/>
                    <a:pt x="12726" y="891015"/>
                  </a:cubicBezTo>
                  <a:cubicBezTo>
                    <a:pt x="77992" y="873938"/>
                    <a:pt x="146365" y="863071"/>
                    <a:pt x="216292" y="863071"/>
                  </a:cubicBezTo>
                  <a:close/>
                  <a:moveTo>
                    <a:pt x="749638" y="0"/>
                  </a:moveTo>
                  <a:cubicBezTo>
                    <a:pt x="1164894" y="0"/>
                    <a:pt x="1500831" y="335648"/>
                    <a:pt x="1500831" y="750546"/>
                  </a:cubicBezTo>
                  <a:cubicBezTo>
                    <a:pt x="1500831" y="798718"/>
                    <a:pt x="1494610" y="845335"/>
                    <a:pt x="1486834" y="890399"/>
                  </a:cubicBezTo>
                  <a:cubicBezTo>
                    <a:pt x="1421513" y="873306"/>
                    <a:pt x="1353081" y="862428"/>
                    <a:pt x="1283094" y="862428"/>
                  </a:cubicBezTo>
                  <a:cubicBezTo>
                    <a:pt x="1074688" y="862428"/>
                    <a:pt x="884946" y="947895"/>
                    <a:pt x="749638" y="1084640"/>
                  </a:cubicBezTo>
                  <a:cubicBezTo>
                    <a:pt x="614330" y="947895"/>
                    <a:pt x="424588" y="862428"/>
                    <a:pt x="216182" y="862428"/>
                  </a:cubicBezTo>
                  <a:cubicBezTo>
                    <a:pt x="146195" y="862428"/>
                    <a:pt x="77763" y="873306"/>
                    <a:pt x="12442" y="890399"/>
                  </a:cubicBezTo>
                  <a:cubicBezTo>
                    <a:pt x="4666" y="845335"/>
                    <a:pt x="0" y="798718"/>
                    <a:pt x="0" y="750546"/>
                  </a:cubicBezTo>
                  <a:cubicBezTo>
                    <a:pt x="0" y="335648"/>
                    <a:pt x="335937" y="0"/>
                    <a:pt x="749638" y="0"/>
                  </a:cubicBez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6" name="ValueBack3">
              <a:extLst>
                <a:ext uri="{FF2B5EF4-FFF2-40B4-BE49-F238E27FC236}">
                  <a16:creationId xmlns:a16="http://schemas.microsoft.com/office/drawing/2014/main" id="{ABAF71BA-3070-4C7A-9E02-BB51BEE7DBF1}"/>
                </a:ext>
              </a:extLst>
            </p:cNvPr>
            <p:cNvSpPr/>
            <p:nvPr/>
          </p:nvSpPr>
          <p:spPr bwMode="auto">
            <a:xfrm>
              <a:off x="3208256" y="2645384"/>
              <a:ext cx="1285250" cy="1499333"/>
            </a:xfrm>
            <a:custGeom>
              <a:avLst/>
              <a:gdLst>
                <a:gd name="connsiteX0" fmla="*/ 737541 w 1285250"/>
                <a:gd name="connsiteY0" fmla="*/ 27696 h 1499333"/>
                <a:gd name="connsiteX1" fmla="*/ 1285250 w 1285250"/>
                <a:gd name="connsiteY1" fmla="*/ 748752 h 1499333"/>
                <a:gd name="connsiteX2" fmla="*/ 533706 w 1285250"/>
                <a:gd name="connsiteY2" fmla="*/ 1499333 h 1499333"/>
                <a:gd name="connsiteX3" fmla="*/ 0 w 1285250"/>
                <a:gd name="connsiteY3" fmla="*/ 1277111 h 1499333"/>
                <a:gd name="connsiteX4" fmla="*/ 217839 w 1285250"/>
                <a:gd name="connsiteY4" fmla="*/ 748752 h 1499333"/>
                <a:gd name="connsiteX5" fmla="*/ 203835 w 1285250"/>
                <a:gd name="connsiteY5" fmla="*/ 608892 h 1499333"/>
                <a:gd name="connsiteX6" fmla="*/ 737541 w 1285250"/>
                <a:gd name="connsiteY6" fmla="*/ 27696 h 1499333"/>
                <a:gd name="connsiteX7" fmla="*/ 533543 w 1285250"/>
                <a:gd name="connsiteY7" fmla="*/ 0 h 1499333"/>
                <a:gd name="connsiteX8" fmla="*/ 737316 w 1285250"/>
                <a:gd name="connsiteY8" fmla="*/ 27944 h 1499333"/>
                <a:gd name="connsiteX9" fmla="*/ 203773 w 1285250"/>
                <a:gd name="connsiteY9" fmla="*/ 608566 h 1499333"/>
                <a:gd name="connsiteX10" fmla="*/ 0 w 1285250"/>
                <a:gd name="connsiteY10" fmla="*/ 222003 h 1499333"/>
                <a:gd name="connsiteX11" fmla="*/ 533543 w 1285250"/>
                <a:gd name="connsiteY11" fmla="*/ 0 h 1499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85250" h="1499333">
                  <a:moveTo>
                    <a:pt x="737541" y="27696"/>
                  </a:moveTo>
                  <a:cubicBezTo>
                    <a:pt x="1053407" y="116274"/>
                    <a:pt x="1285250" y="405318"/>
                    <a:pt x="1285250" y="748752"/>
                  </a:cubicBezTo>
                  <a:cubicBezTo>
                    <a:pt x="1285250" y="1163669"/>
                    <a:pt x="949156" y="1499333"/>
                    <a:pt x="533706" y="1499333"/>
                  </a:cubicBezTo>
                  <a:cubicBezTo>
                    <a:pt x="325203" y="1499333"/>
                    <a:pt x="135372" y="1413863"/>
                    <a:pt x="0" y="1277111"/>
                  </a:cubicBezTo>
                  <a:cubicBezTo>
                    <a:pt x="133816" y="1140359"/>
                    <a:pt x="217839" y="955434"/>
                    <a:pt x="217839" y="748752"/>
                  </a:cubicBezTo>
                  <a:cubicBezTo>
                    <a:pt x="217839" y="700578"/>
                    <a:pt x="211615" y="653958"/>
                    <a:pt x="203835" y="608892"/>
                  </a:cubicBezTo>
                  <a:cubicBezTo>
                    <a:pt x="474578" y="532746"/>
                    <a:pt x="684637" y="307416"/>
                    <a:pt x="737541" y="27696"/>
                  </a:cubicBezTo>
                  <a:close/>
                  <a:moveTo>
                    <a:pt x="533543" y="0"/>
                  </a:moveTo>
                  <a:cubicBezTo>
                    <a:pt x="603542" y="0"/>
                    <a:pt x="671984" y="10867"/>
                    <a:pt x="737316" y="27944"/>
                  </a:cubicBezTo>
                  <a:cubicBezTo>
                    <a:pt x="684429" y="307388"/>
                    <a:pt x="474433" y="532495"/>
                    <a:pt x="203773" y="608566"/>
                  </a:cubicBezTo>
                  <a:cubicBezTo>
                    <a:pt x="175774" y="459530"/>
                    <a:pt x="102664" y="326018"/>
                    <a:pt x="0" y="222003"/>
                  </a:cubicBezTo>
                  <a:cubicBezTo>
                    <a:pt x="135330" y="85386"/>
                    <a:pt x="325104" y="0"/>
                    <a:pt x="533543" y="0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7" name="ExtraShape1">
              <a:extLst>
                <a:ext uri="{FF2B5EF4-FFF2-40B4-BE49-F238E27FC236}">
                  <a16:creationId xmlns:a16="http://schemas.microsoft.com/office/drawing/2014/main" id="{66DB184D-5A7B-4F8B-B077-9461F24FFA73}"/>
                </a:ext>
              </a:extLst>
            </p:cNvPr>
            <p:cNvSpPr/>
            <p:nvPr/>
          </p:nvSpPr>
          <p:spPr bwMode="auto">
            <a:xfrm>
              <a:off x="2434262" y="1757611"/>
              <a:ext cx="1550235" cy="1134792"/>
            </a:xfrm>
            <a:custGeom>
              <a:avLst/>
              <a:gdLst>
                <a:gd name="T0" fmla="*/ 498 w 997"/>
                <a:gd name="T1" fmla="*/ 730 h 730"/>
                <a:gd name="T2" fmla="*/ 487 w 997"/>
                <a:gd name="T3" fmla="*/ 725 h 730"/>
                <a:gd name="T4" fmla="*/ 29 w 997"/>
                <a:gd name="T5" fmla="*/ 605 h 730"/>
                <a:gd name="T6" fmla="*/ 16 w 997"/>
                <a:gd name="T7" fmla="*/ 603 h 730"/>
                <a:gd name="T8" fmla="*/ 9 w 997"/>
                <a:gd name="T9" fmla="*/ 592 h 730"/>
                <a:gd name="T10" fmla="*/ 0 w 997"/>
                <a:gd name="T11" fmla="*/ 499 h 730"/>
                <a:gd name="T12" fmla="*/ 498 w 997"/>
                <a:gd name="T13" fmla="*/ 0 h 730"/>
                <a:gd name="T14" fmla="*/ 997 w 997"/>
                <a:gd name="T15" fmla="*/ 499 h 730"/>
                <a:gd name="T16" fmla="*/ 988 w 997"/>
                <a:gd name="T17" fmla="*/ 592 h 730"/>
                <a:gd name="T18" fmla="*/ 980 w 997"/>
                <a:gd name="T19" fmla="*/ 603 h 730"/>
                <a:gd name="T20" fmla="*/ 968 w 997"/>
                <a:gd name="T21" fmla="*/ 605 h 730"/>
                <a:gd name="T22" fmla="*/ 509 w 997"/>
                <a:gd name="T23" fmla="*/ 725 h 730"/>
                <a:gd name="T24" fmla="*/ 498 w 997"/>
                <a:gd name="T25" fmla="*/ 730 h 730"/>
                <a:gd name="T26" fmla="*/ 155 w 997"/>
                <a:gd name="T27" fmla="*/ 555 h 730"/>
                <a:gd name="T28" fmla="*/ 498 w 997"/>
                <a:gd name="T29" fmla="*/ 692 h 730"/>
                <a:gd name="T30" fmla="*/ 959 w 997"/>
                <a:gd name="T31" fmla="*/ 569 h 730"/>
                <a:gd name="T32" fmla="*/ 965 w 997"/>
                <a:gd name="T33" fmla="*/ 499 h 730"/>
                <a:gd name="T34" fmla="*/ 498 w 997"/>
                <a:gd name="T35" fmla="*/ 32 h 730"/>
                <a:gd name="T36" fmla="*/ 32 w 997"/>
                <a:gd name="T37" fmla="*/ 499 h 730"/>
                <a:gd name="T38" fmla="*/ 37 w 997"/>
                <a:gd name="T39" fmla="*/ 569 h 730"/>
                <a:gd name="T40" fmla="*/ 155 w 997"/>
                <a:gd name="T41" fmla="*/ 555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97" h="730">
                  <a:moveTo>
                    <a:pt x="498" y="730"/>
                  </a:moveTo>
                  <a:cubicBezTo>
                    <a:pt x="494" y="730"/>
                    <a:pt x="490" y="728"/>
                    <a:pt x="487" y="725"/>
                  </a:cubicBezTo>
                  <a:cubicBezTo>
                    <a:pt x="369" y="606"/>
                    <a:pt x="197" y="557"/>
                    <a:pt x="29" y="605"/>
                  </a:cubicBezTo>
                  <a:cubicBezTo>
                    <a:pt x="24" y="606"/>
                    <a:pt x="20" y="605"/>
                    <a:pt x="16" y="603"/>
                  </a:cubicBezTo>
                  <a:cubicBezTo>
                    <a:pt x="12" y="601"/>
                    <a:pt x="10" y="597"/>
                    <a:pt x="9" y="592"/>
                  </a:cubicBezTo>
                  <a:cubicBezTo>
                    <a:pt x="3" y="561"/>
                    <a:pt x="0" y="529"/>
                    <a:pt x="0" y="499"/>
                  </a:cubicBezTo>
                  <a:cubicBezTo>
                    <a:pt x="0" y="224"/>
                    <a:pt x="223" y="0"/>
                    <a:pt x="498" y="0"/>
                  </a:cubicBezTo>
                  <a:cubicBezTo>
                    <a:pt x="773" y="0"/>
                    <a:pt x="997" y="224"/>
                    <a:pt x="997" y="499"/>
                  </a:cubicBezTo>
                  <a:cubicBezTo>
                    <a:pt x="997" y="529"/>
                    <a:pt x="994" y="561"/>
                    <a:pt x="988" y="592"/>
                  </a:cubicBezTo>
                  <a:cubicBezTo>
                    <a:pt x="987" y="597"/>
                    <a:pt x="984" y="601"/>
                    <a:pt x="980" y="603"/>
                  </a:cubicBezTo>
                  <a:cubicBezTo>
                    <a:pt x="977" y="605"/>
                    <a:pt x="972" y="606"/>
                    <a:pt x="968" y="605"/>
                  </a:cubicBezTo>
                  <a:cubicBezTo>
                    <a:pt x="800" y="557"/>
                    <a:pt x="627" y="606"/>
                    <a:pt x="509" y="725"/>
                  </a:cubicBezTo>
                  <a:cubicBezTo>
                    <a:pt x="506" y="728"/>
                    <a:pt x="502" y="730"/>
                    <a:pt x="498" y="730"/>
                  </a:cubicBezTo>
                  <a:close/>
                  <a:moveTo>
                    <a:pt x="155" y="555"/>
                  </a:moveTo>
                  <a:cubicBezTo>
                    <a:pt x="284" y="555"/>
                    <a:pt x="405" y="603"/>
                    <a:pt x="498" y="692"/>
                  </a:cubicBezTo>
                  <a:cubicBezTo>
                    <a:pt x="619" y="576"/>
                    <a:pt x="791" y="528"/>
                    <a:pt x="959" y="569"/>
                  </a:cubicBezTo>
                  <a:cubicBezTo>
                    <a:pt x="963" y="546"/>
                    <a:pt x="965" y="522"/>
                    <a:pt x="965" y="499"/>
                  </a:cubicBezTo>
                  <a:cubicBezTo>
                    <a:pt x="965" y="241"/>
                    <a:pt x="755" y="32"/>
                    <a:pt x="498" y="32"/>
                  </a:cubicBezTo>
                  <a:cubicBezTo>
                    <a:pt x="241" y="32"/>
                    <a:pt x="32" y="241"/>
                    <a:pt x="32" y="499"/>
                  </a:cubicBezTo>
                  <a:cubicBezTo>
                    <a:pt x="32" y="522"/>
                    <a:pt x="33" y="545"/>
                    <a:pt x="37" y="569"/>
                  </a:cubicBezTo>
                  <a:cubicBezTo>
                    <a:pt x="76" y="560"/>
                    <a:pt x="116" y="555"/>
                    <a:pt x="155" y="55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ExtraShape2">
              <a:extLst>
                <a:ext uri="{FF2B5EF4-FFF2-40B4-BE49-F238E27FC236}">
                  <a16:creationId xmlns:a16="http://schemas.microsoft.com/office/drawing/2014/main" id="{1B49A4B3-1F95-4935-80D3-A423BCDC4889}"/>
                </a:ext>
              </a:extLst>
            </p:cNvPr>
            <p:cNvSpPr/>
            <p:nvPr/>
          </p:nvSpPr>
          <p:spPr bwMode="auto">
            <a:xfrm>
              <a:off x="1899053" y="2648378"/>
              <a:ext cx="1337648" cy="1521041"/>
            </a:xfrm>
            <a:custGeom>
              <a:avLst/>
              <a:gdLst>
                <a:gd name="T0" fmla="*/ 499 w 860"/>
                <a:gd name="T1" fmla="*/ 979 h 979"/>
                <a:gd name="T2" fmla="*/ 0 w 860"/>
                <a:gd name="T3" fmla="*/ 480 h 979"/>
                <a:gd name="T4" fmla="*/ 364 w 860"/>
                <a:gd name="T5" fmla="*/ 1 h 979"/>
                <a:gd name="T6" fmla="*/ 377 w 860"/>
                <a:gd name="T7" fmla="*/ 3 h 979"/>
                <a:gd name="T8" fmla="*/ 384 w 860"/>
                <a:gd name="T9" fmla="*/ 13 h 979"/>
                <a:gd name="T10" fmla="*/ 716 w 860"/>
                <a:gd name="T11" fmla="*/ 374 h 979"/>
                <a:gd name="T12" fmla="*/ 727 w 860"/>
                <a:gd name="T13" fmla="*/ 393 h 979"/>
                <a:gd name="T14" fmla="*/ 718 w 860"/>
                <a:gd name="T15" fmla="*/ 480 h 979"/>
                <a:gd name="T16" fmla="*/ 853 w 860"/>
                <a:gd name="T17" fmla="*/ 808 h 979"/>
                <a:gd name="T18" fmla="*/ 853 w 860"/>
                <a:gd name="T19" fmla="*/ 831 h 979"/>
                <a:gd name="T20" fmla="*/ 499 w 860"/>
                <a:gd name="T21" fmla="*/ 979 h 979"/>
                <a:gd name="T22" fmla="*/ 356 w 860"/>
                <a:gd name="T23" fmla="*/ 37 h 979"/>
                <a:gd name="T24" fmla="*/ 32 w 860"/>
                <a:gd name="T25" fmla="*/ 480 h 979"/>
                <a:gd name="T26" fmla="*/ 499 w 860"/>
                <a:gd name="T27" fmla="*/ 947 h 979"/>
                <a:gd name="T28" fmla="*/ 820 w 860"/>
                <a:gd name="T29" fmla="*/ 819 h 979"/>
                <a:gd name="T30" fmla="*/ 686 w 860"/>
                <a:gd name="T31" fmla="*/ 480 h 979"/>
                <a:gd name="T32" fmla="*/ 693 w 860"/>
                <a:gd name="T33" fmla="*/ 401 h 979"/>
                <a:gd name="T34" fmla="*/ 356 w 860"/>
                <a:gd name="T35" fmla="*/ 37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0" h="979">
                  <a:moveTo>
                    <a:pt x="499" y="979"/>
                  </a:moveTo>
                  <a:cubicBezTo>
                    <a:pt x="224" y="979"/>
                    <a:pt x="0" y="755"/>
                    <a:pt x="0" y="480"/>
                  </a:cubicBezTo>
                  <a:cubicBezTo>
                    <a:pt x="0" y="258"/>
                    <a:pt x="150" y="61"/>
                    <a:pt x="364" y="1"/>
                  </a:cubicBezTo>
                  <a:cubicBezTo>
                    <a:pt x="368" y="0"/>
                    <a:pt x="373" y="0"/>
                    <a:pt x="377" y="3"/>
                  </a:cubicBezTo>
                  <a:cubicBezTo>
                    <a:pt x="381" y="5"/>
                    <a:pt x="383" y="9"/>
                    <a:pt x="384" y="13"/>
                  </a:cubicBezTo>
                  <a:cubicBezTo>
                    <a:pt x="417" y="185"/>
                    <a:pt x="547" y="327"/>
                    <a:pt x="716" y="374"/>
                  </a:cubicBezTo>
                  <a:cubicBezTo>
                    <a:pt x="724" y="377"/>
                    <a:pt x="728" y="385"/>
                    <a:pt x="727" y="393"/>
                  </a:cubicBezTo>
                  <a:cubicBezTo>
                    <a:pt x="721" y="422"/>
                    <a:pt x="718" y="452"/>
                    <a:pt x="718" y="480"/>
                  </a:cubicBezTo>
                  <a:cubicBezTo>
                    <a:pt x="718" y="604"/>
                    <a:pt x="766" y="720"/>
                    <a:pt x="853" y="808"/>
                  </a:cubicBezTo>
                  <a:cubicBezTo>
                    <a:pt x="860" y="815"/>
                    <a:pt x="860" y="825"/>
                    <a:pt x="853" y="831"/>
                  </a:cubicBezTo>
                  <a:cubicBezTo>
                    <a:pt x="759" y="926"/>
                    <a:pt x="633" y="979"/>
                    <a:pt x="499" y="979"/>
                  </a:cubicBezTo>
                  <a:close/>
                  <a:moveTo>
                    <a:pt x="356" y="37"/>
                  </a:moveTo>
                  <a:cubicBezTo>
                    <a:pt x="165" y="98"/>
                    <a:pt x="32" y="278"/>
                    <a:pt x="32" y="480"/>
                  </a:cubicBezTo>
                  <a:cubicBezTo>
                    <a:pt x="32" y="738"/>
                    <a:pt x="242" y="947"/>
                    <a:pt x="499" y="947"/>
                  </a:cubicBezTo>
                  <a:cubicBezTo>
                    <a:pt x="619" y="947"/>
                    <a:pt x="732" y="902"/>
                    <a:pt x="820" y="819"/>
                  </a:cubicBezTo>
                  <a:cubicBezTo>
                    <a:pt x="734" y="727"/>
                    <a:pt x="686" y="607"/>
                    <a:pt x="686" y="480"/>
                  </a:cubicBezTo>
                  <a:cubicBezTo>
                    <a:pt x="686" y="454"/>
                    <a:pt x="689" y="428"/>
                    <a:pt x="693" y="401"/>
                  </a:cubicBezTo>
                  <a:cubicBezTo>
                    <a:pt x="525" y="348"/>
                    <a:pt x="395" y="208"/>
                    <a:pt x="356" y="3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ExtraShape3">
              <a:extLst>
                <a:ext uri="{FF2B5EF4-FFF2-40B4-BE49-F238E27FC236}">
                  <a16:creationId xmlns:a16="http://schemas.microsoft.com/office/drawing/2014/main" id="{8D1B83D3-880C-488F-AE90-9499DF102225}"/>
                </a:ext>
              </a:extLst>
            </p:cNvPr>
            <p:cNvSpPr/>
            <p:nvPr/>
          </p:nvSpPr>
          <p:spPr bwMode="auto">
            <a:xfrm>
              <a:off x="2444742" y="2570530"/>
              <a:ext cx="791959" cy="708871"/>
            </a:xfrm>
            <a:custGeom>
              <a:avLst/>
              <a:gdLst>
                <a:gd name="T0" fmla="*/ 360 w 509"/>
                <a:gd name="T1" fmla="*/ 456 h 456"/>
                <a:gd name="T2" fmla="*/ 356 w 509"/>
                <a:gd name="T3" fmla="*/ 455 h 456"/>
                <a:gd name="T4" fmla="*/ 2 w 509"/>
                <a:gd name="T5" fmla="*/ 69 h 456"/>
                <a:gd name="T6" fmla="*/ 13 w 509"/>
                <a:gd name="T7" fmla="*/ 51 h 456"/>
                <a:gd name="T8" fmla="*/ 502 w 509"/>
                <a:gd name="T9" fmla="*/ 180 h 456"/>
                <a:gd name="T10" fmla="*/ 502 w 509"/>
                <a:gd name="T11" fmla="*/ 202 h 456"/>
                <a:gd name="T12" fmla="*/ 376 w 509"/>
                <a:gd name="T13" fmla="*/ 443 h 456"/>
                <a:gd name="T14" fmla="*/ 369 w 509"/>
                <a:gd name="T15" fmla="*/ 453 h 456"/>
                <a:gd name="T16" fmla="*/ 360 w 509"/>
                <a:gd name="T17" fmla="*/ 456 h 456"/>
                <a:gd name="T18" fmla="*/ 36 w 509"/>
                <a:gd name="T19" fmla="*/ 78 h 456"/>
                <a:gd name="T20" fmla="*/ 348 w 509"/>
                <a:gd name="T21" fmla="*/ 419 h 456"/>
                <a:gd name="T22" fmla="*/ 469 w 509"/>
                <a:gd name="T23" fmla="*/ 191 h 456"/>
                <a:gd name="T24" fmla="*/ 36 w 509"/>
                <a:gd name="T25" fmla="*/ 78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456">
                  <a:moveTo>
                    <a:pt x="360" y="456"/>
                  </a:moveTo>
                  <a:cubicBezTo>
                    <a:pt x="359" y="456"/>
                    <a:pt x="357" y="455"/>
                    <a:pt x="356" y="455"/>
                  </a:cubicBezTo>
                  <a:cubicBezTo>
                    <a:pt x="176" y="404"/>
                    <a:pt x="37" y="253"/>
                    <a:pt x="2" y="69"/>
                  </a:cubicBezTo>
                  <a:cubicBezTo>
                    <a:pt x="0" y="61"/>
                    <a:pt x="5" y="53"/>
                    <a:pt x="13" y="51"/>
                  </a:cubicBezTo>
                  <a:cubicBezTo>
                    <a:pt x="192" y="0"/>
                    <a:pt x="376" y="53"/>
                    <a:pt x="502" y="180"/>
                  </a:cubicBezTo>
                  <a:cubicBezTo>
                    <a:pt x="509" y="186"/>
                    <a:pt x="509" y="196"/>
                    <a:pt x="502" y="202"/>
                  </a:cubicBezTo>
                  <a:cubicBezTo>
                    <a:pt x="437" y="268"/>
                    <a:pt x="393" y="351"/>
                    <a:pt x="376" y="443"/>
                  </a:cubicBezTo>
                  <a:cubicBezTo>
                    <a:pt x="375" y="447"/>
                    <a:pt x="373" y="451"/>
                    <a:pt x="369" y="453"/>
                  </a:cubicBezTo>
                  <a:cubicBezTo>
                    <a:pt x="366" y="455"/>
                    <a:pt x="363" y="456"/>
                    <a:pt x="360" y="456"/>
                  </a:cubicBezTo>
                  <a:close/>
                  <a:moveTo>
                    <a:pt x="36" y="78"/>
                  </a:moveTo>
                  <a:cubicBezTo>
                    <a:pt x="72" y="238"/>
                    <a:pt x="192" y="369"/>
                    <a:pt x="348" y="419"/>
                  </a:cubicBezTo>
                  <a:cubicBezTo>
                    <a:pt x="368" y="334"/>
                    <a:pt x="409" y="256"/>
                    <a:pt x="469" y="191"/>
                  </a:cubicBezTo>
                  <a:cubicBezTo>
                    <a:pt x="355" y="84"/>
                    <a:pt x="195" y="38"/>
                    <a:pt x="36" y="7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ExtraShape4">
              <a:extLst>
                <a:ext uri="{FF2B5EF4-FFF2-40B4-BE49-F238E27FC236}">
                  <a16:creationId xmlns:a16="http://schemas.microsoft.com/office/drawing/2014/main" id="{04DA1387-953D-4D9B-B619-8133B2C1C370}"/>
                </a:ext>
              </a:extLst>
            </p:cNvPr>
            <p:cNvSpPr/>
            <p:nvPr/>
          </p:nvSpPr>
          <p:spPr bwMode="auto">
            <a:xfrm>
              <a:off x="3180560" y="2648378"/>
              <a:ext cx="1337648" cy="1521041"/>
            </a:xfrm>
            <a:custGeom>
              <a:avLst/>
              <a:gdLst>
                <a:gd name="T0" fmla="*/ 361 w 860"/>
                <a:gd name="T1" fmla="*/ 979 h 979"/>
                <a:gd name="T2" fmla="*/ 7 w 860"/>
                <a:gd name="T3" fmla="*/ 831 h 979"/>
                <a:gd name="T4" fmla="*/ 7 w 860"/>
                <a:gd name="T5" fmla="*/ 808 h 979"/>
                <a:gd name="T6" fmla="*/ 142 w 860"/>
                <a:gd name="T7" fmla="*/ 480 h 979"/>
                <a:gd name="T8" fmla="*/ 133 w 860"/>
                <a:gd name="T9" fmla="*/ 393 h 979"/>
                <a:gd name="T10" fmla="*/ 144 w 860"/>
                <a:gd name="T11" fmla="*/ 374 h 979"/>
                <a:gd name="T12" fmla="*/ 476 w 860"/>
                <a:gd name="T13" fmla="*/ 13 h 979"/>
                <a:gd name="T14" fmla="*/ 483 w 860"/>
                <a:gd name="T15" fmla="*/ 3 h 979"/>
                <a:gd name="T16" fmla="*/ 496 w 860"/>
                <a:gd name="T17" fmla="*/ 1 h 979"/>
                <a:gd name="T18" fmla="*/ 860 w 860"/>
                <a:gd name="T19" fmla="*/ 480 h 979"/>
                <a:gd name="T20" fmla="*/ 361 w 860"/>
                <a:gd name="T21" fmla="*/ 979 h 979"/>
                <a:gd name="T22" fmla="*/ 40 w 860"/>
                <a:gd name="T23" fmla="*/ 819 h 979"/>
                <a:gd name="T24" fmla="*/ 361 w 860"/>
                <a:gd name="T25" fmla="*/ 947 h 979"/>
                <a:gd name="T26" fmla="*/ 828 w 860"/>
                <a:gd name="T27" fmla="*/ 480 h 979"/>
                <a:gd name="T28" fmla="*/ 504 w 860"/>
                <a:gd name="T29" fmla="*/ 37 h 979"/>
                <a:gd name="T30" fmla="*/ 167 w 860"/>
                <a:gd name="T31" fmla="*/ 401 h 979"/>
                <a:gd name="T32" fmla="*/ 174 w 860"/>
                <a:gd name="T33" fmla="*/ 480 h 979"/>
                <a:gd name="T34" fmla="*/ 40 w 860"/>
                <a:gd name="T35" fmla="*/ 819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0" h="979">
                  <a:moveTo>
                    <a:pt x="361" y="979"/>
                  </a:moveTo>
                  <a:cubicBezTo>
                    <a:pt x="227" y="979"/>
                    <a:pt x="101" y="926"/>
                    <a:pt x="7" y="831"/>
                  </a:cubicBezTo>
                  <a:cubicBezTo>
                    <a:pt x="0" y="825"/>
                    <a:pt x="0" y="815"/>
                    <a:pt x="7" y="808"/>
                  </a:cubicBezTo>
                  <a:cubicBezTo>
                    <a:pt x="94" y="720"/>
                    <a:pt x="142" y="604"/>
                    <a:pt x="142" y="480"/>
                  </a:cubicBezTo>
                  <a:cubicBezTo>
                    <a:pt x="142" y="452"/>
                    <a:pt x="139" y="422"/>
                    <a:pt x="133" y="393"/>
                  </a:cubicBezTo>
                  <a:cubicBezTo>
                    <a:pt x="132" y="385"/>
                    <a:pt x="136" y="377"/>
                    <a:pt x="144" y="374"/>
                  </a:cubicBezTo>
                  <a:cubicBezTo>
                    <a:pt x="313" y="327"/>
                    <a:pt x="443" y="185"/>
                    <a:pt x="476" y="13"/>
                  </a:cubicBezTo>
                  <a:cubicBezTo>
                    <a:pt x="477" y="9"/>
                    <a:pt x="480" y="5"/>
                    <a:pt x="483" y="3"/>
                  </a:cubicBezTo>
                  <a:cubicBezTo>
                    <a:pt x="487" y="0"/>
                    <a:pt x="492" y="0"/>
                    <a:pt x="496" y="1"/>
                  </a:cubicBezTo>
                  <a:cubicBezTo>
                    <a:pt x="710" y="61"/>
                    <a:pt x="860" y="258"/>
                    <a:pt x="860" y="480"/>
                  </a:cubicBezTo>
                  <a:cubicBezTo>
                    <a:pt x="860" y="755"/>
                    <a:pt x="636" y="979"/>
                    <a:pt x="361" y="979"/>
                  </a:cubicBezTo>
                  <a:close/>
                  <a:moveTo>
                    <a:pt x="40" y="819"/>
                  </a:moveTo>
                  <a:cubicBezTo>
                    <a:pt x="128" y="902"/>
                    <a:pt x="241" y="947"/>
                    <a:pt x="361" y="947"/>
                  </a:cubicBezTo>
                  <a:cubicBezTo>
                    <a:pt x="618" y="947"/>
                    <a:pt x="828" y="738"/>
                    <a:pt x="828" y="480"/>
                  </a:cubicBezTo>
                  <a:cubicBezTo>
                    <a:pt x="828" y="278"/>
                    <a:pt x="695" y="98"/>
                    <a:pt x="504" y="37"/>
                  </a:cubicBezTo>
                  <a:cubicBezTo>
                    <a:pt x="465" y="208"/>
                    <a:pt x="335" y="348"/>
                    <a:pt x="167" y="401"/>
                  </a:cubicBezTo>
                  <a:cubicBezTo>
                    <a:pt x="171" y="428"/>
                    <a:pt x="174" y="454"/>
                    <a:pt x="174" y="480"/>
                  </a:cubicBezTo>
                  <a:cubicBezTo>
                    <a:pt x="174" y="607"/>
                    <a:pt x="126" y="727"/>
                    <a:pt x="40" y="81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ExtraShape5">
              <a:extLst>
                <a:ext uri="{FF2B5EF4-FFF2-40B4-BE49-F238E27FC236}">
                  <a16:creationId xmlns:a16="http://schemas.microsoft.com/office/drawing/2014/main" id="{2848FC67-52C1-4308-B05C-07793D0F79DE}"/>
                </a:ext>
              </a:extLst>
            </p:cNvPr>
            <p:cNvSpPr/>
            <p:nvPr/>
          </p:nvSpPr>
          <p:spPr bwMode="auto">
            <a:xfrm>
              <a:off x="3180560" y="2619934"/>
              <a:ext cx="791959" cy="659467"/>
            </a:xfrm>
            <a:custGeom>
              <a:avLst/>
              <a:gdLst>
                <a:gd name="T0" fmla="*/ 149 w 509"/>
                <a:gd name="T1" fmla="*/ 424 h 424"/>
                <a:gd name="T2" fmla="*/ 140 w 509"/>
                <a:gd name="T3" fmla="*/ 421 h 424"/>
                <a:gd name="T4" fmla="*/ 133 w 509"/>
                <a:gd name="T5" fmla="*/ 411 h 424"/>
                <a:gd name="T6" fmla="*/ 7 w 509"/>
                <a:gd name="T7" fmla="*/ 170 h 424"/>
                <a:gd name="T8" fmla="*/ 7 w 509"/>
                <a:gd name="T9" fmla="*/ 148 h 424"/>
                <a:gd name="T10" fmla="*/ 361 w 509"/>
                <a:gd name="T11" fmla="*/ 0 h 424"/>
                <a:gd name="T12" fmla="*/ 496 w 509"/>
                <a:gd name="T13" fmla="*/ 19 h 424"/>
                <a:gd name="T14" fmla="*/ 508 w 509"/>
                <a:gd name="T15" fmla="*/ 37 h 424"/>
                <a:gd name="T16" fmla="*/ 153 w 509"/>
                <a:gd name="T17" fmla="*/ 423 h 424"/>
                <a:gd name="T18" fmla="*/ 149 w 509"/>
                <a:gd name="T19" fmla="*/ 424 h 424"/>
                <a:gd name="T20" fmla="*/ 40 w 509"/>
                <a:gd name="T21" fmla="*/ 159 h 424"/>
                <a:gd name="T22" fmla="*/ 161 w 509"/>
                <a:gd name="T23" fmla="*/ 387 h 424"/>
                <a:gd name="T24" fmla="*/ 473 w 509"/>
                <a:gd name="T25" fmla="*/ 46 h 424"/>
                <a:gd name="T26" fmla="*/ 40 w 509"/>
                <a:gd name="T27" fmla="*/ 159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9" h="424">
                  <a:moveTo>
                    <a:pt x="149" y="424"/>
                  </a:moveTo>
                  <a:cubicBezTo>
                    <a:pt x="146" y="424"/>
                    <a:pt x="143" y="423"/>
                    <a:pt x="140" y="421"/>
                  </a:cubicBezTo>
                  <a:cubicBezTo>
                    <a:pt x="137" y="419"/>
                    <a:pt x="134" y="415"/>
                    <a:pt x="133" y="411"/>
                  </a:cubicBezTo>
                  <a:cubicBezTo>
                    <a:pt x="116" y="320"/>
                    <a:pt x="72" y="236"/>
                    <a:pt x="7" y="170"/>
                  </a:cubicBezTo>
                  <a:cubicBezTo>
                    <a:pt x="0" y="164"/>
                    <a:pt x="0" y="154"/>
                    <a:pt x="7" y="148"/>
                  </a:cubicBezTo>
                  <a:cubicBezTo>
                    <a:pt x="101" y="52"/>
                    <a:pt x="227" y="0"/>
                    <a:pt x="361" y="0"/>
                  </a:cubicBezTo>
                  <a:cubicBezTo>
                    <a:pt x="406" y="0"/>
                    <a:pt x="451" y="6"/>
                    <a:pt x="496" y="19"/>
                  </a:cubicBezTo>
                  <a:cubicBezTo>
                    <a:pt x="504" y="21"/>
                    <a:pt x="509" y="29"/>
                    <a:pt x="508" y="37"/>
                  </a:cubicBezTo>
                  <a:cubicBezTo>
                    <a:pt x="473" y="221"/>
                    <a:pt x="333" y="373"/>
                    <a:pt x="153" y="423"/>
                  </a:cubicBezTo>
                  <a:cubicBezTo>
                    <a:pt x="152" y="424"/>
                    <a:pt x="150" y="424"/>
                    <a:pt x="149" y="424"/>
                  </a:cubicBezTo>
                  <a:close/>
                  <a:moveTo>
                    <a:pt x="40" y="159"/>
                  </a:moveTo>
                  <a:cubicBezTo>
                    <a:pt x="100" y="224"/>
                    <a:pt x="141" y="302"/>
                    <a:pt x="161" y="387"/>
                  </a:cubicBezTo>
                  <a:cubicBezTo>
                    <a:pt x="317" y="337"/>
                    <a:pt x="437" y="206"/>
                    <a:pt x="473" y="46"/>
                  </a:cubicBezTo>
                  <a:cubicBezTo>
                    <a:pt x="315" y="7"/>
                    <a:pt x="154" y="52"/>
                    <a:pt x="40" y="15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ExtraShape6">
              <a:extLst>
                <a:ext uri="{FF2B5EF4-FFF2-40B4-BE49-F238E27FC236}">
                  <a16:creationId xmlns:a16="http://schemas.microsoft.com/office/drawing/2014/main" id="{486DC8B0-DCBC-42B7-BAE0-5145927DCCA1}"/>
                </a:ext>
              </a:extLst>
            </p:cNvPr>
            <p:cNvSpPr/>
            <p:nvPr/>
          </p:nvSpPr>
          <p:spPr bwMode="auto">
            <a:xfrm>
              <a:off x="2965728" y="3227751"/>
              <a:ext cx="485805" cy="719351"/>
            </a:xfrm>
            <a:custGeom>
              <a:avLst/>
              <a:gdLst>
                <a:gd name="T0" fmla="*/ 156 w 312"/>
                <a:gd name="T1" fmla="*/ 463 h 463"/>
                <a:gd name="T2" fmla="*/ 145 w 312"/>
                <a:gd name="T3" fmla="*/ 458 h 463"/>
                <a:gd name="T4" fmla="*/ 0 w 312"/>
                <a:gd name="T5" fmla="*/ 107 h 463"/>
                <a:gd name="T6" fmla="*/ 10 w 312"/>
                <a:gd name="T7" fmla="*/ 14 h 463"/>
                <a:gd name="T8" fmla="*/ 17 w 312"/>
                <a:gd name="T9" fmla="*/ 3 h 463"/>
                <a:gd name="T10" fmla="*/ 30 w 312"/>
                <a:gd name="T11" fmla="*/ 1 h 463"/>
                <a:gd name="T12" fmla="*/ 282 w 312"/>
                <a:gd name="T13" fmla="*/ 1 h 463"/>
                <a:gd name="T14" fmla="*/ 295 w 312"/>
                <a:gd name="T15" fmla="*/ 3 h 463"/>
                <a:gd name="T16" fmla="*/ 302 w 312"/>
                <a:gd name="T17" fmla="*/ 14 h 463"/>
                <a:gd name="T18" fmla="*/ 312 w 312"/>
                <a:gd name="T19" fmla="*/ 107 h 463"/>
                <a:gd name="T20" fmla="*/ 167 w 312"/>
                <a:gd name="T21" fmla="*/ 458 h 463"/>
                <a:gd name="T22" fmla="*/ 156 w 312"/>
                <a:gd name="T23" fmla="*/ 463 h 463"/>
                <a:gd name="T24" fmla="*/ 38 w 312"/>
                <a:gd name="T25" fmla="*/ 37 h 463"/>
                <a:gd name="T26" fmla="*/ 32 w 312"/>
                <a:gd name="T27" fmla="*/ 107 h 463"/>
                <a:gd name="T28" fmla="*/ 156 w 312"/>
                <a:gd name="T29" fmla="*/ 423 h 463"/>
                <a:gd name="T30" fmla="*/ 280 w 312"/>
                <a:gd name="T31" fmla="*/ 107 h 463"/>
                <a:gd name="T32" fmla="*/ 274 w 312"/>
                <a:gd name="T33" fmla="*/ 37 h 463"/>
                <a:gd name="T34" fmla="*/ 38 w 312"/>
                <a:gd name="T35" fmla="*/ 37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2" h="463">
                  <a:moveTo>
                    <a:pt x="156" y="463"/>
                  </a:moveTo>
                  <a:cubicBezTo>
                    <a:pt x="152" y="463"/>
                    <a:pt x="148" y="461"/>
                    <a:pt x="145" y="458"/>
                  </a:cubicBezTo>
                  <a:cubicBezTo>
                    <a:pt x="52" y="364"/>
                    <a:pt x="0" y="239"/>
                    <a:pt x="0" y="107"/>
                  </a:cubicBezTo>
                  <a:cubicBezTo>
                    <a:pt x="0" y="77"/>
                    <a:pt x="4" y="45"/>
                    <a:pt x="10" y="14"/>
                  </a:cubicBezTo>
                  <a:cubicBezTo>
                    <a:pt x="10" y="9"/>
                    <a:pt x="13" y="5"/>
                    <a:pt x="17" y="3"/>
                  </a:cubicBezTo>
                  <a:cubicBezTo>
                    <a:pt x="21" y="1"/>
                    <a:pt x="25" y="0"/>
                    <a:pt x="30" y="1"/>
                  </a:cubicBezTo>
                  <a:cubicBezTo>
                    <a:pt x="113" y="25"/>
                    <a:pt x="198" y="25"/>
                    <a:pt x="282" y="1"/>
                  </a:cubicBezTo>
                  <a:cubicBezTo>
                    <a:pt x="287" y="0"/>
                    <a:pt x="291" y="1"/>
                    <a:pt x="295" y="3"/>
                  </a:cubicBezTo>
                  <a:cubicBezTo>
                    <a:pt x="299" y="6"/>
                    <a:pt x="302" y="9"/>
                    <a:pt x="302" y="14"/>
                  </a:cubicBezTo>
                  <a:cubicBezTo>
                    <a:pt x="308" y="45"/>
                    <a:pt x="312" y="77"/>
                    <a:pt x="312" y="107"/>
                  </a:cubicBezTo>
                  <a:cubicBezTo>
                    <a:pt x="312" y="239"/>
                    <a:pt x="260" y="364"/>
                    <a:pt x="167" y="458"/>
                  </a:cubicBezTo>
                  <a:cubicBezTo>
                    <a:pt x="164" y="461"/>
                    <a:pt x="160" y="463"/>
                    <a:pt x="156" y="463"/>
                  </a:cubicBezTo>
                  <a:close/>
                  <a:moveTo>
                    <a:pt x="38" y="37"/>
                  </a:moveTo>
                  <a:cubicBezTo>
                    <a:pt x="34" y="61"/>
                    <a:pt x="32" y="84"/>
                    <a:pt x="32" y="107"/>
                  </a:cubicBezTo>
                  <a:cubicBezTo>
                    <a:pt x="32" y="225"/>
                    <a:pt x="76" y="337"/>
                    <a:pt x="156" y="423"/>
                  </a:cubicBezTo>
                  <a:cubicBezTo>
                    <a:pt x="236" y="337"/>
                    <a:pt x="280" y="225"/>
                    <a:pt x="280" y="107"/>
                  </a:cubicBezTo>
                  <a:cubicBezTo>
                    <a:pt x="280" y="84"/>
                    <a:pt x="278" y="61"/>
                    <a:pt x="274" y="37"/>
                  </a:cubicBezTo>
                  <a:cubicBezTo>
                    <a:pt x="195" y="56"/>
                    <a:pt x="116" y="56"/>
                    <a:pt x="38" y="3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ValueShape1">
              <a:extLst>
                <a:ext uri="{FF2B5EF4-FFF2-40B4-BE49-F238E27FC236}">
                  <a16:creationId xmlns:a16="http://schemas.microsoft.com/office/drawing/2014/main" id="{D88B30E6-A1AB-431A-9C03-960661156A04}"/>
                </a:ext>
              </a:extLst>
            </p:cNvPr>
            <p:cNvSpPr/>
            <p:nvPr/>
          </p:nvSpPr>
          <p:spPr>
            <a:xfrm>
              <a:off x="4709382" y="2032654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1923">
                  <a:schemeClr val="accent1">
                    <a:lumMod val="100000"/>
                  </a:schemeClr>
                </a:gs>
                <a:gs pos="52023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ValueShape2">
              <a:extLst>
                <a:ext uri="{FF2B5EF4-FFF2-40B4-BE49-F238E27FC236}">
                  <a16:creationId xmlns:a16="http://schemas.microsoft.com/office/drawing/2014/main" id="{BF816705-4EB0-43E5-9C68-0238F2E66B64}"/>
                </a:ext>
              </a:extLst>
            </p:cNvPr>
            <p:cNvSpPr/>
            <p:nvPr/>
          </p:nvSpPr>
          <p:spPr>
            <a:xfrm>
              <a:off x="4709382" y="2768872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80769">
                  <a:schemeClr val="accent3">
                    <a:lumMod val="100000"/>
                  </a:schemeClr>
                </a:gs>
                <a:gs pos="80869">
                  <a:schemeClr val="accent3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ValueShape3">
              <a:extLst>
                <a:ext uri="{FF2B5EF4-FFF2-40B4-BE49-F238E27FC236}">
                  <a16:creationId xmlns:a16="http://schemas.microsoft.com/office/drawing/2014/main" id="{54F680F6-E164-4C95-A266-F51219D491B9}"/>
                </a:ext>
              </a:extLst>
            </p:cNvPr>
            <p:cNvSpPr/>
            <p:nvPr/>
          </p:nvSpPr>
          <p:spPr>
            <a:xfrm>
              <a:off x="4709382" y="3501836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63462">
                  <a:schemeClr val="accent2">
                    <a:lumMod val="100000"/>
                  </a:schemeClr>
                </a:gs>
                <a:gs pos="63562">
                  <a:schemeClr val="accent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ValueText1">
              <a:extLst>
                <a:ext uri="{FF2B5EF4-FFF2-40B4-BE49-F238E27FC236}">
                  <a16:creationId xmlns:a16="http://schemas.microsoft.com/office/drawing/2014/main" id="{FFA6D75B-0626-4520-9ACA-0489875124C3}"/>
                </a:ext>
              </a:extLst>
            </p:cNvPr>
            <p:cNvSpPr txBox="1"/>
            <p:nvPr/>
          </p:nvSpPr>
          <p:spPr>
            <a:xfrm>
              <a:off x="9644013" y="2032654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52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7" name="ValueText2">
              <a:extLst>
                <a:ext uri="{FF2B5EF4-FFF2-40B4-BE49-F238E27FC236}">
                  <a16:creationId xmlns:a16="http://schemas.microsoft.com/office/drawing/2014/main" id="{17C95FD1-E1AC-42A7-B251-05B9A00B14DF}"/>
                </a:ext>
              </a:extLst>
            </p:cNvPr>
            <p:cNvSpPr txBox="1"/>
            <p:nvPr/>
          </p:nvSpPr>
          <p:spPr>
            <a:xfrm>
              <a:off x="9644013" y="2766056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81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8" name="ValueText3">
              <a:extLst>
                <a:ext uri="{FF2B5EF4-FFF2-40B4-BE49-F238E27FC236}">
                  <a16:creationId xmlns:a16="http://schemas.microsoft.com/office/drawing/2014/main" id="{E0C063A6-47DB-44BB-8110-81849826AF20}"/>
                </a:ext>
              </a:extLst>
            </p:cNvPr>
            <p:cNvSpPr txBox="1"/>
            <p:nvPr/>
          </p:nvSpPr>
          <p:spPr>
            <a:xfrm>
              <a:off x="9644013" y="3500427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63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9" name="CustomText1">
              <a:extLst>
                <a:ext uri="{FF2B5EF4-FFF2-40B4-BE49-F238E27FC236}">
                  <a16:creationId xmlns:a16="http://schemas.microsoft.com/office/drawing/2014/main" id="{629DDF01-3D3F-4D2D-8EE9-1FE14DC846F4}"/>
                </a:ext>
              </a:extLst>
            </p:cNvPr>
            <p:cNvSpPr txBox="1"/>
            <p:nvPr/>
          </p:nvSpPr>
          <p:spPr>
            <a:xfrm>
              <a:off x="3180560" y="4291876"/>
              <a:ext cx="2377389" cy="523220"/>
            </a:xfrm>
            <a:prstGeom prst="rect">
              <a:avLst/>
            </a:prstGeom>
            <a:noFill/>
          </p:spPr>
          <p:txBody>
            <a:bodyPr wrap="square" rtlCol="0">
              <a:normAutofit/>
            </a:bodyPr>
            <a:lstStyle/>
            <a:p>
              <a:r>
                <a:rPr lang="en-US" altLang="zh-CN" sz="2800" b="1" dirty="0">
                  <a:solidFill>
                    <a:schemeClr val="tx2"/>
                  </a:solidFill>
                </a:rPr>
                <a:t>TEXT HERE</a:t>
              </a:r>
            </a:p>
          </p:txBody>
        </p:sp>
        <p:sp>
          <p:nvSpPr>
            <p:cNvPr id="20" name="CustomText2">
              <a:extLst>
                <a:ext uri="{FF2B5EF4-FFF2-40B4-BE49-F238E27FC236}">
                  <a16:creationId xmlns:a16="http://schemas.microsoft.com/office/drawing/2014/main" id="{CBBA5CCE-3813-42BB-BC6B-7863A7293F17}"/>
                </a:ext>
              </a:extLst>
            </p:cNvPr>
            <p:cNvSpPr/>
            <p:nvPr/>
          </p:nvSpPr>
          <p:spPr>
            <a:xfrm>
              <a:off x="3180560" y="4731058"/>
              <a:ext cx="2377389" cy="369332"/>
            </a:xfrm>
            <a:prstGeom prst="rect">
              <a:avLst/>
            </a:prstGeom>
          </p:spPr>
          <p:txBody>
            <a:bodyPr wrap="square">
              <a:norm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Supporting text here</a:t>
              </a:r>
            </a:p>
          </p:txBody>
        </p:sp>
        <p:sp>
          <p:nvSpPr>
            <p:cNvPr id="21" name="CustomText1">
              <a:extLst>
                <a:ext uri="{FF2B5EF4-FFF2-40B4-BE49-F238E27FC236}">
                  <a16:creationId xmlns:a16="http://schemas.microsoft.com/office/drawing/2014/main" id="{26EF50B0-8A77-4919-ACA4-D5B414EEC46B}"/>
                </a:ext>
              </a:extLst>
            </p:cNvPr>
            <p:cNvSpPr/>
            <p:nvPr/>
          </p:nvSpPr>
          <p:spPr>
            <a:xfrm>
              <a:off x="5522996" y="4466518"/>
              <a:ext cx="3476702" cy="529080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Go ahead and replace it with your own text.</a:t>
              </a:r>
              <a:endParaRPr lang="tr-TR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Go ahead and replace it with your own text.</a:t>
              </a:r>
            </a:p>
          </p:txBody>
        </p:sp>
      </p:grpSp>
      <p:sp>
        <p:nvSpPr>
          <p:cNvPr id="24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6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4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34680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îšliḑê"/>
          <p:cNvSpPr txBox="1">
            <a:spLocks/>
          </p:cNvSpPr>
          <p:nvPr/>
        </p:nvSpPr>
        <p:spPr>
          <a:xfrm>
            <a:off x="675698" y="4185069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4800" dirty="0"/>
              <a:t>SERVICE</a:t>
            </a:r>
            <a:endParaRPr lang="zh-CN" altLang="en-US" sz="4800" dirty="0"/>
          </a:p>
        </p:txBody>
      </p:sp>
      <p:sp>
        <p:nvSpPr>
          <p:cNvPr id="8" name="íślíd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/0</a:t>
            </a:r>
            <a:r>
              <a:rPr lang="tr-TR" altLang="zh-CN" spc="1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5</a:t>
            </a:r>
            <a:endParaRPr lang="zh-CN" altLang="en-US" spc="1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54425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5a0d3aa-92ea-4d99-be7a-b7871142e69d" descr="FBEAAB+LCAAAAAAABADNVl1v2jAU/S9e94ZQ7BCH8AYNqfbQtRLVXiYessSAp3wgx0hFVf/7HJMMG5IsLoK1lSJyfW9y7rnnOH4DdzQGEwDBANzx/ZaI34s0ZNyn4ZqF6WMek0SsPbN8SxinpACTn29VEVKKfoTJjlRZexF/pBlNd6kMg4k1tEQofFVC0JJBn0Q0DROfrikXzxaRb8UzYRHJeJXI2Y4MQHXjwKGHbMvF9dUdgAeW77ayh/dBDc1WoN3nSc4UaNWj6tSRkvq0WtGIvGxISmSVWHqhGZ9m8WITxnUjM0bXG56RoqgCT79+k4grZRNHFMpHyvRdsREP/xKIP8+zLIGzEbTTHzS+EPTYCPR87uM20K6qHM5otj5HDayvoLl6rFTP8jwhYXZeflBAU7l3ewViezjC0LHH1dWGR2hIgQat/tOE8BoaxM3jRPOZHwTqODXYyAC2fQ0VtsD2cYA6YI+MZaiVO+Y61Orxf9gKneFxGxRXe3zEZqvYXIOJjq8hRLdtX7mf6puhBtvrDxtZ1xBiK+wA69uhChtBYyFq5chciKJ+KRDSLBYv077Pqj8fWBhTIaUqT37ThdzYXue25JSRVQULLEiUZ3FHllNmNcSRjIfiCEE4YYVcOUGirNZMg4Am5XFjmq0TcYtcOSsxty35LnLL5g4cyBAEy/fzo8nx/VorGuJ+aUtlLur+8kJeFRpPhnykwDWnRrZVaMQ0NF++v3fvSO/j7Iyh6qFZA81QD4JoGGGJrhxhVG5cwowF4ZWFasf9DZbDVb2pLXygcftkmmrj+BIvQKuXGSBqGbl3AzegDmI8lRjZjI65b6JKqGvuCPGVNuanvyV6E+DpjYyNLHGQwufyRFfnJ0O09N69i1zh9nOF1zJ1iG9gC7uLG6xx42p3uhX+kalwalvmxkDwAxT1d4YBB1jvBZp5w/183ujs3T2d6lL8/wHvPtQqFBEAAA==">
            <a:extLst>
              <a:ext uri="{FF2B5EF4-FFF2-40B4-BE49-F238E27FC236}">
                <a16:creationId xmlns:a16="http://schemas.microsoft.com/office/drawing/2014/main" id="{B4CD7BF0-03F2-459D-BC18-57467BC91168}"/>
              </a:ext>
            </a:extLst>
          </p:cNvPr>
          <p:cNvGrpSpPr>
            <a:grpSpLocks noChangeAspect="1"/>
          </p:cNvGrpSpPr>
          <p:nvPr/>
        </p:nvGrpSpPr>
        <p:grpSpPr>
          <a:xfrm>
            <a:off x="2737519" y="1478000"/>
            <a:ext cx="6716962" cy="3902001"/>
            <a:chOff x="2737519" y="1478000"/>
            <a:chExt cx="6716962" cy="3902001"/>
          </a:xfrm>
        </p:grpSpPr>
        <p:sp>
          <p:nvSpPr>
            <p:cNvPr id="3" name="ExtraShape1">
              <a:extLst>
                <a:ext uri="{FF2B5EF4-FFF2-40B4-BE49-F238E27FC236}">
                  <a16:creationId xmlns:a16="http://schemas.microsoft.com/office/drawing/2014/main" id="{4CED5152-C669-4587-801B-FD51ECE71CD6}"/>
                </a:ext>
              </a:extLst>
            </p:cNvPr>
            <p:cNvSpPr/>
            <p:nvPr/>
          </p:nvSpPr>
          <p:spPr bwMode="auto">
            <a:xfrm>
              <a:off x="3907296" y="1478000"/>
              <a:ext cx="1849236" cy="1815315"/>
            </a:xfrm>
            <a:custGeom>
              <a:avLst/>
              <a:gdLst>
                <a:gd name="T0" fmla="*/ 759 w 866"/>
                <a:gd name="T1" fmla="*/ 683 h 851"/>
                <a:gd name="T2" fmla="*/ 866 w 866"/>
                <a:gd name="T3" fmla="*/ 575 h 851"/>
                <a:gd name="T4" fmla="*/ 866 w 866"/>
                <a:gd name="T5" fmla="*/ 107 h 851"/>
                <a:gd name="T6" fmla="*/ 759 w 866"/>
                <a:gd name="T7" fmla="*/ 0 h 851"/>
                <a:gd name="T8" fmla="*/ 107 w 866"/>
                <a:gd name="T9" fmla="*/ 0 h 851"/>
                <a:gd name="T10" fmla="*/ 0 w 866"/>
                <a:gd name="T11" fmla="*/ 107 h 851"/>
                <a:gd name="T12" fmla="*/ 0 w 866"/>
                <a:gd name="T13" fmla="*/ 575 h 851"/>
                <a:gd name="T14" fmla="*/ 107 w 866"/>
                <a:gd name="T15" fmla="*/ 683 h 851"/>
                <a:gd name="T16" fmla="*/ 394 w 866"/>
                <a:gd name="T17" fmla="*/ 683 h 851"/>
                <a:gd name="T18" fmla="*/ 394 w 866"/>
                <a:gd name="T19" fmla="*/ 772 h 851"/>
                <a:gd name="T20" fmla="*/ 302 w 866"/>
                <a:gd name="T21" fmla="*/ 772 h 851"/>
                <a:gd name="T22" fmla="*/ 262 w 866"/>
                <a:gd name="T23" fmla="*/ 812 h 851"/>
                <a:gd name="T24" fmla="*/ 302 w 866"/>
                <a:gd name="T25" fmla="*/ 851 h 851"/>
                <a:gd name="T26" fmla="*/ 564 w 866"/>
                <a:gd name="T27" fmla="*/ 851 h 851"/>
                <a:gd name="T28" fmla="*/ 604 w 866"/>
                <a:gd name="T29" fmla="*/ 812 h 851"/>
                <a:gd name="T30" fmla="*/ 564 w 866"/>
                <a:gd name="T31" fmla="*/ 772 h 851"/>
                <a:gd name="T32" fmla="*/ 473 w 866"/>
                <a:gd name="T33" fmla="*/ 772 h 851"/>
                <a:gd name="T34" fmla="*/ 473 w 866"/>
                <a:gd name="T35" fmla="*/ 683 h 851"/>
                <a:gd name="T36" fmla="*/ 759 w 866"/>
                <a:gd name="T37" fmla="*/ 683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6" h="851">
                  <a:moveTo>
                    <a:pt x="759" y="683"/>
                  </a:moveTo>
                  <a:cubicBezTo>
                    <a:pt x="818" y="683"/>
                    <a:pt x="866" y="635"/>
                    <a:pt x="866" y="575"/>
                  </a:cubicBezTo>
                  <a:cubicBezTo>
                    <a:pt x="866" y="107"/>
                    <a:pt x="866" y="107"/>
                    <a:pt x="866" y="107"/>
                  </a:cubicBezTo>
                  <a:cubicBezTo>
                    <a:pt x="866" y="48"/>
                    <a:pt x="818" y="0"/>
                    <a:pt x="759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48" y="0"/>
                    <a:pt x="0" y="48"/>
                    <a:pt x="0" y="107"/>
                  </a:cubicBezTo>
                  <a:cubicBezTo>
                    <a:pt x="0" y="575"/>
                    <a:pt x="0" y="575"/>
                    <a:pt x="0" y="575"/>
                  </a:cubicBezTo>
                  <a:cubicBezTo>
                    <a:pt x="0" y="635"/>
                    <a:pt x="48" y="683"/>
                    <a:pt x="107" y="683"/>
                  </a:cubicBezTo>
                  <a:cubicBezTo>
                    <a:pt x="394" y="683"/>
                    <a:pt x="394" y="683"/>
                    <a:pt x="394" y="683"/>
                  </a:cubicBezTo>
                  <a:cubicBezTo>
                    <a:pt x="394" y="772"/>
                    <a:pt x="394" y="772"/>
                    <a:pt x="394" y="772"/>
                  </a:cubicBezTo>
                  <a:cubicBezTo>
                    <a:pt x="302" y="772"/>
                    <a:pt x="302" y="772"/>
                    <a:pt x="302" y="772"/>
                  </a:cubicBezTo>
                  <a:cubicBezTo>
                    <a:pt x="280" y="772"/>
                    <a:pt x="262" y="790"/>
                    <a:pt x="262" y="812"/>
                  </a:cubicBezTo>
                  <a:cubicBezTo>
                    <a:pt x="262" y="834"/>
                    <a:pt x="280" y="851"/>
                    <a:pt x="302" y="851"/>
                  </a:cubicBezTo>
                  <a:cubicBezTo>
                    <a:pt x="564" y="851"/>
                    <a:pt x="564" y="851"/>
                    <a:pt x="564" y="851"/>
                  </a:cubicBezTo>
                  <a:cubicBezTo>
                    <a:pt x="586" y="851"/>
                    <a:pt x="604" y="834"/>
                    <a:pt x="604" y="812"/>
                  </a:cubicBezTo>
                  <a:cubicBezTo>
                    <a:pt x="604" y="790"/>
                    <a:pt x="586" y="772"/>
                    <a:pt x="564" y="772"/>
                  </a:cubicBezTo>
                  <a:cubicBezTo>
                    <a:pt x="473" y="772"/>
                    <a:pt x="473" y="772"/>
                    <a:pt x="473" y="772"/>
                  </a:cubicBezTo>
                  <a:cubicBezTo>
                    <a:pt x="473" y="683"/>
                    <a:pt x="473" y="683"/>
                    <a:pt x="473" y="683"/>
                  </a:cubicBezTo>
                  <a:lnTo>
                    <a:pt x="759" y="68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" name="ExtraShape2">
              <a:extLst>
                <a:ext uri="{FF2B5EF4-FFF2-40B4-BE49-F238E27FC236}">
                  <a16:creationId xmlns:a16="http://schemas.microsoft.com/office/drawing/2014/main" id="{3EF771CD-684B-4237-AB6C-FB838BF55F94}"/>
                </a:ext>
              </a:extLst>
            </p:cNvPr>
            <p:cNvSpPr/>
            <p:nvPr/>
          </p:nvSpPr>
          <p:spPr bwMode="auto">
            <a:xfrm>
              <a:off x="2737519" y="3564686"/>
              <a:ext cx="1849236" cy="1815315"/>
            </a:xfrm>
            <a:custGeom>
              <a:avLst/>
              <a:gdLst>
                <a:gd name="T0" fmla="*/ 759 w 866"/>
                <a:gd name="T1" fmla="*/ 0 h 851"/>
                <a:gd name="T2" fmla="*/ 107 w 866"/>
                <a:gd name="T3" fmla="*/ 0 h 851"/>
                <a:gd name="T4" fmla="*/ 0 w 866"/>
                <a:gd name="T5" fmla="*/ 107 h 851"/>
                <a:gd name="T6" fmla="*/ 0 w 866"/>
                <a:gd name="T7" fmla="*/ 575 h 851"/>
                <a:gd name="T8" fmla="*/ 107 w 866"/>
                <a:gd name="T9" fmla="*/ 683 h 851"/>
                <a:gd name="T10" fmla="*/ 394 w 866"/>
                <a:gd name="T11" fmla="*/ 683 h 851"/>
                <a:gd name="T12" fmla="*/ 394 w 866"/>
                <a:gd name="T13" fmla="*/ 772 h 851"/>
                <a:gd name="T14" fmla="*/ 302 w 866"/>
                <a:gd name="T15" fmla="*/ 772 h 851"/>
                <a:gd name="T16" fmla="*/ 262 w 866"/>
                <a:gd name="T17" fmla="*/ 812 h 851"/>
                <a:gd name="T18" fmla="*/ 302 w 866"/>
                <a:gd name="T19" fmla="*/ 851 h 851"/>
                <a:gd name="T20" fmla="*/ 564 w 866"/>
                <a:gd name="T21" fmla="*/ 851 h 851"/>
                <a:gd name="T22" fmla="*/ 604 w 866"/>
                <a:gd name="T23" fmla="*/ 812 h 851"/>
                <a:gd name="T24" fmla="*/ 564 w 866"/>
                <a:gd name="T25" fmla="*/ 772 h 851"/>
                <a:gd name="T26" fmla="*/ 473 w 866"/>
                <a:gd name="T27" fmla="*/ 772 h 851"/>
                <a:gd name="T28" fmla="*/ 473 w 866"/>
                <a:gd name="T29" fmla="*/ 683 h 851"/>
                <a:gd name="T30" fmla="*/ 759 w 866"/>
                <a:gd name="T31" fmla="*/ 683 h 851"/>
                <a:gd name="T32" fmla="*/ 866 w 866"/>
                <a:gd name="T33" fmla="*/ 575 h 851"/>
                <a:gd name="T34" fmla="*/ 866 w 866"/>
                <a:gd name="T35" fmla="*/ 107 h 851"/>
                <a:gd name="T36" fmla="*/ 759 w 866"/>
                <a:gd name="T37" fmla="*/ 0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6" h="851">
                  <a:moveTo>
                    <a:pt x="759" y="0"/>
                  </a:moveTo>
                  <a:cubicBezTo>
                    <a:pt x="107" y="0"/>
                    <a:pt x="107" y="0"/>
                    <a:pt x="107" y="0"/>
                  </a:cubicBezTo>
                  <a:cubicBezTo>
                    <a:pt x="48" y="0"/>
                    <a:pt x="0" y="48"/>
                    <a:pt x="0" y="107"/>
                  </a:cubicBezTo>
                  <a:cubicBezTo>
                    <a:pt x="0" y="575"/>
                    <a:pt x="0" y="575"/>
                    <a:pt x="0" y="575"/>
                  </a:cubicBezTo>
                  <a:cubicBezTo>
                    <a:pt x="0" y="635"/>
                    <a:pt x="48" y="683"/>
                    <a:pt x="107" y="683"/>
                  </a:cubicBezTo>
                  <a:cubicBezTo>
                    <a:pt x="394" y="683"/>
                    <a:pt x="394" y="683"/>
                    <a:pt x="394" y="683"/>
                  </a:cubicBezTo>
                  <a:cubicBezTo>
                    <a:pt x="394" y="772"/>
                    <a:pt x="394" y="772"/>
                    <a:pt x="394" y="772"/>
                  </a:cubicBezTo>
                  <a:cubicBezTo>
                    <a:pt x="302" y="772"/>
                    <a:pt x="302" y="772"/>
                    <a:pt x="302" y="772"/>
                  </a:cubicBezTo>
                  <a:cubicBezTo>
                    <a:pt x="280" y="772"/>
                    <a:pt x="262" y="790"/>
                    <a:pt x="262" y="812"/>
                  </a:cubicBezTo>
                  <a:cubicBezTo>
                    <a:pt x="262" y="834"/>
                    <a:pt x="280" y="851"/>
                    <a:pt x="302" y="851"/>
                  </a:cubicBezTo>
                  <a:cubicBezTo>
                    <a:pt x="564" y="851"/>
                    <a:pt x="564" y="851"/>
                    <a:pt x="564" y="851"/>
                  </a:cubicBezTo>
                  <a:cubicBezTo>
                    <a:pt x="586" y="851"/>
                    <a:pt x="604" y="834"/>
                    <a:pt x="604" y="812"/>
                  </a:cubicBezTo>
                  <a:cubicBezTo>
                    <a:pt x="604" y="790"/>
                    <a:pt x="586" y="772"/>
                    <a:pt x="564" y="772"/>
                  </a:cubicBezTo>
                  <a:cubicBezTo>
                    <a:pt x="473" y="772"/>
                    <a:pt x="473" y="772"/>
                    <a:pt x="473" y="772"/>
                  </a:cubicBezTo>
                  <a:cubicBezTo>
                    <a:pt x="473" y="683"/>
                    <a:pt x="473" y="683"/>
                    <a:pt x="473" y="683"/>
                  </a:cubicBezTo>
                  <a:cubicBezTo>
                    <a:pt x="759" y="683"/>
                    <a:pt x="759" y="683"/>
                    <a:pt x="759" y="683"/>
                  </a:cubicBezTo>
                  <a:cubicBezTo>
                    <a:pt x="818" y="683"/>
                    <a:pt x="866" y="635"/>
                    <a:pt x="866" y="575"/>
                  </a:cubicBezTo>
                  <a:cubicBezTo>
                    <a:pt x="866" y="107"/>
                    <a:pt x="866" y="107"/>
                    <a:pt x="866" y="107"/>
                  </a:cubicBezTo>
                  <a:cubicBezTo>
                    <a:pt x="866" y="49"/>
                    <a:pt x="818" y="0"/>
                    <a:pt x="75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" name="ExtraShape3">
              <a:extLst>
                <a:ext uri="{FF2B5EF4-FFF2-40B4-BE49-F238E27FC236}">
                  <a16:creationId xmlns:a16="http://schemas.microsoft.com/office/drawing/2014/main" id="{CA4E8FAA-666B-479C-81D2-B92C440A8189}"/>
                </a:ext>
              </a:extLst>
            </p:cNvPr>
            <p:cNvSpPr/>
            <p:nvPr/>
          </p:nvSpPr>
          <p:spPr bwMode="auto">
            <a:xfrm>
              <a:off x="5078102" y="3564686"/>
              <a:ext cx="1849236" cy="1815315"/>
            </a:xfrm>
            <a:custGeom>
              <a:avLst/>
              <a:gdLst>
                <a:gd name="T0" fmla="*/ 759 w 866"/>
                <a:gd name="T1" fmla="*/ 0 h 851"/>
                <a:gd name="T2" fmla="*/ 107 w 866"/>
                <a:gd name="T3" fmla="*/ 0 h 851"/>
                <a:gd name="T4" fmla="*/ 0 w 866"/>
                <a:gd name="T5" fmla="*/ 107 h 851"/>
                <a:gd name="T6" fmla="*/ 0 w 866"/>
                <a:gd name="T7" fmla="*/ 575 h 851"/>
                <a:gd name="T8" fmla="*/ 107 w 866"/>
                <a:gd name="T9" fmla="*/ 683 h 851"/>
                <a:gd name="T10" fmla="*/ 394 w 866"/>
                <a:gd name="T11" fmla="*/ 683 h 851"/>
                <a:gd name="T12" fmla="*/ 394 w 866"/>
                <a:gd name="T13" fmla="*/ 772 h 851"/>
                <a:gd name="T14" fmla="*/ 302 w 866"/>
                <a:gd name="T15" fmla="*/ 772 h 851"/>
                <a:gd name="T16" fmla="*/ 262 w 866"/>
                <a:gd name="T17" fmla="*/ 812 h 851"/>
                <a:gd name="T18" fmla="*/ 302 w 866"/>
                <a:gd name="T19" fmla="*/ 851 h 851"/>
                <a:gd name="T20" fmla="*/ 564 w 866"/>
                <a:gd name="T21" fmla="*/ 851 h 851"/>
                <a:gd name="T22" fmla="*/ 604 w 866"/>
                <a:gd name="T23" fmla="*/ 812 h 851"/>
                <a:gd name="T24" fmla="*/ 564 w 866"/>
                <a:gd name="T25" fmla="*/ 772 h 851"/>
                <a:gd name="T26" fmla="*/ 473 w 866"/>
                <a:gd name="T27" fmla="*/ 772 h 851"/>
                <a:gd name="T28" fmla="*/ 473 w 866"/>
                <a:gd name="T29" fmla="*/ 683 h 851"/>
                <a:gd name="T30" fmla="*/ 759 w 866"/>
                <a:gd name="T31" fmla="*/ 683 h 851"/>
                <a:gd name="T32" fmla="*/ 866 w 866"/>
                <a:gd name="T33" fmla="*/ 575 h 851"/>
                <a:gd name="T34" fmla="*/ 866 w 866"/>
                <a:gd name="T35" fmla="*/ 107 h 851"/>
                <a:gd name="T36" fmla="*/ 759 w 866"/>
                <a:gd name="T37" fmla="*/ 0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6" h="851">
                  <a:moveTo>
                    <a:pt x="759" y="0"/>
                  </a:moveTo>
                  <a:cubicBezTo>
                    <a:pt x="107" y="0"/>
                    <a:pt x="107" y="0"/>
                    <a:pt x="107" y="0"/>
                  </a:cubicBezTo>
                  <a:cubicBezTo>
                    <a:pt x="48" y="0"/>
                    <a:pt x="0" y="48"/>
                    <a:pt x="0" y="107"/>
                  </a:cubicBezTo>
                  <a:cubicBezTo>
                    <a:pt x="0" y="575"/>
                    <a:pt x="0" y="575"/>
                    <a:pt x="0" y="575"/>
                  </a:cubicBezTo>
                  <a:cubicBezTo>
                    <a:pt x="0" y="635"/>
                    <a:pt x="48" y="683"/>
                    <a:pt x="107" y="683"/>
                  </a:cubicBezTo>
                  <a:cubicBezTo>
                    <a:pt x="394" y="683"/>
                    <a:pt x="394" y="683"/>
                    <a:pt x="394" y="683"/>
                  </a:cubicBezTo>
                  <a:cubicBezTo>
                    <a:pt x="394" y="772"/>
                    <a:pt x="394" y="772"/>
                    <a:pt x="394" y="772"/>
                  </a:cubicBezTo>
                  <a:cubicBezTo>
                    <a:pt x="302" y="772"/>
                    <a:pt x="302" y="772"/>
                    <a:pt x="302" y="772"/>
                  </a:cubicBezTo>
                  <a:cubicBezTo>
                    <a:pt x="280" y="772"/>
                    <a:pt x="262" y="790"/>
                    <a:pt x="262" y="812"/>
                  </a:cubicBezTo>
                  <a:cubicBezTo>
                    <a:pt x="262" y="834"/>
                    <a:pt x="280" y="851"/>
                    <a:pt x="302" y="851"/>
                  </a:cubicBezTo>
                  <a:cubicBezTo>
                    <a:pt x="564" y="851"/>
                    <a:pt x="564" y="851"/>
                    <a:pt x="564" y="851"/>
                  </a:cubicBezTo>
                  <a:cubicBezTo>
                    <a:pt x="586" y="851"/>
                    <a:pt x="604" y="834"/>
                    <a:pt x="604" y="812"/>
                  </a:cubicBezTo>
                  <a:cubicBezTo>
                    <a:pt x="604" y="790"/>
                    <a:pt x="586" y="772"/>
                    <a:pt x="564" y="772"/>
                  </a:cubicBezTo>
                  <a:cubicBezTo>
                    <a:pt x="473" y="772"/>
                    <a:pt x="473" y="772"/>
                    <a:pt x="473" y="772"/>
                  </a:cubicBezTo>
                  <a:cubicBezTo>
                    <a:pt x="473" y="683"/>
                    <a:pt x="473" y="683"/>
                    <a:pt x="473" y="683"/>
                  </a:cubicBezTo>
                  <a:cubicBezTo>
                    <a:pt x="759" y="683"/>
                    <a:pt x="759" y="683"/>
                    <a:pt x="759" y="683"/>
                  </a:cubicBezTo>
                  <a:cubicBezTo>
                    <a:pt x="818" y="683"/>
                    <a:pt x="866" y="635"/>
                    <a:pt x="866" y="575"/>
                  </a:cubicBezTo>
                  <a:cubicBezTo>
                    <a:pt x="866" y="107"/>
                    <a:pt x="866" y="107"/>
                    <a:pt x="866" y="107"/>
                  </a:cubicBezTo>
                  <a:cubicBezTo>
                    <a:pt x="866" y="49"/>
                    <a:pt x="818" y="0"/>
                    <a:pt x="75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" name="ValueShape1">
              <a:extLst>
                <a:ext uri="{FF2B5EF4-FFF2-40B4-BE49-F238E27FC236}">
                  <a16:creationId xmlns:a16="http://schemas.microsoft.com/office/drawing/2014/main" id="{97B363A0-4F18-4850-A3DF-F9D5AB84D9E7}"/>
                </a:ext>
              </a:extLst>
            </p:cNvPr>
            <p:cNvSpPr/>
            <p:nvPr/>
          </p:nvSpPr>
          <p:spPr bwMode="auto">
            <a:xfrm>
              <a:off x="4076904" y="1646580"/>
              <a:ext cx="1511048" cy="1118382"/>
            </a:xfrm>
            <a:custGeom>
              <a:avLst/>
              <a:gdLst>
                <a:gd name="T0" fmla="*/ 28 w 708"/>
                <a:gd name="T1" fmla="*/ 524 h 524"/>
                <a:gd name="T2" fmla="*/ 0 w 708"/>
                <a:gd name="T3" fmla="*/ 496 h 524"/>
                <a:gd name="T4" fmla="*/ 0 w 708"/>
                <a:gd name="T5" fmla="*/ 28 h 524"/>
                <a:gd name="T6" fmla="*/ 28 w 708"/>
                <a:gd name="T7" fmla="*/ 0 h 524"/>
                <a:gd name="T8" fmla="*/ 680 w 708"/>
                <a:gd name="T9" fmla="*/ 0 h 524"/>
                <a:gd name="T10" fmla="*/ 708 w 708"/>
                <a:gd name="T11" fmla="*/ 28 h 524"/>
                <a:gd name="T12" fmla="*/ 708 w 708"/>
                <a:gd name="T13" fmla="*/ 496 h 524"/>
                <a:gd name="T14" fmla="*/ 680 w 708"/>
                <a:gd name="T15" fmla="*/ 524 h 524"/>
                <a:gd name="T16" fmla="*/ 28 w 708"/>
                <a:gd name="T17" fmla="*/ 52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8" h="524">
                  <a:moveTo>
                    <a:pt x="28" y="524"/>
                  </a:moveTo>
                  <a:cubicBezTo>
                    <a:pt x="13" y="524"/>
                    <a:pt x="0" y="512"/>
                    <a:pt x="0" y="49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95" y="0"/>
                    <a:pt x="708" y="13"/>
                    <a:pt x="708" y="28"/>
                  </a:cubicBezTo>
                  <a:cubicBezTo>
                    <a:pt x="708" y="496"/>
                    <a:pt x="708" y="496"/>
                    <a:pt x="708" y="496"/>
                  </a:cubicBezTo>
                  <a:cubicBezTo>
                    <a:pt x="708" y="512"/>
                    <a:pt x="695" y="524"/>
                    <a:pt x="680" y="524"/>
                  </a:cubicBezTo>
                  <a:lnTo>
                    <a:pt x="28" y="52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48077">
                  <a:schemeClr val="accent2">
                    <a:lumMod val="100000"/>
                  </a:schemeClr>
                </a:gs>
                <a:gs pos="48177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" name="ValueShape2">
              <a:extLst>
                <a:ext uri="{FF2B5EF4-FFF2-40B4-BE49-F238E27FC236}">
                  <a16:creationId xmlns:a16="http://schemas.microsoft.com/office/drawing/2014/main" id="{3FF2C7F8-097A-4A29-AD87-7BB26E7022CD}"/>
                </a:ext>
              </a:extLst>
            </p:cNvPr>
            <p:cNvSpPr/>
            <p:nvPr/>
          </p:nvSpPr>
          <p:spPr bwMode="auto">
            <a:xfrm>
              <a:off x="2906099" y="3735322"/>
              <a:ext cx="1512077" cy="1117354"/>
            </a:xfrm>
            <a:custGeom>
              <a:avLst/>
              <a:gdLst>
                <a:gd name="T0" fmla="*/ 708 w 708"/>
                <a:gd name="T1" fmla="*/ 496 h 524"/>
                <a:gd name="T2" fmla="*/ 680 w 708"/>
                <a:gd name="T3" fmla="*/ 524 h 524"/>
                <a:gd name="T4" fmla="*/ 28 w 708"/>
                <a:gd name="T5" fmla="*/ 524 h 524"/>
                <a:gd name="T6" fmla="*/ 0 w 708"/>
                <a:gd name="T7" fmla="*/ 496 h 524"/>
                <a:gd name="T8" fmla="*/ 0 w 708"/>
                <a:gd name="T9" fmla="*/ 28 h 524"/>
                <a:gd name="T10" fmla="*/ 28 w 708"/>
                <a:gd name="T11" fmla="*/ 0 h 524"/>
                <a:gd name="T12" fmla="*/ 680 w 708"/>
                <a:gd name="T13" fmla="*/ 0 h 524"/>
                <a:gd name="T14" fmla="*/ 708 w 708"/>
                <a:gd name="T15" fmla="*/ 28 h 524"/>
                <a:gd name="T16" fmla="*/ 708 w 708"/>
                <a:gd name="T17" fmla="*/ 496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8" h="524">
                  <a:moveTo>
                    <a:pt x="708" y="496"/>
                  </a:moveTo>
                  <a:cubicBezTo>
                    <a:pt x="708" y="511"/>
                    <a:pt x="696" y="524"/>
                    <a:pt x="680" y="524"/>
                  </a:cubicBezTo>
                  <a:cubicBezTo>
                    <a:pt x="28" y="524"/>
                    <a:pt x="28" y="524"/>
                    <a:pt x="28" y="524"/>
                  </a:cubicBezTo>
                  <a:cubicBezTo>
                    <a:pt x="13" y="524"/>
                    <a:pt x="0" y="511"/>
                    <a:pt x="0" y="49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8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95" y="0"/>
                    <a:pt x="708" y="12"/>
                    <a:pt x="708" y="28"/>
                  </a:cubicBezTo>
                  <a:cubicBezTo>
                    <a:pt x="708" y="496"/>
                    <a:pt x="708" y="496"/>
                    <a:pt x="708" y="49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63462">
                  <a:schemeClr val="accent1">
                    <a:lumMod val="100000"/>
                  </a:schemeClr>
                </a:gs>
                <a:gs pos="63562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" name="ValueShape3">
              <a:extLst>
                <a:ext uri="{FF2B5EF4-FFF2-40B4-BE49-F238E27FC236}">
                  <a16:creationId xmlns:a16="http://schemas.microsoft.com/office/drawing/2014/main" id="{C79213E6-CBF3-467B-8667-22705073B8CF}"/>
                </a:ext>
              </a:extLst>
            </p:cNvPr>
            <p:cNvSpPr/>
            <p:nvPr/>
          </p:nvSpPr>
          <p:spPr bwMode="auto">
            <a:xfrm>
              <a:off x="5246682" y="3735322"/>
              <a:ext cx="1512077" cy="1117354"/>
            </a:xfrm>
            <a:custGeom>
              <a:avLst/>
              <a:gdLst>
                <a:gd name="T0" fmla="*/ 708 w 708"/>
                <a:gd name="T1" fmla="*/ 496 h 524"/>
                <a:gd name="T2" fmla="*/ 680 w 708"/>
                <a:gd name="T3" fmla="*/ 524 h 524"/>
                <a:gd name="T4" fmla="*/ 28 w 708"/>
                <a:gd name="T5" fmla="*/ 524 h 524"/>
                <a:gd name="T6" fmla="*/ 0 w 708"/>
                <a:gd name="T7" fmla="*/ 496 h 524"/>
                <a:gd name="T8" fmla="*/ 0 w 708"/>
                <a:gd name="T9" fmla="*/ 28 h 524"/>
                <a:gd name="T10" fmla="*/ 28 w 708"/>
                <a:gd name="T11" fmla="*/ 0 h 524"/>
                <a:gd name="T12" fmla="*/ 680 w 708"/>
                <a:gd name="T13" fmla="*/ 0 h 524"/>
                <a:gd name="T14" fmla="*/ 708 w 708"/>
                <a:gd name="T15" fmla="*/ 28 h 524"/>
                <a:gd name="T16" fmla="*/ 708 w 708"/>
                <a:gd name="T17" fmla="*/ 496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8" h="524">
                  <a:moveTo>
                    <a:pt x="708" y="496"/>
                  </a:moveTo>
                  <a:cubicBezTo>
                    <a:pt x="708" y="511"/>
                    <a:pt x="696" y="524"/>
                    <a:pt x="680" y="524"/>
                  </a:cubicBezTo>
                  <a:cubicBezTo>
                    <a:pt x="28" y="524"/>
                    <a:pt x="28" y="524"/>
                    <a:pt x="28" y="524"/>
                  </a:cubicBezTo>
                  <a:cubicBezTo>
                    <a:pt x="13" y="524"/>
                    <a:pt x="0" y="511"/>
                    <a:pt x="0" y="49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3" y="0"/>
                    <a:pt x="28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95" y="0"/>
                    <a:pt x="708" y="12"/>
                    <a:pt x="708" y="28"/>
                  </a:cubicBezTo>
                  <a:cubicBezTo>
                    <a:pt x="708" y="496"/>
                    <a:pt x="708" y="496"/>
                    <a:pt x="708" y="49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46154">
                  <a:schemeClr val="accent3">
                    <a:lumMod val="100000"/>
                  </a:schemeClr>
                </a:gs>
                <a:gs pos="46254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" name="ExtraShape1">
              <a:extLst>
                <a:ext uri="{FF2B5EF4-FFF2-40B4-BE49-F238E27FC236}">
                  <a16:creationId xmlns:a16="http://schemas.microsoft.com/office/drawing/2014/main" id="{9DFC8AB8-F0EB-4759-AB38-2E447DC5D8D9}"/>
                </a:ext>
              </a:extLst>
            </p:cNvPr>
            <p:cNvSpPr/>
            <p:nvPr/>
          </p:nvSpPr>
          <p:spPr bwMode="auto">
            <a:xfrm>
              <a:off x="2974969" y="1987850"/>
              <a:ext cx="708240" cy="1305464"/>
            </a:xfrm>
            <a:custGeom>
              <a:avLst/>
              <a:gdLst>
                <a:gd name="T0" fmla="*/ 0 w 332"/>
                <a:gd name="T1" fmla="*/ 40 h 612"/>
                <a:gd name="T2" fmla="*/ 0 w 332"/>
                <a:gd name="T3" fmla="*/ 573 h 612"/>
                <a:gd name="T4" fmla="*/ 39 w 332"/>
                <a:gd name="T5" fmla="*/ 612 h 612"/>
                <a:gd name="T6" fmla="*/ 79 w 332"/>
                <a:gd name="T7" fmla="*/ 573 h 612"/>
                <a:gd name="T8" fmla="*/ 79 w 332"/>
                <a:gd name="T9" fmla="*/ 79 h 612"/>
                <a:gd name="T10" fmla="*/ 293 w 332"/>
                <a:gd name="T11" fmla="*/ 79 h 612"/>
                <a:gd name="T12" fmla="*/ 332 w 332"/>
                <a:gd name="T13" fmla="*/ 40 h 612"/>
                <a:gd name="T14" fmla="*/ 293 w 332"/>
                <a:gd name="T15" fmla="*/ 0 h 612"/>
                <a:gd name="T16" fmla="*/ 39 w 332"/>
                <a:gd name="T17" fmla="*/ 0 h 612"/>
                <a:gd name="T18" fmla="*/ 0 w 332"/>
                <a:gd name="T19" fmla="*/ 4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2" h="612">
                  <a:moveTo>
                    <a:pt x="0" y="40"/>
                  </a:moveTo>
                  <a:cubicBezTo>
                    <a:pt x="0" y="573"/>
                    <a:pt x="0" y="573"/>
                    <a:pt x="0" y="573"/>
                  </a:cubicBezTo>
                  <a:cubicBezTo>
                    <a:pt x="0" y="595"/>
                    <a:pt x="17" y="612"/>
                    <a:pt x="39" y="612"/>
                  </a:cubicBezTo>
                  <a:cubicBezTo>
                    <a:pt x="61" y="612"/>
                    <a:pt x="79" y="595"/>
                    <a:pt x="79" y="573"/>
                  </a:cubicBezTo>
                  <a:cubicBezTo>
                    <a:pt x="79" y="79"/>
                    <a:pt x="79" y="79"/>
                    <a:pt x="79" y="79"/>
                  </a:cubicBezTo>
                  <a:cubicBezTo>
                    <a:pt x="293" y="79"/>
                    <a:pt x="293" y="79"/>
                    <a:pt x="293" y="79"/>
                  </a:cubicBezTo>
                  <a:cubicBezTo>
                    <a:pt x="315" y="79"/>
                    <a:pt x="332" y="62"/>
                    <a:pt x="332" y="40"/>
                  </a:cubicBezTo>
                  <a:cubicBezTo>
                    <a:pt x="332" y="18"/>
                    <a:pt x="315" y="0"/>
                    <a:pt x="293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18" y="0"/>
                    <a:pt x="0" y="18"/>
                    <a:pt x="0" y="4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" name="ExtraShape2">
              <a:extLst>
                <a:ext uri="{FF2B5EF4-FFF2-40B4-BE49-F238E27FC236}">
                  <a16:creationId xmlns:a16="http://schemas.microsoft.com/office/drawing/2014/main" id="{387A1D0A-9171-4997-886D-45135FDAF22A}"/>
                </a:ext>
              </a:extLst>
            </p:cNvPr>
            <p:cNvSpPr/>
            <p:nvPr/>
          </p:nvSpPr>
          <p:spPr bwMode="auto">
            <a:xfrm>
              <a:off x="5981647" y="1987850"/>
              <a:ext cx="710296" cy="1307520"/>
            </a:xfrm>
            <a:custGeom>
              <a:avLst/>
              <a:gdLst>
                <a:gd name="T0" fmla="*/ 293 w 333"/>
                <a:gd name="T1" fmla="*/ 613 h 613"/>
                <a:gd name="T2" fmla="*/ 333 w 333"/>
                <a:gd name="T3" fmla="*/ 573 h 613"/>
                <a:gd name="T4" fmla="*/ 333 w 333"/>
                <a:gd name="T5" fmla="*/ 40 h 613"/>
                <a:gd name="T6" fmla="*/ 293 w 333"/>
                <a:gd name="T7" fmla="*/ 0 h 613"/>
                <a:gd name="T8" fmla="*/ 40 w 333"/>
                <a:gd name="T9" fmla="*/ 0 h 613"/>
                <a:gd name="T10" fmla="*/ 0 w 333"/>
                <a:gd name="T11" fmla="*/ 40 h 613"/>
                <a:gd name="T12" fmla="*/ 40 w 333"/>
                <a:gd name="T13" fmla="*/ 79 h 613"/>
                <a:gd name="T14" fmla="*/ 253 w 333"/>
                <a:gd name="T15" fmla="*/ 79 h 613"/>
                <a:gd name="T16" fmla="*/ 253 w 333"/>
                <a:gd name="T17" fmla="*/ 573 h 613"/>
                <a:gd name="T18" fmla="*/ 293 w 333"/>
                <a:gd name="T19" fmla="*/ 613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3" h="613">
                  <a:moveTo>
                    <a:pt x="293" y="613"/>
                  </a:moveTo>
                  <a:cubicBezTo>
                    <a:pt x="315" y="613"/>
                    <a:pt x="333" y="595"/>
                    <a:pt x="333" y="573"/>
                  </a:cubicBezTo>
                  <a:cubicBezTo>
                    <a:pt x="333" y="40"/>
                    <a:pt x="333" y="40"/>
                    <a:pt x="333" y="40"/>
                  </a:cubicBezTo>
                  <a:cubicBezTo>
                    <a:pt x="333" y="18"/>
                    <a:pt x="315" y="0"/>
                    <a:pt x="293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2"/>
                    <a:pt x="18" y="79"/>
                    <a:pt x="40" y="79"/>
                  </a:cubicBezTo>
                  <a:cubicBezTo>
                    <a:pt x="253" y="79"/>
                    <a:pt x="253" y="79"/>
                    <a:pt x="253" y="79"/>
                  </a:cubicBezTo>
                  <a:cubicBezTo>
                    <a:pt x="253" y="573"/>
                    <a:pt x="253" y="573"/>
                    <a:pt x="253" y="573"/>
                  </a:cubicBezTo>
                  <a:cubicBezTo>
                    <a:pt x="253" y="595"/>
                    <a:pt x="271" y="613"/>
                    <a:pt x="293" y="61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1" name="ValueText1">
              <a:extLst>
                <a:ext uri="{FF2B5EF4-FFF2-40B4-BE49-F238E27FC236}">
                  <a16:creationId xmlns:a16="http://schemas.microsoft.com/office/drawing/2014/main" id="{40362DA4-DDF5-4047-9AA8-97C4915E8ED4}"/>
                </a:ext>
              </a:extLst>
            </p:cNvPr>
            <p:cNvSpPr txBox="1"/>
            <p:nvPr/>
          </p:nvSpPr>
          <p:spPr>
            <a:xfrm>
              <a:off x="7181052" y="3267096"/>
              <a:ext cx="604098" cy="3853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+mj-lt"/>
                </a:rPr>
                <a:t>48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2" name="ValueText2">
              <a:extLst>
                <a:ext uri="{FF2B5EF4-FFF2-40B4-BE49-F238E27FC236}">
                  <a16:creationId xmlns:a16="http://schemas.microsoft.com/office/drawing/2014/main" id="{AB70E77C-DA99-4AEB-8F6D-F7C76F427863}"/>
                </a:ext>
              </a:extLst>
            </p:cNvPr>
            <p:cNvSpPr txBox="1"/>
            <p:nvPr/>
          </p:nvSpPr>
          <p:spPr>
            <a:xfrm>
              <a:off x="7181052" y="3835399"/>
              <a:ext cx="604098" cy="3853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+mj-lt"/>
                </a:rPr>
                <a:t>63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3" name="ValueText3">
              <a:extLst>
                <a:ext uri="{FF2B5EF4-FFF2-40B4-BE49-F238E27FC236}">
                  <a16:creationId xmlns:a16="http://schemas.microsoft.com/office/drawing/2014/main" id="{6AE3D812-E7DA-4CCB-B075-E64E3D0EA3A4}"/>
                </a:ext>
              </a:extLst>
            </p:cNvPr>
            <p:cNvSpPr txBox="1"/>
            <p:nvPr/>
          </p:nvSpPr>
          <p:spPr>
            <a:xfrm>
              <a:off x="7969215" y="3835399"/>
              <a:ext cx="604098" cy="3853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+mj-lt"/>
                </a:rPr>
                <a:t>46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4" name="CustomText">
              <a:extLst>
                <a:ext uri="{FF2B5EF4-FFF2-40B4-BE49-F238E27FC236}">
                  <a16:creationId xmlns:a16="http://schemas.microsoft.com/office/drawing/2014/main" id="{1F6B11EF-6D53-407A-A7C9-69481984583B}"/>
                </a:ext>
              </a:extLst>
            </p:cNvPr>
            <p:cNvSpPr/>
            <p:nvPr/>
          </p:nvSpPr>
          <p:spPr>
            <a:xfrm flipH="1">
              <a:off x="7095916" y="4398682"/>
              <a:ext cx="2358563" cy="453994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850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2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15" name="CustomText1">
              <a:extLst>
                <a:ext uri="{FF2B5EF4-FFF2-40B4-BE49-F238E27FC236}">
                  <a16:creationId xmlns:a16="http://schemas.microsoft.com/office/drawing/2014/main" id="{D560B5EB-4140-4695-959D-C0DC9AF8E2B3}"/>
                </a:ext>
              </a:extLst>
            </p:cNvPr>
            <p:cNvSpPr/>
            <p:nvPr/>
          </p:nvSpPr>
          <p:spPr>
            <a:xfrm flipH="1">
              <a:off x="7095917" y="4852676"/>
              <a:ext cx="2358564" cy="353506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 lnSpcReduction="10000"/>
            </a:bodyPr>
            <a:lstStyle/>
            <a:p>
              <a:pPr lvl="0">
                <a:defRPr/>
              </a:pPr>
              <a:r>
                <a:rPr lang="en-US" altLang="zh-CN" dirty="0">
                  <a:solidFill>
                    <a:schemeClr val="tx2"/>
                  </a:solidFill>
                  <a:latin typeface="+mj-lt"/>
                </a:rPr>
                <a:t>Go ahead and replace it with your own text.</a:t>
              </a:r>
              <a:endPara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16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18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5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78181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3158879-95d0-42cb-8857-f0137df81c23" descr="qhIAAB+LCAAAAAAABADNVsFu4jAQ/Rdv94ZQ7BCHcIMGqj10W4lqLysO2cSAVyFBTpCKqv77OiYsY0jSuAgoSBEezzjPb94zfkN3PEIDhFEH3eXbNZO/p6tA5D4PFiJYPaYRi+Xcs0jXTOScZWjw+60sIqDoVxBvWJm1lfFHnvDVZqXCaGB1LRkKXkEIWyros5CvgtjnC57LtWXkR/bMRMiSvEzMxYZ1UDlwcNcjtuXS/dPtoAeRbtZqD++dPTQbQLtP41QAaOVS+9QeSH2az3nIXpZsxVSVnHrhST5MoukyiPYbGQm+WOYJy7Iy8PTnLwtzUDZwZKFaUqVvsqVc/NtEfjzPsiTOStBOe9D0TNB9I9DjsU/rQLtQObngyeIUNbK+o+rqPqgepWnMguS0fKeAqnLv+gqkdrdHsWP3y6eND9AIgIat9t3E+BIapNXtJOORP5nAdmqwiQFs+xIqrIHt0wlpgN0zlqFW7pjrUKunNzgKne7hGJRPu3/AZkNsrkFH+5cQolt3rtwP9cNQg+21h02sSwixFvaE6schhE2wsRC1cmIuRFk/kwh5EsmXaf/P0J8PIoi4lFKZp/7TpdzEVue24FSweQkLTVmYJlFDllNkVcSJigfyCsFyJjI1c4QEzO6ZRhMeF9eNYbKI5ZC4qleyb2v2U+YWm9txoEIYzd5PryaH92tb0RDfIm0GugxPqxf2CppyJJkDoa450YqkTKO5gsri/a2ZbBzAHZ7cZaDuqrVWvYmd8CqkUuAupBIWB6Q0fcby0qp7Z/8PFiKCZ4A28QlK7No+Hw8gJfQcN2KrlR0xqZGJdwU/kgbKPEiM2oyO+XaJsEWuuS/lzcOY8fbGbE1p4wBusW9kzJ3svpYzmzg5au8HI8iLd5Y73Xbu9Gq0gukV7Gk38UY1blxtpBvoBpmgT7ZlblGCP0F7e48a8PrBCO4Tm/nU/Xo+beTFbej4yWgmv/8A3s83kqoSAAA=">
            <a:extLst>
              <a:ext uri="{FF2B5EF4-FFF2-40B4-BE49-F238E27FC236}">
                <a16:creationId xmlns:a16="http://schemas.microsoft.com/office/drawing/2014/main" id="{B5DCCDA6-D76A-4F39-8233-7286309A3C25}"/>
              </a:ext>
            </a:extLst>
          </p:cNvPr>
          <p:cNvGrpSpPr>
            <a:grpSpLocks noChangeAspect="1"/>
          </p:cNvGrpSpPr>
          <p:nvPr/>
        </p:nvGrpSpPr>
        <p:grpSpPr>
          <a:xfrm>
            <a:off x="3994015" y="1657831"/>
            <a:ext cx="4203970" cy="3542338"/>
            <a:chOff x="4216130" y="1844993"/>
            <a:chExt cx="3759740" cy="3168015"/>
          </a:xfrm>
        </p:grpSpPr>
        <p:sp>
          <p:nvSpPr>
            <p:cNvPr id="3" name="ExtraShape1">
              <a:extLst>
                <a:ext uri="{FF2B5EF4-FFF2-40B4-BE49-F238E27FC236}">
                  <a16:creationId xmlns:a16="http://schemas.microsoft.com/office/drawing/2014/main" id="{0B8A23CC-1545-4694-9F8C-51703CB83094}"/>
                </a:ext>
              </a:extLst>
            </p:cNvPr>
            <p:cNvSpPr/>
            <p:nvPr/>
          </p:nvSpPr>
          <p:spPr bwMode="auto">
            <a:xfrm>
              <a:off x="5414802" y="3455369"/>
              <a:ext cx="1320014" cy="82839"/>
            </a:xfrm>
            <a:custGeom>
              <a:avLst/>
              <a:gdLst>
                <a:gd name="T0" fmla="*/ 683 w 705"/>
                <a:gd name="T1" fmla="*/ 44 h 44"/>
                <a:gd name="T2" fmla="*/ 22 w 705"/>
                <a:gd name="T3" fmla="*/ 44 h 44"/>
                <a:gd name="T4" fmla="*/ 0 w 705"/>
                <a:gd name="T5" fmla="*/ 22 h 44"/>
                <a:gd name="T6" fmla="*/ 0 w 705"/>
                <a:gd name="T7" fmla="*/ 22 h 44"/>
                <a:gd name="T8" fmla="*/ 22 w 705"/>
                <a:gd name="T9" fmla="*/ 0 h 44"/>
                <a:gd name="T10" fmla="*/ 683 w 705"/>
                <a:gd name="T11" fmla="*/ 0 h 44"/>
                <a:gd name="T12" fmla="*/ 705 w 705"/>
                <a:gd name="T13" fmla="*/ 22 h 44"/>
                <a:gd name="T14" fmla="*/ 705 w 705"/>
                <a:gd name="T15" fmla="*/ 22 h 44"/>
                <a:gd name="T16" fmla="*/ 683 w 705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5" h="44">
                  <a:moveTo>
                    <a:pt x="683" y="44"/>
                  </a:moveTo>
                  <a:cubicBezTo>
                    <a:pt x="22" y="44"/>
                    <a:pt x="22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683" y="0"/>
                    <a:pt x="683" y="0"/>
                    <a:pt x="683" y="0"/>
                  </a:cubicBezTo>
                  <a:cubicBezTo>
                    <a:pt x="695" y="0"/>
                    <a:pt x="705" y="10"/>
                    <a:pt x="705" y="22"/>
                  </a:cubicBezTo>
                  <a:cubicBezTo>
                    <a:pt x="705" y="22"/>
                    <a:pt x="705" y="22"/>
                    <a:pt x="705" y="22"/>
                  </a:cubicBezTo>
                  <a:cubicBezTo>
                    <a:pt x="705" y="34"/>
                    <a:pt x="695" y="44"/>
                    <a:pt x="683" y="4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" name="ExtraShape1">
              <a:extLst>
                <a:ext uri="{FF2B5EF4-FFF2-40B4-BE49-F238E27FC236}">
                  <a16:creationId xmlns:a16="http://schemas.microsoft.com/office/drawing/2014/main" id="{3CFE1F60-96B6-4952-8F5C-3C596465463A}"/>
                </a:ext>
              </a:extLst>
            </p:cNvPr>
            <p:cNvSpPr/>
            <p:nvPr/>
          </p:nvSpPr>
          <p:spPr bwMode="auto">
            <a:xfrm>
              <a:off x="5831695" y="3514797"/>
              <a:ext cx="966150" cy="962548"/>
            </a:xfrm>
            <a:custGeom>
              <a:avLst/>
              <a:gdLst>
                <a:gd name="T0" fmla="*/ 507 w 516"/>
                <a:gd name="T1" fmla="*/ 39 h 515"/>
                <a:gd name="T2" fmla="*/ 39 w 516"/>
                <a:gd name="T3" fmla="*/ 507 h 515"/>
                <a:gd name="T4" fmla="*/ 9 w 516"/>
                <a:gd name="T5" fmla="*/ 507 h 515"/>
                <a:gd name="T6" fmla="*/ 9 w 516"/>
                <a:gd name="T7" fmla="*/ 507 h 515"/>
                <a:gd name="T8" fmla="*/ 9 w 516"/>
                <a:gd name="T9" fmla="*/ 476 h 515"/>
                <a:gd name="T10" fmla="*/ 477 w 516"/>
                <a:gd name="T11" fmla="*/ 8 h 515"/>
                <a:gd name="T12" fmla="*/ 507 w 516"/>
                <a:gd name="T13" fmla="*/ 8 h 515"/>
                <a:gd name="T14" fmla="*/ 507 w 516"/>
                <a:gd name="T15" fmla="*/ 8 h 515"/>
                <a:gd name="T16" fmla="*/ 507 w 516"/>
                <a:gd name="T17" fmla="*/ 39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6" h="515">
                  <a:moveTo>
                    <a:pt x="507" y="39"/>
                  </a:moveTo>
                  <a:cubicBezTo>
                    <a:pt x="39" y="507"/>
                    <a:pt x="39" y="507"/>
                    <a:pt x="39" y="507"/>
                  </a:cubicBezTo>
                  <a:cubicBezTo>
                    <a:pt x="31" y="515"/>
                    <a:pt x="17" y="515"/>
                    <a:pt x="9" y="507"/>
                  </a:cubicBezTo>
                  <a:cubicBezTo>
                    <a:pt x="9" y="507"/>
                    <a:pt x="9" y="507"/>
                    <a:pt x="9" y="507"/>
                  </a:cubicBezTo>
                  <a:cubicBezTo>
                    <a:pt x="0" y="498"/>
                    <a:pt x="0" y="485"/>
                    <a:pt x="9" y="476"/>
                  </a:cubicBezTo>
                  <a:cubicBezTo>
                    <a:pt x="477" y="8"/>
                    <a:pt x="477" y="8"/>
                    <a:pt x="477" y="8"/>
                  </a:cubicBezTo>
                  <a:cubicBezTo>
                    <a:pt x="485" y="0"/>
                    <a:pt x="499" y="0"/>
                    <a:pt x="507" y="8"/>
                  </a:cubicBezTo>
                  <a:cubicBezTo>
                    <a:pt x="507" y="8"/>
                    <a:pt x="507" y="8"/>
                    <a:pt x="507" y="8"/>
                  </a:cubicBezTo>
                  <a:cubicBezTo>
                    <a:pt x="516" y="17"/>
                    <a:pt x="516" y="30"/>
                    <a:pt x="507" y="3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" name="ExtraShape2">
              <a:extLst>
                <a:ext uri="{FF2B5EF4-FFF2-40B4-BE49-F238E27FC236}">
                  <a16:creationId xmlns:a16="http://schemas.microsoft.com/office/drawing/2014/main" id="{92113380-F081-4431-8BBF-97AEE7314D22}"/>
                </a:ext>
              </a:extLst>
            </p:cNvPr>
            <p:cNvSpPr/>
            <p:nvPr/>
          </p:nvSpPr>
          <p:spPr bwMode="auto">
            <a:xfrm>
              <a:off x="5803783" y="2499124"/>
              <a:ext cx="964349" cy="962548"/>
            </a:xfrm>
            <a:custGeom>
              <a:avLst/>
              <a:gdLst>
                <a:gd name="T0" fmla="*/ 507 w 515"/>
                <a:gd name="T1" fmla="*/ 476 h 515"/>
                <a:gd name="T2" fmla="*/ 39 w 515"/>
                <a:gd name="T3" fmla="*/ 8 h 515"/>
                <a:gd name="T4" fmla="*/ 8 w 515"/>
                <a:gd name="T5" fmla="*/ 8 h 515"/>
                <a:gd name="T6" fmla="*/ 8 w 515"/>
                <a:gd name="T7" fmla="*/ 8 h 515"/>
                <a:gd name="T8" fmla="*/ 8 w 515"/>
                <a:gd name="T9" fmla="*/ 39 h 515"/>
                <a:gd name="T10" fmla="*/ 476 w 515"/>
                <a:gd name="T11" fmla="*/ 507 h 515"/>
                <a:gd name="T12" fmla="*/ 507 w 515"/>
                <a:gd name="T13" fmla="*/ 507 h 515"/>
                <a:gd name="T14" fmla="*/ 507 w 515"/>
                <a:gd name="T15" fmla="*/ 507 h 515"/>
                <a:gd name="T16" fmla="*/ 507 w 515"/>
                <a:gd name="T17" fmla="*/ 476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5" h="515">
                  <a:moveTo>
                    <a:pt x="507" y="476"/>
                  </a:moveTo>
                  <a:cubicBezTo>
                    <a:pt x="39" y="8"/>
                    <a:pt x="39" y="8"/>
                    <a:pt x="39" y="8"/>
                  </a:cubicBezTo>
                  <a:cubicBezTo>
                    <a:pt x="30" y="0"/>
                    <a:pt x="17" y="0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0" y="17"/>
                    <a:pt x="0" y="31"/>
                    <a:pt x="8" y="39"/>
                  </a:cubicBezTo>
                  <a:cubicBezTo>
                    <a:pt x="476" y="507"/>
                    <a:pt x="476" y="507"/>
                    <a:pt x="476" y="507"/>
                  </a:cubicBezTo>
                  <a:cubicBezTo>
                    <a:pt x="485" y="515"/>
                    <a:pt x="498" y="515"/>
                    <a:pt x="507" y="507"/>
                  </a:cubicBezTo>
                  <a:cubicBezTo>
                    <a:pt x="507" y="507"/>
                    <a:pt x="507" y="507"/>
                    <a:pt x="507" y="507"/>
                  </a:cubicBezTo>
                  <a:cubicBezTo>
                    <a:pt x="515" y="499"/>
                    <a:pt x="515" y="485"/>
                    <a:pt x="507" y="47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" name="ValueShape1">
              <a:extLst>
                <a:ext uri="{FF2B5EF4-FFF2-40B4-BE49-F238E27FC236}">
                  <a16:creationId xmlns:a16="http://schemas.microsoft.com/office/drawing/2014/main" id="{780536FF-7827-4148-8990-0E9E4A772303}"/>
                </a:ext>
              </a:extLst>
            </p:cNvPr>
            <p:cNvSpPr/>
            <p:nvPr/>
          </p:nvSpPr>
          <p:spPr bwMode="auto">
            <a:xfrm>
              <a:off x="5192947" y="1893695"/>
              <a:ext cx="871249" cy="872467"/>
            </a:xfrm>
            <a:custGeom>
              <a:avLst/>
              <a:gdLst>
                <a:gd name="T0" fmla="*/ 54 w 302"/>
                <a:gd name="T1" fmla="*/ 248 h 302"/>
                <a:gd name="T2" fmla="*/ 54 w 302"/>
                <a:gd name="T3" fmla="*/ 54 h 302"/>
                <a:gd name="T4" fmla="*/ 248 w 302"/>
                <a:gd name="T5" fmla="*/ 54 h 302"/>
                <a:gd name="T6" fmla="*/ 248 w 302"/>
                <a:gd name="T7" fmla="*/ 248 h 302"/>
                <a:gd name="T8" fmla="*/ 54 w 302"/>
                <a:gd name="T9" fmla="*/ 24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2" h="302">
                  <a:moveTo>
                    <a:pt x="54" y="248"/>
                  </a:moveTo>
                  <a:cubicBezTo>
                    <a:pt x="0" y="195"/>
                    <a:pt x="0" y="108"/>
                    <a:pt x="54" y="54"/>
                  </a:cubicBezTo>
                  <a:cubicBezTo>
                    <a:pt x="108" y="0"/>
                    <a:pt x="195" y="0"/>
                    <a:pt x="248" y="54"/>
                  </a:cubicBezTo>
                  <a:cubicBezTo>
                    <a:pt x="302" y="108"/>
                    <a:pt x="302" y="195"/>
                    <a:pt x="248" y="248"/>
                  </a:cubicBezTo>
                  <a:cubicBezTo>
                    <a:pt x="195" y="302"/>
                    <a:pt x="108" y="302"/>
                    <a:pt x="54" y="248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1923">
                  <a:schemeClr val="accent1">
                    <a:lumMod val="100000"/>
                  </a:schemeClr>
                </a:gs>
                <a:gs pos="52023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" name="ValueShape2">
              <a:extLst>
                <a:ext uri="{FF2B5EF4-FFF2-40B4-BE49-F238E27FC236}">
                  <a16:creationId xmlns:a16="http://schemas.microsoft.com/office/drawing/2014/main" id="{8565D156-C36E-4722-8913-3DCD9E70EB8A}"/>
                </a:ext>
              </a:extLst>
            </p:cNvPr>
            <p:cNvSpPr/>
            <p:nvPr/>
          </p:nvSpPr>
          <p:spPr bwMode="auto">
            <a:xfrm>
              <a:off x="4832533" y="3107747"/>
              <a:ext cx="775372" cy="776729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63462">
                  <a:schemeClr val="accent2">
                    <a:lumMod val="100000"/>
                  </a:schemeClr>
                </a:gs>
                <a:gs pos="63562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" name="ValueShape3">
              <a:extLst>
                <a:ext uri="{FF2B5EF4-FFF2-40B4-BE49-F238E27FC236}">
                  <a16:creationId xmlns:a16="http://schemas.microsoft.com/office/drawing/2014/main" id="{1704C4D5-185F-43D5-B472-4FC0F1F98AB0}"/>
                </a:ext>
              </a:extLst>
            </p:cNvPr>
            <p:cNvSpPr/>
            <p:nvPr/>
          </p:nvSpPr>
          <p:spPr bwMode="auto">
            <a:xfrm>
              <a:off x="5440907" y="4225324"/>
              <a:ext cx="788939" cy="787684"/>
            </a:xfrm>
            <a:custGeom>
              <a:avLst/>
              <a:gdLst>
                <a:gd name="T0" fmla="*/ 248 w 302"/>
                <a:gd name="T1" fmla="*/ 248 h 302"/>
                <a:gd name="T2" fmla="*/ 54 w 302"/>
                <a:gd name="T3" fmla="*/ 248 h 302"/>
                <a:gd name="T4" fmla="*/ 54 w 302"/>
                <a:gd name="T5" fmla="*/ 54 h 302"/>
                <a:gd name="T6" fmla="*/ 248 w 302"/>
                <a:gd name="T7" fmla="*/ 54 h 302"/>
                <a:gd name="T8" fmla="*/ 248 w 302"/>
                <a:gd name="T9" fmla="*/ 24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2" h="302">
                  <a:moveTo>
                    <a:pt x="248" y="248"/>
                  </a:moveTo>
                  <a:cubicBezTo>
                    <a:pt x="195" y="302"/>
                    <a:pt x="108" y="302"/>
                    <a:pt x="54" y="248"/>
                  </a:cubicBezTo>
                  <a:cubicBezTo>
                    <a:pt x="0" y="194"/>
                    <a:pt x="0" y="107"/>
                    <a:pt x="54" y="54"/>
                  </a:cubicBezTo>
                  <a:cubicBezTo>
                    <a:pt x="108" y="0"/>
                    <a:pt x="195" y="0"/>
                    <a:pt x="248" y="54"/>
                  </a:cubicBezTo>
                  <a:cubicBezTo>
                    <a:pt x="302" y="107"/>
                    <a:pt x="302" y="194"/>
                    <a:pt x="248" y="248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55769">
                  <a:schemeClr val="accent3">
                    <a:lumMod val="100000"/>
                  </a:schemeClr>
                </a:gs>
                <a:gs pos="55869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" name="ValueText1">
              <a:extLst>
                <a:ext uri="{FF2B5EF4-FFF2-40B4-BE49-F238E27FC236}">
                  <a16:creationId xmlns:a16="http://schemas.microsoft.com/office/drawing/2014/main" id="{9BE89055-93B7-45FE-BABA-8A0B4BAD9DEB}"/>
                </a:ext>
              </a:extLst>
            </p:cNvPr>
            <p:cNvSpPr txBox="1"/>
            <p:nvPr/>
          </p:nvSpPr>
          <p:spPr>
            <a:xfrm>
              <a:off x="4607074" y="2165923"/>
              <a:ext cx="450918" cy="28765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+mj-lt"/>
                </a:rPr>
                <a:t>52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0" name="ValueText2">
              <a:extLst>
                <a:ext uri="{FF2B5EF4-FFF2-40B4-BE49-F238E27FC236}">
                  <a16:creationId xmlns:a16="http://schemas.microsoft.com/office/drawing/2014/main" id="{151562D8-BB71-4429-BC20-327EBB18B501}"/>
                </a:ext>
              </a:extLst>
            </p:cNvPr>
            <p:cNvSpPr txBox="1"/>
            <p:nvPr/>
          </p:nvSpPr>
          <p:spPr>
            <a:xfrm>
              <a:off x="4216130" y="3317843"/>
              <a:ext cx="450918" cy="28765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+mj-lt"/>
                </a:rPr>
                <a:t>63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1" name="ValueText3">
              <a:extLst>
                <a:ext uri="{FF2B5EF4-FFF2-40B4-BE49-F238E27FC236}">
                  <a16:creationId xmlns:a16="http://schemas.microsoft.com/office/drawing/2014/main" id="{6B577145-9793-413B-9916-3C9D40D13E91}"/>
                </a:ext>
              </a:extLst>
            </p:cNvPr>
            <p:cNvSpPr txBox="1"/>
            <p:nvPr/>
          </p:nvSpPr>
          <p:spPr>
            <a:xfrm>
              <a:off x="4832532" y="4475337"/>
              <a:ext cx="450918" cy="28765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+mj-lt"/>
                </a:rPr>
                <a:t>56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2" name="ExtraShape3">
              <a:extLst>
                <a:ext uri="{FF2B5EF4-FFF2-40B4-BE49-F238E27FC236}">
                  <a16:creationId xmlns:a16="http://schemas.microsoft.com/office/drawing/2014/main" id="{4009C8EC-F7EE-41A7-8167-C19A311F0BC3}"/>
                </a:ext>
              </a:extLst>
            </p:cNvPr>
            <p:cNvSpPr/>
            <p:nvPr/>
          </p:nvSpPr>
          <p:spPr bwMode="auto">
            <a:xfrm>
              <a:off x="4787799" y="3063013"/>
              <a:ext cx="867549" cy="867549"/>
            </a:xfrm>
            <a:custGeom>
              <a:avLst/>
              <a:gdLst>
                <a:gd name="T0" fmla="*/ 154 w 308"/>
                <a:gd name="T1" fmla="*/ 308 h 308"/>
                <a:gd name="T2" fmla="*/ 0 w 308"/>
                <a:gd name="T3" fmla="*/ 154 h 308"/>
                <a:gd name="T4" fmla="*/ 154 w 308"/>
                <a:gd name="T5" fmla="*/ 0 h 308"/>
                <a:gd name="T6" fmla="*/ 308 w 308"/>
                <a:gd name="T7" fmla="*/ 154 h 308"/>
                <a:gd name="T8" fmla="*/ 154 w 308"/>
                <a:gd name="T9" fmla="*/ 308 h 308"/>
                <a:gd name="T10" fmla="*/ 154 w 308"/>
                <a:gd name="T11" fmla="*/ 32 h 308"/>
                <a:gd name="T12" fmla="*/ 32 w 308"/>
                <a:gd name="T13" fmla="*/ 154 h 308"/>
                <a:gd name="T14" fmla="*/ 154 w 308"/>
                <a:gd name="T15" fmla="*/ 276 h 308"/>
                <a:gd name="T16" fmla="*/ 276 w 308"/>
                <a:gd name="T17" fmla="*/ 154 h 308"/>
                <a:gd name="T18" fmla="*/ 154 w 308"/>
                <a:gd name="T19" fmla="*/ 3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8" h="308">
                  <a:moveTo>
                    <a:pt x="154" y="308"/>
                  </a:moveTo>
                  <a:cubicBezTo>
                    <a:pt x="69" y="308"/>
                    <a:pt x="0" y="239"/>
                    <a:pt x="0" y="154"/>
                  </a:cubicBezTo>
                  <a:cubicBezTo>
                    <a:pt x="0" y="69"/>
                    <a:pt x="69" y="0"/>
                    <a:pt x="154" y="0"/>
                  </a:cubicBezTo>
                  <a:cubicBezTo>
                    <a:pt x="239" y="0"/>
                    <a:pt x="308" y="69"/>
                    <a:pt x="308" y="154"/>
                  </a:cubicBezTo>
                  <a:cubicBezTo>
                    <a:pt x="307" y="239"/>
                    <a:pt x="239" y="308"/>
                    <a:pt x="154" y="308"/>
                  </a:cubicBezTo>
                  <a:close/>
                  <a:moveTo>
                    <a:pt x="154" y="32"/>
                  </a:moveTo>
                  <a:cubicBezTo>
                    <a:pt x="87" y="32"/>
                    <a:pt x="32" y="87"/>
                    <a:pt x="32" y="154"/>
                  </a:cubicBezTo>
                  <a:cubicBezTo>
                    <a:pt x="32" y="221"/>
                    <a:pt x="87" y="276"/>
                    <a:pt x="154" y="276"/>
                  </a:cubicBezTo>
                  <a:cubicBezTo>
                    <a:pt x="221" y="276"/>
                    <a:pt x="276" y="221"/>
                    <a:pt x="276" y="154"/>
                  </a:cubicBezTo>
                  <a:cubicBezTo>
                    <a:pt x="275" y="87"/>
                    <a:pt x="221" y="32"/>
                    <a:pt x="154" y="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3" name="ExtraShape4">
              <a:extLst>
                <a:ext uri="{FF2B5EF4-FFF2-40B4-BE49-F238E27FC236}">
                  <a16:creationId xmlns:a16="http://schemas.microsoft.com/office/drawing/2014/main" id="{64741053-89F8-4CAF-90FB-E587B8C33354}"/>
                </a:ext>
              </a:extLst>
            </p:cNvPr>
            <p:cNvSpPr/>
            <p:nvPr/>
          </p:nvSpPr>
          <p:spPr bwMode="auto">
            <a:xfrm>
              <a:off x="5381984" y="4148691"/>
              <a:ext cx="841703" cy="840447"/>
            </a:xfrm>
            <a:custGeom>
              <a:avLst/>
              <a:gdLst>
                <a:gd name="T0" fmla="*/ 168 w 322"/>
                <a:gd name="T1" fmla="*/ 322 h 322"/>
                <a:gd name="T2" fmla="*/ 60 w 322"/>
                <a:gd name="T3" fmla="*/ 277 h 322"/>
                <a:gd name="T4" fmla="*/ 60 w 322"/>
                <a:gd name="T5" fmla="*/ 60 h 322"/>
                <a:gd name="T6" fmla="*/ 277 w 322"/>
                <a:gd name="T7" fmla="*/ 60 h 322"/>
                <a:gd name="T8" fmla="*/ 322 w 322"/>
                <a:gd name="T9" fmla="*/ 169 h 322"/>
                <a:gd name="T10" fmla="*/ 277 w 322"/>
                <a:gd name="T11" fmla="*/ 277 h 322"/>
                <a:gd name="T12" fmla="*/ 168 w 322"/>
                <a:gd name="T13" fmla="*/ 322 h 322"/>
                <a:gd name="T14" fmla="*/ 168 w 322"/>
                <a:gd name="T15" fmla="*/ 47 h 322"/>
                <a:gd name="T16" fmla="*/ 82 w 322"/>
                <a:gd name="T17" fmla="*/ 83 h 322"/>
                <a:gd name="T18" fmla="*/ 82 w 322"/>
                <a:gd name="T19" fmla="*/ 255 h 322"/>
                <a:gd name="T20" fmla="*/ 254 w 322"/>
                <a:gd name="T21" fmla="*/ 255 h 322"/>
                <a:gd name="T22" fmla="*/ 290 w 322"/>
                <a:gd name="T23" fmla="*/ 169 h 322"/>
                <a:gd name="T24" fmla="*/ 254 w 322"/>
                <a:gd name="T25" fmla="*/ 83 h 322"/>
                <a:gd name="T26" fmla="*/ 168 w 322"/>
                <a:gd name="T27" fmla="*/ 47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2" h="322">
                  <a:moveTo>
                    <a:pt x="168" y="322"/>
                  </a:moveTo>
                  <a:cubicBezTo>
                    <a:pt x="129" y="322"/>
                    <a:pt x="90" y="307"/>
                    <a:pt x="60" y="277"/>
                  </a:cubicBezTo>
                  <a:cubicBezTo>
                    <a:pt x="0" y="218"/>
                    <a:pt x="0" y="120"/>
                    <a:pt x="60" y="60"/>
                  </a:cubicBezTo>
                  <a:cubicBezTo>
                    <a:pt x="119" y="0"/>
                    <a:pt x="217" y="0"/>
                    <a:pt x="277" y="60"/>
                  </a:cubicBezTo>
                  <a:cubicBezTo>
                    <a:pt x="306" y="89"/>
                    <a:pt x="322" y="128"/>
                    <a:pt x="322" y="169"/>
                  </a:cubicBezTo>
                  <a:cubicBezTo>
                    <a:pt x="322" y="210"/>
                    <a:pt x="306" y="248"/>
                    <a:pt x="277" y="277"/>
                  </a:cubicBezTo>
                  <a:cubicBezTo>
                    <a:pt x="247" y="307"/>
                    <a:pt x="208" y="322"/>
                    <a:pt x="168" y="322"/>
                  </a:cubicBezTo>
                  <a:close/>
                  <a:moveTo>
                    <a:pt x="168" y="47"/>
                  </a:moveTo>
                  <a:cubicBezTo>
                    <a:pt x="137" y="47"/>
                    <a:pt x="106" y="59"/>
                    <a:pt x="82" y="83"/>
                  </a:cubicBezTo>
                  <a:cubicBezTo>
                    <a:pt x="35" y="130"/>
                    <a:pt x="35" y="207"/>
                    <a:pt x="82" y="255"/>
                  </a:cubicBezTo>
                  <a:cubicBezTo>
                    <a:pt x="130" y="302"/>
                    <a:pt x="207" y="302"/>
                    <a:pt x="254" y="255"/>
                  </a:cubicBezTo>
                  <a:cubicBezTo>
                    <a:pt x="277" y="232"/>
                    <a:pt x="290" y="201"/>
                    <a:pt x="290" y="169"/>
                  </a:cubicBezTo>
                  <a:cubicBezTo>
                    <a:pt x="290" y="136"/>
                    <a:pt x="277" y="106"/>
                    <a:pt x="254" y="83"/>
                  </a:cubicBezTo>
                  <a:cubicBezTo>
                    <a:pt x="230" y="59"/>
                    <a:pt x="199" y="47"/>
                    <a:pt x="168" y="4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4" name="ExtraShape4">
              <a:extLst>
                <a:ext uri="{FF2B5EF4-FFF2-40B4-BE49-F238E27FC236}">
                  <a16:creationId xmlns:a16="http://schemas.microsoft.com/office/drawing/2014/main" id="{C4D06A98-84A1-4B3D-AFDD-62F5ACD09F0E}"/>
                </a:ext>
              </a:extLst>
            </p:cNvPr>
            <p:cNvSpPr/>
            <p:nvPr/>
          </p:nvSpPr>
          <p:spPr bwMode="auto">
            <a:xfrm>
              <a:off x="5144391" y="1844993"/>
              <a:ext cx="929517" cy="929517"/>
            </a:xfrm>
            <a:custGeom>
              <a:avLst/>
              <a:gdLst>
                <a:gd name="T0" fmla="*/ 168 w 322"/>
                <a:gd name="T1" fmla="*/ 322 h 322"/>
                <a:gd name="T2" fmla="*/ 168 w 322"/>
                <a:gd name="T3" fmla="*/ 322 h 322"/>
                <a:gd name="T4" fmla="*/ 60 w 322"/>
                <a:gd name="T5" fmla="*/ 277 h 322"/>
                <a:gd name="T6" fmla="*/ 60 w 322"/>
                <a:gd name="T7" fmla="*/ 60 h 322"/>
                <a:gd name="T8" fmla="*/ 277 w 322"/>
                <a:gd name="T9" fmla="*/ 60 h 322"/>
                <a:gd name="T10" fmla="*/ 322 w 322"/>
                <a:gd name="T11" fmla="*/ 168 h 322"/>
                <a:gd name="T12" fmla="*/ 277 w 322"/>
                <a:gd name="T13" fmla="*/ 277 h 322"/>
                <a:gd name="T14" fmla="*/ 168 w 322"/>
                <a:gd name="T15" fmla="*/ 322 h 322"/>
                <a:gd name="T16" fmla="*/ 82 w 322"/>
                <a:gd name="T17" fmla="*/ 254 h 322"/>
                <a:gd name="T18" fmla="*/ 168 w 322"/>
                <a:gd name="T19" fmla="*/ 290 h 322"/>
                <a:gd name="T20" fmla="*/ 168 w 322"/>
                <a:gd name="T21" fmla="*/ 290 h 322"/>
                <a:gd name="T22" fmla="*/ 254 w 322"/>
                <a:gd name="T23" fmla="*/ 254 h 322"/>
                <a:gd name="T24" fmla="*/ 290 w 322"/>
                <a:gd name="T25" fmla="*/ 168 h 322"/>
                <a:gd name="T26" fmla="*/ 254 w 322"/>
                <a:gd name="T27" fmla="*/ 82 h 322"/>
                <a:gd name="T28" fmla="*/ 82 w 322"/>
                <a:gd name="T29" fmla="*/ 82 h 322"/>
                <a:gd name="T30" fmla="*/ 82 w 322"/>
                <a:gd name="T31" fmla="*/ 25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2" h="322">
                  <a:moveTo>
                    <a:pt x="168" y="322"/>
                  </a:moveTo>
                  <a:cubicBezTo>
                    <a:pt x="168" y="322"/>
                    <a:pt x="168" y="322"/>
                    <a:pt x="168" y="322"/>
                  </a:cubicBezTo>
                  <a:cubicBezTo>
                    <a:pt x="127" y="322"/>
                    <a:pt x="89" y="306"/>
                    <a:pt x="60" y="277"/>
                  </a:cubicBezTo>
                  <a:cubicBezTo>
                    <a:pt x="0" y="217"/>
                    <a:pt x="0" y="119"/>
                    <a:pt x="60" y="60"/>
                  </a:cubicBezTo>
                  <a:cubicBezTo>
                    <a:pt x="119" y="0"/>
                    <a:pt x="217" y="0"/>
                    <a:pt x="277" y="60"/>
                  </a:cubicBezTo>
                  <a:cubicBezTo>
                    <a:pt x="306" y="89"/>
                    <a:pt x="322" y="127"/>
                    <a:pt x="322" y="168"/>
                  </a:cubicBezTo>
                  <a:cubicBezTo>
                    <a:pt x="322" y="209"/>
                    <a:pt x="306" y="248"/>
                    <a:pt x="277" y="277"/>
                  </a:cubicBezTo>
                  <a:cubicBezTo>
                    <a:pt x="248" y="306"/>
                    <a:pt x="209" y="322"/>
                    <a:pt x="168" y="322"/>
                  </a:cubicBezTo>
                  <a:close/>
                  <a:moveTo>
                    <a:pt x="82" y="254"/>
                  </a:moveTo>
                  <a:cubicBezTo>
                    <a:pt x="105" y="277"/>
                    <a:pt x="136" y="290"/>
                    <a:pt x="168" y="290"/>
                  </a:cubicBezTo>
                  <a:cubicBezTo>
                    <a:pt x="168" y="290"/>
                    <a:pt x="168" y="290"/>
                    <a:pt x="168" y="290"/>
                  </a:cubicBezTo>
                  <a:cubicBezTo>
                    <a:pt x="201" y="290"/>
                    <a:pt x="231" y="277"/>
                    <a:pt x="254" y="254"/>
                  </a:cubicBezTo>
                  <a:cubicBezTo>
                    <a:pt x="277" y="231"/>
                    <a:pt x="290" y="201"/>
                    <a:pt x="290" y="168"/>
                  </a:cubicBezTo>
                  <a:cubicBezTo>
                    <a:pt x="290" y="136"/>
                    <a:pt x="277" y="105"/>
                    <a:pt x="254" y="82"/>
                  </a:cubicBezTo>
                  <a:cubicBezTo>
                    <a:pt x="207" y="35"/>
                    <a:pt x="130" y="35"/>
                    <a:pt x="82" y="82"/>
                  </a:cubicBezTo>
                  <a:cubicBezTo>
                    <a:pt x="35" y="130"/>
                    <a:pt x="35" y="207"/>
                    <a:pt x="82" y="2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5" name="ExtraShape5">
              <a:extLst>
                <a:ext uri="{FF2B5EF4-FFF2-40B4-BE49-F238E27FC236}">
                  <a16:creationId xmlns:a16="http://schemas.microsoft.com/office/drawing/2014/main" id="{9454B9DA-B432-4DA2-A41C-E5D77CC51A02}"/>
                </a:ext>
              </a:extLst>
            </p:cNvPr>
            <p:cNvSpPr/>
            <p:nvPr/>
          </p:nvSpPr>
          <p:spPr bwMode="auto">
            <a:xfrm>
              <a:off x="6704201" y="2768350"/>
              <a:ext cx="972452" cy="1456878"/>
            </a:xfrm>
            <a:custGeom>
              <a:avLst/>
              <a:gdLst>
                <a:gd name="T0" fmla="*/ 130 w 519"/>
                <a:gd name="T1" fmla="*/ 0 h 779"/>
                <a:gd name="T2" fmla="*/ 0 w 519"/>
                <a:gd name="T3" fmla="*/ 0 h 779"/>
                <a:gd name="T4" fmla="*/ 0 w 519"/>
                <a:gd name="T5" fmla="*/ 779 h 779"/>
                <a:gd name="T6" fmla="*/ 130 w 519"/>
                <a:gd name="T7" fmla="*/ 779 h 779"/>
                <a:gd name="T8" fmla="*/ 519 w 519"/>
                <a:gd name="T9" fmla="*/ 390 h 779"/>
                <a:gd name="T10" fmla="*/ 130 w 519"/>
                <a:gd name="T11" fmla="*/ 0 h 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9" h="779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79"/>
                    <a:pt x="0" y="779"/>
                    <a:pt x="0" y="779"/>
                  </a:cubicBezTo>
                  <a:cubicBezTo>
                    <a:pt x="130" y="779"/>
                    <a:pt x="130" y="779"/>
                    <a:pt x="130" y="779"/>
                  </a:cubicBezTo>
                  <a:cubicBezTo>
                    <a:pt x="345" y="779"/>
                    <a:pt x="519" y="605"/>
                    <a:pt x="519" y="390"/>
                  </a:cubicBezTo>
                  <a:cubicBezTo>
                    <a:pt x="519" y="175"/>
                    <a:pt x="345" y="0"/>
                    <a:pt x="130" y="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6" name="ExtraShape1">
              <a:extLst>
                <a:ext uri="{FF2B5EF4-FFF2-40B4-BE49-F238E27FC236}">
                  <a16:creationId xmlns:a16="http://schemas.microsoft.com/office/drawing/2014/main" id="{8FAA908B-D49D-45E5-AEFA-F8BA7F2978DE}"/>
                </a:ext>
              </a:extLst>
            </p:cNvPr>
            <p:cNvSpPr/>
            <p:nvPr/>
          </p:nvSpPr>
          <p:spPr bwMode="auto">
            <a:xfrm>
              <a:off x="6669084" y="2738636"/>
              <a:ext cx="1031880" cy="1516305"/>
            </a:xfrm>
            <a:custGeom>
              <a:avLst/>
              <a:gdLst>
                <a:gd name="T0" fmla="*/ 146 w 551"/>
                <a:gd name="T1" fmla="*/ 811 h 811"/>
                <a:gd name="T2" fmla="*/ 16 w 551"/>
                <a:gd name="T3" fmla="*/ 811 h 811"/>
                <a:gd name="T4" fmla="*/ 0 w 551"/>
                <a:gd name="T5" fmla="*/ 795 h 811"/>
                <a:gd name="T6" fmla="*/ 0 w 551"/>
                <a:gd name="T7" fmla="*/ 16 h 811"/>
                <a:gd name="T8" fmla="*/ 16 w 551"/>
                <a:gd name="T9" fmla="*/ 0 h 811"/>
                <a:gd name="T10" fmla="*/ 146 w 551"/>
                <a:gd name="T11" fmla="*/ 0 h 811"/>
                <a:gd name="T12" fmla="*/ 551 w 551"/>
                <a:gd name="T13" fmla="*/ 406 h 811"/>
                <a:gd name="T14" fmla="*/ 146 w 551"/>
                <a:gd name="T15" fmla="*/ 811 h 811"/>
                <a:gd name="T16" fmla="*/ 32 w 551"/>
                <a:gd name="T17" fmla="*/ 779 h 811"/>
                <a:gd name="T18" fmla="*/ 146 w 551"/>
                <a:gd name="T19" fmla="*/ 779 h 811"/>
                <a:gd name="T20" fmla="*/ 519 w 551"/>
                <a:gd name="T21" fmla="*/ 406 h 811"/>
                <a:gd name="T22" fmla="*/ 146 w 551"/>
                <a:gd name="T23" fmla="*/ 32 h 811"/>
                <a:gd name="T24" fmla="*/ 32 w 551"/>
                <a:gd name="T25" fmla="*/ 32 h 811"/>
                <a:gd name="T26" fmla="*/ 32 w 551"/>
                <a:gd name="T27" fmla="*/ 77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1" h="811">
                  <a:moveTo>
                    <a:pt x="146" y="811"/>
                  </a:moveTo>
                  <a:cubicBezTo>
                    <a:pt x="16" y="811"/>
                    <a:pt x="16" y="811"/>
                    <a:pt x="16" y="811"/>
                  </a:cubicBezTo>
                  <a:cubicBezTo>
                    <a:pt x="7" y="811"/>
                    <a:pt x="0" y="804"/>
                    <a:pt x="0" y="79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370" y="0"/>
                    <a:pt x="551" y="182"/>
                    <a:pt x="551" y="406"/>
                  </a:cubicBezTo>
                  <a:cubicBezTo>
                    <a:pt x="551" y="629"/>
                    <a:pt x="370" y="811"/>
                    <a:pt x="146" y="811"/>
                  </a:cubicBezTo>
                  <a:close/>
                  <a:moveTo>
                    <a:pt x="32" y="779"/>
                  </a:moveTo>
                  <a:cubicBezTo>
                    <a:pt x="146" y="779"/>
                    <a:pt x="146" y="779"/>
                    <a:pt x="146" y="779"/>
                  </a:cubicBezTo>
                  <a:cubicBezTo>
                    <a:pt x="352" y="779"/>
                    <a:pt x="519" y="612"/>
                    <a:pt x="519" y="406"/>
                  </a:cubicBezTo>
                  <a:cubicBezTo>
                    <a:pt x="519" y="200"/>
                    <a:pt x="352" y="32"/>
                    <a:pt x="146" y="32"/>
                  </a:cubicBezTo>
                  <a:cubicBezTo>
                    <a:pt x="32" y="32"/>
                    <a:pt x="32" y="32"/>
                    <a:pt x="32" y="32"/>
                  </a:cubicBezTo>
                  <a:lnTo>
                    <a:pt x="32" y="77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7" name="ExtraShape6">
              <a:extLst>
                <a:ext uri="{FF2B5EF4-FFF2-40B4-BE49-F238E27FC236}">
                  <a16:creationId xmlns:a16="http://schemas.microsoft.com/office/drawing/2014/main" id="{3AD454B4-2850-4252-826A-E23D167CD912}"/>
                </a:ext>
              </a:extLst>
            </p:cNvPr>
            <p:cNvSpPr/>
            <p:nvPr/>
          </p:nvSpPr>
          <p:spPr bwMode="auto">
            <a:xfrm>
              <a:off x="5976663" y="2768350"/>
              <a:ext cx="1457778" cy="1456878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8" name="ExtraShape2">
              <a:extLst>
                <a:ext uri="{FF2B5EF4-FFF2-40B4-BE49-F238E27FC236}">
                  <a16:creationId xmlns:a16="http://schemas.microsoft.com/office/drawing/2014/main" id="{4F2DAB5C-2056-4747-A44F-2E701AA83911}"/>
                </a:ext>
              </a:extLst>
            </p:cNvPr>
            <p:cNvSpPr/>
            <p:nvPr/>
          </p:nvSpPr>
          <p:spPr bwMode="auto">
            <a:xfrm>
              <a:off x="5946049" y="2742237"/>
              <a:ext cx="1519007" cy="1514505"/>
            </a:xfrm>
            <a:custGeom>
              <a:avLst/>
              <a:gdLst>
                <a:gd name="T0" fmla="*/ 405 w 811"/>
                <a:gd name="T1" fmla="*/ 810 h 810"/>
                <a:gd name="T2" fmla="*/ 0 w 811"/>
                <a:gd name="T3" fmla="*/ 405 h 810"/>
                <a:gd name="T4" fmla="*/ 405 w 811"/>
                <a:gd name="T5" fmla="*/ 0 h 810"/>
                <a:gd name="T6" fmla="*/ 811 w 811"/>
                <a:gd name="T7" fmla="*/ 405 h 810"/>
                <a:gd name="T8" fmla="*/ 405 w 811"/>
                <a:gd name="T9" fmla="*/ 810 h 810"/>
                <a:gd name="T10" fmla="*/ 405 w 811"/>
                <a:gd name="T11" fmla="*/ 32 h 810"/>
                <a:gd name="T12" fmla="*/ 32 w 811"/>
                <a:gd name="T13" fmla="*/ 405 h 810"/>
                <a:gd name="T14" fmla="*/ 405 w 811"/>
                <a:gd name="T15" fmla="*/ 778 h 810"/>
                <a:gd name="T16" fmla="*/ 779 w 811"/>
                <a:gd name="T17" fmla="*/ 405 h 810"/>
                <a:gd name="T18" fmla="*/ 405 w 811"/>
                <a:gd name="T19" fmla="*/ 32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1" h="810">
                  <a:moveTo>
                    <a:pt x="405" y="810"/>
                  </a:moveTo>
                  <a:cubicBezTo>
                    <a:pt x="181" y="810"/>
                    <a:pt x="0" y="629"/>
                    <a:pt x="0" y="405"/>
                  </a:cubicBezTo>
                  <a:cubicBezTo>
                    <a:pt x="0" y="181"/>
                    <a:pt x="181" y="0"/>
                    <a:pt x="405" y="0"/>
                  </a:cubicBezTo>
                  <a:cubicBezTo>
                    <a:pt x="629" y="0"/>
                    <a:pt x="811" y="181"/>
                    <a:pt x="811" y="405"/>
                  </a:cubicBezTo>
                  <a:cubicBezTo>
                    <a:pt x="811" y="629"/>
                    <a:pt x="629" y="810"/>
                    <a:pt x="405" y="810"/>
                  </a:cubicBezTo>
                  <a:close/>
                  <a:moveTo>
                    <a:pt x="405" y="32"/>
                  </a:moveTo>
                  <a:cubicBezTo>
                    <a:pt x="199" y="32"/>
                    <a:pt x="32" y="199"/>
                    <a:pt x="32" y="405"/>
                  </a:cubicBezTo>
                  <a:cubicBezTo>
                    <a:pt x="32" y="611"/>
                    <a:pt x="199" y="778"/>
                    <a:pt x="405" y="778"/>
                  </a:cubicBezTo>
                  <a:cubicBezTo>
                    <a:pt x="611" y="778"/>
                    <a:pt x="779" y="611"/>
                    <a:pt x="779" y="405"/>
                  </a:cubicBezTo>
                  <a:cubicBezTo>
                    <a:pt x="779" y="199"/>
                    <a:pt x="611" y="32"/>
                    <a:pt x="405" y="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9" name="ExtraShape7">
              <a:extLst>
                <a:ext uri="{FF2B5EF4-FFF2-40B4-BE49-F238E27FC236}">
                  <a16:creationId xmlns:a16="http://schemas.microsoft.com/office/drawing/2014/main" id="{606B1E66-DCF7-4923-8E27-55C26C03EEBF}"/>
                </a:ext>
              </a:extLst>
            </p:cNvPr>
            <p:cNvSpPr/>
            <p:nvPr/>
          </p:nvSpPr>
          <p:spPr bwMode="auto">
            <a:xfrm>
              <a:off x="6464690" y="3071790"/>
              <a:ext cx="479923" cy="47632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0" name="ExtraShape">
              <a:extLst>
                <a:ext uri="{FF2B5EF4-FFF2-40B4-BE49-F238E27FC236}">
                  <a16:creationId xmlns:a16="http://schemas.microsoft.com/office/drawing/2014/main" id="{B1002313-E052-41B5-917F-433C23B70105}"/>
                </a:ext>
              </a:extLst>
            </p:cNvPr>
            <p:cNvSpPr/>
            <p:nvPr/>
          </p:nvSpPr>
          <p:spPr bwMode="auto">
            <a:xfrm>
              <a:off x="6434976" y="3041177"/>
              <a:ext cx="539351" cy="536650"/>
            </a:xfrm>
            <a:custGeom>
              <a:avLst/>
              <a:gdLst>
                <a:gd name="T0" fmla="*/ 144 w 288"/>
                <a:gd name="T1" fmla="*/ 287 h 287"/>
                <a:gd name="T2" fmla="*/ 0 w 288"/>
                <a:gd name="T3" fmla="*/ 143 h 287"/>
                <a:gd name="T4" fmla="*/ 144 w 288"/>
                <a:gd name="T5" fmla="*/ 0 h 287"/>
                <a:gd name="T6" fmla="*/ 288 w 288"/>
                <a:gd name="T7" fmla="*/ 143 h 287"/>
                <a:gd name="T8" fmla="*/ 144 w 288"/>
                <a:gd name="T9" fmla="*/ 287 h 287"/>
                <a:gd name="T10" fmla="*/ 144 w 288"/>
                <a:gd name="T11" fmla="*/ 32 h 287"/>
                <a:gd name="T12" fmla="*/ 32 w 288"/>
                <a:gd name="T13" fmla="*/ 143 h 287"/>
                <a:gd name="T14" fmla="*/ 144 w 288"/>
                <a:gd name="T15" fmla="*/ 255 h 287"/>
                <a:gd name="T16" fmla="*/ 256 w 288"/>
                <a:gd name="T17" fmla="*/ 143 h 287"/>
                <a:gd name="T18" fmla="*/ 144 w 288"/>
                <a:gd name="T19" fmla="*/ 3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287">
                  <a:moveTo>
                    <a:pt x="144" y="287"/>
                  </a:moveTo>
                  <a:cubicBezTo>
                    <a:pt x="65" y="287"/>
                    <a:pt x="0" y="222"/>
                    <a:pt x="0" y="143"/>
                  </a:cubicBezTo>
                  <a:cubicBezTo>
                    <a:pt x="0" y="64"/>
                    <a:pt x="65" y="0"/>
                    <a:pt x="144" y="0"/>
                  </a:cubicBezTo>
                  <a:cubicBezTo>
                    <a:pt x="223" y="0"/>
                    <a:pt x="288" y="64"/>
                    <a:pt x="288" y="143"/>
                  </a:cubicBezTo>
                  <a:cubicBezTo>
                    <a:pt x="288" y="222"/>
                    <a:pt x="223" y="287"/>
                    <a:pt x="144" y="287"/>
                  </a:cubicBezTo>
                  <a:close/>
                  <a:moveTo>
                    <a:pt x="144" y="32"/>
                  </a:moveTo>
                  <a:cubicBezTo>
                    <a:pt x="82" y="32"/>
                    <a:pt x="32" y="82"/>
                    <a:pt x="32" y="143"/>
                  </a:cubicBezTo>
                  <a:cubicBezTo>
                    <a:pt x="32" y="205"/>
                    <a:pt x="82" y="255"/>
                    <a:pt x="144" y="255"/>
                  </a:cubicBezTo>
                  <a:cubicBezTo>
                    <a:pt x="206" y="255"/>
                    <a:pt x="256" y="205"/>
                    <a:pt x="256" y="143"/>
                  </a:cubicBezTo>
                  <a:cubicBezTo>
                    <a:pt x="256" y="82"/>
                    <a:pt x="206" y="32"/>
                    <a:pt x="144" y="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1" name="ExtraShape1">
              <a:extLst>
                <a:ext uri="{FF2B5EF4-FFF2-40B4-BE49-F238E27FC236}">
                  <a16:creationId xmlns:a16="http://schemas.microsoft.com/office/drawing/2014/main" id="{CF69679E-EFC7-4BD8-B5FF-C70DF9FF94A9}"/>
                </a:ext>
              </a:extLst>
            </p:cNvPr>
            <p:cNvSpPr/>
            <p:nvPr/>
          </p:nvSpPr>
          <p:spPr bwMode="auto">
            <a:xfrm>
              <a:off x="6344934" y="3548112"/>
              <a:ext cx="719435" cy="336756"/>
            </a:xfrm>
            <a:custGeom>
              <a:avLst/>
              <a:gdLst>
                <a:gd name="T0" fmla="*/ 384 w 384"/>
                <a:gd name="T1" fmla="*/ 180 h 180"/>
                <a:gd name="T2" fmla="*/ 192 w 384"/>
                <a:gd name="T3" fmla="*/ 0 h 180"/>
                <a:gd name="T4" fmla="*/ 0 w 384"/>
                <a:gd name="T5" fmla="*/ 180 h 180"/>
                <a:gd name="T6" fmla="*/ 384 w 384"/>
                <a:gd name="T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4" h="180">
                  <a:moveTo>
                    <a:pt x="384" y="180"/>
                  </a:moveTo>
                  <a:cubicBezTo>
                    <a:pt x="378" y="79"/>
                    <a:pt x="294" y="0"/>
                    <a:pt x="192" y="0"/>
                  </a:cubicBezTo>
                  <a:cubicBezTo>
                    <a:pt x="90" y="0"/>
                    <a:pt x="6" y="79"/>
                    <a:pt x="0" y="180"/>
                  </a:cubicBezTo>
                  <a:lnTo>
                    <a:pt x="384" y="18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2" name="ExtraShape2">
              <a:extLst>
                <a:ext uri="{FF2B5EF4-FFF2-40B4-BE49-F238E27FC236}">
                  <a16:creationId xmlns:a16="http://schemas.microsoft.com/office/drawing/2014/main" id="{F418ECA2-1035-495A-9C8E-245A6EBA8EC8}"/>
                </a:ext>
              </a:extLst>
            </p:cNvPr>
            <p:cNvSpPr/>
            <p:nvPr/>
          </p:nvSpPr>
          <p:spPr bwMode="auto">
            <a:xfrm>
              <a:off x="6315221" y="3518399"/>
              <a:ext cx="778862" cy="396184"/>
            </a:xfrm>
            <a:custGeom>
              <a:avLst/>
              <a:gdLst>
                <a:gd name="T0" fmla="*/ 400 w 416"/>
                <a:gd name="T1" fmla="*/ 212 h 212"/>
                <a:gd name="T2" fmla="*/ 16 w 416"/>
                <a:gd name="T3" fmla="*/ 212 h 212"/>
                <a:gd name="T4" fmla="*/ 4 w 416"/>
                <a:gd name="T5" fmla="*/ 207 h 212"/>
                <a:gd name="T6" fmla="*/ 0 w 416"/>
                <a:gd name="T7" fmla="*/ 195 h 212"/>
                <a:gd name="T8" fmla="*/ 208 w 416"/>
                <a:gd name="T9" fmla="*/ 0 h 212"/>
                <a:gd name="T10" fmla="*/ 416 w 416"/>
                <a:gd name="T11" fmla="*/ 195 h 212"/>
                <a:gd name="T12" fmla="*/ 412 w 416"/>
                <a:gd name="T13" fmla="*/ 207 h 212"/>
                <a:gd name="T14" fmla="*/ 400 w 416"/>
                <a:gd name="T15" fmla="*/ 212 h 212"/>
                <a:gd name="T16" fmla="*/ 34 w 416"/>
                <a:gd name="T17" fmla="*/ 180 h 212"/>
                <a:gd name="T18" fmla="*/ 382 w 416"/>
                <a:gd name="T19" fmla="*/ 180 h 212"/>
                <a:gd name="T20" fmla="*/ 208 w 416"/>
                <a:gd name="T21" fmla="*/ 32 h 212"/>
                <a:gd name="T22" fmla="*/ 34 w 416"/>
                <a:gd name="T23" fmla="*/ 18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6" h="212">
                  <a:moveTo>
                    <a:pt x="400" y="212"/>
                  </a:moveTo>
                  <a:cubicBezTo>
                    <a:pt x="16" y="212"/>
                    <a:pt x="16" y="212"/>
                    <a:pt x="16" y="212"/>
                  </a:cubicBezTo>
                  <a:cubicBezTo>
                    <a:pt x="12" y="212"/>
                    <a:pt x="7" y="210"/>
                    <a:pt x="4" y="207"/>
                  </a:cubicBezTo>
                  <a:cubicBezTo>
                    <a:pt x="1" y="204"/>
                    <a:pt x="0" y="200"/>
                    <a:pt x="0" y="195"/>
                  </a:cubicBezTo>
                  <a:cubicBezTo>
                    <a:pt x="7" y="86"/>
                    <a:pt x="98" y="0"/>
                    <a:pt x="208" y="0"/>
                  </a:cubicBezTo>
                  <a:cubicBezTo>
                    <a:pt x="318" y="0"/>
                    <a:pt x="409" y="86"/>
                    <a:pt x="416" y="195"/>
                  </a:cubicBezTo>
                  <a:cubicBezTo>
                    <a:pt x="416" y="200"/>
                    <a:pt x="415" y="204"/>
                    <a:pt x="412" y="207"/>
                  </a:cubicBezTo>
                  <a:cubicBezTo>
                    <a:pt x="409" y="210"/>
                    <a:pt x="404" y="212"/>
                    <a:pt x="400" y="212"/>
                  </a:cubicBezTo>
                  <a:close/>
                  <a:moveTo>
                    <a:pt x="34" y="180"/>
                  </a:moveTo>
                  <a:cubicBezTo>
                    <a:pt x="382" y="180"/>
                    <a:pt x="382" y="180"/>
                    <a:pt x="382" y="180"/>
                  </a:cubicBezTo>
                  <a:cubicBezTo>
                    <a:pt x="368" y="96"/>
                    <a:pt x="295" y="32"/>
                    <a:pt x="208" y="32"/>
                  </a:cubicBezTo>
                  <a:cubicBezTo>
                    <a:pt x="121" y="32"/>
                    <a:pt x="48" y="96"/>
                    <a:pt x="34" y="18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3" name="ExtraShape3">
              <a:extLst>
                <a:ext uri="{FF2B5EF4-FFF2-40B4-BE49-F238E27FC236}">
                  <a16:creationId xmlns:a16="http://schemas.microsoft.com/office/drawing/2014/main" id="{1606FE4A-F403-4817-8439-680B6CF1F2DB}"/>
                </a:ext>
              </a:extLst>
            </p:cNvPr>
            <p:cNvSpPr/>
            <p:nvPr/>
          </p:nvSpPr>
          <p:spPr bwMode="auto">
            <a:xfrm>
              <a:off x="6507910" y="3572423"/>
              <a:ext cx="393484" cy="226005"/>
            </a:xfrm>
            <a:custGeom>
              <a:avLst/>
              <a:gdLst>
                <a:gd name="T0" fmla="*/ 105 w 210"/>
                <a:gd name="T1" fmla="*/ 121 h 121"/>
                <a:gd name="T2" fmla="*/ 94 w 210"/>
                <a:gd name="T3" fmla="*/ 116 h 121"/>
                <a:gd name="T4" fmla="*/ 0 w 210"/>
                <a:gd name="T5" fmla="*/ 22 h 121"/>
                <a:gd name="T6" fmla="*/ 23 w 210"/>
                <a:gd name="T7" fmla="*/ 0 h 121"/>
                <a:gd name="T8" fmla="*/ 105 w 210"/>
                <a:gd name="T9" fmla="*/ 82 h 121"/>
                <a:gd name="T10" fmla="*/ 187 w 210"/>
                <a:gd name="T11" fmla="*/ 0 h 121"/>
                <a:gd name="T12" fmla="*/ 210 w 210"/>
                <a:gd name="T13" fmla="*/ 23 h 121"/>
                <a:gd name="T14" fmla="*/ 116 w 210"/>
                <a:gd name="T15" fmla="*/ 116 h 121"/>
                <a:gd name="T16" fmla="*/ 105 w 210"/>
                <a:gd name="T1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" h="121">
                  <a:moveTo>
                    <a:pt x="105" y="121"/>
                  </a:moveTo>
                  <a:cubicBezTo>
                    <a:pt x="101" y="121"/>
                    <a:pt x="97" y="119"/>
                    <a:pt x="94" y="116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05" y="82"/>
                    <a:pt x="105" y="82"/>
                    <a:pt x="105" y="82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210" y="23"/>
                    <a:pt x="210" y="23"/>
                    <a:pt x="210" y="23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13" y="119"/>
                    <a:pt x="109" y="121"/>
                    <a:pt x="105" y="12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4" name="CustomText">
              <a:extLst>
                <a:ext uri="{FF2B5EF4-FFF2-40B4-BE49-F238E27FC236}">
                  <a16:creationId xmlns:a16="http://schemas.microsoft.com/office/drawing/2014/main" id="{18A9845E-BFFB-465D-8D49-A37F2D50BFDF}"/>
                </a:ext>
              </a:extLst>
            </p:cNvPr>
            <p:cNvSpPr/>
            <p:nvPr/>
          </p:nvSpPr>
          <p:spPr>
            <a:xfrm flipH="1">
              <a:off x="6212295" y="4371191"/>
              <a:ext cx="1763575" cy="344507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75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25" name="CustomText1">
              <a:extLst>
                <a:ext uri="{FF2B5EF4-FFF2-40B4-BE49-F238E27FC236}">
                  <a16:creationId xmlns:a16="http://schemas.microsoft.com/office/drawing/2014/main" id="{D4BD7E86-C8F7-44BE-A46D-76F9D830257A}"/>
                </a:ext>
              </a:extLst>
            </p:cNvPr>
            <p:cNvSpPr/>
            <p:nvPr/>
          </p:nvSpPr>
          <p:spPr>
            <a:xfrm flipH="1">
              <a:off x="6212294" y="4715698"/>
              <a:ext cx="1763576" cy="264328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 fontScale="850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Supporting text here</a:t>
              </a:r>
            </a:p>
          </p:txBody>
        </p:sp>
      </p:grpSp>
      <p:sp>
        <p:nvSpPr>
          <p:cNvPr id="28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30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5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63576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93e0a4d7-4041-4a2d-88c0-df290bfb7e3a" descr="tBIAAB+LCAAAAAAABADtl01vm0AQhv/Lpr2hiC9Tmxs2duVDmii22kPkwwYmsA0sFiyVI4v/3l1sMBsgaXoz8c0eZmbfd2f8CO/RF/ayBWSjVYxT5hIcpDheMoiRgpY+smkeRQqaEuoTGnxPk3ybIfthX5c1n/wiLJwlUZL+xFEOogEljODo8NVuFUm5dynhCl7KWF8uT2v1un16Ih6sQ4ihylkTyhzqr0Ls8wz1WuUGUhKEjEKWiYCpoNvH3+CxRpk9Ell5FvKeV4uFY800dyaalceoRaGgFXgJ9f9f5D14QFmVdB88IlsbGRNzZOjS2XNzbs2d+mxNnN13h9X13RBK4jw+ppWeb/CuEdLUQ5D4fgTNtCVlkP6pp6SJWPl5xVJ+wCJJY8z4gXu1+HryZlrX5Z0sqQ87XlWJRdJQjyLFPnWujXhQb025Q6eiO8w3Ebi2DtftulO2ghwaRMLJuPRXDbBuzPdiCz94tpB0tCpCGtrILipBvDefW9tfofQKW8OOfcyKqGia6Lr9Nz2IBk0LRwmS+Hd1V8v50Rk0lfNlz4A53mnZD4t2iMu/xH+czxR7z63xdE4GFZsOewPAkyUhYmLM1YV6wVMvnkYSnvQB4Ek/fzzpA8ZTazyfC09j+e3JnY5d64KnXjyZEp6MAeDJOH88GQPGU2s8nwtP3179uXNdV7/gqRdPEwlP5gDwZJ4/nswB46k1nl48bYq/ILuOx7QSAAA=">
            <a:extLst>
              <a:ext uri="{FF2B5EF4-FFF2-40B4-BE49-F238E27FC236}">
                <a16:creationId xmlns:a16="http://schemas.microsoft.com/office/drawing/2014/main" id="{34453472-9447-41D3-BB88-965860E06BCB}"/>
              </a:ext>
            </a:extLst>
          </p:cNvPr>
          <p:cNvGrpSpPr>
            <a:grpSpLocks noChangeAspect="1"/>
          </p:cNvGrpSpPr>
          <p:nvPr/>
        </p:nvGrpSpPr>
        <p:grpSpPr>
          <a:xfrm>
            <a:off x="3865970" y="1288722"/>
            <a:ext cx="4460060" cy="4280557"/>
            <a:chOff x="3865970" y="1288722"/>
            <a:chExt cx="4460060" cy="4280557"/>
          </a:xfrm>
        </p:grpSpPr>
        <p:sp>
          <p:nvSpPr>
            <p:cNvPr id="3" name="ValueShape1">
              <a:extLst>
                <a:ext uri="{FF2B5EF4-FFF2-40B4-BE49-F238E27FC236}">
                  <a16:creationId xmlns:a16="http://schemas.microsoft.com/office/drawing/2014/main" id="{CCE8ACC2-0465-435C-9C82-6859AD91BAAE}"/>
                </a:ext>
              </a:extLst>
            </p:cNvPr>
            <p:cNvSpPr/>
            <p:nvPr/>
          </p:nvSpPr>
          <p:spPr bwMode="auto">
            <a:xfrm rot="16921984">
              <a:off x="4072400" y="2115557"/>
              <a:ext cx="2013872" cy="1202152"/>
            </a:xfrm>
            <a:custGeom>
              <a:avLst/>
              <a:gdLst>
                <a:gd name="T0" fmla="*/ 271 w 325"/>
                <a:gd name="T1" fmla="*/ 138 h 193"/>
                <a:gd name="T2" fmla="*/ 265 w 325"/>
                <a:gd name="T3" fmla="*/ 140 h 193"/>
                <a:gd name="T4" fmla="*/ 236 w 325"/>
                <a:gd name="T5" fmla="*/ 193 h 193"/>
                <a:gd name="T6" fmla="*/ 93 w 325"/>
                <a:gd name="T7" fmla="*/ 66 h 193"/>
                <a:gd name="T8" fmla="*/ 92 w 325"/>
                <a:gd name="T9" fmla="*/ 67 h 193"/>
                <a:gd name="T10" fmla="*/ 89 w 325"/>
                <a:gd name="T11" fmla="*/ 70 h 193"/>
                <a:gd name="T12" fmla="*/ 86 w 325"/>
                <a:gd name="T13" fmla="*/ 102 h 193"/>
                <a:gd name="T14" fmla="*/ 0 w 325"/>
                <a:gd name="T15" fmla="*/ 51 h 193"/>
                <a:gd name="T16" fmla="*/ 90 w 325"/>
                <a:gd name="T17" fmla="*/ 2 h 193"/>
                <a:gd name="T18" fmla="*/ 84 w 325"/>
                <a:gd name="T19" fmla="*/ 32 h 193"/>
                <a:gd name="T20" fmla="*/ 90 w 325"/>
                <a:gd name="T21" fmla="*/ 37 h 193"/>
                <a:gd name="T22" fmla="*/ 256 w 325"/>
                <a:gd name="T23" fmla="*/ 34 h 193"/>
                <a:gd name="T24" fmla="*/ 325 w 325"/>
                <a:gd name="T25" fmla="*/ 180 h 193"/>
                <a:gd name="T26" fmla="*/ 271 w 325"/>
                <a:gd name="T27" fmla="*/ 138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5" h="193">
                  <a:moveTo>
                    <a:pt x="271" y="138"/>
                  </a:moveTo>
                  <a:cubicBezTo>
                    <a:pt x="269" y="136"/>
                    <a:pt x="266" y="138"/>
                    <a:pt x="265" y="140"/>
                  </a:cubicBezTo>
                  <a:cubicBezTo>
                    <a:pt x="259" y="160"/>
                    <a:pt x="249" y="178"/>
                    <a:pt x="236" y="193"/>
                  </a:cubicBezTo>
                  <a:cubicBezTo>
                    <a:pt x="242" y="115"/>
                    <a:pt x="173" y="51"/>
                    <a:pt x="93" y="66"/>
                  </a:cubicBezTo>
                  <a:cubicBezTo>
                    <a:pt x="93" y="66"/>
                    <a:pt x="93" y="67"/>
                    <a:pt x="92" y="67"/>
                  </a:cubicBezTo>
                  <a:cubicBezTo>
                    <a:pt x="91" y="67"/>
                    <a:pt x="89" y="67"/>
                    <a:pt x="89" y="70"/>
                  </a:cubicBezTo>
                  <a:cubicBezTo>
                    <a:pt x="88" y="80"/>
                    <a:pt x="87" y="91"/>
                    <a:pt x="86" y="102"/>
                  </a:cubicBezTo>
                  <a:cubicBezTo>
                    <a:pt x="57" y="85"/>
                    <a:pt x="28" y="68"/>
                    <a:pt x="0" y="51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88" y="12"/>
                    <a:pt x="86" y="22"/>
                    <a:pt x="84" y="32"/>
                  </a:cubicBezTo>
                  <a:cubicBezTo>
                    <a:pt x="83" y="36"/>
                    <a:pt x="87" y="39"/>
                    <a:pt x="90" y="37"/>
                  </a:cubicBezTo>
                  <a:cubicBezTo>
                    <a:pt x="140" y="4"/>
                    <a:pt x="206" y="0"/>
                    <a:pt x="256" y="34"/>
                  </a:cubicBezTo>
                  <a:cubicBezTo>
                    <a:pt x="307" y="68"/>
                    <a:pt x="325" y="122"/>
                    <a:pt x="325" y="180"/>
                  </a:cubicBezTo>
                  <a:cubicBezTo>
                    <a:pt x="309" y="164"/>
                    <a:pt x="291" y="150"/>
                    <a:pt x="271" y="138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rgbClr val="E4E6EA"/>
                </a:gs>
                <a:gs pos="46000">
                  <a:schemeClr val="accent1">
                    <a:lumMod val="60000"/>
                    <a:lumOff val="40000"/>
                  </a:schemeClr>
                </a:gs>
                <a:gs pos="46100">
                  <a:srgbClr val="E4E6EA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" name="ValueShape2">
              <a:extLst>
                <a:ext uri="{FF2B5EF4-FFF2-40B4-BE49-F238E27FC236}">
                  <a16:creationId xmlns:a16="http://schemas.microsoft.com/office/drawing/2014/main" id="{E4CE8EA7-4A63-4F0C-91F2-3487EE0F9229}"/>
                </a:ext>
              </a:extLst>
            </p:cNvPr>
            <p:cNvSpPr/>
            <p:nvPr/>
          </p:nvSpPr>
          <p:spPr bwMode="auto">
            <a:xfrm rot="10765545">
              <a:off x="4286412" y="3605891"/>
              <a:ext cx="2013871" cy="1202152"/>
            </a:xfrm>
            <a:custGeom>
              <a:avLst/>
              <a:gdLst>
                <a:gd name="T0" fmla="*/ 271 w 325"/>
                <a:gd name="T1" fmla="*/ 138 h 193"/>
                <a:gd name="T2" fmla="*/ 265 w 325"/>
                <a:gd name="T3" fmla="*/ 140 h 193"/>
                <a:gd name="T4" fmla="*/ 236 w 325"/>
                <a:gd name="T5" fmla="*/ 193 h 193"/>
                <a:gd name="T6" fmla="*/ 93 w 325"/>
                <a:gd name="T7" fmla="*/ 66 h 193"/>
                <a:gd name="T8" fmla="*/ 92 w 325"/>
                <a:gd name="T9" fmla="*/ 67 h 193"/>
                <a:gd name="T10" fmla="*/ 89 w 325"/>
                <a:gd name="T11" fmla="*/ 70 h 193"/>
                <a:gd name="T12" fmla="*/ 86 w 325"/>
                <a:gd name="T13" fmla="*/ 102 h 193"/>
                <a:gd name="T14" fmla="*/ 0 w 325"/>
                <a:gd name="T15" fmla="*/ 51 h 193"/>
                <a:gd name="T16" fmla="*/ 90 w 325"/>
                <a:gd name="T17" fmla="*/ 2 h 193"/>
                <a:gd name="T18" fmla="*/ 84 w 325"/>
                <a:gd name="T19" fmla="*/ 32 h 193"/>
                <a:gd name="T20" fmla="*/ 90 w 325"/>
                <a:gd name="T21" fmla="*/ 37 h 193"/>
                <a:gd name="T22" fmla="*/ 256 w 325"/>
                <a:gd name="T23" fmla="*/ 34 h 193"/>
                <a:gd name="T24" fmla="*/ 325 w 325"/>
                <a:gd name="T25" fmla="*/ 180 h 193"/>
                <a:gd name="T26" fmla="*/ 271 w 325"/>
                <a:gd name="T27" fmla="*/ 138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5" h="193">
                  <a:moveTo>
                    <a:pt x="271" y="138"/>
                  </a:moveTo>
                  <a:cubicBezTo>
                    <a:pt x="269" y="136"/>
                    <a:pt x="266" y="138"/>
                    <a:pt x="265" y="140"/>
                  </a:cubicBezTo>
                  <a:cubicBezTo>
                    <a:pt x="259" y="160"/>
                    <a:pt x="249" y="178"/>
                    <a:pt x="236" y="193"/>
                  </a:cubicBezTo>
                  <a:cubicBezTo>
                    <a:pt x="242" y="115"/>
                    <a:pt x="173" y="51"/>
                    <a:pt x="93" y="66"/>
                  </a:cubicBezTo>
                  <a:cubicBezTo>
                    <a:pt x="93" y="66"/>
                    <a:pt x="93" y="67"/>
                    <a:pt x="92" y="67"/>
                  </a:cubicBezTo>
                  <a:cubicBezTo>
                    <a:pt x="91" y="67"/>
                    <a:pt x="89" y="67"/>
                    <a:pt x="89" y="70"/>
                  </a:cubicBezTo>
                  <a:cubicBezTo>
                    <a:pt x="88" y="80"/>
                    <a:pt x="87" y="91"/>
                    <a:pt x="86" y="102"/>
                  </a:cubicBezTo>
                  <a:cubicBezTo>
                    <a:pt x="57" y="85"/>
                    <a:pt x="28" y="68"/>
                    <a:pt x="0" y="51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88" y="12"/>
                    <a:pt x="86" y="22"/>
                    <a:pt x="84" y="32"/>
                  </a:cubicBezTo>
                  <a:cubicBezTo>
                    <a:pt x="83" y="36"/>
                    <a:pt x="87" y="39"/>
                    <a:pt x="90" y="37"/>
                  </a:cubicBezTo>
                  <a:cubicBezTo>
                    <a:pt x="140" y="4"/>
                    <a:pt x="206" y="0"/>
                    <a:pt x="256" y="34"/>
                  </a:cubicBezTo>
                  <a:cubicBezTo>
                    <a:pt x="307" y="68"/>
                    <a:pt x="325" y="122"/>
                    <a:pt x="325" y="180"/>
                  </a:cubicBezTo>
                  <a:cubicBezTo>
                    <a:pt x="309" y="164"/>
                    <a:pt x="291" y="150"/>
                    <a:pt x="271" y="138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0000"/>
                    <a:lumOff val="40000"/>
                  </a:schemeClr>
                </a:gs>
                <a:gs pos="100000">
                  <a:srgbClr val="E4E6EA"/>
                </a:gs>
                <a:gs pos="45000">
                  <a:schemeClr val="accent2">
                    <a:lumMod val="60000"/>
                    <a:lumOff val="40000"/>
                  </a:schemeClr>
                </a:gs>
                <a:gs pos="45100">
                  <a:srgbClr val="E4E6EA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" name="ValueShape3">
              <a:extLst>
                <a:ext uri="{FF2B5EF4-FFF2-40B4-BE49-F238E27FC236}">
                  <a16:creationId xmlns:a16="http://schemas.microsoft.com/office/drawing/2014/main" id="{06AD0125-F819-4CEF-BD2F-97AB5DB2570F}"/>
                </a:ext>
              </a:extLst>
            </p:cNvPr>
            <p:cNvSpPr/>
            <p:nvPr/>
          </p:nvSpPr>
          <p:spPr bwMode="auto">
            <a:xfrm rot="6140173">
              <a:off x="5992179" y="3352281"/>
              <a:ext cx="2013872" cy="1202152"/>
            </a:xfrm>
            <a:custGeom>
              <a:avLst/>
              <a:gdLst>
                <a:gd name="T0" fmla="*/ 271 w 325"/>
                <a:gd name="T1" fmla="*/ 138 h 193"/>
                <a:gd name="T2" fmla="*/ 265 w 325"/>
                <a:gd name="T3" fmla="*/ 140 h 193"/>
                <a:gd name="T4" fmla="*/ 236 w 325"/>
                <a:gd name="T5" fmla="*/ 193 h 193"/>
                <a:gd name="T6" fmla="*/ 93 w 325"/>
                <a:gd name="T7" fmla="*/ 66 h 193"/>
                <a:gd name="T8" fmla="*/ 92 w 325"/>
                <a:gd name="T9" fmla="*/ 67 h 193"/>
                <a:gd name="T10" fmla="*/ 89 w 325"/>
                <a:gd name="T11" fmla="*/ 70 h 193"/>
                <a:gd name="T12" fmla="*/ 86 w 325"/>
                <a:gd name="T13" fmla="*/ 102 h 193"/>
                <a:gd name="T14" fmla="*/ 0 w 325"/>
                <a:gd name="T15" fmla="*/ 51 h 193"/>
                <a:gd name="T16" fmla="*/ 90 w 325"/>
                <a:gd name="T17" fmla="*/ 2 h 193"/>
                <a:gd name="T18" fmla="*/ 84 w 325"/>
                <a:gd name="T19" fmla="*/ 32 h 193"/>
                <a:gd name="T20" fmla="*/ 90 w 325"/>
                <a:gd name="T21" fmla="*/ 37 h 193"/>
                <a:gd name="T22" fmla="*/ 256 w 325"/>
                <a:gd name="T23" fmla="*/ 34 h 193"/>
                <a:gd name="T24" fmla="*/ 325 w 325"/>
                <a:gd name="T25" fmla="*/ 180 h 193"/>
                <a:gd name="T26" fmla="*/ 271 w 325"/>
                <a:gd name="T27" fmla="*/ 138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5" h="193">
                  <a:moveTo>
                    <a:pt x="271" y="138"/>
                  </a:moveTo>
                  <a:cubicBezTo>
                    <a:pt x="269" y="136"/>
                    <a:pt x="266" y="138"/>
                    <a:pt x="265" y="140"/>
                  </a:cubicBezTo>
                  <a:cubicBezTo>
                    <a:pt x="259" y="160"/>
                    <a:pt x="249" y="178"/>
                    <a:pt x="236" y="193"/>
                  </a:cubicBezTo>
                  <a:cubicBezTo>
                    <a:pt x="242" y="115"/>
                    <a:pt x="173" y="51"/>
                    <a:pt x="93" y="66"/>
                  </a:cubicBezTo>
                  <a:cubicBezTo>
                    <a:pt x="93" y="66"/>
                    <a:pt x="93" y="67"/>
                    <a:pt x="92" y="67"/>
                  </a:cubicBezTo>
                  <a:cubicBezTo>
                    <a:pt x="91" y="67"/>
                    <a:pt x="89" y="67"/>
                    <a:pt x="89" y="70"/>
                  </a:cubicBezTo>
                  <a:cubicBezTo>
                    <a:pt x="88" y="80"/>
                    <a:pt x="87" y="91"/>
                    <a:pt x="86" y="102"/>
                  </a:cubicBezTo>
                  <a:cubicBezTo>
                    <a:pt x="57" y="85"/>
                    <a:pt x="28" y="68"/>
                    <a:pt x="0" y="51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88" y="12"/>
                    <a:pt x="86" y="22"/>
                    <a:pt x="84" y="32"/>
                  </a:cubicBezTo>
                  <a:cubicBezTo>
                    <a:pt x="83" y="36"/>
                    <a:pt x="87" y="39"/>
                    <a:pt x="90" y="37"/>
                  </a:cubicBezTo>
                  <a:cubicBezTo>
                    <a:pt x="140" y="4"/>
                    <a:pt x="206" y="0"/>
                    <a:pt x="256" y="34"/>
                  </a:cubicBezTo>
                  <a:cubicBezTo>
                    <a:pt x="307" y="68"/>
                    <a:pt x="325" y="122"/>
                    <a:pt x="325" y="180"/>
                  </a:cubicBezTo>
                  <a:cubicBezTo>
                    <a:pt x="309" y="164"/>
                    <a:pt x="291" y="150"/>
                    <a:pt x="271" y="138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100000">
                  <a:srgbClr val="E4E6EA"/>
                </a:gs>
                <a:gs pos="44000">
                  <a:schemeClr val="accent4">
                    <a:lumMod val="60000"/>
                    <a:lumOff val="40000"/>
                  </a:schemeClr>
                </a:gs>
                <a:gs pos="44100">
                  <a:srgbClr val="E4E6EA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" name="ValueShape4">
              <a:extLst>
                <a:ext uri="{FF2B5EF4-FFF2-40B4-BE49-F238E27FC236}">
                  <a16:creationId xmlns:a16="http://schemas.microsoft.com/office/drawing/2014/main" id="{158A4A55-E15B-4AD0-94D1-3611DE6145A7}"/>
                </a:ext>
              </a:extLst>
            </p:cNvPr>
            <p:cNvSpPr/>
            <p:nvPr/>
          </p:nvSpPr>
          <p:spPr bwMode="auto">
            <a:xfrm rot="244760">
              <a:off x="5748899" y="1861376"/>
              <a:ext cx="2013871" cy="1202152"/>
            </a:xfrm>
            <a:custGeom>
              <a:avLst/>
              <a:gdLst>
                <a:gd name="T0" fmla="*/ 271 w 325"/>
                <a:gd name="T1" fmla="*/ 138 h 193"/>
                <a:gd name="T2" fmla="*/ 265 w 325"/>
                <a:gd name="T3" fmla="*/ 140 h 193"/>
                <a:gd name="T4" fmla="*/ 236 w 325"/>
                <a:gd name="T5" fmla="*/ 193 h 193"/>
                <a:gd name="T6" fmla="*/ 93 w 325"/>
                <a:gd name="T7" fmla="*/ 66 h 193"/>
                <a:gd name="T8" fmla="*/ 92 w 325"/>
                <a:gd name="T9" fmla="*/ 67 h 193"/>
                <a:gd name="T10" fmla="*/ 89 w 325"/>
                <a:gd name="T11" fmla="*/ 70 h 193"/>
                <a:gd name="T12" fmla="*/ 86 w 325"/>
                <a:gd name="T13" fmla="*/ 102 h 193"/>
                <a:gd name="T14" fmla="*/ 0 w 325"/>
                <a:gd name="T15" fmla="*/ 51 h 193"/>
                <a:gd name="T16" fmla="*/ 90 w 325"/>
                <a:gd name="T17" fmla="*/ 2 h 193"/>
                <a:gd name="T18" fmla="*/ 84 w 325"/>
                <a:gd name="T19" fmla="*/ 32 h 193"/>
                <a:gd name="T20" fmla="*/ 90 w 325"/>
                <a:gd name="T21" fmla="*/ 37 h 193"/>
                <a:gd name="T22" fmla="*/ 256 w 325"/>
                <a:gd name="T23" fmla="*/ 34 h 193"/>
                <a:gd name="T24" fmla="*/ 325 w 325"/>
                <a:gd name="T25" fmla="*/ 180 h 193"/>
                <a:gd name="T26" fmla="*/ 271 w 325"/>
                <a:gd name="T27" fmla="*/ 138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5" h="193">
                  <a:moveTo>
                    <a:pt x="271" y="138"/>
                  </a:moveTo>
                  <a:cubicBezTo>
                    <a:pt x="269" y="136"/>
                    <a:pt x="266" y="138"/>
                    <a:pt x="265" y="140"/>
                  </a:cubicBezTo>
                  <a:cubicBezTo>
                    <a:pt x="259" y="160"/>
                    <a:pt x="249" y="178"/>
                    <a:pt x="236" y="193"/>
                  </a:cubicBezTo>
                  <a:cubicBezTo>
                    <a:pt x="242" y="115"/>
                    <a:pt x="173" y="51"/>
                    <a:pt x="93" y="66"/>
                  </a:cubicBezTo>
                  <a:cubicBezTo>
                    <a:pt x="93" y="66"/>
                    <a:pt x="93" y="67"/>
                    <a:pt x="92" y="67"/>
                  </a:cubicBezTo>
                  <a:cubicBezTo>
                    <a:pt x="91" y="67"/>
                    <a:pt x="89" y="67"/>
                    <a:pt x="89" y="70"/>
                  </a:cubicBezTo>
                  <a:cubicBezTo>
                    <a:pt x="88" y="80"/>
                    <a:pt x="87" y="91"/>
                    <a:pt x="86" y="102"/>
                  </a:cubicBezTo>
                  <a:cubicBezTo>
                    <a:pt x="57" y="85"/>
                    <a:pt x="28" y="68"/>
                    <a:pt x="0" y="51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88" y="12"/>
                    <a:pt x="86" y="22"/>
                    <a:pt x="84" y="32"/>
                  </a:cubicBezTo>
                  <a:cubicBezTo>
                    <a:pt x="83" y="36"/>
                    <a:pt x="87" y="39"/>
                    <a:pt x="90" y="37"/>
                  </a:cubicBezTo>
                  <a:cubicBezTo>
                    <a:pt x="140" y="4"/>
                    <a:pt x="206" y="0"/>
                    <a:pt x="256" y="34"/>
                  </a:cubicBezTo>
                  <a:cubicBezTo>
                    <a:pt x="307" y="68"/>
                    <a:pt x="325" y="122"/>
                    <a:pt x="325" y="180"/>
                  </a:cubicBezTo>
                  <a:cubicBezTo>
                    <a:pt x="309" y="164"/>
                    <a:pt x="291" y="150"/>
                    <a:pt x="271" y="138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60000"/>
                    <a:lumOff val="40000"/>
                  </a:schemeClr>
                </a:gs>
                <a:gs pos="100000">
                  <a:srgbClr val="E4E6EA"/>
                </a:gs>
                <a:gs pos="49000">
                  <a:schemeClr val="accent3">
                    <a:lumMod val="60000"/>
                    <a:lumOff val="40000"/>
                  </a:schemeClr>
                </a:gs>
                <a:gs pos="49100">
                  <a:srgbClr val="E4E6EA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" name="ValueBack1">
              <a:extLst>
                <a:ext uri="{FF2B5EF4-FFF2-40B4-BE49-F238E27FC236}">
                  <a16:creationId xmlns:a16="http://schemas.microsoft.com/office/drawing/2014/main" id="{2F21C853-741E-4FB7-A3EC-749CFA2BDA52}"/>
                </a:ext>
              </a:extLst>
            </p:cNvPr>
            <p:cNvSpPr/>
            <p:nvPr/>
          </p:nvSpPr>
          <p:spPr>
            <a:xfrm>
              <a:off x="3865970" y="1288722"/>
              <a:ext cx="934861" cy="934861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8" name="ValueBack2">
              <a:extLst>
                <a:ext uri="{FF2B5EF4-FFF2-40B4-BE49-F238E27FC236}">
                  <a16:creationId xmlns:a16="http://schemas.microsoft.com/office/drawing/2014/main" id="{3BF13BB7-59F2-4B3F-998C-B054419F39EE}"/>
                </a:ext>
              </a:extLst>
            </p:cNvPr>
            <p:cNvSpPr/>
            <p:nvPr/>
          </p:nvSpPr>
          <p:spPr>
            <a:xfrm>
              <a:off x="3995107" y="4634418"/>
              <a:ext cx="934861" cy="934861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9" name="ValueBack3">
              <a:extLst>
                <a:ext uri="{FF2B5EF4-FFF2-40B4-BE49-F238E27FC236}">
                  <a16:creationId xmlns:a16="http://schemas.microsoft.com/office/drawing/2014/main" id="{96574993-A6DC-4326-9BAA-A51F700CCE3A}"/>
                </a:ext>
              </a:extLst>
            </p:cNvPr>
            <p:cNvSpPr/>
            <p:nvPr/>
          </p:nvSpPr>
          <p:spPr>
            <a:xfrm>
              <a:off x="7331768" y="4386694"/>
              <a:ext cx="934861" cy="934861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10" name="ValueBack4">
              <a:extLst>
                <a:ext uri="{FF2B5EF4-FFF2-40B4-BE49-F238E27FC236}">
                  <a16:creationId xmlns:a16="http://schemas.microsoft.com/office/drawing/2014/main" id="{B775B203-8E19-4A35-8BC6-A4AD9DB92AED}"/>
                </a:ext>
              </a:extLst>
            </p:cNvPr>
            <p:cNvSpPr/>
            <p:nvPr/>
          </p:nvSpPr>
          <p:spPr>
            <a:xfrm>
              <a:off x="7391169" y="1342739"/>
              <a:ext cx="934861" cy="934861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11" name="ValueText1">
              <a:extLst>
                <a:ext uri="{FF2B5EF4-FFF2-40B4-BE49-F238E27FC236}">
                  <a16:creationId xmlns:a16="http://schemas.microsoft.com/office/drawing/2014/main" id="{C5899C29-66D1-422E-9DC1-C7B0419482C5}"/>
                </a:ext>
              </a:extLst>
            </p:cNvPr>
            <p:cNvSpPr txBox="1"/>
            <p:nvPr/>
          </p:nvSpPr>
          <p:spPr>
            <a:xfrm>
              <a:off x="4016110" y="1530656"/>
              <a:ext cx="634581" cy="450993"/>
            </a:xfrm>
            <a:prstGeom prst="rect">
              <a:avLst/>
            </a:prstGeom>
            <a:noFill/>
          </p:spPr>
          <p:txBody>
            <a:bodyPr wrap="squar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700">
                  <a:solidFill>
                    <a:schemeClr val="bg1"/>
                  </a:solidFill>
                  <a:latin typeface="+mj-lt"/>
                </a:rPr>
                <a:t>46%</a:t>
              </a:r>
              <a:endParaRPr lang="en-US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ValueText2">
              <a:extLst>
                <a:ext uri="{FF2B5EF4-FFF2-40B4-BE49-F238E27FC236}">
                  <a16:creationId xmlns:a16="http://schemas.microsoft.com/office/drawing/2014/main" id="{1202B71F-45E4-4FC4-AC79-AD72668EFD98}"/>
                </a:ext>
              </a:extLst>
            </p:cNvPr>
            <p:cNvSpPr txBox="1"/>
            <p:nvPr/>
          </p:nvSpPr>
          <p:spPr>
            <a:xfrm>
              <a:off x="7541309" y="1584673"/>
              <a:ext cx="634581" cy="450993"/>
            </a:xfrm>
            <a:prstGeom prst="rect">
              <a:avLst/>
            </a:prstGeom>
            <a:noFill/>
          </p:spPr>
          <p:txBody>
            <a:bodyPr wrap="squar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700">
                  <a:solidFill>
                    <a:schemeClr val="bg1"/>
                  </a:solidFill>
                  <a:latin typeface="+mj-lt"/>
                </a:rPr>
                <a:t>45%</a:t>
              </a:r>
              <a:endParaRPr lang="en-US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ValueText3">
              <a:extLst>
                <a:ext uri="{FF2B5EF4-FFF2-40B4-BE49-F238E27FC236}">
                  <a16:creationId xmlns:a16="http://schemas.microsoft.com/office/drawing/2014/main" id="{DE6EEB86-36DB-4CD5-8ABA-CA7F0E4BA6E3}"/>
                </a:ext>
              </a:extLst>
            </p:cNvPr>
            <p:cNvSpPr txBox="1"/>
            <p:nvPr/>
          </p:nvSpPr>
          <p:spPr>
            <a:xfrm>
              <a:off x="7481908" y="4628628"/>
              <a:ext cx="634581" cy="450993"/>
            </a:xfrm>
            <a:prstGeom prst="rect">
              <a:avLst/>
            </a:prstGeom>
            <a:noFill/>
          </p:spPr>
          <p:txBody>
            <a:bodyPr wrap="squar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700">
                  <a:solidFill>
                    <a:schemeClr val="bg1"/>
                  </a:solidFill>
                  <a:latin typeface="+mj-lt"/>
                </a:rPr>
                <a:t>44%</a:t>
              </a:r>
              <a:endParaRPr lang="en-US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ValueText4">
              <a:extLst>
                <a:ext uri="{FF2B5EF4-FFF2-40B4-BE49-F238E27FC236}">
                  <a16:creationId xmlns:a16="http://schemas.microsoft.com/office/drawing/2014/main" id="{B7CCB10F-28DF-4D0B-89A2-6FC7F3D15A44}"/>
                </a:ext>
              </a:extLst>
            </p:cNvPr>
            <p:cNvSpPr txBox="1"/>
            <p:nvPr/>
          </p:nvSpPr>
          <p:spPr>
            <a:xfrm>
              <a:off x="4145247" y="4876352"/>
              <a:ext cx="634581" cy="450993"/>
            </a:xfrm>
            <a:prstGeom prst="rect">
              <a:avLst/>
            </a:prstGeom>
            <a:noFill/>
          </p:spPr>
          <p:txBody>
            <a:bodyPr wrap="squar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altLang="zh-CN" sz="700">
                  <a:solidFill>
                    <a:schemeClr val="bg1"/>
                  </a:solidFill>
                  <a:latin typeface="+mj-lt"/>
                </a:rPr>
                <a:t>49%</a:t>
              </a:r>
              <a:endParaRPr lang="en-US" sz="7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CustomText">
              <a:extLst>
                <a:ext uri="{FF2B5EF4-FFF2-40B4-BE49-F238E27FC236}">
                  <a16:creationId xmlns:a16="http://schemas.microsoft.com/office/drawing/2014/main" id="{B3B39389-4171-4A78-AF98-01D7A8C57E0E}"/>
                </a:ext>
              </a:extLst>
            </p:cNvPr>
            <p:cNvSpPr/>
            <p:nvPr/>
          </p:nvSpPr>
          <p:spPr>
            <a:xfrm>
              <a:off x="5127195" y="2936365"/>
              <a:ext cx="1860238" cy="320052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00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600" b="1" i="0" strike="noStrike" kern="1200" cap="none" spc="0" normalizeH="0" baseline="0" noProof="0" dirty="0">
                  <a:solidFill>
                    <a:srgbClr val="ADB5BF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16" name="CustomText1">
              <a:extLst>
                <a:ext uri="{FF2B5EF4-FFF2-40B4-BE49-F238E27FC236}">
                  <a16:creationId xmlns:a16="http://schemas.microsoft.com/office/drawing/2014/main" id="{A9D9B6BC-B314-4101-89A6-6AB6FBB628DC}"/>
                </a:ext>
              </a:extLst>
            </p:cNvPr>
            <p:cNvSpPr/>
            <p:nvPr/>
          </p:nvSpPr>
          <p:spPr>
            <a:xfrm>
              <a:off x="5128731" y="3206662"/>
              <a:ext cx="1860238" cy="259214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 fontScale="77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i="0" u="none" strike="noStrike" kern="1200" cap="none" spc="0" normalizeH="0" baseline="0" noProof="0" dirty="0">
                  <a:ln>
                    <a:noFill/>
                  </a:ln>
                  <a:solidFill>
                    <a:srgbClr val="ADB5BF"/>
                  </a:solidFill>
                  <a:effectLst/>
                  <a:uLnTx/>
                  <a:uFillTx/>
                  <a:latin typeface="+mj-lt"/>
                </a:rPr>
                <a:t>Supporting text here</a:t>
              </a:r>
            </a:p>
          </p:txBody>
        </p:sp>
        <p:sp>
          <p:nvSpPr>
            <p:cNvPr id="17" name="CustomText1">
              <a:extLst>
                <a:ext uri="{FF2B5EF4-FFF2-40B4-BE49-F238E27FC236}">
                  <a16:creationId xmlns:a16="http://schemas.microsoft.com/office/drawing/2014/main" id="{62296147-EFB1-4E7C-ACCB-4BFDF1365C63}"/>
                </a:ext>
              </a:extLst>
            </p:cNvPr>
            <p:cNvSpPr/>
            <p:nvPr/>
          </p:nvSpPr>
          <p:spPr>
            <a:xfrm>
              <a:off x="5128731" y="3528170"/>
              <a:ext cx="2195551" cy="428802"/>
            </a:xfrm>
            <a:prstGeom prst="rect">
              <a:avLst/>
            </a:prstGeom>
            <a:noFill/>
          </p:spPr>
          <p:txBody>
            <a:bodyPr wrap="none" lIns="0" tIns="0" rIns="0" bIns="0">
              <a:noAutofit/>
            </a:bodyPr>
            <a:lstStyle/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100" dirty="0">
                  <a:solidFill>
                    <a:srgbClr val="C8CDD5"/>
                  </a:solidFill>
                  <a:latin typeface="+mj-lt"/>
                </a:rPr>
                <a:t>We hope that this template</a:t>
              </a:r>
              <a:endParaRPr lang="tr-TR" altLang="zh-CN" sz="1100" dirty="0">
                <a:solidFill>
                  <a:srgbClr val="C8CDD5"/>
                </a:solidFill>
                <a:latin typeface="+mj-lt"/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100" dirty="0">
                  <a:solidFill>
                    <a:srgbClr val="C8CDD5"/>
                  </a:solidFill>
                  <a:latin typeface="+mj-lt"/>
                </a:rPr>
                <a:t> will return to you as a time, money and reputation.</a:t>
              </a:r>
              <a:endParaRPr lang="en-US" altLang="zh-CN" sz="1200" dirty="0">
                <a:solidFill>
                  <a:srgbClr val="A6AFBA"/>
                </a:solidFill>
                <a:latin typeface="+mj-lt"/>
              </a:endParaRPr>
            </a:p>
          </p:txBody>
        </p:sp>
      </p:grpSp>
      <p:sp>
        <p:nvSpPr>
          <p:cNvPr id="20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22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5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2823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liḑê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/>
              <a:t>PARTNERSHIPS</a:t>
            </a:r>
            <a:endParaRPr lang="zh-CN" altLang="en-US" sz="4800" dirty="0"/>
          </a:p>
        </p:txBody>
      </p:sp>
      <p:sp>
        <p:nvSpPr>
          <p:cNvPr id="9" name="íślíd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f44eb29d-4f85-4efb-9455-b9e19d476237" descr="5xUAAB+LCAAAAAAABADNWF2PojAU/S/d2TdjaJEivumok32YnUk0+7LxgYWq3UUwBZMxE//7FoTxVj4GRhnHB2Jv74XTc08P1Vd0x100QBh10F203zL5fbaxRTTm9krYm8fAZZ6cexbBlomIsxANfr+mRQQU/bK9HUuz9jL+yH2+2W2SMBpoXU2G7BcQwloSHDOHb2xvzFc8kveWkR/hMxMO86M0MRI71kHpwMBdi+iaSdOrRjvoQQS7bbKGQyeDpgNo94EXCAAtvVWW2gOpT8sld9h8zTYsqZJTc+5HQ9+drW03W8hI8NU68lkYpoGnP3+ZE4GygSELk1sm6btwLW/+bSo/lqVpEmchaKM+aHoh6H4j0JPJmJaBNqFyIsH9VR410r6j4uo+qB4FgcdsP19+VEBRufX5Cuxr3Tf1xdeecYJGADSs1e8mxm1o0Cxr5/1Q1aACmzSArbehwlLYU6qqUIHdayxDpdxorkOlnn6+EKne7VFs6P302gNWqENsZoOO9tsQIi3uKJmMxtMp7KgC26oPm2htCLEE9phOSTlsghsLUSknzYUo6xcSIfdd+TDl/Qz354OwXS6llOYl73QpN7FXuY05FWyZwkIz5gS+W5FlxFkFcZLEbXmEYBETYTJzhgTMZkyjKffi48bQX3lZp2TXtuynzIyXdmQgCWG0OOQPJqenKwtR8N4ibQF6DL1qzl5AS84Ec6LTbE5zQlKokFxAZfz82kxWDuAKcycZqLpipRUv4ii7AqHEuGOhOLE9yi0fsijdqNm+fgvGIoIOoEx8gBK9tM/nA0gJbZ2SbO+0QMnIdv5dnxLzEnvCWi1/wqRk51itGxSpIMyCtCRLURHfLhE2qN/cqORBrDHf9Z2qNqWVA7jE3CmjclseRfe1rKqKk7P2vjMCvOi5Xy/X56Vlv2qHF3yRZ5n1PMsq2UOYtm5aehVrVGHGVEaqrdwgE3aJNDcugj9Aen3nasDrOyO4ztzfXNW71Px67lXJi1nR8dwI8tJrn5eW3euavCwO/wEj3HCH5xUAAA==">
            <a:extLst>
              <a:ext uri="{FF2B5EF4-FFF2-40B4-BE49-F238E27FC236}">
                <a16:creationId xmlns:a16="http://schemas.microsoft.com/office/drawing/2014/main" id="{669D6A53-8F31-480F-B5AC-8023B9894807}"/>
              </a:ext>
            </a:extLst>
          </p:cNvPr>
          <p:cNvGrpSpPr>
            <a:grpSpLocks noChangeAspect="1"/>
          </p:cNvGrpSpPr>
          <p:nvPr/>
        </p:nvGrpSpPr>
        <p:grpSpPr>
          <a:xfrm>
            <a:off x="1899053" y="1757611"/>
            <a:ext cx="8393894" cy="3342779"/>
            <a:chOff x="1899053" y="1757611"/>
            <a:chExt cx="8393894" cy="3342779"/>
          </a:xfrm>
        </p:grpSpPr>
        <p:sp>
          <p:nvSpPr>
            <p:cNvPr id="3" name="ExtraShape">
              <a:extLst>
                <a:ext uri="{FF2B5EF4-FFF2-40B4-BE49-F238E27FC236}">
                  <a16:creationId xmlns:a16="http://schemas.microsoft.com/office/drawing/2014/main" id="{001FB974-CBC5-4065-8208-E7406B4C8E00}"/>
                </a:ext>
              </a:extLst>
            </p:cNvPr>
            <p:cNvSpPr/>
            <p:nvPr/>
          </p:nvSpPr>
          <p:spPr bwMode="auto">
            <a:xfrm>
              <a:off x="3004277" y="2877176"/>
              <a:ext cx="407956" cy="415442"/>
            </a:xfrm>
            <a:custGeom>
              <a:avLst/>
              <a:gdLst>
                <a:gd name="T0" fmla="*/ 0 w 262"/>
                <a:gd name="T1" fmla="*/ 249 h 267"/>
                <a:gd name="T2" fmla="*/ 131 w 262"/>
                <a:gd name="T3" fmla="*/ 267 h 267"/>
                <a:gd name="T4" fmla="*/ 262 w 262"/>
                <a:gd name="T5" fmla="*/ 249 h 267"/>
                <a:gd name="T6" fmla="*/ 131 w 262"/>
                <a:gd name="T7" fmla="*/ 0 h 267"/>
                <a:gd name="T8" fmla="*/ 0 w 262"/>
                <a:gd name="T9" fmla="*/ 249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67">
                  <a:moveTo>
                    <a:pt x="0" y="249"/>
                  </a:moveTo>
                  <a:cubicBezTo>
                    <a:pt x="42" y="260"/>
                    <a:pt x="86" y="267"/>
                    <a:pt x="131" y="267"/>
                  </a:cubicBezTo>
                  <a:cubicBezTo>
                    <a:pt x="176" y="267"/>
                    <a:pt x="220" y="260"/>
                    <a:pt x="262" y="249"/>
                  </a:cubicBezTo>
                  <a:cubicBezTo>
                    <a:pt x="244" y="153"/>
                    <a:pt x="197" y="67"/>
                    <a:pt x="131" y="0"/>
                  </a:cubicBezTo>
                  <a:cubicBezTo>
                    <a:pt x="65" y="67"/>
                    <a:pt x="19" y="153"/>
                    <a:pt x="0" y="249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" name="ValueBack1">
              <a:extLst>
                <a:ext uri="{FF2B5EF4-FFF2-40B4-BE49-F238E27FC236}">
                  <a16:creationId xmlns:a16="http://schemas.microsoft.com/office/drawing/2014/main" id="{7657050B-AD46-4FA6-9146-5614D865D281}"/>
                </a:ext>
              </a:extLst>
            </p:cNvPr>
            <p:cNvSpPr/>
            <p:nvPr/>
          </p:nvSpPr>
          <p:spPr bwMode="auto">
            <a:xfrm>
              <a:off x="1923754" y="2673080"/>
              <a:ext cx="1502328" cy="1471637"/>
            </a:xfrm>
            <a:custGeom>
              <a:avLst/>
              <a:gdLst>
                <a:gd name="connsiteX0" fmla="*/ 1081403 w 1502328"/>
                <a:gd name="connsiteY0" fmla="*/ 580871 h 1471637"/>
                <a:gd name="connsiteX1" fmla="*/ 1284876 w 1502328"/>
                <a:gd name="connsiteY1" fmla="*/ 608853 h 1471637"/>
                <a:gd name="connsiteX2" fmla="*/ 1488349 w 1502328"/>
                <a:gd name="connsiteY2" fmla="*/ 580871 h 1471637"/>
                <a:gd name="connsiteX3" fmla="*/ 1502328 w 1502328"/>
                <a:gd name="connsiteY3" fmla="*/ 720779 h 1471637"/>
                <a:gd name="connsiteX4" fmla="*/ 1284876 w 1502328"/>
                <a:gd name="connsiteY4" fmla="*/ 1249321 h 1471637"/>
                <a:gd name="connsiteX5" fmla="*/ 1067424 w 1502328"/>
                <a:gd name="connsiteY5" fmla="*/ 720779 h 1471637"/>
                <a:gd name="connsiteX6" fmla="*/ 1081403 w 1502328"/>
                <a:gd name="connsiteY6" fmla="*/ 580871 h 1471637"/>
                <a:gd name="connsiteX7" fmla="*/ 547390 w 1502328"/>
                <a:gd name="connsiteY7" fmla="*/ 0 h 1471637"/>
                <a:gd name="connsiteX8" fmla="*/ 1080785 w 1502328"/>
                <a:gd name="connsiteY8" fmla="*/ 581196 h 1471637"/>
                <a:gd name="connsiteX9" fmla="*/ 1066789 w 1502328"/>
                <a:gd name="connsiteY9" fmla="*/ 721056 h 1471637"/>
                <a:gd name="connsiteX10" fmla="*/ 1284501 w 1502328"/>
                <a:gd name="connsiteY10" fmla="*/ 1249415 h 1471637"/>
                <a:gd name="connsiteX11" fmla="*/ 751107 w 1502328"/>
                <a:gd name="connsiteY11" fmla="*/ 1471637 h 1471637"/>
                <a:gd name="connsiteX12" fmla="*/ 0 w 1502328"/>
                <a:gd name="connsiteY12" fmla="*/ 721056 h 1471637"/>
                <a:gd name="connsiteX13" fmla="*/ 547390 w 1502328"/>
                <a:gd name="connsiteY13" fmla="*/ 0 h 14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2328" h="1471637">
                  <a:moveTo>
                    <a:pt x="1081403" y="580871"/>
                  </a:moveTo>
                  <a:cubicBezTo>
                    <a:pt x="1146639" y="597971"/>
                    <a:pt x="1214981" y="608853"/>
                    <a:pt x="1284876" y="608853"/>
                  </a:cubicBezTo>
                  <a:cubicBezTo>
                    <a:pt x="1354771" y="608853"/>
                    <a:pt x="1423113" y="597971"/>
                    <a:pt x="1488349" y="580871"/>
                  </a:cubicBezTo>
                  <a:cubicBezTo>
                    <a:pt x="1496115" y="625953"/>
                    <a:pt x="1502328" y="672589"/>
                    <a:pt x="1502328" y="720779"/>
                  </a:cubicBezTo>
                  <a:cubicBezTo>
                    <a:pt x="1502328" y="927532"/>
                    <a:pt x="1418454" y="1112522"/>
                    <a:pt x="1284876" y="1249321"/>
                  </a:cubicBezTo>
                  <a:cubicBezTo>
                    <a:pt x="1151298" y="1112522"/>
                    <a:pt x="1067424" y="927532"/>
                    <a:pt x="1067424" y="720779"/>
                  </a:cubicBezTo>
                  <a:cubicBezTo>
                    <a:pt x="1067424" y="672589"/>
                    <a:pt x="1073637" y="625953"/>
                    <a:pt x="1081403" y="580871"/>
                  </a:cubicBezTo>
                  <a:close/>
                  <a:moveTo>
                    <a:pt x="547390" y="0"/>
                  </a:moveTo>
                  <a:cubicBezTo>
                    <a:pt x="601818" y="279720"/>
                    <a:pt x="810200" y="505050"/>
                    <a:pt x="1080785" y="581196"/>
                  </a:cubicBezTo>
                  <a:cubicBezTo>
                    <a:pt x="1073009" y="626262"/>
                    <a:pt x="1066789" y="672882"/>
                    <a:pt x="1066789" y="721056"/>
                  </a:cubicBezTo>
                  <a:cubicBezTo>
                    <a:pt x="1066789" y="927738"/>
                    <a:pt x="1150764" y="1112663"/>
                    <a:pt x="1284501" y="1249415"/>
                  </a:cubicBezTo>
                  <a:cubicBezTo>
                    <a:pt x="1149209" y="1386167"/>
                    <a:pt x="959488" y="1471637"/>
                    <a:pt x="751107" y="1471637"/>
                  </a:cubicBezTo>
                  <a:cubicBezTo>
                    <a:pt x="335899" y="1471637"/>
                    <a:pt x="0" y="1135973"/>
                    <a:pt x="0" y="721056"/>
                  </a:cubicBezTo>
                  <a:cubicBezTo>
                    <a:pt x="0" y="377622"/>
                    <a:pt x="231708" y="88578"/>
                    <a:pt x="547390" y="0"/>
                  </a:cubicBez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" name="ValueBack2">
              <a:extLst>
                <a:ext uri="{FF2B5EF4-FFF2-40B4-BE49-F238E27FC236}">
                  <a16:creationId xmlns:a16="http://schemas.microsoft.com/office/drawing/2014/main" id="{A2A15376-B821-4078-BDE3-331F8843F4C4}"/>
                </a:ext>
              </a:extLst>
            </p:cNvPr>
            <p:cNvSpPr/>
            <p:nvPr/>
          </p:nvSpPr>
          <p:spPr bwMode="auto">
            <a:xfrm>
              <a:off x="2458964" y="1782313"/>
              <a:ext cx="1500831" cy="1471637"/>
            </a:xfrm>
            <a:custGeom>
              <a:avLst/>
              <a:gdLst>
                <a:gd name="connsiteX0" fmla="*/ 216292 w 1500831"/>
                <a:gd name="connsiteY0" fmla="*/ 863071 h 1471637"/>
                <a:gd name="connsiteX1" fmla="*/ 749293 w 1500831"/>
                <a:gd name="connsiteY1" fmla="*/ 1085074 h 1471637"/>
                <a:gd name="connsiteX2" fmla="*/ 545727 w 1500831"/>
                <a:gd name="connsiteY2" fmla="*/ 1471637 h 1471637"/>
                <a:gd name="connsiteX3" fmla="*/ 12726 w 1500831"/>
                <a:gd name="connsiteY3" fmla="*/ 891015 h 1471637"/>
                <a:gd name="connsiteX4" fmla="*/ 216292 w 1500831"/>
                <a:gd name="connsiteY4" fmla="*/ 863071 h 1471637"/>
                <a:gd name="connsiteX5" fmla="*/ 749638 w 1500831"/>
                <a:gd name="connsiteY5" fmla="*/ 0 h 1471637"/>
                <a:gd name="connsiteX6" fmla="*/ 1500831 w 1500831"/>
                <a:gd name="connsiteY6" fmla="*/ 750546 h 1471637"/>
                <a:gd name="connsiteX7" fmla="*/ 1486834 w 1500831"/>
                <a:gd name="connsiteY7" fmla="*/ 890399 h 1471637"/>
                <a:gd name="connsiteX8" fmla="*/ 1283094 w 1500831"/>
                <a:gd name="connsiteY8" fmla="*/ 862428 h 1471637"/>
                <a:gd name="connsiteX9" fmla="*/ 749638 w 1500831"/>
                <a:gd name="connsiteY9" fmla="*/ 1084640 h 1471637"/>
                <a:gd name="connsiteX10" fmla="*/ 216182 w 1500831"/>
                <a:gd name="connsiteY10" fmla="*/ 862428 h 1471637"/>
                <a:gd name="connsiteX11" fmla="*/ 12442 w 1500831"/>
                <a:gd name="connsiteY11" fmla="*/ 890399 h 1471637"/>
                <a:gd name="connsiteX12" fmla="*/ 0 w 1500831"/>
                <a:gd name="connsiteY12" fmla="*/ 750546 h 1471637"/>
                <a:gd name="connsiteX13" fmla="*/ 749638 w 1500831"/>
                <a:gd name="connsiteY13" fmla="*/ 0 h 14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0831" h="1471637">
                  <a:moveTo>
                    <a:pt x="216292" y="863071"/>
                  </a:moveTo>
                  <a:cubicBezTo>
                    <a:pt x="424520" y="863071"/>
                    <a:pt x="614100" y="948457"/>
                    <a:pt x="749293" y="1085074"/>
                  </a:cubicBezTo>
                  <a:cubicBezTo>
                    <a:pt x="646733" y="1189089"/>
                    <a:pt x="575252" y="1322601"/>
                    <a:pt x="545727" y="1471637"/>
                  </a:cubicBezTo>
                  <a:cubicBezTo>
                    <a:pt x="275342" y="1395566"/>
                    <a:pt x="67114" y="1170459"/>
                    <a:pt x="12726" y="891015"/>
                  </a:cubicBezTo>
                  <a:cubicBezTo>
                    <a:pt x="77992" y="873938"/>
                    <a:pt x="146365" y="863071"/>
                    <a:pt x="216292" y="863071"/>
                  </a:cubicBezTo>
                  <a:close/>
                  <a:moveTo>
                    <a:pt x="749638" y="0"/>
                  </a:moveTo>
                  <a:cubicBezTo>
                    <a:pt x="1164894" y="0"/>
                    <a:pt x="1500831" y="335648"/>
                    <a:pt x="1500831" y="750546"/>
                  </a:cubicBezTo>
                  <a:cubicBezTo>
                    <a:pt x="1500831" y="798718"/>
                    <a:pt x="1494610" y="845335"/>
                    <a:pt x="1486834" y="890399"/>
                  </a:cubicBezTo>
                  <a:cubicBezTo>
                    <a:pt x="1421513" y="873306"/>
                    <a:pt x="1353081" y="862428"/>
                    <a:pt x="1283094" y="862428"/>
                  </a:cubicBezTo>
                  <a:cubicBezTo>
                    <a:pt x="1074688" y="862428"/>
                    <a:pt x="884946" y="947895"/>
                    <a:pt x="749638" y="1084640"/>
                  </a:cubicBezTo>
                  <a:cubicBezTo>
                    <a:pt x="614330" y="947895"/>
                    <a:pt x="424588" y="862428"/>
                    <a:pt x="216182" y="862428"/>
                  </a:cubicBezTo>
                  <a:cubicBezTo>
                    <a:pt x="146195" y="862428"/>
                    <a:pt x="77763" y="873306"/>
                    <a:pt x="12442" y="890399"/>
                  </a:cubicBezTo>
                  <a:cubicBezTo>
                    <a:pt x="4666" y="845335"/>
                    <a:pt x="0" y="798718"/>
                    <a:pt x="0" y="750546"/>
                  </a:cubicBezTo>
                  <a:cubicBezTo>
                    <a:pt x="0" y="335648"/>
                    <a:pt x="335937" y="0"/>
                    <a:pt x="749638" y="0"/>
                  </a:cubicBez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" name="ValueBack3">
              <a:extLst>
                <a:ext uri="{FF2B5EF4-FFF2-40B4-BE49-F238E27FC236}">
                  <a16:creationId xmlns:a16="http://schemas.microsoft.com/office/drawing/2014/main" id="{ABAF71BA-3070-4C7A-9E02-BB51BEE7DBF1}"/>
                </a:ext>
              </a:extLst>
            </p:cNvPr>
            <p:cNvSpPr/>
            <p:nvPr/>
          </p:nvSpPr>
          <p:spPr bwMode="auto">
            <a:xfrm>
              <a:off x="3208256" y="2645384"/>
              <a:ext cx="1285250" cy="1499333"/>
            </a:xfrm>
            <a:custGeom>
              <a:avLst/>
              <a:gdLst>
                <a:gd name="connsiteX0" fmla="*/ 737541 w 1285250"/>
                <a:gd name="connsiteY0" fmla="*/ 27696 h 1499333"/>
                <a:gd name="connsiteX1" fmla="*/ 1285250 w 1285250"/>
                <a:gd name="connsiteY1" fmla="*/ 748752 h 1499333"/>
                <a:gd name="connsiteX2" fmla="*/ 533706 w 1285250"/>
                <a:gd name="connsiteY2" fmla="*/ 1499333 h 1499333"/>
                <a:gd name="connsiteX3" fmla="*/ 0 w 1285250"/>
                <a:gd name="connsiteY3" fmla="*/ 1277111 h 1499333"/>
                <a:gd name="connsiteX4" fmla="*/ 217839 w 1285250"/>
                <a:gd name="connsiteY4" fmla="*/ 748752 h 1499333"/>
                <a:gd name="connsiteX5" fmla="*/ 203835 w 1285250"/>
                <a:gd name="connsiteY5" fmla="*/ 608892 h 1499333"/>
                <a:gd name="connsiteX6" fmla="*/ 737541 w 1285250"/>
                <a:gd name="connsiteY6" fmla="*/ 27696 h 1499333"/>
                <a:gd name="connsiteX7" fmla="*/ 533543 w 1285250"/>
                <a:gd name="connsiteY7" fmla="*/ 0 h 1499333"/>
                <a:gd name="connsiteX8" fmla="*/ 737316 w 1285250"/>
                <a:gd name="connsiteY8" fmla="*/ 27944 h 1499333"/>
                <a:gd name="connsiteX9" fmla="*/ 203773 w 1285250"/>
                <a:gd name="connsiteY9" fmla="*/ 608566 h 1499333"/>
                <a:gd name="connsiteX10" fmla="*/ 0 w 1285250"/>
                <a:gd name="connsiteY10" fmla="*/ 222003 h 1499333"/>
                <a:gd name="connsiteX11" fmla="*/ 533543 w 1285250"/>
                <a:gd name="connsiteY11" fmla="*/ 0 h 1499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85250" h="1499333">
                  <a:moveTo>
                    <a:pt x="737541" y="27696"/>
                  </a:moveTo>
                  <a:cubicBezTo>
                    <a:pt x="1053407" y="116274"/>
                    <a:pt x="1285250" y="405318"/>
                    <a:pt x="1285250" y="748752"/>
                  </a:cubicBezTo>
                  <a:cubicBezTo>
                    <a:pt x="1285250" y="1163669"/>
                    <a:pt x="949156" y="1499333"/>
                    <a:pt x="533706" y="1499333"/>
                  </a:cubicBezTo>
                  <a:cubicBezTo>
                    <a:pt x="325203" y="1499333"/>
                    <a:pt x="135372" y="1413863"/>
                    <a:pt x="0" y="1277111"/>
                  </a:cubicBezTo>
                  <a:cubicBezTo>
                    <a:pt x="133816" y="1140359"/>
                    <a:pt x="217839" y="955434"/>
                    <a:pt x="217839" y="748752"/>
                  </a:cubicBezTo>
                  <a:cubicBezTo>
                    <a:pt x="217839" y="700578"/>
                    <a:pt x="211615" y="653958"/>
                    <a:pt x="203835" y="608892"/>
                  </a:cubicBezTo>
                  <a:cubicBezTo>
                    <a:pt x="474578" y="532746"/>
                    <a:pt x="684637" y="307416"/>
                    <a:pt x="737541" y="27696"/>
                  </a:cubicBezTo>
                  <a:close/>
                  <a:moveTo>
                    <a:pt x="533543" y="0"/>
                  </a:moveTo>
                  <a:cubicBezTo>
                    <a:pt x="603542" y="0"/>
                    <a:pt x="671984" y="10867"/>
                    <a:pt x="737316" y="27944"/>
                  </a:cubicBezTo>
                  <a:cubicBezTo>
                    <a:pt x="684429" y="307388"/>
                    <a:pt x="474433" y="532495"/>
                    <a:pt x="203773" y="608566"/>
                  </a:cubicBezTo>
                  <a:cubicBezTo>
                    <a:pt x="175774" y="459530"/>
                    <a:pt x="102664" y="326018"/>
                    <a:pt x="0" y="222003"/>
                  </a:cubicBezTo>
                  <a:cubicBezTo>
                    <a:pt x="135330" y="85386"/>
                    <a:pt x="325104" y="0"/>
                    <a:pt x="533543" y="0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" name="ExtraShape1">
              <a:extLst>
                <a:ext uri="{FF2B5EF4-FFF2-40B4-BE49-F238E27FC236}">
                  <a16:creationId xmlns:a16="http://schemas.microsoft.com/office/drawing/2014/main" id="{66DB184D-5A7B-4F8B-B077-9461F24FFA73}"/>
                </a:ext>
              </a:extLst>
            </p:cNvPr>
            <p:cNvSpPr/>
            <p:nvPr/>
          </p:nvSpPr>
          <p:spPr bwMode="auto">
            <a:xfrm>
              <a:off x="2434262" y="1757611"/>
              <a:ext cx="1550235" cy="1134792"/>
            </a:xfrm>
            <a:custGeom>
              <a:avLst/>
              <a:gdLst>
                <a:gd name="T0" fmla="*/ 498 w 997"/>
                <a:gd name="T1" fmla="*/ 730 h 730"/>
                <a:gd name="T2" fmla="*/ 487 w 997"/>
                <a:gd name="T3" fmla="*/ 725 h 730"/>
                <a:gd name="T4" fmla="*/ 29 w 997"/>
                <a:gd name="T5" fmla="*/ 605 h 730"/>
                <a:gd name="T6" fmla="*/ 16 w 997"/>
                <a:gd name="T7" fmla="*/ 603 h 730"/>
                <a:gd name="T8" fmla="*/ 9 w 997"/>
                <a:gd name="T9" fmla="*/ 592 h 730"/>
                <a:gd name="T10" fmla="*/ 0 w 997"/>
                <a:gd name="T11" fmla="*/ 499 h 730"/>
                <a:gd name="T12" fmla="*/ 498 w 997"/>
                <a:gd name="T13" fmla="*/ 0 h 730"/>
                <a:gd name="T14" fmla="*/ 997 w 997"/>
                <a:gd name="T15" fmla="*/ 499 h 730"/>
                <a:gd name="T16" fmla="*/ 988 w 997"/>
                <a:gd name="T17" fmla="*/ 592 h 730"/>
                <a:gd name="T18" fmla="*/ 980 w 997"/>
                <a:gd name="T19" fmla="*/ 603 h 730"/>
                <a:gd name="T20" fmla="*/ 968 w 997"/>
                <a:gd name="T21" fmla="*/ 605 h 730"/>
                <a:gd name="T22" fmla="*/ 509 w 997"/>
                <a:gd name="T23" fmla="*/ 725 h 730"/>
                <a:gd name="T24" fmla="*/ 498 w 997"/>
                <a:gd name="T25" fmla="*/ 730 h 730"/>
                <a:gd name="T26" fmla="*/ 155 w 997"/>
                <a:gd name="T27" fmla="*/ 555 h 730"/>
                <a:gd name="T28" fmla="*/ 498 w 997"/>
                <a:gd name="T29" fmla="*/ 692 h 730"/>
                <a:gd name="T30" fmla="*/ 959 w 997"/>
                <a:gd name="T31" fmla="*/ 569 h 730"/>
                <a:gd name="T32" fmla="*/ 965 w 997"/>
                <a:gd name="T33" fmla="*/ 499 h 730"/>
                <a:gd name="T34" fmla="*/ 498 w 997"/>
                <a:gd name="T35" fmla="*/ 32 h 730"/>
                <a:gd name="T36" fmla="*/ 32 w 997"/>
                <a:gd name="T37" fmla="*/ 499 h 730"/>
                <a:gd name="T38" fmla="*/ 37 w 997"/>
                <a:gd name="T39" fmla="*/ 569 h 730"/>
                <a:gd name="T40" fmla="*/ 155 w 997"/>
                <a:gd name="T41" fmla="*/ 555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97" h="730">
                  <a:moveTo>
                    <a:pt x="498" y="730"/>
                  </a:moveTo>
                  <a:cubicBezTo>
                    <a:pt x="494" y="730"/>
                    <a:pt x="490" y="728"/>
                    <a:pt x="487" y="725"/>
                  </a:cubicBezTo>
                  <a:cubicBezTo>
                    <a:pt x="369" y="606"/>
                    <a:pt x="197" y="557"/>
                    <a:pt x="29" y="605"/>
                  </a:cubicBezTo>
                  <a:cubicBezTo>
                    <a:pt x="24" y="606"/>
                    <a:pt x="20" y="605"/>
                    <a:pt x="16" y="603"/>
                  </a:cubicBezTo>
                  <a:cubicBezTo>
                    <a:pt x="12" y="601"/>
                    <a:pt x="10" y="597"/>
                    <a:pt x="9" y="592"/>
                  </a:cubicBezTo>
                  <a:cubicBezTo>
                    <a:pt x="3" y="561"/>
                    <a:pt x="0" y="529"/>
                    <a:pt x="0" y="499"/>
                  </a:cubicBezTo>
                  <a:cubicBezTo>
                    <a:pt x="0" y="224"/>
                    <a:pt x="223" y="0"/>
                    <a:pt x="498" y="0"/>
                  </a:cubicBezTo>
                  <a:cubicBezTo>
                    <a:pt x="773" y="0"/>
                    <a:pt x="997" y="224"/>
                    <a:pt x="997" y="499"/>
                  </a:cubicBezTo>
                  <a:cubicBezTo>
                    <a:pt x="997" y="529"/>
                    <a:pt x="994" y="561"/>
                    <a:pt x="988" y="592"/>
                  </a:cubicBezTo>
                  <a:cubicBezTo>
                    <a:pt x="987" y="597"/>
                    <a:pt x="984" y="601"/>
                    <a:pt x="980" y="603"/>
                  </a:cubicBezTo>
                  <a:cubicBezTo>
                    <a:pt x="977" y="605"/>
                    <a:pt x="972" y="606"/>
                    <a:pt x="968" y="605"/>
                  </a:cubicBezTo>
                  <a:cubicBezTo>
                    <a:pt x="800" y="557"/>
                    <a:pt x="627" y="606"/>
                    <a:pt x="509" y="725"/>
                  </a:cubicBezTo>
                  <a:cubicBezTo>
                    <a:pt x="506" y="728"/>
                    <a:pt x="502" y="730"/>
                    <a:pt x="498" y="730"/>
                  </a:cubicBezTo>
                  <a:close/>
                  <a:moveTo>
                    <a:pt x="155" y="555"/>
                  </a:moveTo>
                  <a:cubicBezTo>
                    <a:pt x="284" y="555"/>
                    <a:pt x="405" y="603"/>
                    <a:pt x="498" y="692"/>
                  </a:cubicBezTo>
                  <a:cubicBezTo>
                    <a:pt x="619" y="576"/>
                    <a:pt x="791" y="528"/>
                    <a:pt x="959" y="569"/>
                  </a:cubicBezTo>
                  <a:cubicBezTo>
                    <a:pt x="963" y="546"/>
                    <a:pt x="965" y="522"/>
                    <a:pt x="965" y="499"/>
                  </a:cubicBezTo>
                  <a:cubicBezTo>
                    <a:pt x="965" y="241"/>
                    <a:pt x="755" y="32"/>
                    <a:pt x="498" y="32"/>
                  </a:cubicBezTo>
                  <a:cubicBezTo>
                    <a:pt x="241" y="32"/>
                    <a:pt x="32" y="241"/>
                    <a:pt x="32" y="499"/>
                  </a:cubicBezTo>
                  <a:cubicBezTo>
                    <a:pt x="32" y="522"/>
                    <a:pt x="33" y="545"/>
                    <a:pt x="37" y="569"/>
                  </a:cubicBezTo>
                  <a:cubicBezTo>
                    <a:pt x="76" y="560"/>
                    <a:pt x="116" y="555"/>
                    <a:pt x="155" y="55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" name="ExtraShape2">
              <a:extLst>
                <a:ext uri="{FF2B5EF4-FFF2-40B4-BE49-F238E27FC236}">
                  <a16:creationId xmlns:a16="http://schemas.microsoft.com/office/drawing/2014/main" id="{1B49A4B3-1F95-4935-80D3-A423BCDC4889}"/>
                </a:ext>
              </a:extLst>
            </p:cNvPr>
            <p:cNvSpPr/>
            <p:nvPr/>
          </p:nvSpPr>
          <p:spPr bwMode="auto">
            <a:xfrm>
              <a:off x="1899053" y="2648378"/>
              <a:ext cx="1337648" cy="1521041"/>
            </a:xfrm>
            <a:custGeom>
              <a:avLst/>
              <a:gdLst>
                <a:gd name="T0" fmla="*/ 499 w 860"/>
                <a:gd name="T1" fmla="*/ 979 h 979"/>
                <a:gd name="T2" fmla="*/ 0 w 860"/>
                <a:gd name="T3" fmla="*/ 480 h 979"/>
                <a:gd name="T4" fmla="*/ 364 w 860"/>
                <a:gd name="T5" fmla="*/ 1 h 979"/>
                <a:gd name="T6" fmla="*/ 377 w 860"/>
                <a:gd name="T7" fmla="*/ 3 h 979"/>
                <a:gd name="T8" fmla="*/ 384 w 860"/>
                <a:gd name="T9" fmla="*/ 13 h 979"/>
                <a:gd name="T10" fmla="*/ 716 w 860"/>
                <a:gd name="T11" fmla="*/ 374 h 979"/>
                <a:gd name="T12" fmla="*/ 727 w 860"/>
                <a:gd name="T13" fmla="*/ 393 h 979"/>
                <a:gd name="T14" fmla="*/ 718 w 860"/>
                <a:gd name="T15" fmla="*/ 480 h 979"/>
                <a:gd name="T16" fmla="*/ 853 w 860"/>
                <a:gd name="T17" fmla="*/ 808 h 979"/>
                <a:gd name="T18" fmla="*/ 853 w 860"/>
                <a:gd name="T19" fmla="*/ 831 h 979"/>
                <a:gd name="T20" fmla="*/ 499 w 860"/>
                <a:gd name="T21" fmla="*/ 979 h 979"/>
                <a:gd name="T22" fmla="*/ 356 w 860"/>
                <a:gd name="T23" fmla="*/ 37 h 979"/>
                <a:gd name="T24" fmla="*/ 32 w 860"/>
                <a:gd name="T25" fmla="*/ 480 h 979"/>
                <a:gd name="T26" fmla="*/ 499 w 860"/>
                <a:gd name="T27" fmla="*/ 947 h 979"/>
                <a:gd name="T28" fmla="*/ 820 w 860"/>
                <a:gd name="T29" fmla="*/ 819 h 979"/>
                <a:gd name="T30" fmla="*/ 686 w 860"/>
                <a:gd name="T31" fmla="*/ 480 h 979"/>
                <a:gd name="T32" fmla="*/ 693 w 860"/>
                <a:gd name="T33" fmla="*/ 401 h 979"/>
                <a:gd name="T34" fmla="*/ 356 w 860"/>
                <a:gd name="T35" fmla="*/ 37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0" h="979">
                  <a:moveTo>
                    <a:pt x="499" y="979"/>
                  </a:moveTo>
                  <a:cubicBezTo>
                    <a:pt x="224" y="979"/>
                    <a:pt x="0" y="755"/>
                    <a:pt x="0" y="480"/>
                  </a:cubicBezTo>
                  <a:cubicBezTo>
                    <a:pt x="0" y="258"/>
                    <a:pt x="150" y="61"/>
                    <a:pt x="364" y="1"/>
                  </a:cubicBezTo>
                  <a:cubicBezTo>
                    <a:pt x="368" y="0"/>
                    <a:pt x="373" y="0"/>
                    <a:pt x="377" y="3"/>
                  </a:cubicBezTo>
                  <a:cubicBezTo>
                    <a:pt x="381" y="5"/>
                    <a:pt x="383" y="9"/>
                    <a:pt x="384" y="13"/>
                  </a:cubicBezTo>
                  <a:cubicBezTo>
                    <a:pt x="417" y="185"/>
                    <a:pt x="547" y="327"/>
                    <a:pt x="716" y="374"/>
                  </a:cubicBezTo>
                  <a:cubicBezTo>
                    <a:pt x="724" y="377"/>
                    <a:pt x="728" y="385"/>
                    <a:pt x="727" y="393"/>
                  </a:cubicBezTo>
                  <a:cubicBezTo>
                    <a:pt x="721" y="422"/>
                    <a:pt x="718" y="452"/>
                    <a:pt x="718" y="480"/>
                  </a:cubicBezTo>
                  <a:cubicBezTo>
                    <a:pt x="718" y="604"/>
                    <a:pt x="766" y="720"/>
                    <a:pt x="853" y="808"/>
                  </a:cubicBezTo>
                  <a:cubicBezTo>
                    <a:pt x="860" y="815"/>
                    <a:pt x="860" y="825"/>
                    <a:pt x="853" y="831"/>
                  </a:cubicBezTo>
                  <a:cubicBezTo>
                    <a:pt x="759" y="926"/>
                    <a:pt x="633" y="979"/>
                    <a:pt x="499" y="979"/>
                  </a:cubicBezTo>
                  <a:close/>
                  <a:moveTo>
                    <a:pt x="356" y="37"/>
                  </a:moveTo>
                  <a:cubicBezTo>
                    <a:pt x="165" y="98"/>
                    <a:pt x="32" y="278"/>
                    <a:pt x="32" y="480"/>
                  </a:cubicBezTo>
                  <a:cubicBezTo>
                    <a:pt x="32" y="738"/>
                    <a:pt x="242" y="947"/>
                    <a:pt x="499" y="947"/>
                  </a:cubicBezTo>
                  <a:cubicBezTo>
                    <a:pt x="619" y="947"/>
                    <a:pt x="732" y="902"/>
                    <a:pt x="820" y="819"/>
                  </a:cubicBezTo>
                  <a:cubicBezTo>
                    <a:pt x="734" y="727"/>
                    <a:pt x="686" y="607"/>
                    <a:pt x="686" y="480"/>
                  </a:cubicBezTo>
                  <a:cubicBezTo>
                    <a:pt x="686" y="454"/>
                    <a:pt x="689" y="428"/>
                    <a:pt x="693" y="401"/>
                  </a:cubicBezTo>
                  <a:cubicBezTo>
                    <a:pt x="525" y="348"/>
                    <a:pt x="395" y="208"/>
                    <a:pt x="356" y="3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" name="ExtraShape3">
              <a:extLst>
                <a:ext uri="{FF2B5EF4-FFF2-40B4-BE49-F238E27FC236}">
                  <a16:creationId xmlns:a16="http://schemas.microsoft.com/office/drawing/2014/main" id="{8D1B83D3-880C-488F-AE90-9499DF102225}"/>
                </a:ext>
              </a:extLst>
            </p:cNvPr>
            <p:cNvSpPr/>
            <p:nvPr/>
          </p:nvSpPr>
          <p:spPr bwMode="auto">
            <a:xfrm>
              <a:off x="2444742" y="2570530"/>
              <a:ext cx="791959" cy="708871"/>
            </a:xfrm>
            <a:custGeom>
              <a:avLst/>
              <a:gdLst>
                <a:gd name="T0" fmla="*/ 360 w 509"/>
                <a:gd name="T1" fmla="*/ 456 h 456"/>
                <a:gd name="T2" fmla="*/ 356 w 509"/>
                <a:gd name="T3" fmla="*/ 455 h 456"/>
                <a:gd name="T4" fmla="*/ 2 w 509"/>
                <a:gd name="T5" fmla="*/ 69 h 456"/>
                <a:gd name="T6" fmla="*/ 13 w 509"/>
                <a:gd name="T7" fmla="*/ 51 h 456"/>
                <a:gd name="T8" fmla="*/ 502 w 509"/>
                <a:gd name="T9" fmla="*/ 180 h 456"/>
                <a:gd name="T10" fmla="*/ 502 w 509"/>
                <a:gd name="T11" fmla="*/ 202 h 456"/>
                <a:gd name="T12" fmla="*/ 376 w 509"/>
                <a:gd name="T13" fmla="*/ 443 h 456"/>
                <a:gd name="T14" fmla="*/ 369 w 509"/>
                <a:gd name="T15" fmla="*/ 453 h 456"/>
                <a:gd name="T16" fmla="*/ 360 w 509"/>
                <a:gd name="T17" fmla="*/ 456 h 456"/>
                <a:gd name="T18" fmla="*/ 36 w 509"/>
                <a:gd name="T19" fmla="*/ 78 h 456"/>
                <a:gd name="T20" fmla="*/ 348 w 509"/>
                <a:gd name="T21" fmla="*/ 419 h 456"/>
                <a:gd name="T22" fmla="*/ 469 w 509"/>
                <a:gd name="T23" fmla="*/ 191 h 456"/>
                <a:gd name="T24" fmla="*/ 36 w 509"/>
                <a:gd name="T25" fmla="*/ 78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456">
                  <a:moveTo>
                    <a:pt x="360" y="456"/>
                  </a:moveTo>
                  <a:cubicBezTo>
                    <a:pt x="359" y="456"/>
                    <a:pt x="357" y="455"/>
                    <a:pt x="356" y="455"/>
                  </a:cubicBezTo>
                  <a:cubicBezTo>
                    <a:pt x="176" y="404"/>
                    <a:pt x="37" y="253"/>
                    <a:pt x="2" y="69"/>
                  </a:cubicBezTo>
                  <a:cubicBezTo>
                    <a:pt x="0" y="61"/>
                    <a:pt x="5" y="53"/>
                    <a:pt x="13" y="51"/>
                  </a:cubicBezTo>
                  <a:cubicBezTo>
                    <a:pt x="192" y="0"/>
                    <a:pt x="376" y="53"/>
                    <a:pt x="502" y="180"/>
                  </a:cubicBezTo>
                  <a:cubicBezTo>
                    <a:pt x="509" y="186"/>
                    <a:pt x="509" y="196"/>
                    <a:pt x="502" y="202"/>
                  </a:cubicBezTo>
                  <a:cubicBezTo>
                    <a:pt x="437" y="268"/>
                    <a:pt x="393" y="351"/>
                    <a:pt x="376" y="443"/>
                  </a:cubicBezTo>
                  <a:cubicBezTo>
                    <a:pt x="375" y="447"/>
                    <a:pt x="373" y="451"/>
                    <a:pt x="369" y="453"/>
                  </a:cubicBezTo>
                  <a:cubicBezTo>
                    <a:pt x="366" y="455"/>
                    <a:pt x="363" y="456"/>
                    <a:pt x="360" y="456"/>
                  </a:cubicBezTo>
                  <a:close/>
                  <a:moveTo>
                    <a:pt x="36" y="78"/>
                  </a:moveTo>
                  <a:cubicBezTo>
                    <a:pt x="72" y="238"/>
                    <a:pt x="192" y="369"/>
                    <a:pt x="348" y="419"/>
                  </a:cubicBezTo>
                  <a:cubicBezTo>
                    <a:pt x="368" y="334"/>
                    <a:pt x="409" y="256"/>
                    <a:pt x="469" y="191"/>
                  </a:cubicBezTo>
                  <a:cubicBezTo>
                    <a:pt x="355" y="84"/>
                    <a:pt x="195" y="38"/>
                    <a:pt x="36" y="7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" name="ExtraShape4">
              <a:extLst>
                <a:ext uri="{FF2B5EF4-FFF2-40B4-BE49-F238E27FC236}">
                  <a16:creationId xmlns:a16="http://schemas.microsoft.com/office/drawing/2014/main" id="{04DA1387-953D-4D9B-B619-8133B2C1C370}"/>
                </a:ext>
              </a:extLst>
            </p:cNvPr>
            <p:cNvSpPr/>
            <p:nvPr/>
          </p:nvSpPr>
          <p:spPr bwMode="auto">
            <a:xfrm>
              <a:off x="3180560" y="2648378"/>
              <a:ext cx="1337648" cy="1521041"/>
            </a:xfrm>
            <a:custGeom>
              <a:avLst/>
              <a:gdLst>
                <a:gd name="T0" fmla="*/ 361 w 860"/>
                <a:gd name="T1" fmla="*/ 979 h 979"/>
                <a:gd name="T2" fmla="*/ 7 w 860"/>
                <a:gd name="T3" fmla="*/ 831 h 979"/>
                <a:gd name="T4" fmla="*/ 7 w 860"/>
                <a:gd name="T5" fmla="*/ 808 h 979"/>
                <a:gd name="T6" fmla="*/ 142 w 860"/>
                <a:gd name="T7" fmla="*/ 480 h 979"/>
                <a:gd name="T8" fmla="*/ 133 w 860"/>
                <a:gd name="T9" fmla="*/ 393 h 979"/>
                <a:gd name="T10" fmla="*/ 144 w 860"/>
                <a:gd name="T11" fmla="*/ 374 h 979"/>
                <a:gd name="T12" fmla="*/ 476 w 860"/>
                <a:gd name="T13" fmla="*/ 13 h 979"/>
                <a:gd name="T14" fmla="*/ 483 w 860"/>
                <a:gd name="T15" fmla="*/ 3 h 979"/>
                <a:gd name="T16" fmla="*/ 496 w 860"/>
                <a:gd name="T17" fmla="*/ 1 h 979"/>
                <a:gd name="T18" fmla="*/ 860 w 860"/>
                <a:gd name="T19" fmla="*/ 480 h 979"/>
                <a:gd name="T20" fmla="*/ 361 w 860"/>
                <a:gd name="T21" fmla="*/ 979 h 979"/>
                <a:gd name="T22" fmla="*/ 40 w 860"/>
                <a:gd name="T23" fmla="*/ 819 h 979"/>
                <a:gd name="T24" fmla="*/ 361 w 860"/>
                <a:gd name="T25" fmla="*/ 947 h 979"/>
                <a:gd name="T26" fmla="*/ 828 w 860"/>
                <a:gd name="T27" fmla="*/ 480 h 979"/>
                <a:gd name="T28" fmla="*/ 504 w 860"/>
                <a:gd name="T29" fmla="*/ 37 h 979"/>
                <a:gd name="T30" fmla="*/ 167 w 860"/>
                <a:gd name="T31" fmla="*/ 401 h 979"/>
                <a:gd name="T32" fmla="*/ 174 w 860"/>
                <a:gd name="T33" fmla="*/ 480 h 979"/>
                <a:gd name="T34" fmla="*/ 40 w 860"/>
                <a:gd name="T35" fmla="*/ 819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0" h="979">
                  <a:moveTo>
                    <a:pt x="361" y="979"/>
                  </a:moveTo>
                  <a:cubicBezTo>
                    <a:pt x="227" y="979"/>
                    <a:pt x="101" y="926"/>
                    <a:pt x="7" y="831"/>
                  </a:cubicBezTo>
                  <a:cubicBezTo>
                    <a:pt x="0" y="825"/>
                    <a:pt x="0" y="815"/>
                    <a:pt x="7" y="808"/>
                  </a:cubicBezTo>
                  <a:cubicBezTo>
                    <a:pt x="94" y="720"/>
                    <a:pt x="142" y="604"/>
                    <a:pt x="142" y="480"/>
                  </a:cubicBezTo>
                  <a:cubicBezTo>
                    <a:pt x="142" y="452"/>
                    <a:pt x="139" y="422"/>
                    <a:pt x="133" y="393"/>
                  </a:cubicBezTo>
                  <a:cubicBezTo>
                    <a:pt x="132" y="385"/>
                    <a:pt x="136" y="377"/>
                    <a:pt x="144" y="374"/>
                  </a:cubicBezTo>
                  <a:cubicBezTo>
                    <a:pt x="313" y="327"/>
                    <a:pt x="443" y="185"/>
                    <a:pt x="476" y="13"/>
                  </a:cubicBezTo>
                  <a:cubicBezTo>
                    <a:pt x="477" y="9"/>
                    <a:pt x="480" y="5"/>
                    <a:pt x="483" y="3"/>
                  </a:cubicBezTo>
                  <a:cubicBezTo>
                    <a:pt x="487" y="0"/>
                    <a:pt x="492" y="0"/>
                    <a:pt x="496" y="1"/>
                  </a:cubicBezTo>
                  <a:cubicBezTo>
                    <a:pt x="710" y="61"/>
                    <a:pt x="860" y="258"/>
                    <a:pt x="860" y="480"/>
                  </a:cubicBezTo>
                  <a:cubicBezTo>
                    <a:pt x="860" y="755"/>
                    <a:pt x="636" y="979"/>
                    <a:pt x="361" y="979"/>
                  </a:cubicBezTo>
                  <a:close/>
                  <a:moveTo>
                    <a:pt x="40" y="819"/>
                  </a:moveTo>
                  <a:cubicBezTo>
                    <a:pt x="128" y="902"/>
                    <a:pt x="241" y="947"/>
                    <a:pt x="361" y="947"/>
                  </a:cubicBezTo>
                  <a:cubicBezTo>
                    <a:pt x="618" y="947"/>
                    <a:pt x="828" y="738"/>
                    <a:pt x="828" y="480"/>
                  </a:cubicBezTo>
                  <a:cubicBezTo>
                    <a:pt x="828" y="278"/>
                    <a:pt x="695" y="98"/>
                    <a:pt x="504" y="37"/>
                  </a:cubicBezTo>
                  <a:cubicBezTo>
                    <a:pt x="465" y="208"/>
                    <a:pt x="335" y="348"/>
                    <a:pt x="167" y="401"/>
                  </a:cubicBezTo>
                  <a:cubicBezTo>
                    <a:pt x="171" y="428"/>
                    <a:pt x="174" y="454"/>
                    <a:pt x="174" y="480"/>
                  </a:cubicBezTo>
                  <a:cubicBezTo>
                    <a:pt x="174" y="607"/>
                    <a:pt x="126" y="727"/>
                    <a:pt x="40" y="81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1" name="ExtraShape5">
              <a:extLst>
                <a:ext uri="{FF2B5EF4-FFF2-40B4-BE49-F238E27FC236}">
                  <a16:creationId xmlns:a16="http://schemas.microsoft.com/office/drawing/2014/main" id="{2848FC67-52C1-4308-B05C-07793D0F79DE}"/>
                </a:ext>
              </a:extLst>
            </p:cNvPr>
            <p:cNvSpPr/>
            <p:nvPr/>
          </p:nvSpPr>
          <p:spPr bwMode="auto">
            <a:xfrm>
              <a:off x="3180560" y="2619934"/>
              <a:ext cx="791959" cy="659467"/>
            </a:xfrm>
            <a:custGeom>
              <a:avLst/>
              <a:gdLst>
                <a:gd name="T0" fmla="*/ 149 w 509"/>
                <a:gd name="T1" fmla="*/ 424 h 424"/>
                <a:gd name="T2" fmla="*/ 140 w 509"/>
                <a:gd name="T3" fmla="*/ 421 h 424"/>
                <a:gd name="T4" fmla="*/ 133 w 509"/>
                <a:gd name="T5" fmla="*/ 411 h 424"/>
                <a:gd name="T6" fmla="*/ 7 w 509"/>
                <a:gd name="T7" fmla="*/ 170 h 424"/>
                <a:gd name="T8" fmla="*/ 7 w 509"/>
                <a:gd name="T9" fmla="*/ 148 h 424"/>
                <a:gd name="T10" fmla="*/ 361 w 509"/>
                <a:gd name="T11" fmla="*/ 0 h 424"/>
                <a:gd name="T12" fmla="*/ 496 w 509"/>
                <a:gd name="T13" fmla="*/ 19 h 424"/>
                <a:gd name="T14" fmla="*/ 508 w 509"/>
                <a:gd name="T15" fmla="*/ 37 h 424"/>
                <a:gd name="T16" fmla="*/ 153 w 509"/>
                <a:gd name="T17" fmla="*/ 423 h 424"/>
                <a:gd name="T18" fmla="*/ 149 w 509"/>
                <a:gd name="T19" fmla="*/ 424 h 424"/>
                <a:gd name="T20" fmla="*/ 40 w 509"/>
                <a:gd name="T21" fmla="*/ 159 h 424"/>
                <a:gd name="T22" fmla="*/ 161 w 509"/>
                <a:gd name="T23" fmla="*/ 387 h 424"/>
                <a:gd name="T24" fmla="*/ 473 w 509"/>
                <a:gd name="T25" fmla="*/ 46 h 424"/>
                <a:gd name="T26" fmla="*/ 40 w 509"/>
                <a:gd name="T27" fmla="*/ 159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9" h="424">
                  <a:moveTo>
                    <a:pt x="149" y="424"/>
                  </a:moveTo>
                  <a:cubicBezTo>
                    <a:pt x="146" y="424"/>
                    <a:pt x="143" y="423"/>
                    <a:pt x="140" y="421"/>
                  </a:cubicBezTo>
                  <a:cubicBezTo>
                    <a:pt x="137" y="419"/>
                    <a:pt x="134" y="415"/>
                    <a:pt x="133" y="411"/>
                  </a:cubicBezTo>
                  <a:cubicBezTo>
                    <a:pt x="116" y="320"/>
                    <a:pt x="72" y="236"/>
                    <a:pt x="7" y="170"/>
                  </a:cubicBezTo>
                  <a:cubicBezTo>
                    <a:pt x="0" y="164"/>
                    <a:pt x="0" y="154"/>
                    <a:pt x="7" y="148"/>
                  </a:cubicBezTo>
                  <a:cubicBezTo>
                    <a:pt x="101" y="52"/>
                    <a:pt x="227" y="0"/>
                    <a:pt x="361" y="0"/>
                  </a:cubicBezTo>
                  <a:cubicBezTo>
                    <a:pt x="406" y="0"/>
                    <a:pt x="451" y="6"/>
                    <a:pt x="496" y="19"/>
                  </a:cubicBezTo>
                  <a:cubicBezTo>
                    <a:pt x="504" y="21"/>
                    <a:pt x="509" y="29"/>
                    <a:pt x="508" y="37"/>
                  </a:cubicBezTo>
                  <a:cubicBezTo>
                    <a:pt x="473" y="221"/>
                    <a:pt x="333" y="373"/>
                    <a:pt x="153" y="423"/>
                  </a:cubicBezTo>
                  <a:cubicBezTo>
                    <a:pt x="152" y="424"/>
                    <a:pt x="150" y="424"/>
                    <a:pt x="149" y="424"/>
                  </a:cubicBezTo>
                  <a:close/>
                  <a:moveTo>
                    <a:pt x="40" y="159"/>
                  </a:moveTo>
                  <a:cubicBezTo>
                    <a:pt x="100" y="224"/>
                    <a:pt x="141" y="302"/>
                    <a:pt x="161" y="387"/>
                  </a:cubicBezTo>
                  <a:cubicBezTo>
                    <a:pt x="317" y="337"/>
                    <a:pt x="437" y="206"/>
                    <a:pt x="473" y="46"/>
                  </a:cubicBezTo>
                  <a:cubicBezTo>
                    <a:pt x="315" y="7"/>
                    <a:pt x="154" y="52"/>
                    <a:pt x="40" y="15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2" name="ExtraShape6">
              <a:extLst>
                <a:ext uri="{FF2B5EF4-FFF2-40B4-BE49-F238E27FC236}">
                  <a16:creationId xmlns:a16="http://schemas.microsoft.com/office/drawing/2014/main" id="{486DC8B0-DCBC-42B7-BAE0-5145927DCCA1}"/>
                </a:ext>
              </a:extLst>
            </p:cNvPr>
            <p:cNvSpPr/>
            <p:nvPr/>
          </p:nvSpPr>
          <p:spPr bwMode="auto">
            <a:xfrm>
              <a:off x="2965728" y="3227751"/>
              <a:ext cx="485805" cy="719351"/>
            </a:xfrm>
            <a:custGeom>
              <a:avLst/>
              <a:gdLst>
                <a:gd name="T0" fmla="*/ 156 w 312"/>
                <a:gd name="T1" fmla="*/ 463 h 463"/>
                <a:gd name="T2" fmla="*/ 145 w 312"/>
                <a:gd name="T3" fmla="*/ 458 h 463"/>
                <a:gd name="T4" fmla="*/ 0 w 312"/>
                <a:gd name="T5" fmla="*/ 107 h 463"/>
                <a:gd name="T6" fmla="*/ 10 w 312"/>
                <a:gd name="T7" fmla="*/ 14 h 463"/>
                <a:gd name="T8" fmla="*/ 17 w 312"/>
                <a:gd name="T9" fmla="*/ 3 h 463"/>
                <a:gd name="T10" fmla="*/ 30 w 312"/>
                <a:gd name="T11" fmla="*/ 1 h 463"/>
                <a:gd name="T12" fmla="*/ 282 w 312"/>
                <a:gd name="T13" fmla="*/ 1 h 463"/>
                <a:gd name="T14" fmla="*/ 295 w 312"/>
                <a:gd name="T15" fmla="*/ 3 h 463"/>
                <a:gd name="T16" fmla="*/ 302 w 312"/>
                <a:gd name="T17" fmla="*/ 14 h 463"/>
                <a:gd name="T18" fmla="*/ 312 w 312"/>
                <a:gd name="T19" fmla="*/ 107 h 463"/>
                <a:gd name="T20" fmla="*/ 167 w 312"/>
                <a:gd name="T21" fmla="*/ 458 h 463"/>
                <a:gd name="T22" fmla="*/ 156 w 312"/>
                <a:gd name="T23" fmla="*/ 463 h 463"/>
                <a:gd name="T24" fmla="*/ 38 w 312"/>
                <a:gd name="T25" fmla="*/ 37 h 463"/>
                <a:gd name="T26" fmla="*/ 32 w 312"/>
                <a:gd name="T27" fmla="*/ 107 h 463"/>
                <a:gd name="T28" fmla="*/ 156 w 312"/>
                <a:gd name="T29" fmla="*/ 423 h 463"/>
                <a:gd name="T30" fmla="*/ 280 w 312"/>
                <a:gd name="T31" fmla="*/ 107 h 463"/>
                <a:gd name="T32" fmla="*/ 274 w 312"/>
                <a:gd name="T33" fmla="*/ 37 h 463"/>
                <a:gd name="T34" fmla="*/ 38 w 312"/>
                <a:gd name="T35" fmla="*/ 37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2" h="463">
                  <a:moveTo>
                    <a:pt x="156" y="463"/>
                  </a:moveTo>
                  <a:cubicBezTo>
                    <a:pt x="152" y="463"/>
                    <a:pt x="148" y="461"/>
                    <a:pt x="145" y="458"/>
                  </a:cubicBezTo>
                  <a:cubicBezTo>
                    <a:pt x="52" y="364"/>
                    <a:pt x="0" y="239"/>
                    <a:pt x="0" y="107"/>
                  </a:cubicBezTo>
                  <a:cubicBezTo>
                    <a:pt x="0" y="77"/>
                    <a:pt x="4" y="45"/>
                    <a:pt x="10" y="14"/>
                  </a:cubicBezTo>
                  <a:cubicBezTo>
                    <a:pt x="10" y="9"/>
                    <a:pt x="13" y="5"/>
                    <a:pt x="17" y="3"/>
                  </a:cubicBezTo>
                  <a:cubicBezTo>
                    <a:pt x="21" y="1"/>
                    <a:pt x="25" y="0"/>
                    <a:pt x="30" y="1"/>
                  </a:cubicBezTo>
                  <a:cubicBezTo>
                    <a:pt x="113" y="25"/>
                    <a:pt x="198" y="25"/>
                    <a:pt x="282" y="1"/>
                  </a:cubicBezTo>
                  <a:cubicBezTo>
                    <a:pt x="287" y="0"/>
                    <a:pt x="291" y="1"/>
                    <a:pt x="295" y="3"/>
                  </a:cubicBezTo>
                  <a:cubicBezTo>
                    <a:pt x="299" y="6"/>
                    <a:pt x="302" y="9"/>
                    <a:pt x="302" y="14"/>
                  </a:cubicBezTo>
                  <a:cubicBezTo>
                    <a:pt x="308" y="45"/>
                    <a:pt x="312" y="77"/>
                    <a:pt x="312" y="107"/>
                  </a:cubicBezTo>
                  <a:cubicBezTo>
                    <a:pt x="312" y="239"/>
                    <a:pt x="260" y="364"/>
                    <a:pt x="167" y="458"/>
                  </a:cubicBezTo>
                  <a:cubicBezTo>
                    <a:pt x="164" y="461"/>
                    <a:pt x="160" y="463"/>
                    <a:pt x="156" y="463"/>
                  </a:cubicBezTo>
                  <a:close/>
                  <a:moveTo>
                    <a:pt x="38" y="37"/>
                  </a:moveTo>
                  <a:cubicBezTo>
                    <a:pt x="34" y="61"/>
                    <a:pt x="32" y="84"/>
                    <a:pt x="32" y="107"/>
                  </a:cubicBezTo>
                  <a:cubicBezTo>
                    <a:pt x="32" y="225"/>
                    <a:pt x="76" y="337"/>
                    <a:pt x="156" y="423"/>
                  </a:cubicBezTo>
                  <a:cubicBezTo>
                    <a:pt x="236" y="337"/>
                    <a:pt x="280" y="225"/>
                    <a:pt x="280" y="107"/>
                  </a:cubicBezTo>
                  <a:cubicBezTo>
                    <a:pt x="280" y="84"/>
                    <a:pt x="278" y="61"/>
                    <a:pt x="274" y="37"/>
                  </a:cubicBezTo>
                  <a:cubicBezTo>
                    <a:pt x="195" y="56"/>
                    <a:pt x="116" y="56"/>
                    <a:pt x="38" y="3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3" name="ValueShape1">
              <a:extLst>
                <a:ext uri="{FF2B5EF4-FFF2-40B4-BE49-F238E27FC236}">
                  <a16:creationId xmlns:a16="http://schemas.microsoft.com/office/drawing/2014/main" id="{D88B30E6-A1AB-431A-9C03-960661156A04}"/>
                </a:ext>
              </a:extLst>
            </p:cNvPr>
            <p:cNvSpPr/>
            <p:nvPr/>
          </p:nvSpPr>
          <p:spPr>
            <a:xfrm>
              <a:off x="4709382" y="2032654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1923">
                  <a:schemeClr val="accent1">
                    <a:lumMod val="100000"/>
                  </a:schemeClr>
                </a:gs>
                <a:gs pos="52023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14" name="ValueShape2">
              <a:extLst>
                <a:ext uri="{FF2B5EF4-FFF2-40B4-BE49-F238E27FC236}">
                  <a16:creationId xmlns:a16="http://schemas.microsoft.com/office/drawing/2014/main" id="{BF816705-4EB0-43E5-9C68-0238F2E66B64}"/>
                </a:ext>
              </a:extLst>
            </p:cNvPr>
            <p:cNvSpPr/>
            <p:nvPr/>
          </p:nvSpPr>
          <p:spPr>
            <a:xfrm>
              <a:off x="4709382" y="2768872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80769">
                  <a:schemeClr val="accent3">
                    <a:lumMod val="100000"/>
                  </a:schemeClr>
                </a:gs>
                <a:gs pos="80869">
                  <a:schemeClr val="accent3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15" name="ValueShape3">
              <a:extLst>
                <a:ext uri="{FF2B5EF4-FFF2-40B4-BE49-F238E27FC236}">
                  <a16:creationId xmlns:a16="http://schemas.microsoft.com/office/drawing/2014/main" id="{54F680F6-E164-4C95-A266-F51219D491B9}"/>
                </a:ext>
              </a:extLst>
            </p:cNvPr>
            <p:cNvSpPr/>
            <p:nvPr/>
          </p:nvSpPr>
          <p:spPr>
            <a:xfrm>
              <a:off x="4709382" y="3501836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63462">
                  <a:schemeClr val="accent2">
                    <a:lumMod val="100000"/>
                  </a:schemeClr>
                </a:gs>
                <a:gs pos="63562">
                  <a:schemeClr val="accent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16" name="ValueText1">
              <a:extLst>
                <a:ext uri="{FF2B5EF4-FFF2-40B4-BE49-F238E27FC236}">
                  <a16:creationId xmlns:a16="http://schemas.microsoft.com/office/drawing/2014/main" id="{FFA6D75B-0626-4520-9ACA-0489875124C3}"/>
                </a:ext>
              </a:extLst>
            </p:cNvPr>
            <p:cNvSpPr txBox="1"/>
            <p:nvPr/>
          </p:nvSpPr>
          <p:spPr>
            <a:xfrm>
              <a:off x="9644013" y="2032654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+mj-lt"/>
                </a:rPr>
                <a:t>52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7" name="ValueText2">
              <a:extLst>
                <a:ext uri="{FF2B5EF4-FFF2-40B4-BE49-F238E27FC236}">
                  <a16:creationId xmlns:a16="http://schemas.microsoft.com/office/drawing/2014/main" id="{17C95FD1-E1AC-42A7-B251-05B9A00B14DF}"/>
                </a:ext>
              </a:extLst>
            </p:cNvPr>
            <p:cNvSpPr txBox="1"/>
            <p:nvPr/>
          </p:nvSpPr>
          <p:spPr>
            <a:xfrm>
              <a:off x="9644013" y="2766056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+mj-lt"/>
                </a:rPr>
                <a:t>81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8" name="ValueText3">
              <a:extLst>
                <a:ext uri="{FF2B5EF4-FFF2-40B4-BE49-F238E27FC236}">
                  <a16:creationId xmlns:a16="http://schemas.microsoft.com/office/drawing/2014/main" id="{E0C063A6-47DB-44BB-8110-81849826AF20}"/>
                </a:ext>
              </a:extLst>
            </p:cNvPr>
            <p:cNvSpPr txBox="1"/>
            <p:nvPr/>
          </p:nvSpPr>
          <p:spPr>
            <a:xfrm>
              <a:off x="9644013" y="3500427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+mj-lt"/>
                </a:rPr>
                <a:t>63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9" name="CustomText1">
              <a:extLst>
                <a:ext uri="{FF2B5EF4-FFF2-40B4-BE49-F238E27FC236}">
                  <a16:creationId xmlns:a16="http://schemas.microsoft.com/office/drawing/2014/main" id="{629DDF01-3D3F-4D2D-8EE9-1FE14DC846F4}"/>
                </a:ext>
              </a:extLst>
            </p:cNvPr>
            <p:cNvSpPr txBox="1"/>
            <p:nvPr/>
          </p:nvSpPr>
          <p:spPr>
            <a:xfrm>
              <a:off x="3180560" y="4291876"/>
              <a:ext cx="2377389" cy="523220"/>
            </a:xfrm>
            <a:prstGeom prst="rect">
              <a:avLst/>
            </a:prstGeom>
            <a:noFill/>
          </p:spPr>
          <p:txBody>
            <a:bodyPr wrap="square" rtlCol="0">
              <a:normAutofit/>
            </a:bodyPr>
            <a:lstStyle/>
            <a:p>
              <a:r>
                <a:rPr lang="en-US" altLang="zh-CN" sz="2800" b="1" dirty="0">
                  <a:solidFill>
                    <a:schemeClr val="tx2"/>
                  </a:solidFill>
                  <a:latin typeface="+mj-lt"/>
                </a:rPr>
                <a:t>TEXT HERE</a:t>
              </a:r>
            </a:p>
          </p:txBody>
        </p:sp>
        <p:sp>
          <p:nvSpPr>
            <p:cNvPr id="20" name="CustomText2">
              <a:extLst>
                <a:ext uri="{FF2B5EF4-FFF2-40B4-BE49-F238E27FC236}">
                  <a16:creationId xmlns:a16="http://schemas.microsoft.com/office/drawing/2014/main" id="{CBBA5CCE-3813-42BB-BC6B-7863A7293F17}"/>
                </a:ext>
              </a:extLst>
            </p:cNvPr>
            <p:cNvSpPr/>
            <p:nvPr/>
          </p:nvSpPr>
          <p:spPr>
            <a:xfrm>
              <a:off x="3180560" y="4731058"/>
              <a:ext cx="2377389" cy="369332"/>
            </a:xfrm>
            <a:prstGeom prst="rect">
              <a:avLst/>
            </a:prstGeom>
          </p:spPr>
          <p:txBody>
            <a:bodyPr wrap="square">
              <a:norm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  <a:latin typeface="+mj-lt"/>
                </a:rPr>
                <a:t>Supporting text here</a:t>
              </a:r>
            </a:p>
          </p:txBody>
        </p:sp>
        <p:sp>
          <p:nvSpPr>
            <p:cNvPr id="21" name="CustomText1">
              <a:extLst>
                <a:ext uri="{FF2B5EF4-FFF2-40B4-BE49-F238E27FC236}">
                  <a16:creationId xmlns:a16="http://schemas.microsoft.com/office/drawing/2014/main" id="{26EF50B0-8A77-4919-ACA4-D5B414EEC46B}"/>
                </a:ext>
              </a:extLst>
            </p:cNvPr>
            <p:cNvSpPr/>
            <p:nvPr/>
          </p:nvSpPr>
          <p:spPr>
            <a:xfrm>
              <a:off x="5522996" y="4466518"/>
              <a:ext cx="3476702" cy="529080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We hope that this template will return to </a:t>
              </a:r>
              <a:endParaRPr lang="tr-TR" altLang="zh-CN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you as a time, money and reputation.</a:t>
              </a:r>
            </a:p>
          </p:txBody>
        </p:sp>
      </p:grpSp>
      <p:sp>
        <p:nvSpPr>
          <p:cNvPr id="24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26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tr-TR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5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5867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ṣļ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íḍè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iṧ1îḋe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sḻïď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ṩlïḓé"/>
          <p:cNvSpPr>
            <a:spLocks noGrp="1"/>
          </p:cNvSpPr>
          <p:nvPr>
            <p:ph type="ctrTitle"/>
          </p:nvPr>
        </p:nvSpPr>
        <p:spPr>
          <a:xfrm>
            <a:off x="3559305" y="2177884"/>
            <a:ext cx="10845798" cy="1621509"/>
          </a:xfrm>
        </p:spPr>
        <p:txBody>
          <a:bodyPr>
            <a:normAutofit/>
          </a:bodyPr>
          <a:lstStyle/>
          <a:p>
            <a:r>
              <a:rPr lang="en-US" altLang="zh-CN" sz="4800" dirty="0"/>
              <a:t>Thanks!</a:t>
            </a:r>
            <a:br>
              <a:rPr lang="en-US" altLang="zh-CN" sz="4800" dirty="0"/>
            </a:br>
            <a:r>
              <a:rPr lang="tr-TR" altLang="zh-CN" sz="4800" dirty="0"/>
              <a:t>Space </a:t>
            </a:r>
            <a:r>
              <a:rPr lang="tr-TR" altLang="zh-CN" sz="4800" dirty="0" err="1"/>
              <a:t>Science</a:t>
            </a:r>
            <a:r>
              <a:rPr lang="tr-TR" altLang="zh-CN" sz="4800" dirty="0"/>
              <a:t> PPT </a:t>
            </a:r>
            <a:r>
              <a:rPr lang="tr-TR" altLang="zh-CN" sz="4800" dirty="0" err="1"/>
              <a:t>Template</a:t>
            </a:r>
            <a:endParaRPr lang="zh-CN" altLang="en-US" sz="4800" dirty="0"/>
          </a:p>
        </p:txBody>
      </p:sp>
      <p:sp>
        <p:nvSpPr>
          <p:cNvPr id="6" name="îṣḷïde"/>
          <p:cNvSpPr txBox="1">
            <a:spLocks/>
          </p:cNvSpPr>
          <p:nvPr/>
        </p:nvSpPr>
        <p:spPr>
          <a:xfrm>
            <a:off x="3801888" y="5143616"/>
            <a:ext cx="6119586" cy="55879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zh-CN" sz="1200" b="1" spc="60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www.freepptbackgrounds.net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7688d999-3f89-482c-aea5-39ffe6e43d79" descr="UBcAAB+LCAAAAAAABADVl9uO2jAQht/F3d4hFMc5wR1bSlup20XsqjcVF2kYwFUOyDGrPWjfvU4IYHNwY7Qp7E0EY08y//z+mPCCrugEdRFGLXTFnxYgPt8lIeN9Gs5YmNxkE4jF2pBlC2CcQo66v16qJFtK+hnGS6h2PYn4DU1pskzKMOpabUuEwkcphK0y2IeIJmHcpzPKxb1F5Fs+BBZByquNnC2hhaovPm5jlwSOt7paQaeFvrBsuSg1vLbWpRGptE9ZnDGptOpW662OtPV2OqUR3M8hgTJLLN3TlPfSyd08nKyFXDM6m/MU8rwK3P7+AxGX0rq+SCxvWW5f5nNx8w+DgdNzg35P1HmwaFc2gTOazvarRtZHdDjbk7KvsyyGMN1PXzXzULr//830cFvyErvbwmypsKC+lZ0mrMTWYS89v/d50Je9lKvGlrGZSjo2d1PJPwObrt/2Ojax/OoqG0rk2gzgxOelUynbHE8l/QQ+lfwzAOqT9sbN4kqCbW2OXJsBo/jMkMp12+aQKuknQCryx6JCmk7Ew5RhKhM7zHLKaZZW+7YD+KlsJINpxTsahmJKAweWlys7+dJqC33NGH3OUh7GvZjO0kSYLraOit4W1RbjPVLXREuAR3NUHJPqiN3RZxhBDuwBRNXTMM7Xx0U4toAf4nHr81kGihaNIA45fVB2KDFcKtl5xdiKlL+MpfbLvyP38Mi33drxctszV3pSzV6WFeZKJzdCilJXYovnYzQ+SYezS4/WdnK81BV6cqUrJtCAxsVbXC8qSBfQ5cArUtZkbYIFXzKDysIB4ZWBx5UTWTlRlbuNKy98aUj5vyzXCfdMYfffBPbvMG2QdbsO6/Zx1n25Yb7aMN+cdfEKdhh2TS/rw25rnNcJ2RuVWtuDC4RdpzyQlQeq8k7jyhuG/UThxDKFHb+L0U7q4E6O446VmYjVoUjwCcAfm+66ftYnnmjs12uxjU4+vsQJrxWvTDqsjjqy92/v7cU3zP3p2h1j8t/DnHfqgO9owFfmI1YHJHHNwbePTXpdO+uD7+j812rxzM7+JU57rXhl6uGdsec3L75h8E21j1//AiGEWI9QFwAA">
            <a:extLst>
              <a:ext uri="{FF2B5EF4-FFF2-40B4-BE49-F238E27FC236}">
                <a16:creationId xmlns:a16="http://schemas.microsoft.com/office/drawing/2014/main" id="{B0DCC9D0-6746-44B0-8F68-1D8E24C6719D}"/>
              </a:ext>
            </a:extLst>
          </p:cNvPr>
          <p:cNvGrpSpPr>
            <a:grpSpLocks noChangeAspect="1"/>
          </p:cNvGrpSpPr>
          <p:nvPr/>
        </p:nvGrpSpPr>
        <p:grpSpPr>
          <a:xfrm>
            <a:off x="1923797" y="1611854"/>
            <a:ext cx="8344406" cy="3634292"/>
            <a:chOff x="1923797" y="1611854"/>
            <a:chExt cx="8344406" cy="3634292"/>
          </a:xfrm>
        </p:grpSpPr>
        <p:sp>
          <p:nvSpPr>
            <p:cNvPr id="3" name="RelativeShape1">
              <a:extLst>
                <a:ext uri="{FF2B5EF4-FFF2-40B4-BE49-F238E27FC236}">
                  <a16:creationId xmlns:a16="http://schemas.microsoft.com/office/drawing/2014/main" id="{25886CA8-A985-4CA8-B850-D09A59C47940}"/>
                </a:ext>
              </a:extLst>
            </p:cNvPr>
            <p:cNvSpPr/>
            <p:nvPr/>
          </p:nvSpPr>
          <p:spPr>
            <a:xfrm flipH="1">
              <a:off x="1923797" y="2573781"/>
              <a:ext cx="3238941" cy="25987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6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4" name="ValueShape1">
              <a:extLst>
                <a:ext uri="{FF2B5EF4-FFF2-40B4-BE49-F238E27FC236}">
                  <a16:creationId xmlns:a16="http://schemas.microsoft.com/office/drawing/2014/main" id="{FFB81EC4-EE86-4E19-A5E4-7C01D35D9E70}"/>
                </a:ext>
              </a:extLst>
            </p:cNvPr>
            <p:cNvSpPr/>
            <p:nvPr/>
          </p:nvSpPr>
          <p:spPr>
            <a:xfrm flipH="1">
              <a:off x="2858107" y="2573781"/>
              <a:ext cx="2304631" cy="259876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6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5" name="ValueText1">
              <a:extLst>
                <a:ext uri="{FF2B5EF4-FFF2-40B4-BE49-F238E27FC236}">
                  <a16:creationId xmlns:a16="http://schemas.microsoft.com/office/drawing/2014/main" id="{FC6EA945-F400-4BB4-A9C3-74EEC6C4CCBA}"/>
                </a:ext>
              </a:extLst>
            </p:cNvPr>
            <p:cNvSpPr/>
            <p:nvPr/>
          </p:nvSpPr>
          <p:spPr>
            <a:xfrm>
              <a:off x="3933283" y="2128026"/>
              <a:ext cx="725729" cy="363000"/>
            </a:xfrm>
            <a:prstGeom prst="rect">
              <a:avLst/>
            </a:prstGeom>
          </p:spPr>
          <p:txBody>
            <a:bodyPr wrap="none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3">
                      <a:lumMod val="100000"/>
                    </a:schemeClr>
                  </a:solidFill>
                  <a:latin typeface="+mj-lt"/>
                </a:rPr>
                <a:t>71%</a:t>
              </a:r>
              <a:endParaRPr lang="zh-CN" altLang="en-US" sz="13800" dirty="0">
                <a:solidFill>
                  <a:schemeClr val="accent3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6" name="RelativeShape2">
              <a:extLst>
                <a:ext uri="{FF2B5EF4-FFF2-40B4-BE49-F238E27FC236}">
                  <a16:creationId xmlns:a16="http://schemas.microsoft.com/office/drawing/2014/main" id="{D494288E-7C66-4338-A3D2-05DD98755935}"/>
                </a:ext>
              </a:extLst>
            </p:cNvPr>
            <p:cNvSpPr/>
            <p:nvPr/>
          </p:nvSpPr>
          <p:spPr>
            <a:xfrm>
              <a:off x="7029258" y="2573781"/>
              <a:ext cx="3238942" cy="25987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6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7" name="ValueShape2">
              <a:extLst>
                <a:ext uri="{FF2B5EF4-FFF2-40B4-BE49-F238E27FC236}">
                  <a16:creationId xmlns:a16="http://schemas.microsoft.com/office/drawing/2014/main" id="{A6110812-402C-4AAF-9FA2-382D2A5A680B}"/>
                </a:ext>
              </a:extLst>
            </p:cNvPr>
            <p:cNvSpPr/>
            <p:nvPr/>
          </p:nvSpPr>
          <p:spPr>
            <a:xfrm>
              <a:off x="7029258" y="2573781"/>
              <a:ext cx="1993195" cy="259876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6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8" name="ValueText2">
              <a:extLst>
                <a:ext uri="{FF2B5EF4-FFF2-40B4-BE49-F238E27FC236}">
                  <a16:creationId xmlns:a16="http://schemas.microsoft.com/office/drawing/2014/main" id="{2B2B23A9-99CC-4E60-AF2C-AEC1A54B6D74}"/>
                </a:ext>
              </a:extLst>
            </p:cNvPr>
            <p:cNvSpPr/>
            <p:nvPr/>
          </p:nvSpPr>
          <p:spPr>
            <a:xfrm>
              <a:off x="7557944" y="2128027"/>
              <a:ext cx="725729" cy="3630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6">
                      <a:lumMod val="100000"/>
                    </a:schemeClr>
                  </a:solidFill>
                  <a:latin typeface="+mj-lt"/>
                </a:rPr>
                <a:t>62%</a:t>
              </a:r>
              <a:endParaRPr lang="zh-CN" altLang="en-US" sz="13800" dirty="0">
                <a:solidFill>
                  <a:schemeClr val="accent6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9" name="RelativeShape3">
              <a:extLst>
                <a:ext uri="{FF2B5EF4-FFF2-40B4-BE49-F238E27FC236}">
                  <a16:creationId xmlns:a16="http://schemas.microsoft.com/office/drawing/2014/main" id="{826341F0-E6DB-4B31-8798-6D39DDC98F7A}"/>
                </a:ext>
              </a:extLst>
            </p:cNvPr>
            <p:cNvSpPr/>
            <p:nvPr/>
          </p:nvSpPr>
          <p:spPr>
            <a:xfrm flipH="1">
              <a:off x="1923798" y="3724664"/>
              <a:ext cx="3238942" cy="25987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6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0" name="ValueShape3">
              <a:extLst>
                <a:ext uri="{FF2B5EF4-FFF2-40B4-BE49-F238E27FC236}">
                  <a16:creationId xmlns:a16="http://schemas.microsoft.com/office/drawing/2014/main" id="{5A5B766C-820A-46C6-934D-0DD58E8BE54F}"/>
                </a:ext>
              </a:extLst>
            </p:cNvPr>
            <p:cNvSpPr/>
            <p:nvPr/>
          </p:nvSpPr>
          <p:spPr>
            <a:xfrm flipH="1">
              <a:off x="3294120" y="3724664"/>
              <a:ext cx="1868620" cy="259876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6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1" name="ValueText3">
              <a:extLst>
                <a:ext uri="{FF2B5EF4-FFF2-40B4-BE49-F238E27FC236}">
                  <a16:creationId xmlns:a16="http://schemas.microsoft.com/office/drawing/2014/main" id="{321F7DAB-9AA3-4AC7-83C2-D697A0940D7E}"/>
                </a:ext>
              </a:extLst>
            </p:cNvPr>
            <p:cNvSpPr/>
            <p:nvPr/>
          </p:nvSpPr>
          <p:spPr>
            <a:xfrm>
              <a:off x="3933284" y="3278911"/>
              <a:ext cx="725729" cy="363000"/>
            </a:xfrm>
            <a:prstGeom prst="rect">
              <a:avLst/>
            </a:prstGeom>
          </p:spPr>
          <p:txBody>
            <a:bodyPr wrap="none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3">
                      <a:lumMod val="100000"/>
                    </a:schemeClr>
                  </a:solidFill>
                  <a:latin typeface="+mj-lt"/>
                </a:rPr>
                <a:t>58%</a:t>
              </a:r>
              <a:endParaRPr lang="zh-CN" altLang="en-US" sz="13800" dirty="0">
                <a:solidFill>
                  <a:schemeClr val="accent3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2" name="RelativeShape4">
              <a:extLst>
                <a:ext uri="{FF2B5EF4-FFF2-40B4-BE49-F238E27FC236}">
                  <a16:creationId xmlns:a16="http://schemas.microsoft.com/office/drawing/2014/main" id="{5F59DE32-B037-4F2E-8454-E8D521BBF3D5}"/>
                </a:ext>
              </a:extLst>
            </p:cNvPr>
            <p:cNvSpPr/>
            <p:nvPr/>
          </p:nvSpPr>
          <p:spPr>
            <a:xfrm>
              <a:off x="7029261" y="3664473"/>
              <a:ext cx="3238942" cy="25987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6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3" name="ValueShape4">
              <a:extLst>
                <a:ext uri="{FF2B5EF4-FFF2-40B4-BE49-F238E27FC236}">
                  <a16:creationId xmlns:a16="http://schemas.microsoft.com/office/drawing/2014/main" id="{6EDAE178-D4F9-450A-A5C9-6F11417A7A73}"/>
                </a:ext>
              </a:extLst>
            </p:cNvPr>
            <p:cNvSpPr/>
            <p:nvPr/>
          </p:nvSpPr>
          <p:spPr>
            <a:xfrm>
              <a:off x="7029261" y="3664473"/>
              <a:ext cx="2366919" cy="259876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96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4" name="ValueText4">
              <a:extLst>
                <a:ext uri="{FF2B5EF4-FFF2-40B4-BE49-F238E27FC236}">
                  <a16:creationId xmlns:a16="http://schemas.microsoft.com/office/drawing/2014/main" id="{2C8B4454-A21D-42C5-9B3C-382C6C2AE391}"/>
                </a:ext>
              </a:extLst>
            </p:cNvPr>
            <p:cNvSpPr/>
            <p:nvPr/>
          </p:nvSpPr>
          <p:spPr>
            <a:xfrm>
              <a:off x="7557947" y="3218720"/>
              <a:ext cx="725729" cy="3630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6">
                      <a:lumMod val="100000"/>
                    </a:schemeClr>
                  </a:solidFill>
                  <a:latin typeface="+mj-lt"/>
                </a:rPr>
                <a:t>73%</a:t>
              </a:r>
              <a:endParaRPr lang="zh-CN" altLang="en-US" sz="13800" dirty="0">
                <a:solidFill>
                  <a:schemeClr val="accent6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5" name="ExtraShape1">
              <a:extLst>
                <a:ext uri="{FF2B5EF4-FFF2-40B4-BE49-F238E27FC236}">
                  <a16:creationId xmlns:a16="http://schemas.microsoft.com/office/drawing/2014/main" id="{CEDC06F3-66DB-45B6-937F-211EC1BDF87B}"/>
                </a:ext>
              </a:extLst>
            </p:cNvPr>
            <p:cNvSpPr/>
            <p:nvPr/>
          </p:nvSpPr>
          <p:spPr bwMode="auto">
            <a:xfrm>
              <a:off x="6395767" y="1745612"/>
              <a:ext cx="621033" cy="515935"/>
            </a:xfrm>
            <a:custGeom>
              <a:avLst/>
              <a:gdLst>
                <a:gd name="T0" fmla="*/ 202 w 260"/>
                <a:gd name="T1" fmla="*/ 216 h 216"/>
                <a:gd name="T2" fmla="*/ 0 w 260"/>
                <a:gd name="T3" fmla="*/ 116 h 216"/>
                <a:gd name="T4" fmla="*/ 58 w 260"/>
                <a:gd name="T5" fmla="*/ 0 h 216"/>
                <a:gd name="T6" fmla="*/ 260 w 260"/>
                <a:gd name="T7" fmla="*/ 97 h 216"/>
                <a:gd name="T8" fmla="*/ 202 w 260"/>
                <a:gd name="T9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216">
                  <a:moveTo>
                    <a:pt x="202" y="216"/>
                  </a:moveTo>
                  <a:lnTo>
                    <a:pt x="0" y="116"/>
                  </a:lnTo>
                  <a:lnTo>
                    <a:pt x="58" y="0"/>
                  </a:lnTo>
                  <a:lnTo>
                    <a:pt x="260" y="97"/>
                  </a:lnTo>
                  <a:lnTo>
                    <a:pt x="202" y="216"/>
                  </a:lnTo>
                  <a:close/>
                </a:path>
              </a:pathLst>
            </a:custGeom>
            <a:solidFill>
              <a:srgbClr val="4C65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6" name="ExtraShape2">
              <a:extLst>
                <a:ext uri="{FF2B5EF4-FFF2-40B4-BE49-F238E27FC236}">
                  <a16:creationId xmlns:a16="http://schemas.microsoft.com/office/drawing/2014/main" id="{79164FAF-A748-4DA2-ACD2-3CE1B4EA3504}"/>
                </a:ext>
              </a:extLst>
            </p:cNvPr>
            <p:cNvSpPr/>
            <p:nvPr/>
          </p:nvSpPr>
          <p:spPr bwMode="auto">
            <a:xfrm>
              <a:off x="6465037" y="1745612"/>
              <a:ext cx="551764" cy="377397"/>
            </a:xfrm>
            <a:custGeom>
              <a:avLst/>
              <a:gdLst>
                <a:gd name="T0" fmla="*/ 29 w 231"/>
                <a:gd name="T1" fmla="*/ 0 h 158"/>
                <a:gd name="T2" fmla="*/ 0 w 231"/>
                <a:gd name="T3" fmla="*/ 58 h 158"/>
                <a:gd name="T4" fmla="*/ 202 w 231"/>
                <a:gd name="T5" fmla="*/ 158 h 158"/>
                <a:gd name="T6" fmla="*/ 231 w 231"/>
                <a:gd name="T7" fmla="*/ 97 h 158"/>
                <a:gd name="T8" fmla="*/ 204 w 231"/>
                <a:gd name="T9" fmla="*/ 85 h 158"/>
                <a:gd name="T10" fmla="*/ 189 w 231"/>
                <a:gd name="T11" fmla="*/ 79 h 158"/>
                <a:gd name="T12" fmla="*/ 54 w 231"/>
                <a:gd name="T13" fmla="*/ 12 h 158"/>
                <a:gd name="T14" fmla="*/ 38 w 231"/>
                <a:gd name="T15" fmla="*/ 4 h 158"/>
                <a:gd name="T16" fmla="*/ 29 w 231"/>
                <a:gd name="T17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158">
                  <a:moveTo>
                    <a:pt x="29" y="0"/>
                  </a:moveTo>
                  <a:lnTo>
                    <a:pt x="0" y="58"/>
                  </a:lnTo>
                  <a:lnTo>
                    <a:pt x="202" y="158"/>
                  </a:lnTo>
                  <a:lnTo>
                    <a:pt x="231" y="97"/>
                  </a:lnTo>
                  <a:lnTo>
                    <a:pt x="204" y="85"/>
                  </a:lnTo>
                  <a:lnTo>
                    <a:pt x="189" y="79"/>
                  </a:lnTo>
                  <a:lnTo>
                    <a:pt x="54" y="12"/>
                  </a:lnTo>
                  <a:lnTo>
                    <a:pt x="38" y="4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475B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7" name="ExtraShape3">
              <a:extLst>
                <a:ext uri="{FF2B5EF4-FFF2-40B4-BE49-F238E27FC236}">
                  <a16:creationId xmlns:a16="http://schemas.microsoft.com/office/drawing/2014/main" id="{1CDA8369-6729-4E16-9EF7-B8EFAFF379D1}"/>
                </a:ext>
              </a:extLst>
            </p:cNvPr>
            <p:cNvSpPr/>
            <p:nvPr/>
          </p:nvSpPr>
          <p:spPr bwMode="auto">
            <a:xfrm>
              <a:off x="6422042" y="1611854"/>
              <a:ext cx="714190" cy="484885"/>
            </a:xfrm>
            <a:custGeom>
              <a:avLst/>
              <a:gdLst>
                <a:gd name="T0" fmla="*/ 120 w 144"/>
                <a:gd name="T1" fmla="*/ 96 h 98"/>
                <a:gd name="T2" fmla="*/ 6 w 144"/>
                <a:gd name="T3" fmla="*/ 40 h 98"/>
                <a:gd name="T4" fmla="*/ 2 w 144"/>
                <a:gd name="T5" fmla="*/ 30 h 98"/>
                <a:gd name="T6" fmla="*/ 14 w 144"/>
                <a:gd name="T7" fmla="*/ 5 h 98"/>
                <a:gd name="T8" fmla="*/ 25 w 144"/>
                <a:gd name="T9" fmla="*/ 2 h 98"/>
                <a:gd name="T10" fmla="*/ 139 w 144"/>
                <a:gd name="T11" fmla="*/ 58 h 98"/>
                <a:gd name="T12" fmla="*/ 142 w 144"/>
                <a:gd name="T13" fmla="*/ 68 h 98"/>
                <a:gd name="T14" fmla="*/ 131 w 144"/>
                <a:gd name="T15" fmla="*/ 93 h 98"/>
                <a:gd name="T16" fmla="*/ 120 w 144"/>
                <a:gd name="T17" fmla="*/ 9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98">
                  <a:moveTo>
                    <a:pt x="120" y="96"/>
                  </a:moveTo>
                  <a:cubicBezTo>
                    <a:pt x="6" y="40"/>
                    <a:pt x="6" y="40"/>
                    <a:pt x="6" y="40"/>
                  </a:cubicBezTo>
                  <a:cubicBezTo>
                    <a:pt x="2" y="38"/>
                    <a:pt x="0" y="34"/>
                    <a:pt x="2" y="3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6" y="1"/>
                    <a:pt x="21" y="0"/>
                    <a:pt x="25" y="2"/>
                  </a:cubicBezTo>
                  <a:cubicBezTo>
                    <a:pt x="139" y="58"/>
                    <a:pt x="139" y="58"/>
                    <a:pt x="139" y="58"/>
                  </a:cubicBezTo>
                  <a:cubicBezTo>
                    <a:pt x="143" y="59"/>
                    <a:pt x="144" y="64"/>
                    <a:pt x="142" y="68"/>
                  </a:cubicBezTo>
                  <a:cubicBezTo>
                    <a:pt x="131" y="93"/>
                    <a:pt x="131" y="93"/>
                    <a:pt x="131" y="93"/>
                  </a:cubicBezTo>
                  <a:cubicBezTo>
                    <a:pt x="129" y="96"/>
                    <a:pt x="124" y="98"/>
                    <a:pt x="120" y="96"/>
                  </a:cubicBezTo>
                  <a:close/>
                </a:path>
              </a:pathLst>
            </a:custGeom>
            <a:solidFill>
              <a:srgbClr val="3E47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8" name="ExtraShape4">
              <a:extLst>
                <a:ext uri="{FF2B5EF4-FFF2-40B4-BE49-F238E27FC236}">
                  <a16:creationId xmlns:a16="http://schemas.microsoft.com/office/drawing/2014/main" id="{F0ED1C6E-60D4-498C-BAC0-A76DEECB86D5}"/>
                </a:ext>
              </a:extLst>
            </p:cNvPr>
            <p:cNvSpPr/>
            <p:nvPr/>
          </p:nvSpPr>
          <p:spPr bwMode="auto">
            <a:xfrm>
              <a:off x="6658510" y="2395310"/>
              <a:ext cx="699857" cy="539821"/>
            </a:xfrm>
            <a:custGeom>
              <a:avLst/>
              <a:gdLst>
                <a:gd name="T0" fmla="*/ 6 w 141"/>
                <a:gd name="T1" fmla="*/ 99 h 109"/>
                <a:gd name="T2" fmla="*/ 5 w 141"/>
                <a:gd name="T3" fmla="*/ 97 h 109"/>
                <a:gd name="T4" fmla="*/ 9 w 141"/>
                <a:gd name="T5" fmla="*/ 75 h 109"/>
                <a:gd name="T6" fmla="*/ 112 w 141"/>
                <a:gd name="T7" fmla="*/ 5 h 109"/>
                <a:gd name="T8" fmla="*/ 135 w 141"/>
                <a:gd name="T9" fmla="*/ 10 h 109"/>
                <a:gd name="T10" fmla="*/ 136 w 141"/>
                <a:gd name="T11" fmla="*/ 12 h 109"/>
                <a:gd name="T12" fmla="*/ 132 w 141"/>
                <a:gd name="T13" fmla="*/ 35 h 109"/>
                <a:gd name="T14" fmla="*/ 29 w 141"/>
                <a:gd name="T15" fmla="*/ 104 h 109"/>
                <a:gd name="T16" fmla="*/ 6 w 141"/>
                <a:gd name="T17" fmla="*/ 9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1" h="109">
                  <a:moveTo>
                    <a:pt x="6" y="99"/>
                  </a:moveTo>
                  <a:cubicBezTo>
                    <a:pt x="5" y="97"/>
                    <a:pt x="5" y="97"/>
                    <a:pt x="5" y="97"/>
                  </a:cubicBezTo>
                  <a:cubicBezTo>
                    <a:pt x="0" y="90"/>
                    <a:pt x="2" y="80"/>
                    <a:pt x="9" y="75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20" y="0"/>
                    <a:pt x="130" y="2"/>
                    <a:pt x="135" y="10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41" y="20"/>
                    <a:pt x="139" y="30"/>
                    <a:pt x="132" y="35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1" y="109"/>
                    <a:pt x="11" y="107"/>
                    <a:pt x="6" y="99"/>
                  </a:cubicBezTo>
                  <a:close/>
                </a:path>
              </a:pathLst>
            </a:custGeom>
            <a:solidFill>
              <a:srgbClr val="F7A9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9" name="ExtraShape5">
              <a:extLst>
                <a:ext uri="{FF2B5EF4-FFF2-40B4-BE49-F238E27FC236}">
                  <a16:creationId xmlns:a16="http://schemas.microsoft.com/office/drawing/2014/main" id="{AA24E77A-81C5-416E-B8C9-0B1E72BCBD34}"/>
                </a:ext>
              </a:extLst>
            </p:cNvPr>
            <p:cNvSpPr/>
            <p:nvPr/>
          </p:nvSpPr>
          <p:spPr bwMode="auto">
            <a:xfrm>
              <a:off x="5889384" y="1779055"/>
              <a:ext cx="219750" cy="783457"/>
            </a:xfrm>
            <a:custGeom>
              <a:avLst/>
              <a:gdLst>
                <a:gd name="T0" fmla="*/ 26 w 44"/>
                <a:gd name="T1" fmla="*/ 157 h 158"/>
                <a:gd name="T2" fmla="*/ 29 w 44"/>
                <a:gd name="T3" fmla="*/ 157 h 158"/>
                <a:gd name="T4" fmla="*/ 44 w 44"/>
                <a:gd name="T5" fmla="*/ 140 h 158"/>
                <a:gd name="T6" fmla="*/ 35 w 44"/>
                <a:gd name="T7" fmla="*/ 16 h 158"/>
                <a:gd name="T8" fmla="*/ 18 w 44"/>
                <a:gd name="T9" fmla="*/ 1 h 158"/>
                <a:gd name="T10" fmla="*/ 15 w 44"/>
                <a:gd name="T11" fmla="*/ 1 h 158"/>
                <a:gd name="T12" fmla="*/ 0 w 44"/>
                <a:gd name="T13" fmla="*/ 18 h 158"/>
                <a:gd name="T14" fmla="*/ 9 w 44"/>
                <a:gd name="T15" fmla="*/ 142 h 158"/>
                <a:gd name="T16" fmla="*/ 26 w 44"/>
                <a:gd name="T17" fmla="*/ 15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58">
                  <a:moveTo>
                    <a:pt x="26" y="157"/>
                  </a:moveTo>
                  <a:cubicBezTo>
                    <a:pt x="29" y="157"/>
                    <a:pt x="29" y="157"/>
                    <a:pt x="29" y="157"/>
                  </a:cubicBezTo>
                  <a:cubicBezTo>
                    <a:pt x="38" y="156"/>
                    <a:pt x="44" y="149"/>
                    <a:pt x="44" y="140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7"/>
                    <a:pt x="27" y="0"/>
                    <a:pt x="18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6" y="2"/>
                    <a:pt x="0" y="9"/>
                    <a:pt x="0" y="18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9" y="151"/>
                    <a:pt x="17" y="158"/>
                    <a:pt x="26" y="157"/>
                  </a:cubicBezTo>
                  <a:close/>
                </a:path>
              </a:pathLst>
            </a:custGeom>
            <a:solidFill>
              <a:srgbClr val="F7A9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0" name="ExtraShape1">
              <a:extLst>
                <a:ext uri="{FF2B5EF4-FFF2-40B4-BE49-F238E27FC236}">
                  <a16:creationId xmlns:a16="http://schemas.microsoft.com/office/drawing/2014/main" id="{08962D4A-2DA5-41CF-9548-15ABE71CA440}"/>
                </a:ext>
              </a:extLst>
            </p:cNvPr>
            <p:cNvSpPr/>
            <p:nvPr/>
          </p:nvSpPr>
          <p:spPr bwMode="auto">
            <a:xfrm>
              <a:off x="4623435" y="1769499"/>
              <a:ext cx="2945129" cy="2959462"/>
            </a:xfrm>
            <a:custGeom>
              <a:avLst/>
              <a:gdLst>
                <a:gd name="T0" fmla="*/ 529 w 593"/>
                <a:gd name="T1" fmla="*/ 413 h 597"/>
                <a:gd name="T2" fmla="*/ 181 w 593"/>
                <a:gd name="T3" fmla="*/ 534 h 597"/>
                <a:gd name="T4" fmla="*/ 64 w 593"/>
                <a:gd name="T5" fmla="*/ 185 h 597"/>
                <a:gd name="T6" fmla="*/ 412 w 593"/>
                <a:gd name="T7" fmla="*/ 63 h 597"/>
                <a:gd name="T8" fmla="*/ 529 w 593"/>
                <a:gd name="T9" fmla="*/ 413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597">
                  <a:moveTo>
                    <a:pt x="529" y="413"/>
                  </a:moveTo>
                  <a:cubicBezTo>
                    <a:pt x="465" y="543"/>
                    <a:pt x="310" y="597"/>
                    <a:pt x="181" y="534"/>
                  </a:cubicBezTo>
                  <a:cubicBezTo>
                    <a:pt x="52" y="471"/>
                    <a:pt x="0" y="315"/>
                    <a:pt x="64" y="185"/>
                  </a:cubicBezTo>
                  <a:cubicBezTo>
                    <a:pt x="127" y="55"/>
                    <a:pt x="283" y="0"/>
                    <a:pt x="412" y="63"/>
                  </a:cubicBezTo>
                  <a:cubicBezTo>
                    <a:pt x="540" y="126"/>
                    <a:pt x="593" y="283"/>
                    <a:pt x="529" y="413"/>
                  </a:cubicBezTo>
                  <a:close/>
                </a:path>
              </a:pathLst>
            </a:custGeom>
            <a:solidFill>
              <a:srgbClr val="599A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1" name="ExtraShape2">
              <a:extLst>
                <a:ext uri="{FF2B5EF4-FFF2-40B4-BE49-F238E27FC236}">
                  <a16:creationId xmlns:a16="http://schemas.microsoft.com/office/drawing/2014/main" id="{C48F2A45-A3C9-4BCB-AD61-2BFB23C4EF2E}"/>
                </a:ext>
              </a:extLst>
            </p:cNvPr>
            <p:cNvSpPr/>
            <p:nvPr/>
          </p:nvSpPr>
          <p:spPr bwMode="auto">
            <a:xfrm>
              <a:off x="4867069" y="2013137"/>
              <a:ext cx="2457857" cy="2474579"/>
            </a:xfrm>
            <a:custGeom>
              <a:avLst/>
              <a:gdLst>
                <a:gd name="T0" fmla="*/ 442 w 495"/>
                <a:gd name="T1" fmla="*/ 345 h 499"/>
                <a:gd name="T2" fmla="*/ 151 w 495"/>
                <a:gd name="T3" fmla="*/ 446 h 499"/>
                <a:gd name="T4" fmla="*/ 53 w 495"/>
                <a:gd name="T5" fmla="*/ 154 h 499"/>
                <a:gd name="T6" fmla="*/ 344 w 495"/>
                <a:gd name="T7" fmla="*/ 53 h 499"/>
                <a:gd name="T8" fmla="*/ 442 w 495"/>
                <a:gd name="T9" fmla="*/ 345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499">
                  <a:moveTo>
                    <a:pt x="442" y="345"/>
                  </a:moveTo>
                  <a:cubicBezTo>
                    <a:pt x="389" y="453"/>
                    <a:pt x="258" y="499"/>
                    <a:pt x="151" y="446"/>
                  </a:cubicBezTo>
                  <a:cubicBezTo>
                    <a:pt x="44" y="394"/>
                    <a:pt x="0" y="263"/>
                    <a:pt x="53" y="154"/>
                  </a:cubicBezTo>
                  <a:cubicBezTo>
                    <a:pt x="106" y="46"/>
                    <a:pt x="236" y="0"/>
                    <a:pt x="344" y="53"/>
                  </a:cubicBezTo>
                  <a:cubicBezTo>
                    <a:pt x="451" y="105"/>
                    <a:pt x="495" y="236"/>
                    <a:pt x="442" y="3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2" name="ExtraShape3">
              <a:extLst>
                <a:ext uri="{FF2B5EF4-FFF2-40B4-BE49-F238E27FC236}">
                  <a16:creationId xmlns:a16="http://schemas.microsoft.com/office/drawing/2014/main" id="{60209889-F6E6-4F98-8E4B-C3FD15BDAFA2}"/>
                </a:ext>
              </a:extLst>
            </p:cNvPr>
            <p:cNvSpPr/>
            <p:nvPr/>
          </p:nvSpPr>
          <p:spPr bwMode="auto">
            <a:xfrm>
              <a:off x="6092418" y="2562513"/>
              <a:ext cx="367842" cy="635365"/>
            </a:xfrm>
            <a:custGeom>
              <a:avLst/>
              <a:gdLst>
                <a:gd name="T0" fmla="*/ 7 w 74"/>
                <a:gd name="T1" fmla="*/ 126 h 128"/>
                <a:gd name="T2" fmla="*/ 6 w 74"/>
                <a:gd name="T3" fmla="*/ 125 h 128"/>
                <a:gd name="T4" fmla="*/ 2 w 74"/>
                <a:gd name="T5" fmla="*/ 113 h 128"/>
                <a:gd name="T6" fmla="*/ 54 w 74"/>
                <a:gd name="T7" fmla="*/ 7 h 128"/>
                <a:gd name="T8" fmla="*/ 66 w 74"/>
                <a:gd name="T9" fmla="*/ 2 h 128"/>
                <a:gd name="T10" fmla="*/ 67 w 74"/>
                <a:gd name="T11" fmla="*/ 3 h 128"/>
                <a:gd name="T12" fmla="*/ 72 w 74"/>
                <a:gd name="T13" fmla="*/ 15 h 128"/>
                <a:gd name="T14" fmla="*/ 19 w 74"/>
                <a:gd name="T15" fmla="*/ 122 h 128"/>
                <a:gd name="T16" fmla="*/ 7 w 74"/>
                <a:gd name="T17" fmla="*/ 12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128">
                  <a:moveTo>
                    <a:pt x="7" y="126"/>
                  </a:moveTo>
                  <a:cubicBezTo>
                    <a:pt x="6" y="125"/>
                    <a:pt x="6" y="125"/>
                    <a:pt x="6" y="125"/>
                  </a:cubicBezTo>
                  <a:cubicBezTo>
                    <a:pt x="2" y="123"/>
                    <a:pt x="0" y="118"/>
                    <a:pt x="2" y="113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6" y="2"/>
                    <a:pt x="62" y="0"/>
                    <a:pt x="66" y="2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72" y="5"/>
                    <a:pt x="74" y="11"/>
                    <a:pt x="72" y="15"/>
                  </a:cubicBezTo>
                  <a:cubicBezTo>
                    <a:pt x="19" y="122"/>
                    <a:pt x="19" y="122"/>
                    <a:pt x="19" y="122"/>
                  </a:cubicBezTo>
                  <a:cubicBezTo>
                    <a:pt x="17" y="126"/>
                    <a:pt x="12" y="128"/>
                    <a:pt x="7" y="126"/>
                  </a:cubicBezTo>
                  <a:close/>
                </a:path>
              </a:pathLst>
            </a:custGeom>
            <a:solidFill>
              <a:srgbClr val="4C65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3" name="ExtraShape">
              <a:extLst>
                <a:ext uri="{FF2B5EF4-FFF2-40B4-BE49-F238E27FC236}">
                  <a16:creationId xmlns:a16="http://schemas.microsoft.com/office/drawing/2014/main" id="{28495211-7F7A-4B5B-BCBA-7995309D51AC}"/>
                </a:ext>
              </a:extLst>
            </p:cNvPr>
            <p:cNvSpPr/>
            <p:nvPr/>
          </p:nvSpPr>
          <p:spPr bwMode="auto">
            <a:xfrm>
              <a:off x="5156089" y="2299766"/>
              <a:ext cx="1884597" cy="1889372"/>
            </a:xfrm>
            <a:custGeom>
              <a:avLst/>
              <a:gdLst>
                <a:gd name="connsiteX0" fmla="*/ 1243464 w 1898189"/>
                <a:gd name="connsiteY0" fmla="*/ 1773725 h 1902998"/>
                <a:gd name="connsiteX1" fmla="*/ 1238424 w 1898189"/>
                <a:gd name="connsiteY1" fmla="*/ 1778697 h 1902998"/>
                <a:gd name="connsiteX2" fmla="*/ 1228342 w 1898189"/>
                <a:gd name="connsiteY2" fmla="*/ 1778697 h 1902998"/>
                <a:gd name="connsiteX3" fmla="*/ 1218261 w 1898189"/>
                <a:gd name="connsiteY3" fmla="*/ 1793613 h 1902998"/>
                <a:gd name="connsiteX4" fmla="*/ 1223302 w 1898189"/>
                <a:gd name="connsiteY4" fmla="*/ 1798585 h 1902998"/>
                <a:gd name="connsiteX5" fmla="*/ 1248505 w 1898189"/>
                <a:gd name="connsiteY5" fmla="*/ 1873166 h 1902998"/>
                <a:gd name="connsiteX6" fmla="*/ 1258586 w 1898189"/>
                <a:gd name="connsiteY6" fmla="*/ 1883110 h 1902998"/>
                <a:gd name="connsiteX7" fmla="*/ 1263627 w 1898189"/>
                <a:gd name="connsiteY7" fmla="*/ 1878138 h 1902998"/>
                <a:gd name="connsiteX8" fmla="*/ 1273708 w 1898189"/>
                <a:gd name="connsiteY8" fmla="*/ 1878138 h 1902998"/>
                <a:gd name="connsiteX9" fmla="*/ 1283790 w 1898189"/>
                <a:gd name="connsiteY9" fmla="*/ 1863222 h 1902998"/>
                <a:gd name="connsiteX10" fmla="*/ 1283790 w 1898189"/>
                <a:gd name="connsiteY10" fmla="*/ 1858250 h 1902998"/>
                <a:gd name="connsiteX11" fmla="*/ 1258586 w 1898189"/>
                <a:gd name="connsiteY11" fmla="*/ 1783669 h 1902998"/>
                <a:gd name="connsiteX12" fmla="*/ 1243464 w 1898189"/>
                <a:gd name="connsiteY12" fmla="*/ 1773725 h 1902998"/>
                <a:gd name="connsiteX13" fmla="*/ 1243464 w 1898189"/>
                <a:gd name="connsiteY13" fmla="*/ 1753837 h 1902998"/>
                <a:gd name="connsiteX14" fmla="*/ 1273708 w 1898189"/>
                <a:gd name="connsiteY14" fmla="*/ 1778697 h 1902998"/>
                <a:gd name="connsiteX15" fmla="*/ 1303952 w 1898189"/>
                <a:gd name="connsiteY15" fmla="*/ 1853278 h 1902998"/>
                <a:gd name="connsiteX16" fmla="*/ 1303952 w 1898189"/>
                <a:gd name="connsiteY16" fmla="*/ 1863222 h 1902998"/>
                <a:gd name="connsiteX17" fmla="*/ 1278749 w 1898189"/>
                <a:gd name="connsiteY17" fmla="*/ 1898026 h 1902998"/>
                <a:gd name="connsiteX18" fmla="*/ 1273708 w 1898189"/>
                <a:gd name="connsiteY18" fmla="*/ 1898026 h 1902998"/>
                <a:gd name="connsiteX19" fmla="*/ 1258586 w 1898189"/>
                <a:gd name="connsiteY19" fmla="*/ 1902998 h 1902998"/>
                <a:gd name="connsiteX20" fmla="*/ 1228342 w 1898189"/>
                <a:gd name="connsiteY20" fmla="*/ 1878138 h 1902998"/>
                <a:gd name="connsiteX21" fmla="*/ 1203139 w 1898189"/>
                <a:gd name="connsiteY21" fmla="*/ 1803557 h 1902998"/>
                <a:gd name="connsiteX22" fmla="*/ 1198098 w 1898189"/>
                <a:gd name="connsiteY22" fmla="*/ 1793613 h 1902998"/>
                <a:gd name="connsiteX23" fmla="*/ 1223302 w 1898189"/>
                <a:gd name="connsiteY23" fmla="*/ 1758809 h 1902998"/>
                <a:gd name="connsiteX24" fmla="*/ 1228342 w 1898189"/>
                <a:gd name="connsiteY24" fmla="*/ 1768753 h 1902998"/>
                <a:gd name="connsiteX25" fmla="*/ 1223302 w 1898189"/>
                <a:gd name="connsiteY25" fmla="*/ 1758809 h 1902998"/>
                <a:gd name="connsiteX26" fmla="*/ 1233383 w 1898189"/>
                <a:gd name="connsiteY26" fmla="*/ 1758809 h 1902998"/>
                <a:gd name="connsiteX27" fmla="*/ 1243464 w 1898189"/>
                <a:gd name="connsiteY27" fmla="*/ 1753837 h 1902998"/>
                <a:gd name="connsiteX28" fmla="*/ 573615 w 1898189"/>
                <a:gd name="connsiteY28" fmla="*/ 1699209 h 1902998"/>
                <a:gd name="connsiteX29" fmla="*/ 558665 w 1898189"/>
                <a:gd name="connsiteY29" fmla="*/ 1709184 h 1902998"/>
                <a:gd name="connsiteX30" fmla="*/ 493879 w 1898189"/>
                <a:gd name="connsiteY30" fmla="*/ 1838864 h 1902998"/>
                <a:gd name="connsiteX31" fmla="*/ 493879 w 1898189"/>
                <a:gd name="connsiteY31" fmla="*/ 1843852 h 1902998"/>
                <a:gd name="connsiteX32" fmla="*/ 503846 w 1898189"/>
                <a:gd name="connsiteY32" fmla="*/ 1858815 h 1902998"/>
                <a:gd name="connsiteX33" fmla="*/ 508830 w 1898189"/>
                <a:gd name="connsiteY33" fmla="*/ 1863802 h 1902998"/>
                <a:gd name="connsiteX34" fmla="*/ 513813 w 1898189"/>
                <a:gd name="connsiteY34" fmla="*/ 1863802 h 1902998"/>
                <a:gd name="connsiteX35" fmla="*/ 528764 w 1898189"/>
                <a:gd name="connsiteY35" fmla="*/ 1853827 h 1902998"/>
                <a:gd name="connsiteX36" fmla="*/ 593550 w 1898189"/>
                <a:gd name="connsiteY36" fmla="*/ 1724147 h 1902998"/>
                <a:gd name="connsiteX37" fmla="*/ 593550 w 1898189"/>
                <a:gd name="connsiteY37" fmla="*/ 1719160 h 1902998"/>
                <a:gd name="connsiteX38" fmla="*/ 583583 w 1898189"/>
                <a:gd name="connsiteY38" fmla="*/ 1704197 h 1902998"/>
                <a:gd name="connsiteX39" fmla="*/ 578599 w 1898189"/>
                <a:gd name="connsiteY39" fmla="*/ 1704197 h 1902998"/>
                <a:gd name="connsiteX40" fmla="*/ 573615 w 1898189"/>
                <a:gd name="connsiteY40" fmla="*/ 1699209 h 1902998"/>
                <a:gd name="connsiteX41" fmla="*/ 573615 w 1898189"/>
                <a:gd name="connsiteY41" fmla="*/ 1679258 h 1902998"/>
                <a:gd name="connsiteX42" fmla="*/ 588566 w 1898189"/>
                <a:gd name="connsiteY42" fmla="*/ 1684246 h 1902998"/>
                <a:gd name="connsiteX43" fmla="*/ 593550 w 1898189"/>
                <a:gd name="connsiteY43" fmla="*/ 1689233 h 1902998"/>
                <a:gd name="connsiteX44" fmla="*/ 613484 w 1898189"/>
                <a:gd name="connsiteY44" fmla="*/ 1719160 h 1902998"/>
                <a:gd name="connsiteX45" fmla="*/ 608501 w 1898189"/>
                <a:gd name="connsiteY45" fmla="*/ 1734123 h 1902998"/>
                <a:gd name="connsiteX46" fmla="*/ 548698 w 1898189"/>
                <a:gd name="connsiteY46" fmla="*/ 1863802 h 1902998"/>
                <a:gd name="connsiteX47" fmla="*/ 513813 w 1898189"/>
                <a:gd name="connsiteY47" fmla="*/ 1883753 h 1902998"/>
                <a:gd name="connsiteX48" fmla="*/ 498862 w 1898189"/>
                <a:gd name="connsiteY48" fmla="*/ 1878765 h 1902998"/>
                <a:gd name="connsiteX49" fmla="*/ 493879 w 1898189"/>
                <a:gd name="connsiteY49" fmla="*/ 1878765 h 1902998"/>
                <a:gd name="connsiteX50" fmla="*/ 473945 w 1898189"/>
                <a:gd name="connsiteY50" fmla="*/ 1843852 h 1902998"/>
                <a:gd name="connsiteX51" fmla="*/ 478928 w 1898189"/>
                <a:gd name="connsiteY51" fmla="*/ 1828889 h 1902998"/>
                <a:gd name="connsiteX52" fmla="*/ 538731 w 1898189"/>
                <a:gd name="connsiteY52" fmla="*/ 1699209 h 1902998"/>
                <a:gd name="connsiteX53" fmla="*/ 573615 w 1898189"/>
                <a:gd name="connsiteY53" fmla="*/ 1679258 h 1902998"/>
                <a:gd name="connsiteX54" fmla="*/ 1719161 w 1898189"/>
                <a:gd name="connsiteY54" fmla="*/ 1284704 h 1902998"/>
                <a:gd name="connsiteX55" fmla="*/ 1734124 w 1898189"/>
                <a:gd name="connsiteY55" fmla="*/ 1289687 h 1902998"/>
                <a:gd name="connsiteX56" fmla="*/ 1863804 w 1898189"/>
                <a:gd name="connsiteY56" fmla="*/ 1354473 h 1902998"/>
                <a:gd name="connsiteX57" fmla="*/ 1883754 w 1898189"/>
                <a:gd name="connsiteY57" fmla="*/ 1384375 h 1902998"/>
                <a:gd name="connsiteX58" fmla="*/ 1878767 w 1898189"/>
                <a:gd name="connsiteY58" fmla="*/ 1399325 h 1902998"/>
                <a:gd name="connsiteX59" fmla="*/ 1878767 w 1898189"/>
                <a:gd name="connsiteY59" fmla="*/ 1404309 h 1902998"/>
                <a:gd name="connsiteX60" fmla="*/ 1843853 w 1898189"/>
                <a:gd name="connsiteY60" fmla="*/ 1424243 h 1902998"/>
                <a:gd name="connsiteX61" fmla="*/ 1828890 w 1898189"/>
                <a:gd name="connsiteY61" fmla="*/ 1424243 h 1902998"/>
                <a:gd name="connsiteX62" fmla="*/ 1699210 w 1898189"/>
                <a:gd name="connsiteY62" fmla="*/ 1359457 h 1902998"/>
                <a:gd name="connsiteX63" fmla="*/ 1679259 w 1898189"/>
                <a:gd name="connsiteY63" fmla="*/ 1329556 h 1902998"/>
                <a:gd name="connsiteX64" fmla="*/ 1684247 w 1898189"/>
                <a:gd name="connsiteY64" fmla="*/ 1309622 h 1902998"/>
                <a:gd name="connsiteX65" fmla="*/ 1694222 w 1898189"/>
                <a:gd name="connsiteY65" fmla="*/ 1314605 h 1902998"/>
                <a:gd name="connsiteX66" fmla="*/ 1704198 w 1898189"/>
                <a:gd name="connsiteY66" fmla="*/ 1319589 h 1902998"/>
                <a:gd name="connsiteX67" fmla="*/ 1699210 w 1898189"/>
                <a:gd name="connsiteY67" fmla="*/ 1329556 h 1902998"/>
                <a:gd name="connsiteX68" fmla="*/ 1709185 w 1898189"/>
                <a:gd name="connsiteY68" fmla="*/ 1339523 h 1902998"/>
                <a:gd name="connsiteX69" fmla="*/ 1838865 w 1898189"/>
                <a:gd name="connsiteY69" fmla="*/ 1404309 h 1902998"/>
                <a:gd name="connsiteX70" fmla="*/ 1843853 w 1898189"/>
                <a:gd name="connsiteY70" fmla="*/ 1404309 h 1902998"/>
                <a:gd name="connsiteX71" fmla="*/ 1858816 w 1898189"/>
                <a:gd name="connsiteY71" fmla="*/ 1399325 h 1902998"/>
                <a:gd name="connsiteX72" fmla="*/ 1863804 w 1898189"/>
                <a:gd name="connsiteY72" fmla="*/ 1389358 h 1902998"/>
                <a:gd name="connsiteX73" fmla="*/ 1863804 w 1898189"/>
                <a:gd name="connsiteY73" fmla="*/ 1384375 h 1902998"/>
                <a:gd name="connsiteX74" fmla="*/ 1853828 w 1898189"/>
                <a:gd name="connsiteY74" fmla="*/ 1369424 h 1902998"/>
                <a:gd name="connsiteX75" fmla="*/ 1724148 w 1898189"/>
                <a:gd name="connsiteY75" fmla="*/ 1304638 h 1902998"/>
                <a:gd name="connsiteX76" fmla="*/ 1719161 w 1898189"/>
                <a:gd name="connsiteY76" fmla="*/ 1304638 h 1902998"/>
                <a:gd name="connsiteX77" fmla="*/ 1704198 w 1898189"/>
                <a:gd name="connsiteY77" fmla="*/ 1314605 h 1902998"/>
                <a:gd name="connsiteX78" fmla="*/ 1704198 w 1898189"/>
                <a:gd name="connsiteY78" fmla="*/ 1319589 h 1902998"/>
                <a:gd name="connsiteX79" fmla="*/ 1694222 w 1898189"/>
                <a:gd name="connsiteY79" fmla="*/ 1314605 h 1902998"/>
                <a:gd name="connsiteX80" fmla="*/ 1684247 w 1898189"/>
                <a:gd name="connsiteY80" fmla="*/ 1309622 h 1902998"/>
                <a:gd name="connsiteX81" fmla="*/ 1689235 w 1898189"/>
                <a:gd name="connsiteY81" fmla="*/ 1304638 h 1902998"/>
                <a:gd name="connsiteX82" fmla="*/ 1719161 w 1898189"/>
                <a:gd name="connsiteY82" fmla="*/ 1284704 h 1902998"/>
                <a:gd name="connsiteX83" fmla="*/ 119088 w 1898189"/>
                <a:gd name="connsiteY83" fmla="*/ 1213405 h 1902998"/>
                <a:gd name="connsiteX84" fmla="*/ 114126 w 1898189"/>
                <a:gd name="connsiteY84" fmla="*/ 1218436 h 1902998"/>
                <a:gd name="connsiteX85" fmla="*/ 29772 w 1898189"/>
                <a:gd name="connsiteY85" fmla="*/ 1248618 h 1902998"/>
                <a:gd name="connsiteX86" fmla="*/ 19848 w 1898189"/>
                <a:gd name="connsiteY86" fmla="*/ 1263709 h 1902998"/>
                <a:gd name="connsiteX87" fmla="*/ 19848 w 1898189"/>
                <a:gd name="connsiteY87" fmla="*/ 1268739 h 1902998"/>
                <a:gd name="connsiteX88" fmla="*/ 19848 w 1898189"/>
                <a:gd name="connsiteY88" fmla="*/ 1273769 h 1902998"/>
                <a:gd name="connsiteX89" fmla="*/ 9924 w 1898189"/>
                <a:gd name="connsiteY89" fmla="*/ 1278800 h 1902998"/>
                <a:gd name="connsiteX90" fmla="*/ 19848 w 1898189"/>
                <a:gd name="connsiteY90" fmla="*/ 1273769 h 1902998"/>
                <a:gd name="connsiteX91" fmla="*/ 34734 w 1898189"/>
                <a:gd name="connsiteY91" fmla="*/ 1283830 h 1902998"/>
                <a:gd name="connsiteX92" fmla="*/ 39696 w 1898189"/>
                <a:gd name="connsiteY92" fmla="*/ 1283830 h 1902998"/>
                <a:gd name="connsiteX93" fmla="*/ 129012 w 1898189"/>
                <a:gd name="connsiteY93" fmla="*/ 1253648 h 1902998"/>
                <a:gd name="connsiteX94" fmla="*/ 138936 w 1898189"/>
                <a:gd name="connsiteY94" fmla="*/ 1238557 h 1902998"/>
                <a:gd name="connsiteX95" fmla="*/ 138936 w 1898189"/>
                <a:gd name="connsiteY95" fmla="*/ 1233527 h 1902998"/>
                <a:gd name="connsiteX96" fmla="*/ 133974 w 1898189"/>
                <a:gd name="connsiteY96" fmla="*/ 1223466 h 1902998"/>
                <a:gd name="connsiteX97" fmla="*/ 119088 w 1898189"/>
                <a:gd name="connsiteY97" fmla="*/ 1213405 h 1902998"/>
                <a:gd name="connsiteX98" fmla="*/ 119088 w 1898189"/>
                <a:gd name="connsiteY98" fmla="*/ 1193284 h 1902998"/>
                <a:gd name="connsiteX99" fmla="*/ 153822 w 1898189"/>
                <a:gd name="connsiteY99" fmla="*/ 1218436 h 1902998"/>
                <a:gd name="connsiteX100" fmla="*/ 153822 w 1898189"/>
                <a:gd name="connsiteY100" fmla="*/ 1228496 h 1902998"/>
                <a:gd name="connsiteX101" fmla="*/ 158784 w 1898189"/>
                <a:gd name="connsiteY101" fmla="*/ 1238557 h 1902998"/>
                <a:gd name="connsiteX102" fmla="*/ 133974 w 1898189"/>
                <a:gd name="connsiteY102" fmla="*/ 1273769 h 1902998"/>
                <a:gd name="connsiteX103" fmla="*/ 44658 w 1898189"/>
                <a:gd name="connsiteY103" fmla="*/ 1303951 h 1902998"/>
                <a:gd name="connsiteX104" fmla="*/ 34734 w 1898189"/>
                <a:gd name="connsiteY104" fmla="*/ 1303951 h 1902998"/>
                <a:gd name="connsiteX105" fmla="*/ 0 w 1898189"/>
                <a:gd name="connsiteY105" fmla="*/ 1278800 h 1902998"/>
                <a:gd name="connsiteX106" fmla="*/ 0 w 1898189"/>
                <a:gd name="connsiteY106" fmla="*/ 1273769 h 1902998"/>
                <a:gd name="connsiteX107" fmla="*/ 0 w 1898189"/>
                <a:gd name="connsiteY107" fmla="*/ 1263709 h 1902998"/>
                <a:gd name="connsiteX108" fmla="*/ 19848 w 1898189"/>
                <a:gd name="connsiteY108" fmla="*/ 1228496 h 1902998"/>
                <a:gd name="connsiteX109" fmla="*/ 109164 w 1898189"/>
                <a:gd name="connsiteY109" fmla="*/ 1198314 h 1902998"/>
                <a:gd name="connsiteX110" fmla="*/ 119088 w 1898189"/>
                <a:gd name="connsiteY110" fmla="*/ 1193284 h 1902998"/>
                <a:gd name="connsiteX111" fmla="*/ 1858369 w 1898189"/>
                <a:gd name="connsiteY111" fmla="*/ 614396 h 1902998"/>
                <a:gd name="connsiteX112" fmla="*/ 1783706 w 1898189"/>
                <a:gd name="connsiteY112" fmla="*/ 639599 h 1902998"/>
                <a:gd name="connsiteX113" fmla="*/ 1773751 w 1898189"/>
                <a:gd name="connsiteY113" fmla="*/ 654721 h 1902998"/>
                <a:gd name="connsiteX114" fmla="*/ 1773751 w 1898189"/>
                <a:gd name="connsiteY114" fmla="*/ 659762 h 1902998"/>
                <a:gd name="connsiteX115" fmla="*/ 1778729 w 1898189"/>
                <a:gd name="connsiteY115" fmla="*/ 669843 h 1902998"/>
                <a:gd name="connsiteX116" fmla="*/ 1793661 w 1898189"/>
                <a:gd name="connsiteY116" fmla="*/ 679924 h 1902998"/>
                <a:gd name="connsiteX117" fmla="*/ 1798639 w 1898189"/>
                <a:gd name="connsiteY117" fmla="*/ 679924 h 1902998"/>
                <a:gd name="connsiteX118" fmla="*/ 1868324 w 1898189"/>
                <a:gd name="connsiteY118" fmla="*/ 654721 h 1902998"/>
                <a:gd name="connsiteX119" fmla="*/ 1878279 w 1898189"/>
                <a:gd name="connsiteY119" fmla="*/ 639599 h 1902998"/>
                <a:gd name="connsiteX120" fmla="*/ 1878279 w 1898189"/>
                <a:gd name="connsiteY120" fmla="*/ 634558 h 1902998"/>
                <a:gd name="connsiteX121" fmla="*/ 1878279 w 1898189"/>
                <a:gd name="connsiteY121" fmla="*/ 624477 h 1902998"/>
                <a:gd name="connsiteX122" fmla="*/ 1863347 w 1898189"/>
                <a:gd name="connsiteY122" fmla="*/ 614396 h 1902998"/>
                <a:gd name="connsiteX123" fmla="*/ 1858369 w 1898189"/>
                <a:gd name="connsiteY123" fmla="*/ 614396 h 1902998"/>
                <a:gd name="connsiteX124" fmla="*/ 1863347 w 1898189"/>
                <a:gd name="connsiteY124" fmla="*/ 594233 h 1902998"/>
                <a:gd name="connsiteX125" fmla="*/ 1898189 w 1898189"/>
                <a:gd name="connsiteY125" fmla="*/ 619436 h 1902998"/>
                <a:gd name="connsiteX126" fmla="*/ 1898189 w 1898189"/>
                <a:gd name="connsiteY126" fmla="*/ 624477 h 1902998"/>
                <a:gd name="connsiteX127" fmla="*/ 1898189 w 1898189"/>
                <a:gd name="connsiteY127" fmla="*/ 639599 h 1902998"/>
                <a:gd name="connsiteX128" fmla="*/ 1878279 w 1898189"/>
                <a:gd name="connsiteY128" fmla="*/ 669843 h 1902998"/>
                <a:gd name="connsiteX129" fmla="*/ 1803616 w 1898189"/>
                <a:gd name="connsiteY129" fmla="*/ 695046 h 1902998"/>
                <a:gd name="connsiteX130" fmla="*/ 1793661 w 1898189"/>
                <a:gd name="connsiteY130" fmla="*/ 700087 h 1902998"/>
                <a:gd name="connsiteX131" fmla="*/ 1758819 w 1898189"/>
                <a:gd name="connsiteY131" fmla="*/ 674884 h 1902998"/>
                <a:gd name="connsiteX132" fmla="*/ 1768774 w 1898189"/>
                <a:gd name="connsiteY132" fmla="*/ 669843 h 1902998"/>
                <a:gd name="connsiteX133" fmla="*/ 1758819 w 1898189"/>
                <a:gd name="connsiteY133" fmla="*/ 674884 h 1902998"/>
                <a:gd name="connsiteX134" fmla="*/ 1758819 w 1898189"/>
                <a:gd name="connsiteY134" fmla="*/ 669843 h 1902998"/>
                <a:gd name="connsiteX135" fmla="*/ 1753841 w 1898189"/>
                <a:gd name="connsiteY135" fmla="*/ 654721 h 1902998"/>
                <a:gd name="connsiteX136" fmla="*/ 1778729 w 1898189"/>
                <a:gd name="connsiteY136" fmla="*/ 624477 h 1902998"/>
                <a:gd name="connsiteX137" fmla="*/ 1853392 w 1898189"/>
                <a:gd name="connsiteY137" fmla="*/ 599274 h 1902998"/>
                <a:gd name="connsiteX138" fmla="*/ 1863347 w 1898189"/>
                <a:gd name="connsiteY138" fmla="*/ 594233 h 1902998"/>
                <a:gd name="connsiteX139" fmla="*/ 54337 w 1898189"/>
                <a:gd name="connsiteY139" fmla="*/ 494222 h 1902998"/>
                <a:gd name="connsiteX140" fmla="*/ 39374 w 1898189"/>
                <a:gd name="connsiteY140" fmla="*/ 504360 h 1902998"/>
                <a:gd name="connsiteX141" fmla="*/ 34386 w 1898189"/>
                <a:gd name="connsiteY141" fmla="*/ 509430 h 1902998"/>
                <a:gd name="connsiteX142" fmla="*/ 34386 w 1898189"/>
                <a:gd name="connsiteY142" fmla="*/ 514499 h 1902998"/>
                <a:gd name="connsiteX143" fmla="*/ 44362 w 1898189"/>
                <a:gd name="connsiteY143" fmla="*/ 529707 h 1902998"/>
                <a:gd name="connsiteX144" fmla="*/ 174042 w 1898189"/>
                <a:gd name="connsiteY144" fmla="*/ 595610 h 1902998"/>
                <a:gd name="connsiteX145" fmla="*/ 179029 w 1898189"/>
                <a:gd name="connsiteY145" fmla="*/ 595610 h 1902998"/>
                <a:gd name="connsiteX146" fmla="*/ 193992 w 1898189"/>
                <a:gd name="connsiteY146" fmla="*/ 585471 h 1902998"/>
                <a:gd name="connsiteX147" fmla="*/ 198980 w 1898189"/>
                <a:gd name="connsiteY147" fmla="*/ 580401 h 1902998"/>
                <a:gd name="connsiteX148" fmla="*/ 198980 w 1898189"/>
                <a:gd name="connsiteY148" fmla="*/ 575332 h 1902998"/>
                <a:gd name="connsiteX149" fmla="*/ 189005 w 1898189"/>
                <a:gd name="connsiteY149" fmla="*/ 560124 h 1902998"/>
                <a:gd name="connsiteX150" fmla="*/ 59325 w 1898189"/>
                <a:gd name="connsiteY150" fmla="*/ 494222 h 1902998"/>
                <a:gd name="connsiteX151" fmla="*/ 54337 w 1898189"/>
                <a:gd name="connsiteY151" fmla="*/ 494222 h 1902998"/>
                <a:gd name="connsiteX152" fmla="*/ 54337 w 1898189"/>
                <a:gd name="connsiteY152" fmla="*/ 473944 h 1902998"/>
                <a:gd name="connsiteX153" fmla="*/ 69300 w 1898189"/>
                <a:gd name="connsiteY153" fmla="*/ 479014 h 1902998"/>
                <a:gd name="connsiteX154" fmla="*/ 198980 w 1898189"/>
                <a:gd name="connsiteY154" fmla="*/ 539846 h 1902998"/>
                <a:gd name="connsiteX155" fmla="*/ 218931 w 1898189"/>
                <a:gd name="connsiteY155" fmla="*/ 575332 h 1902998"/>
                <a:gd name="connsiteX156" fmla="*/ 213943 w 1898189"/>
                <a:gd name="connsiteY156" fmla="*/ 590540 h 1902998"/>
                <a:gd name="connsiteX157" fmla="*/ 213943 w 1898189"/>
                <a:gd name="connsiteY157" fmla="*/ 595610 h 1902998"/>
                <a:gd name="connsiteX158" fmla="*/ 179029 w 1898189"/>
                <a:gd name="connsiteY158" fmla="*/ 615887 h 1902998"/>
                <a:gd name="connsiteX159" fmla="*/ 164066 w 1898189"/>
                <a:gd name="connsiteY159" fmla="*/ 610818 h 1902998"/>
                <a:gd name="connsiteX160" fmla="*/ 34386 w 1898189"/>
                <a:gd name="connsiteY160" fmla="*/ 549985 h 1902998"/>
                <a:gd name="connsiteX161" fmla="*/ 14436 w 1898189"/>
                <a:gd name="connsiteY161" fmla="*/ 514499 h 1902998"/>
                <a:gd name="connsiteX162" fmla="*/ 19423 w 1898189"/>
                <a:gd name="connsiteY162" fmla="*/ 499291 h 1902998"/>
                <a:gd name="connsiteX163" fmla="*/ 29399 w 1898189"/>
                <a:gd name="connsiteY163" fmla="*/ 504360 h 1902998"/>
                <a:gd name="connsiteX164" fmla="*/ 19423 w 1898189"/>
                <a:gd name="connsiteY164" fmla="*/ 499291 h 1902998"/>
                <a:gd name="connsiteX165" fmla="*/ 24411 w 1898189"/>
                <a:gd name="connsiteY165" fmla="*/ 494222 h 1902998"/>
                <a:gd name="connsiteX166" fmla="*/ 54337 w 1898189"/>
                <a:gd name="connsiteY166" fmla="*/ 473944 h 1902998"/>
                <a:gd name="connsiteX167" fmla="*/ 1384378 w 1898189"/>
                <a:gd name="connsiteY167" fmla="*/ 34617 h 1902998"/>
                <a:gd name="connsiteX168" fmla="*/ 1369427 w 1898189"/>
                <a:gd name="connsiteY168" fmla="*/ 44710 h 1902998"/>
                <a:gd name="connsiteX169" fmla="*/ 1304641 w 1898189"/>
                <a:gd name="connsiteY169" fmla="*/ 175915 h 1902998"/>
                <a:gd name="connsiteX170" fmla="*/ 1304641 w 1898189"/>
                <a:gd name="connsiteY170" fmla="*/ 180961 h 1902998"/>
                <a:gd name="connsiteX171" fmla="*/ 1314608 w 1898189"/>
                <a:gd name="connsiteY171" fmla="*/ 196100 h 1902998"/>
                <a:gd name="connsiteX172" fmla="*/ 1319592 w 1898189"/>
                <a:gd name="connsiteY172" fmla="*/ 201147 h 1902998"/>
                <a:gd name="connsiteX173" fmla="*/ 1329559 w 1898189"/>
                <a:gd name="connsiteY173" fmla="*/ 201147 h 1902998"/>
                <a:gd name="connsiteX174" fmla="*/ 1339526 w 1898189"/>
                <a:gd name="connsiteY174" fmla="*/ 191054 h 1902998"/>
                <a:gd name="connsiteX175" fmla="*/ 1404312 w 1898189"/>
                <a:gd name="connsiteY175" fmla="*/ 59849 h 1902998"/>
                <a:gd name="connsiteX176" fmla="*/ 1404312 w 1898189"/>
                <a:gd name="connsiteY176" fmla="*/ 54803 h 1902998"/>
                <a:gd name="connsiteX177" fmla="*/ 1399329 w 1898189"/>
                <a:gd name="connsiteY177" fmla="*/ 39664 h 1902998"/>
                <a:gd name="connsiteX178" fmla="*/ 1389361 w 1898189"/>
                <a:gd name="connsiteY178" fmla="*/ 34617 h 1902998"/>
                <a:gd name="connsiteX179" fmla="*/ 1384378 w 1898189"/>
                <a:gd name="connsiteY179" fmla="*/ 34617 h 1902998"/>
                <a:gd name="connsiteX180" fmla="*/ 1384378 w 1898189"/>
                <a:gd name="connsiteY180" fmla="*/ 14432 h 1902998"/>
                <a:gd name="connsiteX181" fmla="*/ 1399329 w 1898189"/>
                <a:gd name="connsiteY181" fmla="*/ 19478 h 1902998"/>
                <a:gd name="connsiteX182" fmla="*/ 1404312 w 1898189"/>
                <a:gd name="connsiteY182" fmla="*/ 24525 h 1902998"/>
                <a:gd name="connsiteX183" fmla="*/ 1424246 w 1898189"/>
                <a:gd name="connsiteY183" fmla="*/ 54803 h 1902998"/>
                <a:gd name="connsiteX184" fmla="*/ 1424246 w 1898189"/>
                <a:gd name="connsiteY184" fmla="*/ 69942 h 1902998"/>
                <a:gd name="connsiteX185" fmla="*/ 1359460 w 1898189"/>
                <a:gd name="connsiteY185" fmla="*/ 201147 h 1902998"/>
                <a:gd name="connsiteX186" fmla="*/ 1329559 w 1898189"/>
                <a:gd name="connsiteY186" fmla="*/ 221332 h 1902998"/>
                <a:gd name="connsiteX187" fmla="*/ 1309625 w 1898189"/>
                <a:gd name="connsiteY187" fmla="*/ 216286 h 1902998"/>
                <a:gd name="connsiteX188" fmla="*/ 1304641 w 1898189"/>
                <a:gd name="connsiteY188" fmla="*/ 216286 h 1902998"/>
                <a:gd name="connsiteX189" fmla="*/ 1284707 w 1898189"/>
                <a:gd name="connsiteY189" fmla="*/ 180961 h 1902998"/>
                <a:gd name="connsiteX190" fmla="*/ 1289691 w 1898189"/>
                <a:gd name="connsiteY190" fmla="*/ 165822 h 1902998"/>
                <a:gd name="connsiteX191" fmla="*/ 1354477 w 1898189"/>
                <a:gd name="connsiteY191" fmla="*/ 34617 h 1902998"/>
                <a:gd name="connsiteX192" fmla="*/ 1384378 w 1898189"/>
                <a:gd name="connsiteY192" fmla="*/ 14432 h 1902998"/>
                <a:gd name="connsiteX193" fmla="*/ 619389 w 1898189"/>
                <a:gd name="connsiteY193" fmla="*/ 10074 h 1902998"/>
                <a:gd name="connsiteX194" fmla="*/ 624419 w 1898189"/>
                <a:gd name="connsiteY194" fmla="*/ 20149 h 1902998"/>
                <a:gd name="connsiteX195" fmla="*/ 614359 w 1898189"/>
                <a:gd name="connsiteY195" fmla="*/ 35260 h 1902998"/>
                <a:gd name="connsiteX196" fmla="*/ 614359 w 1898189"/>
                <a:gd name="connsiteY196" fmla="*/ 40297 h 1902998"/>
                <a:gd name="connsiteX197" fmla="*/ 644540 w 1898189"/>
                <a:gd name="connsiteY197" fmla="*/ 130966 h 1902998"/>
                <a:gd name="connsiteX198" fmla="*/ 659631 w 1898189"/>
                <a:gd name="connsiteY198" fmla="*/ 141041 h 1902998"/>
                <a:gd name="connsiteX199" fmla="*/ 664662 w 1898189"/>
                <a:gd name="connsiteY199" fmla="*/ 141041 h 1902998"/>
                <a:gd name="connsiteX200" fmla="*/ 674722 w 1898189"/>
                <a:gd name="connsiteY200" fmla="*/ 136003 h 1902998"/>
                <a:gd name="connsiteX201" fmla="*/ 684783 w 1898189"/>
                <a:gd name="connsiteY201" fmla="*/ 125929 h 1902998"/>
                <a:gd name="connsiteX202" fmla="*/ 679753 w 1898189"/>
                <a:gd name="connsiteY202" fmla="*/ 120892 h 1902998"/>
                <a:gd name="connsiteX203" fmla="*/ 649571 w 1898189"/>
                <a:gd name="connsiteY203" fmla="*/ 30223 h 1902998"/>
                <a:gd name="connsiteX204" fmla="*/ 639510 w 1898189"/>
                <a:gd name="connsiteY204" fmla="*/ 20149 h 1902998"/>
                <a:gd name="connsiteX205" fmla="*/ 634480 w 1898189"/>
                <a:gd name="connsiteY205" fmla="*/ 20149 h 1902998"/>
                <a:gd name="connsiteX206" fmla="*/ 624419 w 1898189"/>
                <a:gd name="connsiteY206" fmla="*/ 20149 h 1902998"/>
                <a:gd name="connsiteX207" fmla="*/ 619389 w 1898189"/>
                <a:gd name="connsiteY207" fmla="*/ 10074 h 1902998"/>
                <a:gd name="connsiteX208" fmla="*/ 624419 w 1898189"/>
                <a:gd name="connsiteY208" fmla="*/ 0 h 1902998"/>
                <a:gd name="connsiteX209" fmla="*/ 639510 w 1898189"/>
                <a:gd name="connsiteY209" fmla="*/ 0 h 1902998"/>
                <a:gd name="connsiteX210" fmla="*/ 669692 w 1898189"/>
                <a:gd name="connsiteY210" fmla="*/ 20149 h 1902998"/>
                <a:gd name="connsiteX211" fmla="*/ 699874 w 1898189"/>
                <a:gd name="connsiteY211" fmla="*/ 110818 h 1902998"/>
                <a:gd name="connsiteX212" fmla="*/ 704904 w 1898189"/>
                <a:gd name="connsiteY212" fmla="*/ 125929 h 1902998"/>
                <a:gd name="connsiteX213" fmla="*/ 679753 w 1898189"/>
                <a:gd name="connsiteY213" fmla="*/ 156152 h 1902998"/>
                <a:gd name="connsiteX214" fmla="*/ 669692 w 1898189"/>
                <a:gd name="connsiteY214" fmla="*/ 161189 h 1902998"/>
                <a:gd name="connsiteX215" fmla="*/ 659631 w 1898189"/>
                <a:gd name="connsiteY215" fmla="*/ 161189 h 1902998"/>
                <a:gd name="connsiteX216" fmla="*/ 629449 w 1898189"/>
                <a:gd name="connsiteY216" fmla="*/ 136003 h 1902998"/>
                <a:gd name="connsiteX217" fmla="*/ 594237 w 1898189"/>
                <a:gd name="connsiteY217" fmla="*/ 45335 h 1902998"/>
                <a:gd name="connsiteX218" fmla="*/ 594237 w 1898189"/>
                <a:gd name="connsiteY218" fmla="*/ 35260 h 1902998"/>
                <a:gd name="connsiteX219" fmla="*/ 619389 w 1898189"/>
                <a:gd name="connsiteY219" fmla="*/ 5037 h 1902998"/>
                <a:gd name="connsiteX220" fmla="*/ 624419 w 1898189"/>
                <a:gd name="connsiteY220" fmla="*/ 0 h 1902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</a:cxnLst>
              <a:rect l="l" t="t" r="r" b="b"/>
              <a:pathLst>
                <a:path w="1898189" h="1902998">
                  <a:moveTo>
                    <a:pt x="1243464" y="1773725"/>
                  </a:moveTo>
                  <a:cubicBezTo>
                    <a:pt x="1243464" y="1773725"/>
                    <a:pt x="1243464" y="1773725"/>
                    <a:pt x="1238424" y="1778697"/>
                  </a:cubicBezTo>
                  <a:cubicBezTo>
                    <a:pt x="1238424" y="1778697"/>
                    <a:pt x="1238424" y="1778697"/>
                    <a:pt x="1228342" y="1778697"/>
                  </a:cubicBezTo>
                  <a:cubicBezTo>
                    <a:pt x="1223302" y="1778697"/>
                    <a:pt x="1218261" y="1788641"/>
                    <a:pt x="1218261" y="1793613"/>
                  </a:cubicBezTo>
                  <a:cubicBezTo>
                    <a:pt x="1218261" y="1793613"/>
                    <a:pt x="1218261" y="1793613"/>
                    <a:pt x="1223302" y="1798585"/>
                  </a:cubicBezTo>
                  <a:cubicBezTo>
                    <a:pt x="1223302" y="1798585"/>
                    <a:pt x="1223302" y="1798585"/>
                    <a:pt x="1248505" y="1873166"/>
                  </a:cubicBezTo>
                  <a:cubicBezTo>
                    <a:pt x="1248505" y="1878138"/>
                    <a:pt x="1253546" y="1883110"/>
                    <a:pt x="1258586" y="1883110"/>
                  </a:cubicBezTo>
                  <a:cubicBezTo>
                    <a:pt x="1258586" y="1883110"/>
                    <a:pt x="1258586" y="1883110"/>
                    <a:pt x="1263627" y="1878138"/>
                  </a:cubicBezTo>
                  <a:cubicBezTo>
                    <a:pt x="1263627" y="1878138"/>
                    <a:pt x="1263627" y="1878138"/>
                    <a:pt x="1273708" y="1878138"/>
                  </a:cubicBezTo>
                  <a:cubicBezTo>
                    <a:pt x="1278749" y="1873166"/>
                    <a:pt x="1283790" y="1868194"/>
                    <a:pt x="1283790" y="1863222"/>
                  </a:cubicBezTo>
                  <a:cubicBezTo>
                    <a:pt x="1283790" y="1863222"/>
                    <a:pt x="1283790" y="1863222"/>
                    <a:pt x="1283790" y="1858250"/>
                  </a:cubicBezTo>
                  <a:cubicBezTo>
                    <a:pt x="1283790" y="1858250"/>
                    <a:pt x="1283790" y="1858250"/>
                    <a:pt x="1258586" y="1783669"/>
                  </a:cubicBezTo>
                  <a:cubicBezTo>
                    <a:pt x="1253546" y="1778697"/>
                    <a:pt x="1248505" y="1773725"/>
                    <a:pt x="1243464" y="1773725"/>
                  </a:cubicBezTo>
                  <a:close/>
                  <a:moveTo>
                    <a:pt x="1243464" y="1753837"/>
                  </a:moveTo>
                  <a:cubicBezTo>
                    <a:pt x="1258586" y="1753837"/>
                    <a:pt x="1268668" y="1763781"/>
                    <a:pt x="1273708" y="1778697"/>
                  </a:cubicBezTo>
                  <a:cubicBezTo>
                    <a:pt x="1273708" y="1778697"/>
                    <a:pt x="1273708" y="1778697"/>
                    <a:pt x="1303952" y="1853278"/>
                  </a:cubicBezTo>
                  <a:cubicBezTo>
                    <a:pt x="1303952" y="1858250"/>
                    <a:pt x="1303952" y="1858250"/>
                    <a:pt x="1303952" y="1863222"/>
                  </a:cubicBezTo>
                  <a:cubicBezTo>
                    <a:pt x="1303952" y="1878138"/>
                    <a:pt x="1293871" y="1893054"/>
                    <a:pt x="1278749" y="1898026"/>
                  </a:cubicBezTo>
                  <a:cubicBezTo>
                    <a:pt x="1278749" y="1898026"/>
                    <a:pt x="1278749" y="1898026"/>
                    <a:pt x="1273708" y="1898026"/>
                  </a:cubicBezTo>
                  <a:cubicBezTo>
                    <a:pt x="1268668" y="1898026"/>
                    <a:pt x="1263627" y="1902998"/>
                    <a:pt x="1258586" y="1902998"/>
                  </a:cubicBezTo>
                  <a:cubicBezTo>
                    <a:pt x="1248505" y="1902998"/>
                    <a:pt x="1233383" y="1893054"/>
                    <a:pt x="1228342" y="1878138"/>
                  </a:cubicBezTo>
                  <a:cubicBezTo>
                    <a:pt x="1228342" y="1878138"/>
                    <a:pt x="1228342" y="1878138"/>
                    <a:pt x="1203139" y="1803557"/>
                  </a:cubicBezTo>
                  <a:cubicBezTo>
                    <a:pt x="1203139" y="1798585"/>
                    <a:pt x="1198098" y="1798585"/>
                    <a:pt x="1198098" y="1793613"/>
                  </a:cubicBezTo>
                  <a:cubicBezTo>
                    <a:pt x="1198098" y="1778697"/>
                    <a:pt x="1208180" y="1763781"/>
                    <a:pt x="1223302" y="1758809"/>
                  </a:cubicBezTo>
                  <a:lnTo>
                    <a:pt x="1228342" y="1768753"/>
                  </a:lnTo>
                  <a:cubicBezTo>
                    <a:pt x="1223302" y="1758809"/>
                    <a:pt x="1223302" y="1758809"/>
                    <a:pt x="1223302" y="1758809"/>
                  </a:cubicBezTo>
                  <a:cubicBezTo>
                    <a:pt x="1223302" y="1758809"/>
                    <a:pt x="1223302" y="1758809"/>
                    <a:pt x="1233383" y="1758809"/>
                  </a:cubicBezTo>
                  <a:cubicBezTo>
                    <a:pt x="1233383" y="1753837"/>
                    <a:pt x="1238424" y="1753837"/>
                    <a:pt x="1243464" y="1753837"/>
                  </a:cubicBezTo>
                  <a:close/>
                  <a:moveTo>
                    <a:pt x="573615" y="1699209"/>
                  </a:moveTo>
                  <a:cubicBezTo>
                    <a:pt x="568632" y="1699209"/>
                    <a:pt x="558665" y="1704197"/>
                    <a:pt x="558665" y="1709184"/>
                  </a:cubicBezTo>
                  <a:cubicBezTo>
                    <a:pt x="558665" y="1709184"/>
                    <a:pt x="558665" y="1709184"/>
                    <a:pt x="493879" y="1838864"/>
                  </a:cubicBezTo>
                  <a:cubicBezTo>
                    <a:pt x="493879" y="1838864"/>
                    <a:pt x="493879" y="1843852"/>
                    <a:pt x="493879" y="1843852"/>
                  </a:cubicBezTo>
                  <a:cubicBezTo>
                    <a:pt x="493879" y="1848839"/>
                    <a:pt x="498862" y="1853827"/>
                    <a:pt x="503846" y="1858815"/>
                  </a:cubicBezTo>
                  <a:cubicBezTo>
                    <a:pt x="503846" y="1858815"/>
                    <a:pt x="503846" y="1858815"/>
                    <a:pt x="508830" y="1863802"/>
                  </a:cubicBezTo>
                  <a:cubicBezTo>
                    <a:pt x="508830" y="1863802"/>
                    <a:pt x="513813" y="1863802"/>
                    <a:pt x="513813" y="1863802"/>
                  </a:cubicBezTo>
                  <a:cubicBezTo>
                    <a:pt x="518797" y="1863802"/>
                    <a:pt x="523780" y="1858815"/>
                    <a:pt x="528764" y="1853827"/>
                  </a:cubicBezTo>
                  <a:cubicBezTo>
                    <a:pt x="528764" y="1853827"/>
                    <a:pt x="528764" y="1853827"/>
                    <a:pt x="593550" y="1724147"/>
                  </a:cubicBezTo>
                  <a:cubicBezTo>
                    <a:pt x="593550" y="1724147"/>
                    <a:pt x="593550" y="1719160"/>
                    <a:pt x="593550" y="1719160"/>
                  </a:cubicBezTo>
                  <a:cubicBezTo>
                    <a:pt x="593550" y="1714172"/>
                    <a:pt x="588566" y="1709184"/>
                    <a:pt x="583583" y="1704197"/>
                  </a:cubicBezTo>
                  <a:cubicBezTo>
                    <a:pt x="583583" y="1704197"/>
                    <a:pt x="583583" y="1704197"/>
                    <a:pt x="578599" y="1704197"/>
                  </a:cubicBezTo>
                  <a:cubicBezTo>
                    <a:pt x="578599" y="1699209"/>
                    <a:pt x="573615" y="1699209"/>
                    <a:pt x="573615" y="1699209"/>
                  </a:cubicBezTo>
                  <a:close/>
                  <a:moveTo>
                    <a:pt x="573615" y="1679258"/>
                  </a:moveTo>
                  <a:cubicBezTo>
                    <a:pt x="578599" y="1679258"/>
                    <a:pt x="583583" y="1679258"/>
                    <a:pt x="588566" y="1684246"/>
                  </a:cubicBezTo>
                  <a:cubicBezTo>
                    <a:pt x="588566" y="1684246"/>
                    <a:pt x="588566" y="1684246"/>
                    <a:pt x="593550" y="1689233"/>
                  </a:cubicBezTo>
                  <a:cubicBezTo>
                    <a:pt x="608501" y="1694221"/>
                    <a:pt x="613484" y="1704197"/>
                    <a:pt x="613484" y="1719160"/>
                  </a:cubicBezTo>
                  <a:cubicBezTo>
                    <a:pt x="613484" y="1724147"/>
                    <a:pt x="613484" y="1729135"/>
                    <a:pt x="608501" y="1734123"/>
                  </a:cubicBezTo>
                  <a:cubicBezTo>
                    <a:pt x="608501" y="1734123"/>
                    <a:pt x="608501" y="1734123"/>
                    <a:pt x="548698" y="1863802"/>
                  </a:cubicBezTo>
                  <a:cubicBezTo>
                    <a:pt x="538731" y="1878765"/>
                    <a:pt x="528764" y="1883753"/>
                    <a:pt x="513813" y="1883753"/>
                  </a:cubicBezTo>
                  <a:cubicBezTo>
                    <a:pt x="508830" y="1883753"/>
                    <a:pt x="503846" y="1883753"/>
                    <a:pt x="498862" y="1878765"/>
                  </a:cubicBezTo>
                  <a:cubicBezTo>
                    <a:pt x="498862" y="1878765"/>
                    <a:pt x="498862" y="1878765"/>
                    <a:pt x="493879" y="1878765"/>
                  </a:cubicBezTo>
                  <a:cubicBezTo>
                    <a:pt x="478928" y="1868790"/>
                    <a:pt x="473945" y="1858815"/>
                    <a:pt x="473945" y="1843852"/>
                  </a:cubicBezTo>
                  <a:cubicBezTo>
                    <a:pt x="473945" y="1838864"/>
                    <a:pt x="473945" y="1833876"/>
                    <a:pt x="478928" y="1828889"/>
                  </a:cubicBezTo>
                  <a:cubicBezTo>
                    <a:pt x="478928" y="1828889"/>
                    <a:pt x="478928" y="1828889"/>
                    <a:pt x="538731" y="1699209"/>
                  </a:cubicBezTo>
                  <a:cubicBezTo>
                    <a:pt x="548698" y="1689233"/>
                    <a:pt x="558665" y="1679258"/>
                    <a:pt x="573615" y="1679258"/>
                  </a:cubicBezTo>
                  <a:close/>
                  <a:moveTo>
                    <a:pt x="1719161" y="1284704"/>
                  </a:moveTo>
                  <a:cubicBezTo>
                    <a:pt x="1724148" y="1284704"/>
                    <a:pt x="1729136" y="1284704"/>
                    <a:pt x="1734124" y="1289687"/>
                  </a:cubicBezTo>
                  <a:cubicBezTo>
                    <a:pt x="1734124" y="1289687"/>
                    <a:pt x="1734124" y="1289687"/>
                    <a:pt x="1863804" y="1354473"/>
                  </a:cubicBezTo>
                  <a:cubicBezTo>
                    <a:pt x="1878767" y="1359457"/>
                    <a:pt x="1883754" y="1369424"/>
                    <a:pt x="1883754" y="1384375"/>
                  </a:cubicBezTo>
                  <a:cubicBezTo>
                    <a:pt x="1883754" y="1389358"/>
                    <a:pt x="1883754" y="1394342"/>
                    <a:pt x="1878767" y="1399325"/>
                  </a:cubicBezTo>
                  <a:cubicBezTo>
                    <a:pt x="1878767" y="1399325"/>
                    <a:pt x="1878767" y="1399325"/>
                    <a:pt x="1878767" y="1404309"/>
                  </a:cubicBezTo>
                  <a:cubicBezTo>
                    <a:pt x="1868791" y="1419259"/>
                    <a:pt x="1858816" y="1424243"/>
                    <a:pt x="1843853" y="1424243"/>
                  </a:cubicBezTo>
                  <a:cubicBezTo>
                    <a:pt x="1838865" y="1424243"/>
                    <a:pt x="1833877" y="1424243"/>
                    <a:pt x="1828890" y="1424243"/>
                  </a:cubicBezTo>
                  <a:cubicBezTo>
                    <a:pt x="1828890" y="1424243"/>
                    <a:pt x="1828890" y="1424243"/>
                    <a:pt x="1699210" y="1359457"/>
                  </a:cubicBezTo>
                  <a:cubicBezTo>
                    <a:pt x="1689235" y="1354473"/>
                    <a:pt x="1679259" y="1339523"/>
                    <a:pt x="1679259" y="1329556"/>
                  </a:cubicBezTo>
                  <a:cubicBezTo>
                    <a:pt x="1679259" y="1319589"/>
                    <a:pt x="1684247" y="1314605"/>
                    <a:pt x="1684247" y="1309622"/>
                  </a:cubicBezTo>
                  <a:cubicBezTo>
                    <a:pt x="1684247" y="1309622"/>
                    <a:pt x="1684247" y="1309622"/>
                    <a:pt x="1694222" y="1314605"/>
                  </a:cubicBezTo>
                  <a:cubicBezTo>
                    <a:pt x="1704198" y="1319589"/>
                    <a:pt x="1704198" y="1319589"/>
                    <a:pt x="1704198" y="1319589"/>
                  </a:cubicBezTo>
                  <a:cubicBezTo>
                    <a:pt x="1699210" y="1324572"/>
                    <a:pt x="1699210" y="1324572"/>
                    <a:pt x="1699210" y="1329556"/>
                  </a:cubicBezTo>
                  <a:cubicBezTo>
                    <a:pt x="1699210" y="1334539"/>
                    <a:pt x="1704198" y="1339523"/>
                    <a:pt x="1709185" y="1339523"/>
                  </a:cubicBezTo>
                  <a:cubicBezTo>
                    <a:pt x="1709185" y="1339523"/>
                    <a:pt x="1709185" y="1339523"/>
                    <a:pt x="1838865" y="1404309"/>
                  </a:cubicBezTo>
                  <a:cubicBezTo>
                    <a:pt x="1838865" y="1404309"/>
                    <a:pt x="1843853" y="1404309"/>
                    <a:pt x="1843853" y="1404309"/>
                  </a:cubicBezTo>
                  <a:cubicBezTo>
                    <a:pt x="1848840" y="1404309"/>
                    <a:pt x="1858816" y="1404309"/>
                    <a:pt x="1858816" y="1399325"/>
                  </a:cubicBezTo>
                  <a:cubicBezTo>
                    <a:pt x="1858816" y="1399325"/>
                    <a:pt x="1858816" y="1399325"/>
                    <a:pt x="1863804" y="1389358"/>
                  </a:cubicBezTo>
                  <a:cubicBezTo>
                    <a:pt x="1863804" y="1389358"/>
                    <a:pt x="1863804" y="1384375"/>
                    <a:pt x="1863804" y="1384375"/>
                  </a:cubicBezTo>
                  <a:cubicBezTo>
                    <a:pt x="1863804" y="1379391"/>
                    <a:pt x="1858816" y="1374408"/>
                    <a:pt x="1853828" y="1369424"/>
                  </a:cubicBezTo>
                  <a:cubicBezTo>
                    <a:pt x="1853828" y="1369424"/>
                    <a:pt x="1853828" y="1369424"/>
                    <a:pt x="1724148" y="1304638"/>
                  </a:cubicBezTo>
                  <a:cubicBezTo>
                    <a:pt x="1724148" y="1304638"/>
                    <a:pt x="1719161" y="1304638"/>
                    <a:pt x="1719161" y="1304638"/>
                  </a:cubicBezTo>
                  <a:cubicBezTo>
                    <a:pt x="1714173" y="1304638"/>
                    <a:pt x="1709185" y="1309622"/>
                    <a:pt x="1704198" y="1314605"/>
                  </a:cubicBezTo>
                  <a:cubicBezTo>
                    <a:pt x="1704198" y="1314605"/>
                    <a:pt x="1704198" y="1314605"/>
                    <a:pt x="1704198" y="1319589"/>
                  </a:cubicBezTo>
                  <a:cubicBezTo>
                    <a:pt x="1694222" y="1314605"/>
                    <a:pt x="1694222" y="1314605"/>
                    <a:pt x="1694222" y="1314605"/>
                  </a:cubicBezTo>
                  <a:lnTo>
                    <a:pt x="1684247" y="1309622"/>
                  </a:lnTo>
                  <a:cubicBezTo>
                    <a:pt x="1684247" y="1309622"/>
                    <a:pt x="1684247" y="1309622"/>
                    <a:pt x="1689235" y="1304638"/>
                  </a:cubicBezTo>
                  <a:cubicBezTo>
                    <a:pt x="1694222" y="1294671"/>
                    <a:pt x="1704198" y="1284704"/>
                    <a:pt x="1719161" y="1284704"/>
                  </a:cubicBezTo>
                  <a:close/>
                  <a:moveTo>
                    <a:pt x="119088" y="1213405"/>
                  </a:moveTo>
                  <a:cubicBezTo>
                    <a:pt x="119088" y="1213405"/>
                    <a:pt x="119088" y="1213405"/>
                    <a:pt x="114126" y="1218436"/>
                  </a:cubicBezTo>
                  <a:cubicBezTo>
                    <a:pt x="114126" y="1218436"/>
                    <a:pt x="114126" y="1218436"/>
                    <a:pt x="29772" y="1248618"/>
                  </a:cubicBezTo>
                  <a:cubicBezTo>
                    <a:pt x="19848" y="1248618"/>
                    <a:pt x="19848" y="1253648"/>
                    <a:pt x="19848" y="1263709"/>
                  </a:cubicBezTo>
                  <a:cubicBezTo>
                    <a:pt x="19848" y="1263709"/>
                    <a:pt x="19848" y="1263709"/>
                    <a:pt x="19848" y="1268739"/>
                  </a:cubicBezTo>
                  <a:cubicBezTo>
                    <a:pt x="19848" y="1268739"/>
                    <a:pt x="19848" y="1268739"/>
                    <a:pt x="19848" y="1273769"/>
                  </a:cubicBezTo>
                  <a:cubicBezTo>
                    <a:pt x="19848" y="1273769"/>
                    <a:pt x="19848" y="1273769"/>
                    <a:pt x="9924" y="1278800"/>
                  </a:cubicBezTo>
                  <a:cubicBezTo>
                    <a:pt x="9924" y="1278800"/>
                    <a:pt x="9924" y="1278800"/>
                    <a:pt x="19848" y="1273769"/>
                  </a:cubicBezTo>
                  <a:cubicBezTo>
                    <a:pt x="24810" y="1278800"/>
                    <a:pt x="29772" y="1283830"/>
                    <a:pt x="34734" y="1283830"/>
                  </a:cubicBezTo>
                  <a:cubicBezTo>
                    <a:pt x="34734" y="1283830"/>
                    <a:pt x="34734" y="1283830"/>
                    <a:pt x="39696" y="1283830"/>
                  </a:cubicBezTo>
                  <a:cubicBezTo>
                    <a:pt x="39696" y="1283830"/>
                    <a:pt x="39696" y="1283830"/>
                    <a:pt x="129012" y="1253648"/>
                  </a:cubicBezTo>
                  <a:cubicBezTo>
                    <a:pt x="133974" y="1248618"/>
                    <a:pt x="138936" y="1243587"/>
                    <a:pt x="138936" y="1238557"/>
                  </a:cubicBezTo>
                  <a:cubicBezTo>
                    <a:pt x="138936" y="1238557"/>
                    <a:pt x="138936" y="1238557"/>
                    <a:pt x="138936" y="1233527"/>
                  </a:cubicBezTo>
                  <a:cubicBezTo>
                    <a:pt x="138936" y="1233527"/>
                    <a:pt x="138936" y="1233527"/>
                    <a:pt x="133974" y="1223466"/>
                  </a:cubicBezTo>
                  <a:cubicBezTo>
                    <a:pt x="133974" y="1218436"/>
                    <a:pt x="129012" y="1213405"/>
                    <a:pt x="119088" y="1213405"/>
                  </a:cubicBezTo>
                  <a:close/>
                  <a:moveTo>
                    <a:pt x="119088" y="1193284"/>
                  </a:moveTo>
                  <a:cubicBezTo>
                    <a:pt x="133974" y="1193284"/>
                    <a:pt x="148860" y="1203345"/>
                    <a:pt x="153822" y="1218436"/>
                  </a:cubicBezTo>
                  <a:cubicBezTo>
                    <a:pt x="153822" y="1218436"/>
                    <a:pt x="153822" y="1218436"/>
                    <a:pt x="153822" y="1228496"/>
                  </a:cubicBezTo>
                  <a:cubicBezTo>
                    <a:pt x="158784" y="1228496"/>
                    <a:pt x="158784" y="1233527"/>
                    <a:pt x="158784" y="1238557"/>
                  </a:cubicBezTo>
                  <a:cubicBezTo>
                    <a:pt x="158784" y="1253648"/>
                    <a:pt x="148860" y="1268739"/>
                    <a:pt x="133974" y="1273769"/>
                  </a:cubicBezTo>
                  <a:cubicBezTo>
                    <a:pt x="133974" y="1273769"/>
                    <a:pt x="133974" y="1273769"/>
                    <a:pt x="44658" y="1303951"/>
                  </a:cubicBezTo>
                  <a:cubicBezTo>
                    <a:pt x="44658" y="1303951"/>
                    <a:pt x="39696" y="1303951"/>
                    <a:pt x="34734" y="1303951"/>
                  </a:cubicBezTo>
                  <a:cubicBezTo>
                    <a:pt x="19848" y="1303951"/>
                    <a:pt x="4962" y="1293890"/>
                    <a:pt x="0" y="1278800"/>
                  </a:cubicBezTo>
                  <a:cubicBezTo>
                    <a:pt x="0" y="1278800"/>
                    <a:pt x="0" y="1278800"/>
                    <a:pt x="0" y="1273769"/>
                  </a:cubicBezTo>
                  <a:cubicBezTo>
                    <a:pt x="0" y="1268739"/>
                    <a:pt x="0" y="1263709"/>
                    <a:pt x="0" y="1263709"/>
                  </a:cubicBezTo>
                  <a:cubicBezTo>
                    <a:pt x="0" y="1248618"/>
                    <a:pt x="4962" y="1233527"/>
                    <a:pt x="19848" y="1228496"/>
                  </a:cubicBezTo>
                  <a:cubicBezTo>
                    <a:pt x="19848" y="1228496"/>
                    <a:pt x="19848" y="1228496"/>
                    <a:pt x="109164" y="1198314"/>
                  </a:cubicBezTo>
                  <a:cubicBezTo>
                    <a:pt x="114126" y="1198314"/>
                    <a:pt x="119088" y="1193284"/>
                    <a:pt x="119088" y="1193284"/>
                  </a:cubicBezTo>
                  <a:close/>
                  <a:moveTo>
                    <a:pt x="1858369" y="614396"/>
                  </a:moveTo>
                  <a:cubicBezTo>
                    <a:pt x="1858369" y="614396"/>
                    <a:pt x="1858369" y="614396"/>
                    <a:pt x="1783706" y="639599"/>
                  </a:cubicBezTo>
                  <a:cubicBezTo>
                    <a:pt x="1778729" y="644640"/>
                    <a:pt x="1773751" y="649680"/>
                    <a:pt x="1773751" y="654721"/>
                  </a:cubicBezTo>
                  <a:cubicBezTo>
                    <a:pt x="1773751" y="654721"/>
                    <a:pt x="1773751" y="654721"/>
                    <a:pt x="1773751" y="659762"/>
                  </a:cubicBezTo>
                  <a:cubicBezTo>
                    <a:pt x="1773751" y="659762"/>
                    <a:pt x="1773751" y="659762"/>
                    <a:pt x="1778729" y="669843"/>
                  </a:cubicBezTo>
                  <a:cubicBezTo>
                    <a:pt x="1778729" y="674884"/>
                    <a:pt x="1783706" y="679924"/>
                    <a:pt x="1793661" y="679924"/>
                  </a:cubicBezTo>
                  <a:cubicBezTo>
                    <a:pt x="1793661" y="679924"/>
                    <a:pt x="1793661" y="679924"/>
                    <a:pt x="1798639" y="679924"/>
                  </a:cubicBezTo>
                  <a:cubicBezTo>
                    <a:pt x="1798639" y="679924"/>
                    <a:pt x="1798639" y="679924"/>
                    <a:pt x="1868324" y="654721"/>
                  </a:cubicBezTo>
                  <a:cubicBezTo>
                    <a:pt x="1878279" y="649680"/>
                    <a:pt x="1878279" y="644640"/>
                    <a:pt x="1878279" y="639599"/>
                  </a:cubicBezTo>
                  <a:cubicBezTo>
                    <a:pt x="1878279" y="639599"/>
                    <a:pt x="1878279" y="639599"/>
                    <a:pt x="1878279" y="634558"/>
                  </a:cubicBezTo>
                  <a:cubicBezTo>
                    <a:pt x="1878279" y="634558"/>
                    <a:pt x="1878279" y="634558"/>
                    <a:pt x="1878279" y="624477"/>
                  </a:cubicBezTo>
                  <a:cubicBezTo>
                    <a:pt x="1873302" y="619436"/>
                    <a:pt x="1868324" y="614396"/>
                    <a:pt x="1863347" y="614396"/>
                  </a:cubicBezTo>
                  <a:cubicBezTo>
                    <a:pt x="1863347" y="614396"/>
                    <a:pt x="1863347" y="614396"/>
                    <a:pt x="1858369" y="614396"/>
                  </a:cubicBezTo>
                  <a:close/>
                  <a:moveTo>
                    <a:pt x="1863347" y="594233"/>
                  </a:moveTo>
                  <a:cubicBezTo>
                    <a:pt x="1878279" y="594233"/>
                    <a:pt x="1893212" y="604314"/>
                    <a:pt x="1898189" y="619436"/>
                  </a:cubicBezTo>
                  <a:cubicBezTo>
                    <a:pt x="1898189" y="619436"/>
                    <a:pt x="1898189" y="619436"/>
                    <a:pt x="1898189" y="624477"/>
                  </a:cubicBezTo>
                  <a:cubicBezTo>
                    <a:pt x="1898189" y="629518"/>
                    <a:pt x="1898189" y="634558"/>
                    <a:pt x="1898189" y="639599"/>
                  </a:cubicBezTo>
                  <a:cubicBezTo>
                    <a:pt x="1898189" y="654721"/>
                    <a:pt x="1893212" y="664802"/>
                    <a:pt x="1878279" y="669843"/>
                  </a:cubicBezTo>
                  <a:cubicBezTo>
                    <a:pt x="1878279" y="669843"/>
                    <a:pt x="1878279" y="669843"/>
                    <a:pt x="1803616" y="695046"/>
                  </a:cubicBezTo>
                  <a:cubicBezTo>
                    <a:pt x="1798639" y="700087"/>
                    <a:pt x="1793661" y="700087"/>
                    <a:pt x="1793661" y="700087"/>
                  </a:cubicBezTo>
                  <a:cubicBezTo>
                    <a:pt x="1778729" y="700087"/>
                    <a:pt x="1763796" y="690006"/>
                    <a:pt x="1758819" y="674884"/>
                  </a:cubicBezTo>
                  <a:cubicBezTo>
                    <a:pt x="1758819" y="674884"/>
                    <a:pt x="1758819" y="674884"/>
                    <a:pt x="1768774" y="669843"/>
                  </a:cubicBezTo>
                  <a:lnTo>
                    <a:pt x="1758819" y="674884"/>
                  </a:lnTo>
                  <a:cubicBezTo>
                    <a:pt x="1758819" y="674884"/>
                    <a:pt x="1758819" y="674884"/>
                    <a:pt x="1758819" y="669843"/>
                  </a:cubicBezTo>
                  <a:cubicBezTo>
                    <a:pt x="1753841" y="664802"/>
                    <a:pt x="1753841" y="659762"/>
                    <a:pt x="1753841" y="654721"/>
                  </a:cubicBezTo>
                  <a:cubicBezTo>
                    <a:pt x="1753841" y="639599"/>
                    <a:pt x="1763796" y="629518"/>
                    <a:pt x="1778729" y="624477"/>
                  </a:cubicBezTo>
                  <a:cubicBezTo>
                    <a:pt x="1778729" y="624477"/>
                    <a:pt x="1778729" y="624477"/>
                    <a:pt x="1853392" y="599274"/>
                  </a:cubicBezTo>
                  <a:cubicBezTo>
                    <a:pt x="1853392" y="594233"/>
                    <a:pt x="1858369" y="594233"/>
                    <a:pt x="1863347" y="594233"/>
                  </a:cubicBezTo>
                  <a:close/>
                  <a:moveTo>
                    <a:pt x="54337" y="494222"/>
                  </a:moveTo>
                  <a:cubicBezTo>
                    <a:pt x="49350" y="494222"/>
                    <a:pt x="44362" y="499291"/>
                    <a:pt x="39374" y="504360"/>
                  </a:cubicBezTo>
                  <a:cubicBezTo>
                    <a:pt x="39374" y="504360"/>
                    <a:pt x="39374" y="504360"/>
                    <a:pt x="34386" y="509430"/>
                  </a:cubicBezTo>
                  <a:cubicBezTo>
                    <a:pt x="34386" y="509430"/>
                    <a:pt x="34386" y="514499"/>
                    <a:pt x="34386" y="514499"/>
                  </a:cubicBezTo>
                  <a:cubicBezTo>
                    <a:pt x="34386" y="519569"/>
                    <a:pt x="39374" y="524638"/>
                    <a:pt x="44362" y="529707"/>
                  </a:cubicBezTo>
                  <a:cubicBezTo>
                    <a:pt x="44362" y="529707"/>
                    <a:pt x="44362" y="529707"/>
                    <a:pt x="174042" y="595610"/>
                  </a:cubicBezTo>
                  <a:cubicBezTo>
                    <a:pt x="174042" y="595610"/>
                    <a:pt x="179029" y="595610"/>
                    <a:pt x="179029" y="595610"/>
                  </a:cubicBezTo>
                  <a:cubicBezTo>
                    <a:pt x="184017" y="595610"/>
                    <a:pt x="189005" y="590540"/>
                    <a:pt x="193992" y="585471"/>
                  </a:cubicBezTo>
                  <a:cubicBezTo>
                    <a:pt x="193992" y="585471"/>
                    <a:pt x="193992" y="585471"/>
                    <a:pt x="198980" y="580401"/>
                  </a:cubicBezTo>
                  <a:cubicBezTo>
                    <a:pt x="198980" y="580401"/>
                    <a:pt x="198980" y="575332"/>
                    <a:pt x="198980" y="575332"/>
                  </a:cubicBezTo>
                  <a:cubicBezTo>
                    <a:pt x="198980" y="570263"/>
                    <a:pt x="193992" y="560124"/>
                    <a:pt x="189005" y="560124"/>
                  </a:cubicBezTo>
                  <a:cubicBezTo>
                    <a:pt x="189005" y="560124"/>
                    <a:pt x="189005" y="560124"/>
                    <a:pt x="59325" y="494222"/>
                  </a:cubicBezTo>
                  <a:cubicBezTo>
                    <a:pt x="59325" y="494222"/>
                    <a:pt x="54337" y="494222"/>
                    <a:pt x="54337" y="494222"/>
                  </a:cubicBezTo>
                  <a:close/>
                  <a:moveTo>
                    <a:pt x="54337" y="473944"/>
                  </a:moveTo>
                  <a:cubicBezTo>
                    <a:pt x="59325" y="473944"/>
                    <a:pt x="64313" y="473944"/>
                    <a:pt x="69300" y="479014"/>
                  </a:cubicBezTo>
                  <a:cubicBezTo>
                    <a:pt x="69300" y="479014"/>
                    <a:pt x="69300" y="479014"/>
                    <a:pt x="198980" y="539846"/>
                  </a:cubicBezTo>
                  <a:cubicBezTo>
                    <a:pt x="208955" y="549985"/>
                    <a:pt x="218931" y="560124"/>
                    <a:pt x="218931" y="575332"/>
                  </a:cubicBezTo>
                  <a:cubicBezTo>
                    <a:pt x="218931" y="580401"/>
                    <a:pt x="218931" y="585471"/>
                    <a:pt x="213943" y="590540"/>
                  </a:cubicBezTo>
                  <a:cubicBezTo>
                    <a:pt x="213943" y="590540"/>
                    <a:pt x="213943" y="590540"/>
                    <a:pt x="213943" y="595610"/>
                  </a:cubicBezTo>
                  <a:cubicBezTo>
                    <a:pt x="203968" y="610818"/>
                    <a:pt x="193992" y="615887"/>
                    <a:pt x="179029" y="615887"/>
                  </a:cubicBezTo>
                  <a:cubicBezTo>
                    <a:pt x="174042" y="615887"/>
                    <a:pt x="169054" y="615887"/>
                    <a:pt x="164066" y="610818"/>
                  </a:cubicBezTo>
                  <a:cubicBezTo>
                    <a:pt x="164066" y="610818"/>
                    <a:pt x="164066" y="610818"/>
                    <a:pt x="34386" y="549985"/>
                  </a:cubicBezTo>
                  <a:cubicBezTo>
                    <a:pt x="24411" y="539846"/>
                    <a:pt x="14436" y="529707"/>
                    <a:pt x="14436" y="514499"/>
                  </a:cubicBezTo>
                  <a:cubicBezTo>
                    <a:pt x="14436" y="509430"/>
                    <a:pt x="14436" y="504360"/>
                    <a:pt x="19423" y="499291"/>
                  </a:cubicBezTo>
                  <a:cubicBezTo>
                    <a:pt x="19423" y="499291"/>
                    <a:pt x="19423" y="499291"/>
                    <a:pt x="29399" y="504360"/>
                  </a:cubicBezTo>
                  <a:lnTo>
                    <a:pt x="19423" y="499291"/>
                  </a:lnTo>
                  <a:cubicBezTo>
                    <a:pt x="19423" y="499291"/>
                    <a:pt x="19423" y="499291"/>
                    <a:pt x="24411" y="494222"/>
                  </a:cubicBezTo>
                  <a:cubicBezTo>
                    <a:pt x="29399" y="479014"/>
                    <a:pt x="39374" y="473944"/>
                    <a:pt x="54337" y="473944"/>
                  </a:cubicBezTo>
                  <a:close/>
                  <a:moveTo>
                    <a:pt x="1384378" y="34617"/>
                  </a:moveTo>
                  <a:cubicBezTo>
                    <a:pt x="1379394" y="34617"/>
                    <a:pt x="1374411" y="39664"/>
                    <a:pt x="1369427" y="44710"/>
                  </a:cubicBezTo>
                  <a:cubicBezTo>
                    <a:pt x="1369427" y="44710"/>
                    <a:pt x="1369427" y="44710"/>
                    <a:pt x="1304641" y="175915"/>
                  </a:cubicBezTo>
                  <a:cubicBezTo>
                    <a:pt x="1304641" y="175915"/>
                    <a:pt x="1304641" y="180961"/>
                    <a:pt x="1304641" y="180961"/>
                  </a:cubicBezTo>
                  <a:cubicBezTo>
                    <a:pt x="1304641" y="186007"/>
                    <a:pt x="1309625" y="191054"/>
                    <a:pt x="1314608" y="196100"/>
                  </a:cubicBezTo>
                  <a:cubicBezTo>
                    <a:pt x="1314608" y="196100"/>
                    <a:pt x="1314608" y="196100"/>
                    <a:pt x="1319592" y="201147"/>
                  </a:cubicBezTo>
                  <a:cubicBezTo>
                    <a:pt x="1324576" y="201147"/>
                    <a:pt x="1324576" y="201147"/>
                    <a:pt x="1329559" y="201147"/>
                  </a:cubicBezTo>
                  <a:cubicBezTo>
                    <a:pt x="1334543" y="201147"/>
                    <a:pt x="1339526" y="196100"/>
                    <a:pt x="1339526" y="191054"/>
                  </a:cubicBezTo>
                  <a:cubicBezTo>
                    <a:pt x="1339526" y="191054"/>
                    <a:pt x="1339526" y="191054"/>
                    <a:pt x="1404312" y="59849"/>
                  </a:cubicBezTo>
                  <a:cubicBezTo>
                    <a:pt x="1404312" y="59849"/>
                    <a:pt x="1404312" y="54803"/>
                    <a:pt x="1404312" y="54803"/>
                  </a:cubicBezTo>
                  <a:cubicBezTo>
                    <a:pt x="1404312" y="49756"/>
                    <a:pt x="1404312" y="44710"/>
                    <a:pt x="1399329" y="39664"/>
                  </a:cubicBezTo>
                  <a:cubicBezTo>
                    <a:pt x="1399329" y="39664"/>
                    <a:pt x="1399329" y="39664"/>
                    <a:pt x="1389361" y="34617"/>
                  </a:cubicBezTo>
                  <a:cubicBezTo>
                    <a:pt x="1389361" y="34617"/>
                    <a:pt x="1384378" y="34617"/>
                    <a:pt x="1384378" y="34617"/>
                  </a:cubicBezTo>
                  <a:close/>
                  <a:moveTo>
                    <a:pt x="1384378" y="14432"/>
                  </a:moveTo>
                  <a:cubicBezTo>
                    <a:pt x="1389361" y="14432"/>
                    <a:pt x="1394345" y="14432"/>
                    <a:pt x="1399329" y="19478"/>
                  </a:cubicBezTo>
                  <a:cubicBezTo>
                    <a:pt x="1399329" y="19478"/>
                    <a:pt x="1399329" y="19478"/>
                    <a:pt x="1404312" y="24525"/>
                  </a:cubicBezTo>
                  <a:cubicBezTo>
                    <a:pt x="1419263" y="29571"/>
                    <a:pt x="1424246" y="39664"/>
                    <a:pt x="1424246" y="54803"/>
                  </a:cubicBezTo>
                  <a:cubicBezTo>
                    <a:pt x="1424246" y="59849"/>
                    <a:pt x="1424246" y="64895"/>
                    <a:pt x="1424246" y="69942"/>
                  </a:cubicBezTo>
                  <a:cubicBezTo>
                    <a:pt x="1424246" y="69942"/>
                    <a:pt x="1424246" y="69942"/>
                    <a:pt x="1359460" y="201147"/>
                  </a:cubicBezTo>
                  <a:cubicBezTo>
                    <a:pt x="1354477" y="211239"/>
                    <a:pt x="1339526" y="221332"/>
                    <a:pt x="1329559" y="221332"/>
                  </a:cubicBezTo>
                  <a:cubicBezTo>
                    <a:pt x="1319592" y="221332"/>
                    <a:pt x="1314608" y="221332"/>
                    <a:pt x="1309625" y="216286"/>
                  </a:cubicBezTo>
                  <a:cubicBezTo>
                    <a:pt x="1309625" y="216286"/>
                    <a:pt x="1309625" y="216286"/>
                    <a:pt x="1304641" y="216286"/>
                  </a:cubicBezTo>
                  <a:cubicBezTo>
                    <a:pt x="1294674" y="206193"/>
                    <a:pt x="1284707" y="196100"/>
                    <a:pt x="1284707" y="180961"/>
                  </a:cubicBezTo>
                  <a:cubicBezTo>
                    <a:pt x="1284707" y="175915"/>
                    <a:pt x="1284707" y="170868"/>
                    <a:pt x="1289691" y="165822"/>
                  </a:cubicBezTo>
                  <a:cubicBezTo>
                    <a:pt x="1289691" y="165822"/>
                    <a:pt x="1289691" y="165822"/>
                    <a:pt x="1354477" y="34617"/>
                  </a:cubicBezTo>
                  <a:cubicBezTo>
                    <a:pt x="1359460" y="24525"/>
                    <a:pt x="1369427" y="14432"/>
                    <a:pt x="1384378" y="14432"/>
                  </a:cubicBezTo>
                  <a:close/>
                  <a:moveTo>
                    <a:pt x="619389" y="10074"/>
                  </a:moveTo>
                  <a:cubicBezTo>
                    <a:pt x="619389" y="10074"/>
                    <a:pt x="619389" y="10074"/>
                    <a:pt x="624419" y="20149"/>
                  </a:cubicBezTo>
                  <a:cubicBezTo>
                    <a:pt x="619389" y="25186"/>
                    <a:pt x="614359" y="30223"/>
                    <a:pt x="614359" y="35260"/>
                  </a:cubicBezTo>
                  <a:cubicBezTo>
                    <a:pt x="614359" y="35260"/>
                    <a:pt x="614359" y="35260"/>
                    <a:pt x="614359" y="40297"/>
                  </a:cubicBezTo>
                  <a:cubicBezTo>
                    <a:pt x="614359" y="40297"/>
                    <a:pt x="614359" y="40297"/>
                    <a:pt x="644540" y="130966"/>
                  </a:cubicBezTo>
                  <a:cubicBezTo>
                    <a:pt x="649571" y="136003"/>
                    <a:pt x="654601" y="141041"/>
                    <a:pt x="659631" y="141041"/>
                  </a:cubicBezTo>
                  <a:cubicBezTo>
                    <a:pt x="659631" y="141041"/>
                    <a:pt x="659631" y="141041"/>
                    <a:pt x="664662" y="141041"/>
                  </a:cubicBezTo>
                  <a:cubicBezTo>
                    <a:pt x="664662" y="141041"/>
                    <a:pt x="664662" y="141041"/>
                    <a:pt x="674722" y="136003"/>
                  </a:cubicBezTo>
                  <a:cubicBezTo>
                    <a:pt x="679753" y="136003"/>
                    <a:pt x="684783" y="130966"/>
                    <a:pt x="684783" y="125929"/>
                  </a:cubicBezTo>
                  <a:cubicBezTo>
                    <a:pt x="684783" y="125929"/>
                    <a:pt x="684783" y="125929"/>
                    <a:pt x="679753" y="120892"/>
                  </a:cubicBezTo>
                  <a:cubicBezTo>
                    <a:pt x="679753" y="120892"/>
                    <a:pt x="679753" y="120892"/>
                    <a:pt x="649571" y="30223"/>
                  </a:cubicBezTo>
                  <a:cubicBezTo>
                    <a:pt x="649571" y="20149"/>
                    <a:pt x="644540" y="20149"/>
                    <a:pt x="639510" y="20149"/>
                  </a:cubicBezTo>
                  <a:cubicBezTo>
                    <a:pt x="639510" y="20149"/>
                    <a:pt x="639510" y="20149"/>
                    <a:pt x="634480" y="20149"/>
                  </a:cubicBezTo>
                  <a:cubicBezTo>
                    <a:pt x="634480" y="20149"/>
                    <a:pt x="634480" y="20149"/>
                    <a:pt x="624419" y="20149"/>
                  </a:cubicBezTo>
                  <a:cubicBezTo>
                    <a:pt x="624419" y="20149"/>
                    <a:pt x="624419" y="20149"/>
                    <a:pt x="619389" y="10074"/>
                  </a:cubicBezTo>
                  <a:close/>
                  <a:moveTo>
                    <a:pt x="624419" y="0"/>
                  </a:moveTo>
                  <a:cubicBezTo>
                    <a:pt x="629449" y="0"/>
                    <a:pt x="634480" y="0"/>
                    <a:pt x="639510" y="0"/>
                  </a:cubicBezTo>
                  <a:cubicBezTo>
                    <a:pt x="649571" y="0"/>
                    <a:pt x="664662" y="10074"/>
                    <a:pt x="669692" y="20149"/>
                  </a:cubicBezTo>
                  <a:cubicBezTo>
                    <a:pt x="669692" y="20149"/>
                    <a:pt x="669692" y="20149"/>
                    <a:pt x="699874" y="110818"/>
                  </a:cubicBezTo>
                  <a:cubicBezTo>
                    <a:pt x="704904" y="115855"/>
                    <a:pt x="704904" y="120892"/>
                    <a:pt x="704904" y="125929"/>
                  </a:cubicBezTo>
                  <a:cubicBezTo>
                    <a:pt x="704904" y="136003"/>
                    <a:pt x="694844" y="151115"/>
                    <a:pt x="679753" y="156152"/>
                  </a:cubicBezTo>
                  <a:cubicBezTo>
                    <a:pt x="679753" y="156152"/>
                    <a:pt x="679753" y="156152"/>
                    <a:pt x="669692" y="161189"/>
                  </a:cubicBezTo>
                  <a:cubicBezTo>
                    <a:pt x="669692" y="161189"/>
                    <a:pt x="664662" y="161189"/>
                    <a:pt x="659631" y="161189"/>
                  </a:cubicBezTo>
                  <a:cubicBezTo>
                    <a:pt x="644540" y="161189"/>
                    <a:pt x="634480" y="151115"/>
                    <a:pt x="629449" y="136003"/>
                  </a:cubicBezTo>
                  <a:cubicBezTo>
                    <a:pt x="629449" y="136003"/>
                    <a:pt x="629449" y="136003"/>
                    <a:pt x="594237" y="45335"/>
                  </a:cubicBezTo>
                  <a:cubicBezTo>
                    <a:pt x="594237" y="45335"/>
                    <a:pt x="594237" y="40297"/>
                    <a:pt x="594237" y="35260"/>
                  </a:cubicBezTo>
                  <a:cubicBezTo>
                    <a:pt x="594237" y="20149"/>
                    <a:pt x="604298" y="10074"/>
                    <a:pt x="619389" y="5037"/>
                  </a:cubicBezTo>
                  <a:cubicBezTo>
                    <a:pt x="619389" y="5037"/>
                    <a:pt x="619389" y="5037"/>
                    <a:pt x="624419" y="0"/>
                  </a:cubicBezTo>
                  <a:close/>
                </a:path>
              </a:pathLst>
            </a:custGeom>
            <a:solidFill>
              <a:srgbClr val="3E47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4" name="ExtraShape1">
              <a:extLst>
                <a:ext uri="{FF2B5EF4-FFF2-40B4-BE49-F238E27FC236}">
                  <a16:creationId xmlns:a16="http://schemas.microsoft.com/office/drawing/2014/main" id="{60ACFB91-15CD-41E1-AB97-BEA3FBE42677}"/>
                </a:ext>
              </a:extLst>
            </p:cNvPr>
            <p:cNvSpPr/>
            <p:nvPr/>
          </p:nvSpPr>
          <p:spPr bwMode="auto">
            <a:xfrm>
              <a:off x="6109134" y="3236095"/>
              <a:ext cx="720923" cy="45392"/>
            </a:xfrm>
            <a:custGeom>
              <a:avLst/>
              <a:gdLst>
                <a:gd name="T0" fmla="*/ 126 w 130"/>
                <a:gd name="T1" fmla="*/ 0 h 8"/>
                <a:gd name="T2" fmla="*/ 4 w 130"/>
                <a:gd name="T3" fmla="*/ 0 h 8"/>
                <a:gd name="T4" fmla="*/ 0 w 130"/>
                <a:gd name="T5" fmla="*/ 4 h 8"/>
                <a:gd name="T6" fmla="*/ 4 w 130"/>
                <a:gd name="T7" fmla="*/ 8 h 8"/>
                <a:gd name="T8" fmla="*/ 126 w 130"/>
                <a:gd name="T9" fmla="*/ 8 h 8"/>
                <a:gd name="T10" fmla="*/ 130 w 130"/>
                <a:gd name="T11" fmla="*/ 4 h 8"/>
                <a:gd name="T12" fmla="*/ 126 w 130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8">
                  <a:moveTo>
                    <a:pt x="12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6"/>
                    <a:pt x="1" y="8"/>
                    <a:pt x="4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8" y="8"/>
                    <a:pt x="130" y="6"/>
                    <a:pt x="130" y="4"/>
                  </a:cubicBezTo>
                  <a:cubicBezTo>
                    <a:pt x="130" y="1"/>
                    <a:pt x="128" y="0"/>
                    <a:pt x="126" y="0"/>
                  </a:cubicBezTo>
                </a:path>
              </a:pathLst>
            </a:custGeom>
            <a:solidFill>
              <a:srgbClr val="4C65B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5" name="ExtraShape2">
              <a:extLst>
                <a:ext uri="{FF2B5EF4-FFF2-40B4-BE49-F238E27FC236}">
                  <a16:creationId xmlns:a16="http://schemas.microsoft.com/office/drawing/2014/main" id="{ADE2AC8D-D999-4767-B2D9-DE58D1FFCBD0}"/>
                </a:ext>
              </a:extLst>
            </p:cNvPr>
            <p:cNvSpPr/>
            <p:nvPr/>
          </p:nvSpPr>
          <p:spPr bwMode="auto">
            <a:xfrm>
              <a:off x="5929993" y="3083225"/>
              <a:ext cx="327237" cy="332014"/>
            </a:xfrm>
            <a:custGeom>
              <a:avLst/>
              <a:gdLst>
                <a:gd name="T0" fmla="*/ 59 w 66"/>
                <a:gd name="T1" fmla="*/ 46 h 67"/>
                <a:gd name="T2" fmla="*/ 20 w 66"/>
                <a:gd name="T3" fmla="*/ 60 h 67"/>
                <a:gd name="T4" fmla="*/ 7 w 66"/>
                <a:gd name="T5" fmla="*/ 21 h 67"/>
                <a:gd name="T6" fmla="*/ 46 w 66"/>
                <a:gd name="T7" fmla="*/ 7 h 67"/>
                <a:gd name="T8" fmla="*/ 59 w 66"/>
                <a:gd name="T9" fmla="*/ 4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67">
                  <a:moveTo>
                    <a:pt x="59" y="46"/>
                  </a:moveTo>
                  <a:cubicBezTo>
                    <a:pt x="52" y="61"/>
                    <a:pt x="35" y="67"/>
                    <a:pt x="20" y="60"/>
                  </a:cubicBezTo>
                  <a:cubicBezTo>
                    <a:pt x="6" y="53"/>
                    <a:pt x="0" y="36"/>
                    <a:pt x="7" y="21"/>
                  </a:cubicBezTo>
                  <a:cubicBezTo>
                    <a:pt x="14" y="6"/>
                    <a:pt x="32" y="0"/>
                    <a:pt x="46" y="7"/>
                  </a:cubicBezTo>
                  <a:cubicBezTo>
                    <a:pt x="61" y="14"/>
                    <a:pt x="66" y="32"/>
                    <a:pt x="59" y="46"/>
                  </a:cubicBezTo>
                  <a:close/>
                </a:path>
              </a:pathLst>
            </a:custGeom>
            <a:solidFill>
              <a:srgbClr val="599A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6" name="CustomText1">
              <a:extLst>
                <a:ext uri="{FF2B5EF4-FFF2-40B4-BE49-F238E27FC236}">
                  <a16:creationId xmlns:a16="http://schemas.microsoft.com/office/drawing/2014/main" id="{87C107DC-0DE7-4990-AEA1-6E36E0015A7D}"/>
                </a:ext>
              </a:extLst>
            </p:cNvPr>
            <p:cNvSpPr/>
            <p:nvPr/>
          </p:nvSpPr>
          <p:spPr>
            <a:xfrm>
              <a:off x="6238556" y="4823022"/>
              <a:ext cx="3087842" cy="423124"/>
            </a:xfrm>
            <a:prstGeom prst="rect">
              <a:avLst/>
            </a:prstGeom>
            <a:noFill/>
          </p:spPr>
          <p:txBody>
            <a:bodyPr wrap="none" lIns="0" tIns="0" rIns="0" bIns="0">
              <a:noAutofit/>
            </a:bodyPr>
            <a:lstStyle/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800" dirty="0">
                  <a:solidFill>
                    <a:schemeClr val="tx2"/>
                  </a:solidFill>
                  <a:latin typeface="+mj-lt"/>
                </a:rPr>
                <a:t>Supporting text here Supporting text  </a:t>
              </a: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800" dirty="0">
                  <a:solidFill>
                    <a:schemeClr val="tx2"/>
                  </a:solidFill>
                  <a:latin typeface="+mj-lt"/>
                </a:rPr>
                <a:t>Supporting text here Supporting text here</a:t>
              </a:r>
            </a:p>
          </p:txBody>
        </p:sp>
        <p:sp>
          <p:nvSpPr>
            <p:cNvPr id="27" name="CustomText">
              <a:extLst>
                <a:ext uri="{FF2B5EF4-FFF2-40B4-BE49-F238E27FC236}">
                  <a16:creationId xmlns:a16="http://schemas.microsoft.com/office/drawing/2014/main" id="{108ED5B7-4815-4875-BE05-1A9306138D3D}"/>
                </a:ext>
              </a:extLst>
            </p:cNvPr>
            <p:cNvSpPr/>
            <p:nvPr/>
          </p:nvSpPr>
          <p:spPr>
            <a:xfrm>
              <a:off x="3818672" y="4798138"/>
              <a:ext cx="2134773" cy="434280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85000" lnSpcReduction="1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</p:grpSp>
      <p:sp>
        <p:nvSpPr>
          <p:cNvPr id="30" name="Freeform 5"/>
          <p:cNvSpPr>
            <a:spLocks/>
          </p:cNvSpPr>
          <p:nvPr/>
        </p:nvSpPr>
        <p:spPr bwMode="auto">
          <a:xfrm flipH="1">
            <a:off x="302962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  <a:latin typeface="+mj-lt"/>
            </a:endParaRPr>
          </a:p>
        </p:txBody>
      </p:sp>
      <p:sp>
        <p:nvSpPr>
          <p:cNvPr id="31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1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0160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dc4382e-0ff1-45a2-b09b-f77877c6e682" descr="ABYAAB+LCAAAAAAABADVVk1v2kAQ/S/b9IaQ18YYc4NSt5GaBgWUS8XBNQNs5Q+0XqJ8KP+9a7PAmGBjI9zCxWJnZ+yZ92Ye80Zu2JR0CSUNciNeliB/jwKXiwFz59wN7qIp+PJuyKMlcMEgJt1fbypIR0GPrr8C5fUi7XcsZMEqSM2kqzU1aXKfkYlqqXEAHgtcf8DmTMh3S8ttPATuQSiUo+AraBB1MM2m1bZ1Q1NP026QbzxaLdMa3hub1AyU2pfIjzhKTb1q49pCrvezGfNgvIAA0ih5NWah6IXT0cKdbgrpczZfiBDiWBnuf/8BT6CwriUD01em7qt4IV/+yXFaPbMz6Mk8DyZtYhIEZ+H8Y9ZE+0wOR7dRdD+KfHDDj+FrMA+FW/+eTKvT7LTa1DTUc5eYjhLrlKfSroNK+zCVjtN3NA1TiZOmWmUuM+G0OpmZ+P8xmnYTcSmfxi43A+dWYTZpLcNJtcOUtq3eV2eAKc3kXX08M+EnzKeMn8gMWTiVH8PKS/G0DqOYCRaFym+n1i8pkBxmqjvI0JWSDgJ4nN7sxaPbBvkecfYahcL1ez6bh4EkXbr+gJlIkk3+CrzslUQEhLcgSZeoDhuxV3iAGPgTyKRnrh9vukUStoSf8mub9kwNSdM/gO8K9pTxyNhoWsje39GuxnKHCeIF68sYnsUOxj2Sd2CaKIeSIKe5xxmItyUmRaxhSL5PyeTMFdr7A1fYKUZ+EetpxTWsx4g4zE+2hJ6XiIOc0xiEGq7NMG6NyUjisc1cHIBEkZ6PiYErLzwgTHStdkwSLmvC5FibnAYJvdI2ufWisKYu0avKrHUFMquXkVk9X2YtDFjhAUNpVJdZquXobAHK5XVWL+iW00psVRqgzsUMEG6NfEw6uPLCA8bErB2TmnX2/JC0r7RNtjp7fkgqr7P0GvZZo4zQGvlCSzNL3bETxvOEnZbmLbVFUJdXW6OgZ06vs9pmSy9nZ8FNUgBMZjc5dkLAGNXW25OAqVl368Gl2o57QQ2zFd9z4jJ5/wv5dUZFABYAAA==">
            <a:extLst>
              <a:ext uri="{FF2B5EF4-FFF2-40B4-BE49-F238E27FC236}">
                <a16:creationId xmlns:a16="http://schemas.microsoft.com/office/drawing/2014/main" id="{EDF648E8-B9E4-4267-B648-7A29117976C6}"/>
              </a:ext>
            </a:extLst>
          </p:cNvPr>
          <p:cNvGrpSpPr>
            <a:grpSpLocks noChangeAspect="1"/>
          </p:cNvGrpSpPr>
          <p:nvPr/>
        </p:nvGrpSpPr>
        <p:grpSpPr>
          <a:xfrm>
            <a:off x="2089877" y="1546792"/>
            <a:ext cx="8012247" cy="3764417"/>
            <a:chOff x="2089877" y="1546792"/>
            <a:chExt cx="8012247" cy="3764417"/>
          </a:xfrm>
        </p:grpSpPr>
        <p:sp>
          <p:nvSpPr>
            <p:cNvPr id="3" name="ExtraShape1">
              <a:extLst>
                <a:ext uri="{FF2B5EF4-FFF2-40B4-BE49-F238E27FC236}">
                  <a16:creationId xmlns:a16="http://schemas.microsoft.com/office/drawing/2014/main" id="{DCB12989-271F-4ADB-9CD7-DF198DB67562}"/>
                </a:ext>
              </a:extLst>
            </p:cNvPr>
            <p:cNvSpPr/>
            <p:nvPr/>
          </p:nvSpPr>
          <p:spPr bwMode="auto">
            <a:xfrm>
              <a:off x="2089877" y="1546792"/>
              <a:ext cx="3972753" cy="2946878"/>
            </a:xfrm>
            <a:custGeom>
              <a:avLst/>
              <a:gdLst>
                <a:gd name="T0" fmla="*/ 26 w 699"/>
                <a:gd name="T1" fmla="*/ 304 h 519"/>
                <a:gd name="T2" fmla="*/ 6 w 699"/>
                <a:gd name="T3" fmla="*/ 220 h 519"/>
                <a:gd name="T4" fmla="*/ 61 w 699"/>
                <a:gd name="T5" fmla="*/ 187 h 519"/>
                <a:gd name="T6" fmla="*/ 193 w 699"/>
                <a:gd name="T7" fmla="*/ 146 h 519"/>
                <a:gd name="T8" fmla="*/ 297 w 699"/>
                <a:gd name="T9" fmla="*/ 14 h 519"/>
                <a:gd name="T10" fmla="*/ 446 w 699"/>
                <a:gd name="T11" fmla="*/ 152 h 519"/>
                <a:gd name="T12" fmla="*/ 624 w 699"/>
                <a:gd name="T13" fmla="*/ 172 h 519"/>
                <a:gd name="T14" fmla="*/ 658 w 699"/>
                <a:gd name="T15" fmla="*/ 373 h 519"/>
                <a:gd name="T16" fmla="*/ 491 w 699"/>
                <a:gd name="T17" fmla="*/ 448 h 519"/>
                <a:gd name="T18" fmla="*/ 297 w 699"/>
                <a:gd name="T19" fmla="*/ 447 h 519"/>
                <a:gd name="T20" fmla="*/ 141 w 699"/>
                <a:gd name="T21" fmla="*/ 359 h 519"/>
                <a:gd name="T22" fmla="*/ 26 w 699"/>
                <a:gd name="T23" fmla="*/ 304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99" h="519">
                  <a:moveTo>
                    <a:pt x="26" y="304"/>
                  </a:moveTo>
                  <a:cubicBezTo>
                    <a:pt x="7" y="280"/>
                    <a:pt x="0" y="249"/>
                    <a:pt x="6" y="220"/>
                  </a:cubicBezTo>
                  <a:cubicBezTo>
                    <a:pt x="12" y="195"/>
                    <a:pt x="26" y="173"/>
                    <a:pt x="61" y="187"/>
                  </a:cubicBezTo>
                  <a:cubicBezTo>
                    <a:pt x="144" y="218"/>
                    <a:pt x="181" y="190"/>
                    <a:pt x="193" y="146"/>
                  </a:cubicBezTo>
                  <a:cubicBezTo>
                    <a:pt x="206" y="103"/>
                    <a:pt x="222" y="0"/>
                    <a:pt x="297" y="14"/>
                  </a:cubicBezTo>
                  <a:cubicBezTo>
                    <a:pt x="373" y="28"/>
                    <a:pt x="377" y="168"/>
                    <a:pt x="446" y="152"/>
                  </a:cubicBezTo>
                  <a:cubicBezTo>
                    <a:pt x="514" y="136"/>
                    <a:pt x="580" y="125"/>
                    <a:pt x="624" y="172"/>
                  </a:cubicBezTo>
                  <a:cubicBezTo>
                    <a:pt x="668" y="220"/>
                    <a:pt x="699" y="320"/>
                    <a:pt x="658" y="373"/>
                  </a:cubicBezTo>
                  <a:cubicBezTo>
                    <a:pt x="616" y="426"/>
                    <a:pt x="526" y="380"/>
                    <a:pt x="491" y="448"/>
                  </a:cubicBezTo>
                  <a:cubicBezTo>
                    <a:pt x="456" y="516"/>
                    <a:pt x="308" y="519"/>
                    <a:pt x="297" y="447"/>
                  </a:cubicBezTo>
                  <a:cubicBezTo>
                    <a:pt x="287" y="374"/>
                    <a:pt x="209" y="323"/>
                    <a:pt x="141" y="359"/>
                  </a:cubicBezTo>
                  <a:cubicBezTo>
                    <a:pt x="96" y="382"/>
                    <a:pt x="51" y="337"/>
                    <a:pt x="26" y="30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" name="ExtraShape1">
              <a:extLst>
                <a:ext uri="{FF2B5EF4-FFF2-40B4-BE49-F238E27FC236}">
                  <a16:creationId xmlns:a16="http://schemas.microsoft.com/office/drawing/2014/main" id="{B7F9FB97-0985-452F-A76D-1C28A3A7008B}"/>
                </a:ext>
              </a:extLst>
            </p:cNvPr>
            <p:cNvSpPr/>
            <p:nvPr/>
          </p:nvSpPr>
          <p:spPr bwMode="auto">
            <a:xfrm>
              <a:off x="3056844" y="3620095"/>
              <a:ext cx="408051" cy="294545"/>
            </a:xfrm>
            <a:custGeom>
              <a:avLst/>
              <a:gdLst>
                <a:gd name="T0" fmla="*/ 42 w 72"/>
                <a:gd name="T1" fmla="*/ 6 h 52"/>
                <a:gd name="T2" fmla="*/ 20 w 72"/>
                <a:gd name="T3" fmla="*/ 1 h 52"/>
                <a:gd name="T4" fmla="*/ 2 w 72"/>
                <a:gd name="T5" fmla="*/ 23 h 52"/>
                <a:gd name="T6" fmla="*/ 65 w 72"/>
                <a:gd name="T7" fmla="*/ 38 h 52"/>
                <a:gd name="T8" fmla="*/ 42 w 72"/>
                <a:gd name="T9" fmla="*/ 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52">
                  <a:moveTo>
                    <a:pt x="42" y="6"/>
                  </a:moveTo>
                  <a:cubicBezTo>
                    <a:pt x="36" y="1"/>
                    <a:pt x="27" y="0"/>
                    <a:pt x="20" y="1"/>
                  </a:cubicBezTo>
                  <a:cubicBezTo>
                    <a:pt x="12" y="3"/>
                    <a:pt x="4" y="9"/>
                    <a:pt x="2" y="23"/>
                  </a:cubicBezTo>
                  <a:cubicBezTo>
                    <a:pt x="0" y="51"/>
                    <a:pt x="56" y="52"/>
                    <a:pt x="65" y="38"/>
                  </a:cubicBezTo>
                  <a:cubicBezTo>
                    <a:pt x="72" y="28"/>
                    <a:pt x="53" y="13"/>
                    <a:pt x="42" y="6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" name="ExtraShape2">
              <a:extLst>
                <a:ext uri="{FF2B5EF4-FFF2-40B4-BE49-F238E27FC236}">
                  <a16:creationId xmlns:a16="http://schemas.microsoft.com/office/drawing/2014/main" id="{632EF418-A2AD-43E2-BD10-33326AB64A0A}"/>
                </a:ext>
              </a:extLst>
            </p:cNvPr>
            <p:cNvSpPr/>
            <p:nvPr/>
          </p:nvSpPr>
          <p:spPr bwMode="auto">
            <a:xfrm>
              <a:off x="4568358" y="1910303"/>
              <a:ext cx="392247" cy="346269"/>
            </a:xfrm>
            <a:custGeom>
              <a:avLst/>
              <a:gdLst>
                <a:gd name="T0" fmla="*/ 37 w 69"/>
                <a:gd name="T1" fmla="*/ 60 h 61"/>
                <a:gd name="T2" fmla="*/ 58 w 69"/>
                <a:gd name="T3" fmla="*/ 53 h 61"/>
                <a:gd name="T4" fmla="*/ 63 w 69"/>
                <a:gd name="T5" fmla="*/ 26 h 61"/>
                <a:gd name="T6" fmla="*/ 1 w 69"/>
                <a:gd name="T7" fmla="*/ 43 h 61"/>
                <a:gd name="T8" fmla="*/ 37 w 69"/>
                <a:gd name="T9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61">
                  <a:moveTo>
                    <a:pt x="37" y="60"/>
                  </a:moveTo>
                  <a:cubicBezTo>
                    <a:pt x="45" y="61"/>
                    <a:pt x="53" y="58"/>
                    <a:pt x="58" y="53"/>
                  </a:cubicBezTo>
                  <a:cubicBezTo>
                    <a:pt x="65" y="47"/>
                    <a:pt x="69" y="39"/>
                    <a:pt x="63" y="26"/>
                  </a:cubicBezTo>
                  <a:cubicBezTo>
                    <a:pt x="51" y="0"/>
                    <a:pt x="2" y="26"/>
                    <a:pt x="1" y="43"/>
                  </a:cubicBezTo>
                  <a:cubicBezTo>
                    <a:pt x="0" y="55"/>
                    <a:pt x="23" y="59"/>
                    <a:pt x="37" y="6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" name="ExtraShape4">
              <a:extLst>
                <a:ext uri="{FF2B5EF4-FFF2-40B4-BE49-F238E27FC236}">
                  <a16:creationId xmlns:a16="http://schemas.microsoft.com/office/drawing/2014/main" id="{00F9FFBB-0759-4320-A9CB-93BC62B27565}"/>
                </a:ext>
              </a:extLst>
            </p:cNvPr>
            <p:cNvSpPr/>
            <p:nvPr/>
          </p:nvSpPr>
          <p:spPr bwMode="auto">
            <a:xfrm>
              <a:off x="2380111" y="4857180"/>
              <a:ext cx="3830509" cy="454029"/>
            </a:xfrm>
            <a:prstGeom prst="ellipse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" name="ExtraShape5">
              <a:extLst>
                <a:ext uri="{FF2B5EF4-FFF2-40B4-BE49-F238E27FC236}">
                  <a16:creationId xmlns:a16="http://schemas.microsoft.com/office/drawing/2014/main" id="{C3261453-773F-41B1-9535-B65F968AA9D1}"/>
                </a:ext>
              </a:extLst>
            </p:cNvPr>
            <p:cNvSpPr/>
            <p:nvPr/>
          </p:nvSpPr>
          <p:spPr bwMode="auto">
            <a:xfrm>
              <a:off x="4164617" y="2875833"/>
              <a:ext cx="1130762" cy="1867840"/>
            </a:xfrm>
            <a:custGeom>
              <a:avLst/>
              <a:gdLst>
                <a:gd name="T0" fmla="*/ 85 w 199"/>
                <a:gd name="T1" fmla="*/ 0 h 329"/>
                <a:gd name="T2" fmla="*/ 21 w 199"/>
                <a:gd name="T3" fmla="*/ 28 h 329"/>
                <a:gd name="T4" fmla="*/ 33 w 199"/>
                <a:gd name="T5" fmla="*/ 121 h 329"/>
                <a:gd name="T6" fmla="*/ 19 w 199"/>
                <a:gd name="T7" fmla="*/ 276 h 329"/>
                <a:gd name="T8" fmla="*/ 197 w 199"/>
                <a:gd name="T9" fmla="*/ 278 h 329"/>
                <a:gd name="T10" fmla="*/ 181 w 199"/>
                <a:gd name="T11" fmla="*/ 167 h 329"/>
                <a:gd name="T12" fmla="*/ 197 w 199"/>
                <a:gd name="T13" fmla="*/ 45 h 329"/>
                <a:gd name="T14" fmla="*/ 123 w 199"/>
                <a:gd name="T15" fmla="*/ 0 h 329"/>
                <a:gd name="T16" fmla="*/ 85 w 199"/>
                <a:gd name="T17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329">
                  <a:moveTo>
                    <a:pt x="85" y="0"/>
                  </a:moveTo>
                  <a:cubicBezTo>
                    <a:pt x="85" y="0"/>
                    <a:pt x="42" y="18"/>
                    <a:pt x="21" y="28"/>
                  </a:cubicBezTo>
                  <a:cubicBezTo>
                    <a:pt x="0" y="37"/>
                    <a:pt x="25" y="73"/>
                    <a:pt x="33" y="121"/>
                  </a:cubicBezTo>
                  <a:cubicBezTo>
                    <a:pt x="45" y="192"/>
                    <a:pt x="18" y="260"/>
                    <a:pt x="19" y="276"/>
                  </a:cubicBezTo>
                  <a:cubicBezTo>
                    <a:pt x="19" y="293"/>
                    <a:pt x="142" y="329"/>
                    <a:pt x="197" y="278"/>
                  </a:cubicBezTo>
                  <a:cubicBezTo>
                    <a:pt x="199" y="261"/>
                    <a:pt x="187" y="209"/>
                    <a:pt x="181" y="167"/>
                  </a:cubicBezTo>
                  <a:cubicBezTo>
                    <a:pt x="175" y="128"/>
                    <a:pt x="196" y="74"/>
                    <a:pt x="197" y="45"/>
                  </a:cubicBezTo>
                  <a:cubicBezTo>
                    <a:pt x="198" y="15"/>
                    <a:pt x="145" y="11"/>
                    <a:pt x="123" y="0"/>
                  </a:cubicBezTo>
                  <a:lnTo>
                    <a:pt x="85" y="0"/>
                  </a:lnTo>
                  <a:close/>
                </a:path>
              </a:pathLst>
            </a:custGeom>
            <a:solidFill>
              <a:srgbClr val="5480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" name="ExtraShape3">
              <a:extLst>
                <a:ext uri="{FF2B5EF4-FFF2-40B4-BE49-F238E27FC236}">
                  <a16:creationId xmlns:a16="http://schemas.microsoft.com/office/drawing/2014/main" id="{3A0DF4F7-51A0-4D09-A1A9-2ED8C11D469A}"/>
                </a:ext>
              </a:extLst>
            </p:cNvPr>
            <p:cNvSpPr/>
            <p:nvPr/>
          </p:nvSpPr>
          <p:spPr bwMode="auto">
            <a:xfrm>
              <a:off x="4574105" y="2949109"/>
              <a:ext cx="352017" cy="193969"/>
            </a:xfrm>
            <a:custGeom>
              <a:avLst/>
              <a:gdLst>
                <a:gd name="T0" fmla="*/ 57 w 62"/>
                <a:gd name="T1" fmla="*/ 34 h 34"/>
                <a:gd name="T2" fmla="*/ 1 w 62"/>
                <a:gd name="T3" fmla="*/ 4 h 34"/>
                <a:gd name="T4" fmla="*/ 1 w 62"/>
                <a:gd name="T5" fmla="*/ 1 h 34"/>
                <a:gd name="T6" fmla="*/ 4 w 62"/>
                <a:gd name="T7" fmla="*/ 1 h 34"/>
                <a:gd name="T8" fmla="*/ 60 w 62"/>
                <a:gd name="T9" fmla="*/ 30 h 34"/>
                <a:gd name="T10" fmla="*/ 62 w 62"/>
                <a:gd name="T11" fmla="*/ 31 h 34"/>
                <a:gd name="T12" fmla="*/ 60 w 62"/>
                <a:gd name="T13" fmla="*/ 34 h 34"/>
                <a:gd name="T14" fmla="*/ 57 w 62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34">
                  <a:moveTo>
                    <a:pt x="57" y="34"/>
                  </a:moveTo>
                  <a:cubicBezTo>
                    <a:pt x="22" y="34"/>
                    <a:pt x="2" y="5"/>
                    <a:pt x="1" y="4"/>
                  </a:cubicBezTo>
                  <a:cubicBezTo>
                    <a:pt x="0" y="3"/>
                    <a:pt x="1" y="2"/>
                    <a:pt x="1" y="1"/>
                  </a:cubicBezTo>
                  <a:cubicBezTo>
                    <a:pt x="2" y="0"/>
                    <a:pt x="4" y="1"/>
                    <a:pt x="4" y="1"/>
                  </a:cubicBezTo>
                  <a:cubicBezTo>
                    <a:pt x="4" y="2"/>
                    <a:pt x="25" y="31"/>
                    <a:pt x="60" y="30"/>
                  </a:cubicBezTo>
                  <a:cubicBezTo>
                    <a:pt x="61" y="29"/>
                    <a:pt x="62" y="30"/>
                    <a:pt x="62" y="31"/>
                  </a:cubicBezTo>
                  <a:cubicBezTo>
                    <a:pt x="62" y="33"/>
                    <a:pt x="61" y="34"/>
                    <a:pt x="60" y="34"/>
                  </a:cubicBezTo>
                  <a:cubicBezTo>
                    <a:pt x="59" y="34"/>
                    <a:pt x="58" y="34"/>
                    <a:pt x="57" y="34"/>
                  </a:cubicBezTo>
                  <a:close/>
                </a:path>
              </a:pathLst>
            </a:custGeom>
            <a:solidFill>
              <a:srgbClr val="2E6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" name="ExtraShape4">
              <a:extLst>
                <a:ext uri="{FF2B5EF4-FFF2-40B4-BE49-F238E27FC236}">
                  <a16:creationId xmlns:a16="http://schemas.microsoft.com/office/drawing/2014/main" id="{299F253B-08CD-4F22-B0A7-7186EE629C82}"/>
                </a:ext>
              </a:extLst>
            </p:cNvPr>
            <p:cNvSpPr/>
            <p:nvPr/>
          </p:nvSpPr>
          <p:spPr bwMode="auto">
            <a:xfrm>
              <a:off x="4704853" y="3154572"/>
              <a:ext cx="221267" cy="61783"/>
            </a:xfrm>
            <a:custGeom>
              <a:avLst/>
              <a:gdLst>
                <a:gd name="T0" fmla="*/ 26 w 39"/>
                <a:gd name="T1" fmla="*/ 11 h 11"/>
                <a:gd name="T2" fmla="*/ 1 w 39"/>
                <a:gd name="T3" fmla="*/ 4 h 11"/>
                <a:gd name="T4" fmla="*/ 1 w 39"/>
                <a:gd name="T5" fmla="*/ 1 h 11"/>
                <a:gd name="T6" fmla="*/ 4 w 39"/>
                <a:gd name="T7" fmla="*/ 0 h 11"/>
                <a:gd name="T8" fmla="*/ 36 w 39"/>
                <a:gd name="T9" fmla="*/ 5 h 11"/>
                <a:gd name="T10" fmla="*/ 39 w 39"/>
                <a:gd name="T11" fmla="*/ 7 h 11"/>
                <a:gd name="T12" fmla="*/ 37 w 39"/>
                <a:gd name="T13" fmla="*/ 9 h 11"/>
                <a:gd name="T14" fmla="*/ 26 w 39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11">
                  <a:moveTo>
                    <a:pt x="26" y="11"/>
                  </a:moveTo>
                  <a:cubicBezTo>
                    <a:pt x="12" y="11"/>
                    <a:pt x="2" y="4"/>
                    <a:pt x="1" y="4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4" y="0"/>
                    <a:pt x="19" y="10"/>
                    <a:pt x="36" y="5"/>
                  </a:cubicBezTo>
                  <a:cubicBezTo>
                    <a:pt x="37" y="5"/>
                    <a:pt x="38" y="6"/>
                    <a:pt x="39" y="7"/>
                  </a:cubicBezTo>
                  <a:cubicBezTo>
                    <a:pt x="39" y="8"/>
                    <a:pt x="38" y="9"/>
                    <a:pt x="37" y="9"/>
                  </a:cubicBezTo>
                  <a:cubicBezTo>
                    <a:pt x="33" y="10"/>
                    <a:pt x="30" y="11"/>
                    <a:pt x="26" y="11"/>
                  </a:cubicBezTo>
                  <a:close/>
                </a:path>
              </a:pathLst>
            </a:custGeom>
            <a:solidFill>
              <a:srgbClr val="2E6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" name="ExtraShape5">
              <a:extLst>
                <a:ext uri="{FF2B5EF4-FFF2-40B4-BE49-F238E27FC236}">
                  <a16:creationId xmlns:a16="http://schemas.microsoft.com/office/drawing/2014/main" id="{4178562F-2081-4899-BDFD-E5C27BC9E052}"/>
                </a:ext>
              </a:extLst>
            </p:cNvPr>
            <p:cNvSpPr/>
            <p:nvPr/>
          </p:nvSpPr>
          <p:spPr bwMode="auto">
            <a:xfrm>
              <a:off x="4653129" y="4283897"/>
              <a:ext cx="324717" cy="61783"/>
            </a:xfrm>
            <a:custGeom>
              <a:avLst/>
              <a:gdLst>
                <a:gd name="T0" fmla="*/ 40 w 57"/>
                <a:gd name="T1" fmla="*/ 11 h 11"/>
                <a:gd name="T2" fmla="*/ 1 w 57"/>
                <a:gd name="T3" fmla="*/ 4 h 11"/>
                <a:gd name="T4" fmla="*/ 0 w 57"/>
                <a:gd name="T5" fmla="*/ 2 h 11"/>
                <a:gd name="T6" fmla="*/ 3 w 57"/>
                <a:gd name="T7" fmla="*/ 1 h 11"/>
                <a:gd name="T8" fmla="*/ 54 w 57"/>
                <a:gd name="T9" fmla="*/ 6 h 11"/>
                <a:gd name="T10" fmla="*/ 57 w 57"/>
                <a:gd name="T11" fmla="*/ 8 h 11"/>
                <a:gd name="T12" fmla="*/ 55 w 57"/>
                <a:gd name="T13" fmla="*/ 10 h 11"/>
                <a:gd name="T14" fmla="*/ 40 w 57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11">
                  <a:moveTo>
                    <a:pt x="40" y="11"/>
                  </a:moveTo>
                  <a:cubicBezTo>
                    <a:pt x="18" y="11"/>
                    <a:pt x="2" y="5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2" y="0"/>
                    <a:pt x="3" y="1"/>
                  </a:cubicBezTo>
                  <a:cubicBezTo>
                    <a:pt x="3" y="1"/>
                    <a:pt x="26" y="10"/>
                    <a:pt x="54" y="6"/>
                  </a:cubicBezTo>
                  <a:cubicBezTo>
                    <a:pt x="55" y="6"/>
                    <a:pt x="56" y="7"/>
                    <a:pt x="57" y="8"/>
                  </a:cubicBezTo>
                  <a:cubicBezTo>
                    <a:pt x="57" y="9"/>
                    <a:pt x="56" y="10"/>
                    <a:pt x="55" y="10"/>
                  </a:cubicBezTo>
                  <a:cubicBezTo>
                    <a:pt x="50" y="11"/>
                    <a:pt x="44" y="11"/>
                    <a:pt x="40" y="11"/>
                  </a:cubicBezTo>
                  <a:close/>
                </a:path>
              </a:pathLst>
            </a:custGeom>
            <a:solidFill>
              <a:srgbClr val="2E6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1" name="ExtraShape6">
              <a:extLst>
                <a:ext uri="{FF2B5EF4-FFF2-40B4-BE49-F238E27FC236}">
                  <a16:creationId xmlns:a16="http://schemas.microsoft.com/office/drawing/2014/main" id="{7227B09F-6840-41F2-ABD6-2572CB3AEF8E}"/>
                </a:ext>
              </a:extLst>
            </p:cNvPr>
            <p:cNvSpPr/>
            <p:nvPr/>
          </p:nvSpPr>
          <p:spPr bwMode="auto">
            <a:xfrm>
              <a:off x="4493644" y="3426127"/>
              <a:ext cx="517248" cy="313222"/>
            </a:xfrm>
            <a:custGeom>
              <a:avLst/>
              <a:gdLst>
                <a:gd name="T0" fmla="*/ 82 w 91"/>
                <a:gd name="T1" fmla="*/ 54 h 55"/>
                <a:gd name="T2" fmla="*/ 23 w 91"/>
                <a:gd name="T3" fmla="*/ 31 h 55"/>
                <a:gd name="T4" fmla="*/ 0 w 91"/>
                <a:gd name="T5" fmla="*/ 4 h 55"/>
                <a:gd name="T6" fmla="*/ 1 w 91"/>
                <a:gd name="T7" fmla="*/ 1 h 55"/>
                <a:gd name="T8" fmla="*/ 4 w 91"/>
                <a:gd name="T9" fmla="*/ 2 h 55"/>
                <a:gd name="T10" fmla="*/ 88 w 91"/>
                <a:gd name="T11" fmla="*/ 50 h 55"/>
                <a:gd name="T12" fmla="*/ 90 w 91"/>
                <a:gd name="T13" fmla="*/ 52 h 55"/>
                <a:gd name="T14" fmla="*/ 89 w 91"/>
                <a:gd name="T15" fmla="*/ 54 h 55"/>
                <a:gd name="T16" fmla="*/ 82 w 91"/>
                <a:gd name="T17" fmla="*/ 5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55">
                  <a:moveTo>
                    <a:pt x="82" y="54"/>
                  </a:moveTo>
                  <a:cubicBezTo>
                    <a:pt x="61" y="54"/>
                    <a:pt x="41" y="46"/>
                    <a:pt x="23" y="31"/>
                  </a:cubicBezTo>
                  <a:cubicBezTo>
                    <a:pt x="9" y="18"/>
                    <a:pt x="1" y="4"/>
                    <a:pt x="0" y="4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4" y="2"/>
                    <a:pt x="35" y="55"/>
                    <a:pt x="88" y="50"/>
                  </a:cubicBezTo>
                  <a:cubicBezTo>
                    <a:pt x="89" y="50"/>
                    <a:pt x="90" y="51"/>
                    <a:pt x="90" y="52"/>
                  </a:cubicBezTo>
                  <a:cubicBezTo>
                    <a:pt x="91" y="53"/>
                    <a:pt x="90" y="54"/>
                    <a:pt x="89" y="54"/>
                  </a:cubicBezTo>
                  <a:cubicBezTo>
                    <a:pt x="86" y="54"/>
                    <a:pt x="84" y="54"/>
                    <a:pt x="82" y="54"/>
                  </a:cubicBezTo>
                  <a:close/>
                </a:path>
              </a:pathLst>
            </a:custGeom>
            <a:solidFill>
              <a:srgbClr val="2E6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2" name="ExtraShape7">
              <a:extLst>
                <a:ext uri="{FF2B5EF4-FFF2-40B4-BE49-F238E27FC236}">
                  <a16:creationId xmlns:a16="http://schemas.microsoft.com/office/drawing/2014/main" id="{AED02C6D-8448-4EC4-A630-A717E586A52E}"/>
                </a:ext>
              </a:extLst>
            </p:cNvPr>
            <p:cNvSpPr/>
            <p:nvPr/>
          </p:nvSpPr>
          <p:spPr bwMode="auto">
            <a:xfrm>
              <a:off x="4476403" y="2092776"/>
              <a:ext cx="545984" cy="579031"/>
            </a:xfrm>
            <a:custGeom>
              <a:avLst/>
              <a:gdLst>
                <a:gd name="T0" fmla="*/ 0 w 96"/>
                <a:gd name="T1" fmla="*/ 52 h 102"/>
                <a:gd name="T2" fmla="*/ 47 w 96"/>
                <a:gd name="T3" fmla="*/ 102 h 102"/>
                <a:gd name="T4" fmla="*/ 96 w 96"/>
                <a:gd name="T5" fmla="*/ 51 h 102"/>
                <a:gd name="T6" fmla="*/ 50 w 96"/>
                <a:gd name="T7" fmla="*/ 0 h 102"/>
                <a:gd name="T8" fmla="*/ 0 w 96"/>
                <a:gd name="T9" fmla="*/ 5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02">
                  <a:moveTo>
                    <a:pt x="0" y="52"/>
                  </a:moveTo>
                  <a:cubicBezTo>
                    <a:pt x="0" y="81"/>
                    <a:pt x="18" y="102"/>
                    <a:pt x="47" y="102"/>
                  </a:cubicBezTo>
                  <a:cubicBezTo>
                    <a:pt x="76" y="102"/>
                    <a:pt x="96" y="80"/>
                    <a:pt x="96" y="51"/>
                  </a:cubicBezTo>
                  <a:cubicBezTo>
                    <a:pt x="96" y="22"/>
                    <a:pt x="79" y="0"/>
                    <a:pt x="50" y="0"/>
                  </a:cubicBezTo>
                  <a:cubicBezTo>
                    <a:pt x="15" y="0"/>
                    <a:pt x="0" y="23"/>
                    <a:pt x="0" y="52"/>
                  </a:cubicBezTo>
                  <a:close/>
                </a:path>
              </a:pathLst>
            </a:cu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3" name="ExtraShape8">
              <a:extLst>
                <a:ext uri="{FF2B5EF4-FFF2-40B4-BE49-F238E27FC236}">
                  <a16:creationId xmlns:a16="http://schemas.microsoft.com/office/drawing/2014/main" id="{91839910-E04E-4E84-B914-14F8867C15F4}"/>
                </a:ext>
              </a:extLst>
            </p:cNvPr>
            <p:cNvSpPr/>
            <p:nvPr/>
          </p:nvSpPr>
          <p:spPr bwMode="auto">
            <a:xfrm>
              <a:off x="4397378" y="2352837"/>
              <a:ext cx="136496" cy="250003"/>
            </a:xfrm>
            <a:custGeom>
              <a:avLst/>
              <a:gdLst>
                <a:gd name="T0" fmla="*/ 20 w 24"/>
                <a:gd name="T1" fmla="*/ 11 h 44"/>
                <a:gd name="T2" fmla="*/ 6 w 24"/>
                <a:gd name="T3" fmla="*/ 9 h 44"/>
                <a:gd name="T4" fmla="*/ 24 w 24"/>
                <a:gd name="T5" fmla="*/ 38 h 44"/>
                <a:gd name="T6" fmla="*/ 20 w 24"/>
                <a:gd name="T7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44">
                  <a:moveTo>
                    <a:pt x="20" y="11"/>
                  </a:moveTo>
                  <a:cubicBezTo>
                    <a:pt x="20" y="11"/>
                    <a:pt x="12" y="0"/>
                    <a:pt x="6" y="9"/>
                  </a:cubicBezTo>
                  <a:cubicBezTo>
                    <a:pt x="0" y="18"/>
                    <a:pt x="9" y="44"/>
                    <a:pt x="24" y="38"/>
                  </a:cubicBezTo>
                  <a:lnTo>
                    <a:pt x="20" y="11"/>
                  </a:lnTo>
                  <a:close/>
                </a:path>
              </a:pathLst>
            </a:custGeom>
            <a:solidFill>
              <a:srgbClr val="FF7F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4" name="ExtraShape9">
              <a:extLst>
                <a:ext uri="{FF2B5EF4-FFF2-40B4-BE49-F238E27FC236}">
                  <a16:creationId xmlns:a16="http://schemas.microsoft.com/office/drawing/2014/main" id="{2D3BBEE3-C359-4EF3-8303-879B0BD1EBC3}"/>
                </a:ext>
              </a:extLst>
            </p:cNvPr>
            <p:cNvSpPr/>
            <p:nvPr/>
          </p:nvSpPr>
          <p:spPr bwMode="auto">
            <a:xfrm>
              <a:off x="4437609" y="2439045"/>
              <a:ext cx="84772" cy="84772"/>
            </a:xfrm>
            <a:custGeom>
              <a:avLst/>
              <a:gdLst>
                <a:gd name="T0" fmla="*/ 13 w 15"/>
                <a:gd name="T1" fmla="*/ 15 h 15"/>
                <a:gd name="T2" fmla="*/ 12 w 15"/>
                <a:gd name="T3" fmla="*/ 14 h 15"/>
                <a:gd name="T4" fmla="*/ 1 w 15"/>
                <a:gd name="T5" fmla="*/ 2 h 15"/>
                <a:gd name="T6" fmla="*/ 1 w 15"/>
                <a:gd name="T7" fmla="*/ 1 h 15"/>
                <a:gd name="T8" fmla="*/ 2 w 15"/>
                <a:gd name="T9" fmla="*/ 0 h 15"/>
                <a:gd name="T10" fmla="*/ 15 w 15"/>
                <a:gd name="T11" fmla="*/ 13 h 15"/>
                <a:gd name="T12" fmla="*/ 14 w 15"/>
                <a:gd name="T13" fmla="*/ 14 h 15"/>
                <a:gd name="T14" fmla="*/ 13 w 15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13" y="15"/>
                  </a:moveTo>
                  <a:cubicBezTo>
                    <a:pt x="13" y="15"/>
                    <a:pt x="12" y="14"/>
                    <a:pt x="12" y="14"/>
                  </a:cubicBezTo>
                  <a:cubicBezTo>
                    <a:pt x="10" y="5"/>
                    <a:pt x="1" y="2"/>
                    <a:pt x="1" y="2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12" y="4"/>
                    <a:pt x="15" y="13"/>
                  </a:cubicBezTo>
                  <a:cubicBezTo>
                    <a:pt x="15" y="14"/>
                    <a:pt x="14" y="14"/>
                    <a:pt x="14" y="14"/>
                  </a:cubicBezTo>
                  <a:cubicBezTo>
                    <a:pt x="14" y="14"/>
                    <a:pt x="14" y="15"/>
                    <a:pt x="13" y="15"/>
                  </a:cubicBezTo>
                  <a:close/>
                </a:path>
              </a:pathLst>
            </a:custGeom>
            <a:solidFill>
              <a:srgbClr val="F453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5" name="ExtraShape1">
              <a:extLst>
                <a:ext uri="{FF2B5EF4-FFF2-40B4-BE49-F238E27FC236}">
                  <a16:creationId xmlns:a16="http://schemas.microsoft.com/office/drawing/2014/main" id="{E0D9D05A-CDB0-4E22-927A-F4772BBC4C95}"/>
                </a:ext>
              </a:extLst>
            </p:cNvPr>
            <p:cNvSpPr/>
            <p:nvPr/>
          </p:nvSpPr>
          <p:spPr bwMode="auto">
            <a:xfrm>
              <a:off x="4454850" y="2462034"/>
              <a:ext cx="38794" cy="33047"/>
            </a:xfrm>
            <a:custGeom>
              <a:avLst/>
              <a:gdLst>
                <a:gd name="T0" fmla="*/ 2 w 7"/>
                <a:gd name="T1" fmla="*/ 6 h 6"/>
                <a:gd name="T2" fmla="*/ 1 w 7"/>
                <a:gd name="T3" fmla="*/ 6 h 6"/>
                <a:gd name="T4" fmla="*/ 1 w 7"/>
                <a:gd name="T5" fmla="*/ 4 h 6"/>
                <a:gd name="T6" fmla="*/ 6 w 7"/>
                <a:gd name="T7" fmla="*/ 1 h 6"/>
                <a:gd name="T8" fmla="*/ 7 w 7"/>
                <a:gd name="T9" fmla="*/ 1 h 6"/>
                <a:gd name="T10" fmla="*/ 7 w 7"/>
                <a:gd name="T11" fmla="*/ 3 h 6"/>
                <a:gd name="T12" fmla="*/ 3 w 7"/>
                <a:gd name="T13" fmla="*/ 6 h 6"/>
                <a:gd name="T14" fmla="*/ 2 w 7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6">
                  <a:moveTo>
                    <a:pt x="2" y="6"/>
                  </a:moveTo>
                  <a:cubicBezTo>
                    <a:pt x="2" y="6"/>
                    <a:pt x="1" y="6"/>
                    <a:pt x="1" y="6"/>
                  </a:cubicBezTo>
                  <a:cubicBezTo>
                    <a:pt x="1" y="6"/>
                    <a:pt x="0" y="5"/>
                    <a:pt x="1" y="4"/>
                  </a:cubicBezTo>
                  <a:cubicBezTo>
                    <a:pt x="1" y="4"/>
                    <a:pt x="2" y="2"/>
                    <a:pt x="6" y="1"/>
                  </a:cubicBezTo>
                  <a:cubicBezTo>
                    <a:pt x="6" y="0"/>
                    <a:pt x="7" y="1"/>
                    <a:pt x="7" y="1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4" y="4"/>
                    <a:pt x="3" y="6"/>
                    <a:pt x="3" y="6"/>
                  </a:cubicBezTo>
                  <a:cubicBezTo>
                    <a:pt x="3" y="6"/>
                    <a:pt x="2" y="6"/>
                    <a:pt x="2" y="6"/>
                  </a:cubicBezTo>
                  <a:close/>
                </a:path>
              </a:pathLst>
            </a:custGeom>
            <a:solidFill>
              <a:srgbClr val="F453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6" name="ExtraShape2">
              <a:extLst>
                <a:ext uri="{FF2B5EF4-FFF2-40B4-BE49-F238E27FC236}">
                  <a16:creationId xmlns:a16="http://schemas.microsoft.com/office/drawing/2014/main" id="{6D5A1809-C57D-44A4-911A-57707BC03EDC}"/>
                </a:ext>
              </a:extLst>
            </p:cNvPr>
            <p:cNvSpPr/>
            <p:nvPr/>
          </p:nvSpPr>
          <p:spPr bwMode="auto">
            <a:xfrm>
              <a:off x="4972098" y="2352837"/>
              <a:ext cx="130749" cy="250003"/>
            </a:xfrm>
            <a:custGeom>
              <a:avLst/>
              <a:gdLst>
                <a:gd name="T0" fmla="*/ 3 w 23"/>
                <a:gd name="T1" fmla="*/ 11 h 44"/>
                <a:gd name="T2" fmla="*/ 17 w 23"/>
                <a:gd name="T3" fmla="*/ 9 h 44"/>
                <a:gd name="T4" fmla="*/ 0 w 23"/>
                <a:gd name="T5" fmla="*/ 38 h 44"/>
                <a:gd name="T6" fmla="*/ 3 w 23"/>
                <a:gd name="T7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44">
                  <a:moveTo>
                    <a:pt x="3" y="11"/>
                  </a:moveTo>
                  <a:cubicBezTo>
                    <a:pt x="3" y="11"/>
                    <a:pt x="11" y="0"/>
                    <a:pt x="17" y="9"/>
                  </a:cubicBezTo>
                  <a:cubicBezTo>
                    <a:pt x="23" y="18"/>
                    <a:pt x="14" y="44"/>
                    <a:pt x="0" y="38"/>
                  </a:cubicBezTo>
                  <a:lnTo>
                    <a:pt x="3" y="11"/>
                  </a:lnTo>
                  <a:close/>
                </a:path>
              </a:pathLst>
            </a:custGeom>
            <a:solidFill>
              <a:srgbClr val="FF7F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7" name="ExtraShape3">
              <a:extLst>
                <a:ext uri="{FF2B5EF4-FFF2-40B4-BE49-F238E27FC236}">
                  <a16:creationId xmlns:a16="http://schemas.microsoft.com/office/drawing/2014/main" id="{192B1D7F-EB70-453D-B901-A2746A05A7AB}"/>
                </a:ext>
              </a:extLst>
            </p:cNvPr>
            <p:cNvSpPr/>
            <p:nvPr/>
          </p:nvSpPr>
          <p:spPr bwMode="auto">
            <a:xfrm>
              <a:off x="4983593" y="2439045"/>
              <a:ext cx="79024" cy="84772"/>
            </a:xfrm>
            <a:custGeom>
              <a:avLst/>
              <a:gdLst>
                <a:gd name="T0" fmla="*/ 1 w 14"/>
                <a:gd name="T1" fmla="*/ 15 h 15"/>
                <a:gd name="T2" fmla="*/ 2 w 14"/>
                <a:gd name="T3" fmla="*/ 14 h 15"/>
                <a:gd name="T4" fmla="*/ 13 w 14"/>
                <a:gd name="T5" fmla="*/ 3 h 15"/>
                <a:gd name="T6" fmla="*/ 14 w 14"/>
                <a:gd name="T7" fmla="*/ 1 h 15"/>
                <a:gd name="T8" fmla="*/ 12 w 14"/>
                <a:gd name="T9" fmla="*/ 0 h 15"/>
                <a:gd name="T10" fmla="*/ 0 w 14"/>
                <a:gd name="T11" fmla="*/ 13 h 15"/>
                <a:gd name="T12" fmla="*/ 1 w 14"/>
                <a:gd name="T13" fmla="*/ 15 h 15"/>
                <a:gd name="T14" fmla="*/ 1 w 14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5">
                  <a:moveTo>
                    <a:pt x="1" y="15"/>
                  </a:moveTo>
                  <a:cubicBezTo>
                    <a:pt x="1" y="15"/>
                    <a:pt x="2" y="15"/>
                    <a:pt x="2" y="14"/>
                  </a:cubicBezTo>
                  <a:cubicBezTo>
                    <a:pt x="4" y="6"/>
                    <a:pt x="13" y="3"/>
                    <a:pt x="13" y="3"/>
                  </a:cubicBezTo>
                  <a:cubicBezTo>
                    <a:pt x="14" y="2"/>
                    <a:pt x="14" y="2"/>
                    <a:pt x="14" y="1"/>
                  </a:cubicBezTo>
                  <a:cubicBezTo>
                    <a:pt x="13" y="0"/>
                    <a:pt x="13" y="0"/>
                    <a:pt x="12" y="0"/>
                  </a:cubicBezTo>
                  <a:cubicBezTo>
                    <a:pt x="12" y="0"/>
                    <a:pt x="2" y="4"/>
                    <a:pt x="0" y="13"/>
                  </a:cubicBezTo>
                  <a:cubicBezTo>
                    <a:pt x="0" y="14"/>
                    <a:pt x="0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lose/>
                </a:path>
              </a:pathLst>
            </a:custGeom>
            <a:solidFill>
              <a:srgbClr val="F453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8" name="ExtraShape4">
              <a:extLst>
                <a:ext uri="{FF2B5EF4-FFF2-40B4-BE49-F238E27FC236}">
                  <a16:creationId xmlns:a16="http://schemas.microsoft.com/office/drawing/2014/main" id="{E95C1E54-8D40-44D8-807E-733511A114A1}"/>
                </a:ext>
              </a:extLst>
            </p:cNvPr>
            <p:cNvSpPr/>
            <p:nvPr/>
          </p:nvSpPr>
          <p:spPr bwMode="auto">
            <a:xfrm>
              <a:off x="5005145" y="2466344"/>
              <a:ext cx="40230" cy="34483"/>
            </a:xfrm>
            <a:custGeom>
              <a:avLst/>
              <a:gdLst>
                <a:gd name="T0" fmla="*/ 5 w 7"/>
                <a:gd name="T1" fmla="*/ 6 h 6"/>
                <a:gd name="T2" fmla="*/ 6 w 7"/>
                <a:gd name="T3" fmla="*/ 6 h 6"/>
                <a:gd name="T4" fmla="*/ 7 w 7"/>
                <a:gd name="T5" fmla="*/ 4 h 6"/>
                <a:gd name="T6" fmla="*/ 2 w 7"/>
                <a:gd name="T7" fmla="*/ 0 h 6"/>
                <a:gd name="T8" fmla="*/ 0 w 7"/>
                <a:gd name="T9" fmla="*/ 1 h 6"/>
                <a:gd name="T10" fmla="*/ 1 w 7"/>
                <a:gd name="T11" fmla="*/ 2 h 6"/>
                <a:gd name="T12" fmla="*/ 4 w 7"/>
                <a:gd name="T13" fmla="*/ 5 h 6"/>
                <a:gd name="T14" fmla="*/ 5 w 7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6">
                  <a:moveTo>
                    <a:pt x="5" y="6"/>
                  </a:move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4"/>
                    <a:pt x="7" y="4"/>
                  </a:cubicBezTo>
                  <a:cubicBezTo>
                    <a:pt x="6" y="4"/>
                    <a:pt x="5" y="2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3" y="3"/>
                    <a:pt x="4" y="5"/>
                    <a:pt x="4" y="5"/>
                  </a:cubicBezTo>
                  <a:cubicBezTo>
                    <a:pt x="5" y="6"/>
                    <a:pt x="5" y="6"/>
                    <a:pt x="5" y="6"/>
                  </a:cubicBezTo>
                  <a:close/>
                </a:path>
              </a:pathLst>
            </a:custGeom>
            <a:solidFill>
              <a:srgbClr val="F453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9" name="ExtraShape5">
              <a:extLst>
                <a:ext uri="{FF2B5EF4-FFF2-40B4-BE49-F238E27FC236}">
                  <a16:creationId xmlns:a16="http://schemas.microsoft.com/office/drawing/2014/main" id="{57D8F0D5-321B-4795-8BAD-A7E9E9864C60}"/>
                </a:ext>
              </a:extLst>
            </p:cNvPr>
            <p:cNvSpPr/>
            <p:nvPr/>
          </p:nvSpPr>
          <p:spPr bwMode="auto">
            <a:xfrm>
              <a:off x="4647381" y="2739336"/>
              <a:ext cx="215520" cy="238509"/>
            </a:xfrm>
            <a:custGeom>
              <a:avLst/>
              <a:gdLst>
                <a:gd name="T0" fmla="*/ 38 w 38"/>
                <a:gd name="T1" fmla="*/ 0 h 42"/>
                <a:gd name="T2" fmla="*/ 38 w 38"/>
                <a:gd name="T3" fmla="*/ 26 h 42"/>
                <a:gd name="T4" fmla="*/ 20 w 38"/>
                <a:gd name="T5" fmla="*/ 41 h 42"/>
                <a:gd name="T6" fmla="*/ 0 w 38"/>
                <a:gd name="T7" fmla="*/ 29 h 42"/>
                <a:gd name="T8" fmla="*/ 0 w 38"/>
                <a:gd name="T9" fmla="*/ 2 h 42"/>
                <a:gd name="T10" fmla="*/ 38 w 38"/>
                <a:gd name="T11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42">
                  <a:moveTo>
                    <a:pt x="38" y="0"/>
                  </a:move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0" y="40"/>
                    <a:pt x="20" y="41"/>
                  </a:cubicBezTo>
                  <a:cubicBezTo>
                    <a:pt x="9" y="42"/>
                    <a:pt x="0" y="29"/>
                    <a:pt x="0" y="29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38" y="0"/>
                  </a:lnTo>
                  <a:close/>
                </a:path>
              </a:pathLst>
            </a:custGeom>
            <a:solidFill>
              <a:srgbClr val="FFA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0" name="ExtraShape6">
              <a:extLst>
                <a:ext uri="{FF2B5EF4-FFF2-40B4-BE49-F238E27FC236}">
                  <a16:creationId xmlns:a16="http://schemas.microsoft.com/office/drawing/2014/main" id="{C23FECB2-23CA-4209-94CD-034CFD2F5082}"/>
                </a:ext>
              </a:extLst>
            </p:cNvPr>
            <p:cNvSpPr/>
            <p:nvPr/>
          </p:nvSpPr>
          <p:spPr bwMode="auto">
            <a:xfrm>
              <a:off x="4647381" y="2739336"/>
              <a:ext cx="215520" cy="125002"/>
            </a:xfrm>
            <a:custGeom>
              <a:avLst/>
              <a:gdLst>
                <a:gd name="T0" fmla="*/ 38 w 38"/>
                <a:gd name="T1" fmla="*/ 0 h 22"/>
                <a:gd name="T2" fmla="*/ 38 w 38"/>
                <a:gd name="T3" fmla="*/ 12 h 22"/>
                <a:gd name="T4" fmla="*/ 0 w 38"/>
                <a:gd name="T5" fmla="*/ 19 h 22"/>
                <a:gd name="T6" fmla="*/ 0 w 38"/>
                <a:gd name="T7" fmla="*/ 2 h 22"/>
                <a:gd name="T8" fmla="*/ 38 w 38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8" y="0"/>
                  </a:moveTo>
                  <a:cubicBezTo>
                    <a:pt x="38" y="12"/>
                    <a:pt x="38" y="12"/>
                    <a:pt x="38" y="12"/>
                  </a:cubicBezTo>
                  <a:cubicBezTo>
                    <a:pt x="31" y="20"/>
                    <a:pt x="18" y="22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38" y="0"/>
                  </a:lnTo>
                  <a:close/>
                </a:path>
              </a:pathLst>
            </a:custGeom>
            <a:solidFill>
              <a:srgbClr val="FF7F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1" name="ExtraShape7">
              <a:extLst>
                <a:ext uri="{FF2B5EF4-FFF2-40B4-BE49-F238E27FC236}">
                  <a16:creationId xmlns:a16="http://schemas.microsoft.com/office/drawing/2014/main" id="{D1474E30-FC97-4CDB-849F-3B4A98A1EEE6}"/>
                </a:ext>
              </a:extLst>
            </p:cNvPr>
            <p:cNvSpPr/>
            <p:nvPr/>
          </p:nvSpPr>
          <p:spPr bwMode="auto">
            <a:xfrm>
              <a:off x="4487897" y="2143065"/>
              <a:ext cx="534490" cy="738515"/>
            </a:xfrm>
            <a:custGeom>
              <a:avLst/>
              <a:gdLst>
                <a:gd name="T0" fmla="*/ 0 w 94"/>
                <a:gd name="T1" fmla="*/ 55 h 130"/>
                <a:gd name="T2" fmla="*/ 2 w 94"/>
                <a:gd name="T3" fmla="*/ 72 h 130"/>
                <a:gd name="T4" fmla="*/ 31 w 94"/>
                <a:gd name="T5" fmla="*/ 117 h 130"/>
                <a:gd name="T6" fmla="*/ 89 w 94"/>
                <a:gd name="T7" fmla="*/ 78 h 130"/>
                <a:gd name="T8" fmla="*/ 90 w 94"/>
                <a:gd name="T9" fmla="*/ 71 h 130"/>
                <a:gd name="T10" fmla="*/ 92 w 94"/>
                <a:gd name="T11" fmla="*/ 56 h 130"/>
                <a:gd name="T12" fmla="*/ 94 w 94"/>
                <a:gd name="T13" fmla="*/ 38 h 130"/>
                <a:gd name="T14" fmla="*/ 76 w 94"/>
                <a:gd name="T15" fmla="*/ 11 h 130"/>
                <a:gd name="T16" fmla="*/ 14 w 94"/>
                <a:gd name="T17" fmla="*/ 13 h 130"/>
                <a:gd name="T18" fmla="*/ 0 w 94"/>
                <a:gd name="T19" fmla="*/ 36 h 130"/>
                <a:gd name="T20" fmla="*/ 0 w 94"/>
                <a:gd name="T21" fmla="*/ 5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130">
                  <a:moveTo>
                    <a:pt x="0" y="55"/>
                  </a:moveTo>
                  <a:cubicBezTo>
                    <a:pt x="1" y="61"/>
                    <a:pt x="1" y="66"/>
                    <a:pt x="2" y="72"/>
                  </a:cubicBezTo>
                  <a:cubicBezTo>
                    <a:pt x="6" y="92"/>
                    <a:pt x="14" y="111"/>
                    <a:pt x="31" y="117"/>
                  </a:cubicBezTo>
                  <a:cubicBezTo>
                    <a:pt x="69" y="130"/>
                    <a:pt x="83" y="97"/>
                    <a:pt x="89" y="78"/>
                  </a:cubicBezTo>
                  <a:cubicBezTo>
                    <a:pt x="89" y="76"/>
                    <a:pt x="90" y="74"/>
                    <a:pt x="90" y="71"/>
                  </a:cubicBezTo>
                  <a:cubicBezTo>
                    <a:pt x="91" y="66"/>
                    <a:pt x="92" y="61"/>
                    <a:pt x="92" y="56"/>
                  </a:cubicBezTo>
                  <a:cubicBezTo>
                    <a:pt x="93" y="50"/>
                    <a:pt x="93" y="43"/>
                    <a:pt x="94" y="38"/>
                  </a:cubicBezTo>
                  <a:cubicBezTo>
                    <a:pt x="94" y="26"/>
                    <a:pt x="87" y="15"/>
                    <a:pt x="76" y="11"/>
                  </a:cubicBezTo>
                  <a:cubicBezTo>
                    <a:pt x="60" y="5"/>
                    <a:pt x="36" y="0"/>
                    <a:pt x="14" y="13"/>
                  </a:cubicBezTo>
                  <a:cubicBezTo>
                    <a:pt x="5" y="18"/>
                    <a:pt x="0" y="27"/>
                    <a:pt x="0" y="36"/>
                  </a:cubicBezTo>
                  <a:cubicBezTo>
                    <a:pt x="0" y="42"/>
                    <a:pt x="0" y="48"/>
                    <a:pt x="0" y="55"/>
                  </a:cubicBezTo>
                  <a:close/>
                </a:path>
              </a:pathLst>
            </a:custGeom>
            <a:solidFill>
              <a:srgbClr val="FFA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2" name="ExtraShape8">
              <a:extLst>
                <a:ext uri="{FF2B5EF4-FFF2-40B4-BE49-F238E27FC236}">
                  <a16:creationId xmlns:a16="http://schemas.microsoft.com/office/drawing/2014/main" id="{BAE6ADA1-A469-464D-B183-50C7B43524E5}"/>
                </a:ext>
              </a:extLst>
            </p:cNvPr>
            <p:cNvSpPr/>
            <p:nvPr/>
          </p:nvSpPr>
          <p:spPr bwMode="auto">
            <a:xfrm>
              <a:off x="4658876" y="2677554"/>
              <a:ext cx="182474" cy="84772"/>
            </a:xfrm>
            <a:custGeom>
              <a:avLst/>
              <a:gdLst>
                <a:gd name="T0" fmla="*/ 32 w 32"/>
                <a:gd name="T1" fmla="*/ 0 h 15"/>
                <a:gd name="T2" fmla="*/ 16 w 32"/>
                <a:gd name="T3" fmla="*/ 15 h 15"/>
                <a:gd name="T4" fmla="*/ 0 w 32"/>
                <a:gd name="T5" fmla="*/ 0 h 15"/>
                <a:gd name="T6" fmla="*/ 32 w 32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15">
                  <a:moveTo>
                    <a:pt x="32" y="0"/>
                  </a:moveTo>
                  <a:cubicBezTo>
                    <a:pt x="31" y="5"/>
                    <a:pt x="28" y="15"/>
                    <a:pt x="16" y="15"/>
                  </a:cubicBezTo>
                  <a:cubicBezTo>
                    <a:pt x="5" y="15"/>
                    <a:pt x="1" y="6"/>
                    <a:pt x="0" y="0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3" name="ExtraShape1">
              <a:extLst>
                <a:ext uri="{FF2B5EF4-FFF2-40B4-BE49-F238E27FC236}">
                  <a16:creationId xmlns:a16="http://schemas.microsoft.com/office/drawing/2014/main" id="{1F54955C-231D-4DFE-B814-2FF6F0C99E41}"/>
                </a:ext>
              </a:extLst>
            </p:cNvPr>
            <p:cNvSpPr/>
            <p:nvPr/>
          </p:nvSpPr>
          <p:spPr bwMode="auto">
            <a:xfrm>
              <a:off x="4624393" y="2506575"/>
              <a:ext cx="34483" cy="57472"/>
            </a:xfrm>
            <a:prstGeom prst="ellipse">
              <a:avLst/>
            </a:pr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4" name="ExtraShape2">
              <a:extLst>
                <a:ext uri="{FF2B5EF4-FFF2-40B4-BE49-F238E27FC236}">
                  <a16:creationId xmlns:a16="http://schemas.microsoft.com/office/drawing/2014/main" id="{53650088-CEF2-4E54-8281-58AC1F5C9EAC}"/>
                </a:ext>
              </a:extLst>
            </p:cNvPr>
            <p:cNvSpPr/>
            <p:nvPr/>
          </p:nvSpPr>
          <p:spPr bwMode="auto">
            <a:xfrm>
              <a:off x="4847097" y="2506575"/>
              <a:ext cx="33047" cy="57472"/>
            </a:xfrm>
            <a:prstGeom prst="ellipse">
              <a:avLst/>
            </a:pr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5" name="ExtraShape3">
              <a:extLst>
                <a:ext uri="{FF2B5EF4-FFF2-40B4-BE49-F238E27FC236}">
                  <a16:creationId xmlns:a16="http://schemas.microsoft.com/office/drawing/2014/main" id="{DBA27E79-CA61-40F7-85DD-3C29953BE714}"/>
                </a:ext>
              </a:extLst>
            </p:cNvPr>
            <p:cNvSpPr/>
            <p:nvPr/>
          </p:nvSpPr>
          <p:spPr bwMode="auto">
            <a:xfrm>
              <a:off x="4487897" y="2143065"/>
              <a:ext cx="534490" cy="318970"/>
            </a:xfrm>
            <a:custGeom>
              <a:avLst/>
              <a:gdLst>
                <a:gd name="T0" fmla="*/ 92 w 94"/>
                <a:gd name="T1" fmla="*/ 56 h 56"/>
                <a:gd name="T2" fmla="*/ 92 w 94"/>
                <a:gd name="T3" fmla="*/ 56 h 56"/>
                <a:gd name="T4" fmla="*/ 87 w 94"/>
                <a:gd name="T5" fmla="*/ 51 h 56"/>
                <a:gd name="T6" fmla="*/ 84 w 94"/>
                <a:gd name="T7" fmla="*/ 39 h 56"/>
                <a:gd name="T8" fmla="*/ 77 w 94"/>
                <a:gd name="T9" fmla="*/ 22 h 56"/>
                <a:gd name="T10" fmla="*/ 46 w 94"/>
                <a:gd name="T11" fmla="*/ 36 h 56"/>
                <a:gd name="T12" fmla="*/ 16 w 94"/>
                <a:gd name="T13" fmla="*/ 21 h 56"/>
                <a:gd name="T14" fmla="*/ 12 w 94"/>
                <a:gd name="T15" fmla="*/ 31 h 56"/>
                <a:gd name="T16" fmla="*/ 5 w 94"/>
                <a:gd name="T17" fmla="*/ 49 h 56"/>
                <a:gd name="T18" fmla="*/ 5 w 94"/>
                <a:gd name="T19" fmla="*/ 52 h 56"/>
                <a:gd name="T20" fmla="*/ 0 w 94"/>
                <a:gd name="T21" fmla="*/ 56 h 56"/>
                <a:gd name="T22" fmla="*/ 0 w 94"/>
                <a:gd name="T23" fmla="*/ 56 h 56"/>
                <a:gd name="T24" fmla="*/ 0 w 94"/>
                <a:gd name="T25" fmla="*/ 36 h 56"/>
                <a:gd name="T26" fmla="*/ 14 w 94"/>
                <a:gd name="T27" fmla="*/ 13 h 56"/>
                <a:gd name="T28" fmla="*/ 76 w 94"/>
                <a:gd name="T29" fmla="*/ 11 h 56"/>
                <a:gd name="T30" fmla="*/ 94 w 94"/>
                <a:gd name="T31" fmla="*/ 38 h 56"/>
                <a:gd name="T32" fmla="*/ 92 w 94"/>
                <a:gd name="T3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4" h="56">
                  <a:moveTo>
                    <a:pt x="92" y="56"/>
                  </a:moveTo>
                  <a:cubicBezTo>
                    <a:pt x="92" y="56"/>
                    <a:pt x="92" y="56"/>
                    <a:pt x="92" y="56"/>
                  </a:cubicBezTo>
                  <a:cubicBezTo>
                    <a:pt x="89" y="56"/>
                    <a:pt x="87" y="54"/>
                    <a:pt x="87" y="51"/>
                  </a:cubicBezTo>
                  <a:cubicBezTo>
                    <a:pt x="87" y="46"/>
                    <a:pt x="87" y="40"/>
                    <a:pt x="84" y="39"/>
                  </a:cubicBezTo>
                  <a:cubicBezTo>
                    <a:pt x="69" y="35"/>
                    <a:pt x="84" y="27"/>
                    <a:pt x="77" y="22"/>
                  </a:cubicBezTo>
                  <a:cubicBezTo>
                    <a:pt x="71" y="17"/>
                    <a:pt x="68" y="36"/>
                    <a:pt x="46" y="36"/>
                  </a:cubicBezTo>
                  <a:cubicBezTo>
                    <a:pt x="24" y="36"/>
                    <a:pt x="20" y="20"/>
                    <a:pt x="16" y="21"/>
                  </a:cubicBezTo>
                  <a:cubicBezTo>
                    <a:pt x="11" y="22"/>
                    <a:pt x="10" y="25"/>
                    <a:pt x="12" y="31"/>
                  </a:cubicBezTo>
                  <a:cubicBezTo>
                    <a:pt x="13" y="37"/>
                    <a:pt x="6" y="43"/>
                    <a:pt x="5" y="49"/>
                  </a:cubicBezTo>
                  <a:cubicBezTo>
                    <a:pt x="5" y="50"/>
                    <a:pt x="5" y="51"/>
                    <a:pt x="5" y="52"/>
                  </a:cubicBezTo>
                  <a:cubicBezTo>
                    <a:pt x="5" y="54"/>
                    <a:pt x="3" y="56"/>
                    <a:pt x="0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9"/>
                    <a:pt x="0" y="42"/>
                    <a:pt x="0" y="36"/>
                  </a:cubicBezTo>
                  <a:cubicBezTo>
                    <a:pt x="0" y="27"/>
                    <a:pt x="5" y="18"/>
                    <a:pt x="14" y="13"/>
                  </a:cubicBezTo>
                  <a:cubicBezTo>
                    <a:pt x="36" y="0"/>
                    <a:pt x="60" y="5"/>
                    <a:pt x="76" y="11"/>
                  </a:cubicBezTo>
                  <a:cubicBezTo>
                    <a:pt x="87" y="15"/>
                    <a:pt x="94" y="26"/>
                    <a:pt x="94" y="38"/>
                  </a:cubicBezTo>
                  <a:cubicBezTo>
                    <a:pt x="93" y="43"/>
                    <a:pt x="93" y="50"/>
                    <a:pt x="92" y="56"/>
                  </a:cubicBezTo>
                  <a:close/>
                </a:path>
              </a:pathLst>
            </a:cu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6" name="ExtraShape4">
              <a:extLst>
                <a:ext uri="{FF2B5EF4-FFF2-40B4-BE49-F238E27FC236}">
                  <a16:creationId xmlns:a16="http://schemas.microsoft.com/office/drawing/2014/main" id="{C9E52233-DE0C-4548-A702-CB8DD0761454}"/>
                </a:ext>
              </a:extLst>
            </p:cNvPr>
            <p:cNvSpPr/>
            <p:nvPr/>
          </p:nvSpPr>
          <p:spPr bwMode="auto">
            <a:xfrm>
              <a:off x="4454850" y="1973522"/>
              <a:ext cx="533053" cy="317533"/>
            </a:xfrm>
            <a:custGeom>
              <a:avLst/>
              <a:gdLst>
                <a:gd name="T0" fmla="*/ 12 w 94"/>
                <a:gd name="T1" fmla="*/ 46 h 56"/>
                <a:gd name="T2" fmla="*/ 4 w 94"/>
                <a:gd name="T3" fmla="*/ 9 h 56"/>
                <a:gd name="T4" fmla="*/ 22 w 94"/>
                <a:gd name="T5" fmla="*/ 17 h 56"/>
                <a:gd name="T6" fmla="*/ 18 w 94"/>
                <a:gd name="T7" fmla="*/ 0 h 56"/>
                <a:gd name="T8" fmla="*/ 41 w 94"/>
                <a:gd name="T9" fmla="*/ 7 h 56"/>
                <a:gd name="T10" fmla="*/ 91 w 94"/>
                <a:gd name="T11" fmla="*/ 39 h 56"/>
                <a:gd name="T12" fmla="*/ 12 w 94"/>
                <a:gd name="T13" fmla="*/ 4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56">
                  <a:moveTo>
                    <a:pt x="12" y="46"/>
                  </a:moveTo>
                  <a:cubicBezTo>
                    <a:pt x="12" y="46"/>
                    <a:pt x="0" y="23"/>
                    <a:pt x="4" y="9"/>
                  </a:cubicBezTo>
                  <a:cubicBezTo>
                    <a:pt x="4" y="9"/>
                    <a:pt x="11" y="21"/>
                    <a:pt x="22" y="17"/>
                  </a:cubicBezTo>
                  <a:cubicBezTo>
                    <a:pt x="22" y="17"/>
                    <a:pt x="19" y="9"/>
                    <a:pt x="18" y="0"/>
                  </a:cubicBezTo>
                  <a:cubicBezTo>
                    <a:pt x="18" y="0"/>
                    <a:pt x="29" y="6"/>
                    <a:pt x="41" y="7"/>
                  </a:cubicBezTo>
                  <a:cubicBezTo>
                    <a:pt x="59" y="10"/>
                    <a:pt x="94" y="17"/>
                    <a:pt x="91" y="39"/>
                  </a:cubicBezTo>
                  <a:cubicBezTo>
                    <a:pt x="91" y="39"/>
                    <a:pt x="42" y="56"/>
                    <a:pt x="12" y="46"/>
                  </a:cubicBezTo>
                  <a:close/>
                </a:path>
              </a:pathLst>
            </a:cu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7" name="ExtraShape5">
              <a:extLst>
                <a:ext uri="{FF2B5EF4-FFF2-40B4-BE49-F238E27FC236}">
                  <a16:creationId xmlns:a16="http://schemas.microsoft.com/office/drawing/2014/main" id="{977785B6-213E-4EE7-8FAA-71C4AE0047F5}"/>
                </a:ext>
              </a:extLst>
            </p:cNvPr>
            <p:cNvSpPr/>
            <p:nvPr/>
          </p:nvSpPr>
          <p:spPr bwMode="auto">
            <a:xfrm>
              <a:off x="4579852" y="2416057"/>
              <a:ext cx="125002" cy="61783"/>
            </a:xfrm>
            <a:custGeom>
              <a:avLst/>
              <a:gdLst>
                <a:gd name="T0" fmla="*/ 0 w 22"/>
                <a:gd name="T1" fmla="*/ 4 h 11"/>
                <a:gd name="T2" fmla="*/ 22 w 22"/>
                <a:gd name="T3" fmla="*/ 4 h 11"/>
                <a:gd name="T4" fmla="*/ 21 w 22"/>
                <a:gd name="T5" fmla="*/ 9 h 11"/>
                <a:gd name="T6" fmla="*/ 0 w 22"/>
                <a:gd name="T7" fmla="*/ 11 h 11"/>
                <a:gd name="T8" fmla="*/ 0 w 22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1">
                  <a:moveTo>
                    <a:pt x="0" y="4"/>
                  </a:moveTo>
                  <a:cubicBezTo>
                    <a:pt x="0" y="4"/>
                    <a:pt x="9" y="0"/>
                    <a:pt x="22" y="4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9" y="9"/>
                    <a:pt x="0" y="11"/>
                  </a:cubicBezTo>
                  <a:cubicBezTo>
                    <a:pt x="0" y="9"/>
                    <a:pt x="0" y="6"/>
                    <a:pt x="0" y="4"/>
                  </a:cubicBezTo>
                  <a:close/>
                </a:path>
              </a:pathLst>
            </a:cu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8" name="ExtraShape6">
              <a:extLst>
                <a:ext uri="{FF2B5EF4-FFF2-40B4-BE49-F238E27FC236}">
                  <a16:creationId xmlns:a16="http://schemas.microsoft.com/office/drawing/2014/main" id="{76234293-69CF-44D5-BC04-5FABDB9EF3E5}"/>
                </a:ext>
              </a:extLst>
            </p:cNvPr>
            <p:cNvSpPr/>
            <p:nvPr/>
          </p:nvSpPr>
          <p:spPr bwMode="auto">
            <a:xfrm>
              <a:off x="4801119" y="2421804"/>
              <a:ext cx="130749" cy="56036"/>
            </a:xfrm>
            <a:custGeom>
              <a:avLst/>
              <a:gdLst>
                <a:gd name="T0" fmla="*/ 22 w 23"/>
                <a:gd name="T1" fmla="*/ 3 h 10"/>
                <a:gd name="T2" fmla="*/ 0 w 23"/>
                <a:gd name="T3" fmla="*/ 3 h 10"/>
                <a:gd name="T4" fmla="*/ 1 w 23"/>
                <a:gd name="T5" fmla="*/ 8 h 10"/>
                <a:gd name="T6" fmla="*/ 22 w 23"/>
                <a:gd name="T7" fmla="*/ 10 h 10"/>
                <a:gd name="T8" fmla="*/ 22 w 23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0">
                  <a:moveTo>
                    <a:pt x="22" y="3"/>
                  </a:moveTo>
                  <a:cubicBezTo>
                    <a:pt x="22" y="3"/>
                    <a:pt x="13" y="0"/>
                    <a:pt x="0" y="3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3" y="8"/>
                    <a:pt x="22" y="10"/>
                  </a:cubicBezTo>
                  <a:cubicBezTo>
                    <a:pt x="22" y="8"/>
                    <a:pt x="23" y="5"/>
                    <a:pt x="22" y="3"/>
                  </a:cubicBezTo>
                  <a:close/>
                </a:path>
              </a:pathLst>
            </a:cu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9" name="ExtraShape7">
              <a:extLst>
                <a:ext uri="{FF2B5EF4-FFF2-40B4-BE49-F238E27FC236}">
                  <a16:creationId xmlns:a16="http://schemas.microsoft.com/office/drawing/2014/main" id="{DB2AFFAF-3D25-4F84-9701-F810BDCB37EA}"/>
                </a:ext>
              </a:extLst>
            </p:cNvPr>
            <p:cNvSpPr/>
            <p:nvPr/>
          </p:nvSpPr>
          <p:spPr bwMode="auto">
            <a:xfrm>
              <a:off x="4704853" y="2597094"/>
              <a:ext cx="96266" cy="45978"/>
            </a:xfrm>
            <a:custGeom>
              <a:avLst/>
              <a:gdLst>
                <a:gd name="T0" fmla="*/ 8 w 17"/>
                <a:gd name="T1" fmla="*/ 8 h 8"/>
                <a:gd name="T2" fmla="*/ 8 w 17"/>
                <a:gd name="T3" fmla="*/ 8 h 8"/>
                <a:gd name="T4" fmla="*/ 0 w 17"/>
                <a:gd name="T5" fmla="*/ 2 h 8"/>
                <a:gd name="T6" fmla="*/ 1 w 17"/>
                <a:gd name="T7" fmla="*/ 0 h 8"/>
                <a:gd name="T8" fmla="*/ 3 w 17"/>
                <a:gd name="T9" fmla="*/ 1 h 8"/>
                <a:gd name="T10" fmla="*/ 8 w 17"/>
                <a:gd name="T11" fmla="*/ 5 h 8"/>
                <a:gd name="T12" fmla="*/ 8 w 17"/>
                <a:gd name="T13" fmla="*/ 5 h 8"/>
                <a:gd name="T14" fmla="*/ 13 w 17"/>
                <a:gd name="T15" fmla="*/ 1 h 8"/>
                <a:gd name="T16" fmla="*/ 15 w 17"/>
                <a:gd name="T17" fmla="*/ 0 h 8"/>
                <a:gd name="T18" fmla="*/ 16 w 17"/>
                <a:gd name="T19" fmla="*/ 2 h 8"/>
                <a:gd name="T20" fmla="*/ 8 w 17"/>
                <a:gd name="T2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8">
                  <a:moveTo>
                    <a:pt x="8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3" y="8"/>
                    <a:pt x="0" y="3"/>
                    <a:pt x="0" y="2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3" y="1"/>
                    <a:pt x="5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12" y="5"/>
                    <a:pt x="13" y="1"/>
                    <a:pt x="13" y="1"/>
                  </a:cubicBezTo>
                  <a:cubicBezTo>
                    <a:pt x="14" y="0"/>
                    <a:pt x="15" y="0"/>
                    <a:pt x="15" y="0"/>
                  </a:cubicBezTo>
                  <a:cubicBezTo>
                    <a:pt x="16" y="1"/>
                    <a:pt x="17" y="2"/>
                    <a:pt x="16" y="2"/>
                  </a:cubicBezTo>
                  <a:cubicBezTo>
                    <a:pt x="16" y="3"/>
                    <a:pt x="14" y="8"/>
                    <a:pt x="8" y="8"/>
                  </a:cubicBezTo>
                  <a:close/>
                </a:path>
              </a:pathLst>
            </a:custGeom>
            <a:solidFill>
              <a:srgbClr val="FF7F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0" name="ExtraShape8">
              <a:extLst>
                <a:ext uri="{FF2B5EF4-FFF2-40B4-BE49-F238E27FC236}">
                  <a16:creationId xmlns:a16="http://schemas.microsoft.com/office/drawing/2014/main" id="{C3919DDA-1E23-43D9-A025-8DE66D545C44}"/>
                </a:ext>
              </a:extLst>
            </p:cNvPr>
            <p:cNvSpPr/>
            <p:nvPr/>
          </p:nvSpPr>
          <p:spPr bwMode="auto">
            <a:xfrm>
              <a:off x="3574092" y="4095676"/>
              <a:ext cx="1267258" cy="875012"/>
            </a:xfrm>
            <a:custGeom>
              <a:avLst/>
              <a:gdLst>
                <a:gd name="T0" fmla="*/ 13 w 223"/>
                <a:gd name="T1" fmla="*/ 0 h 154"/>
                <a:gd name="T2" fmla="*/ 96 w 223"/>
                <a:gd name="T3" fmla="*/ 25 h 154"/>
                <a:gd name="T4" fmla="*/ 209 w 223"/>
                <a:gd name="T5" fmla="*/ 71 h 154"/>
                <a:gd name="T6" fmla="*/ 211 w 223"/>
                <a:gd name="T7" fmla="*/ 135 h 154"/>
                <a:gd name="T8" fmla="*/ 92 w 223"/>
                <a:gd name="T9" fmla="*/ 107 h 154"/>
                <a:gd name="T10" fmla="*/ 13 w 223"/>
                <a:gd name="T11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3" h="154">
                  <a:moveTo>
                    <a:pt x="13" y="0"/>
                  </a:moveTo>
                  <a:cubicBezTo>
                    <a:pt x="13" y="0"/>
                    <a:pt x="55" y="6"/>
                    <a:pt x="96" y="25"/>
                  </a:cubicBezTo>
                  <a:cubicBezTo>
                    <a:pt x="124" y="38"/>
                    <a:pt x="209" y="71"/>
                    <a:pt x="209" y="71"/>
                  </a:cubicBezTo>
                  <a:cubicBezTo>
                    <a:pt x="209" y="71"/>
                    <a:pt x="223" y="129"/>
                    <a:pt x="211" y="135"/>
                  </a:cubicBezTo>
                  <a:cubicBezTo>
                    <a:pt x="169" y="154"/>
                    <a:pt x="92" y="107"/>
                    <a:pt x="92" y="107"/>
                  </a:cubicBezTo>
                  <a:cubicBezTo>
                    <a:pt x="92" y="107"/>
                    <a:pt x="0" y="59"/>
                    <a:pt x="13" y="0"/>
                  </a:cubicBezTo>
                  <a:close/>
                </a:path>
              </a:pathLst>
            </a:custGeom>
            <a:solidFill>
              <a:srgbClr val="0516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1" name="ExtraShape9">
              <a:extLst>
                <a:ext uri="{FF2B5EF4-FFF2-40B4-BE49-F238E27FC236}">
                  <a16:creationId xmlns:a16="http://schemas.microsoft.com/office/drawing/2014/main" id="{3E24310F-D362-4A42-9057-B578A265B987}"/>
                </a:ext>
              </a:extLst>
            </p:cNvPr>
            <p:cNvSpPr/>
            <p:nvPr/>
          </p:nvSpPr>
          <p:spPr bwMode="auto">
            <a:xfrm>
              <a:off x="3391618" y="4089929"/>
              <a:ext cx="1215533" cy="942541"/>
            </a:xfrm>
            <a:custGeom>
              <a:avLst/>
              <a:gdLst>
                <a:gd name="T0" fmla="*/ 51 w 214"/>
                <a:gd name="T1" fmla="*/ 2 h 166"/>
                <a:gd name="T2" fmla="*/ 25 w 214"/>
                <a:gd name="T3" fmla="*/ 8 h 166"/>
                <a:gd name="T4" fmla="*/ 19 w 214"/>
                <a:gd name="T5" fmla="*/ 64 h 166"/>
                <a:gd name="T6" fmla="*/ 199 w 214"/>
                <a:gd name="T7" fmla="*/ 166 h 166"/>
                <a:gd name="T8" fmla="*/ 214 w 214"/>
                <a:gd name="T9" fmla="*/ 139 h 166"/>
                <a:gd name="T10" fmla="*/ 143 w 214"/>
                <a:gd name="T11" fmla="*/ 73 h 166"/>
                <a:gd name="T12" fmla="*/ 51 w 214"/>
                <a:gd name="T13" fmla="*/ 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166">
                  <a:moveTo>
                    <a:pt x="51" y="2"/>
                  </a:moveTo>
                  <a:cubicBezTo>
                    <a:pt x="42" y="0"/>
                    <a:pt x="32" y="2"/>
                    <a:pt x="25" y="8"/>
                  </a:cubicBezTo>
                  <a:cubicBezTo>
                    <a:pt x="13" y="20"/>
                    <a:pt x="0" y="35"/>
                    <a:pt x="19" y="64"/>
                  </a:cubicBezTo>
                  <a:cubicBezTo>
                    <a:pt x="48" y="108"/>
                    <a:pt x="199" y="166"/>
                    <a:pt x="199" y="166"/>
                  </a:cubicBezTo>
                  <a:cubicBezTo>
                    <a:pt x="214" y="139"/>
                    <a:pt x="214" y="139"/>
                    <a:pt x="214" y="139"/>
                  </a:cubicBezTo>
                  <a:cubicBezTo>
                    <a:pt x="214" y="139"/>
                    <a:pt x="178" y="108"/>
                    <a:pt x="143" y="73"/>
                  </a:cubicBezTo>
                  <a:cubicBezTo>
                    <a:pt x="103" y="34"/>
                    <a:pt x="91" y="14"/>
                    <a:pt x="51" y="2"/>
                  </a:cubicBezTo>
                  <a:close/>
                </a:path>
              </a:pathLst>
            </a:cu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2" name="ExtraShape1">
              <a:extLst>
                <a:ext uri="{FF2B5EF4-FFF2-40B4-BE49-F238E27FC236}">
                  <a16:creationId xmlns:a16="http://schemas.microsoft.com/office/drawing/2014/main" id="{C2F51430-E319-461A-8D05-3FC39A50618E}"/>
                </a:ext>
              </a:extLst>
            </p:cNvPr>
            <p:cNvSpPr/>
            <p:nvPr/>
          </p:nvSpPr>
          <p:spPr bwMode="auto">
            <a:xfrm>
              <a:off x="3868636" y="4364338"/>
              <a:ext cx="164994" cy="318539"/>
            </a:xfrm>
            <a:custGeom>
              <a:avLst/>
              <a:gdLst>
                <a:gd name="connsiteX0" fmla="*/ 130750 w 164994"/>
                <a:gd name="connsiteY0" fmla="*/ 100596 h 318539"/>
                <a:gd name="connsiteX1" fmla="*/ 147991 w 164994"/>
                <a:gd name="connsiteY1" fmla="*/ 106270 h 318539"/>
                <a:gd name="connsiteX2" fmla="*/ 159486 w 164994"/>
                <a:gd name="connsiteY2" fmla="*/ 253781 h 318539"/>
                <a:gd name="connsiteX3" fmla="*/ 142244 w 164994"/>
                <a:gd name="connsiteY3" fmla="*/ 310516 h 318539"/>
                <a:gd name="connsiteX4" fmla="*/ 125002 w 164994"/>
                <a:gd name="connsiteY4" fmla="*/ 316190 h 318539"/>
                <a:gd name="connsiteX5" fmla="*/ 119255 w 164994"/>
                <a:gd name="connsiteY5" fmla="*/ 304843 h 318539"/>
                <a:gd name="connsiteX6" fmla="*/ 125002 w 164994"/>
                <a:gd name="connsiteY6" fmla="*/ 117617 h 318539"/>
                <a:gd name="connsiteX7" fmla="*/ 130750 w 164994"/>
                <a:gd name="connsiteY7" fmla="*/ 100596 h 318539"/>
                <a:gd name="connsiteX8" fmla="*/ 0 w 164994"/>
                <a:gd name="connsiteY8" fmla="*/ 4248 h 318539"/>
                <a:gd name="connsiteX9" fmla="*/ 17015 w 164994"/>
                <a:gd name="connsiteY9" fmla="*/ 4248 h 318539"/>
                <a:gd name="connsiteX10" fmla="*/ 96417 w 164994"/>
                <a:gd name="connsiteY10" fmla="*/ 123215 h 318539"/>
                <a:gd name="connsiteX11" fmla="*/ 107760 w 164994"/>
                <a:gd name="connsiteY11" fmla="*/ 185531 h 318539"/>
                <a:gd name="connsiteX12" fmla="*/ 96417 w 164994"/>
                <a:gd name="connsiteY12" fmla="*/ 196861 h 318539"/>
                <a:gd name="connsiteX13" fmla="*/ 85074 w 164994"/>
                <a:gd name="connsiteY13" fmla="*/ 185531 h 318539"/>
                <a:gd name="connsiteX14" fmla="*/ 5671 w 164994"/>
                <a:gd name="connsiteY14" fmla="*/ 21243 h 318539"/>
                <a:gd name="connsiteX15" fmla="*/ 0 w 164994"/>
                <a:gd name="connsiteY15" fmla="*/ 4248 h 31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4994" h="318539">
                  <a:moveTo>
                    <a:pt x="130750" y="100596"/>
                  </a:moveTo>
                  <a:cubicBezTo>
                    <a:pt x="136497" y="100596"/>
                    <a:pt x="147991" y="100596"/>
                    <a:pt x="147991" y="106270"/>
                  </a:cubicBezTo>
                  <a:cubicBezTo>
                    <a:pt x="147991" y="111943"/>
                    <a:pt x="176727" y="174352"/>
                    <a:pt x="159486" y="253781"/>
                  </a:cubicBezTo>
                  <a:cubicBezTo>
                    <a:pt x="159486" y="270802"/>
                    <a:pt x="153738" y="293496"/>
                    <a:pt x="142244" y="310516"/>
                  </a:cubicBezTo>
                  <a:cubicBezTo>
                    <a:pt x="142244" y="316190"/>
                    <a:pt x="130750" y="321863"/>
                    <a:pt x="125002" y="316190"/>
                  </a:cubicBezTo>
                  <a:cubicBezTo>
                    <a:pt x="119255" y="316190"/>
                    <a:pt x="119255" y="310516"/>
                    <a:pt x="119255" y="304843"/>
                  </a:cubicBezTo>
                  <a:cubicBezTo>
                    <a:pt x="165233" y="208393"/>
                    <a:pt x="125002" y="117617"/>
                    <a:pt x="125002" y="117617"/>
                  </a:cubicBezTo>
                  <a:cubicBezTo>
                    <a:pt x="125002" y="111943"/>
                    <a:pt x="125002" y="100596"/>
                    <a:pt x="130750" y="100596"/>
                  </a:cubicBezTo>
                  <a:close/>
                  <a:moveTo>
                    <a:pt x="0" y="4248"/>
                  </a:moveTo>
                  <a:cubicBezTo>
                    <a:pt x="5671" y="-1417"/>
                    <a:pt x="11343" y="-1417"/>
                    <a:pt x="17015" y="4248"/>
                  </a:cubicBezTo>
                  <a:cubicBezTo>
                    <a:pt x="22686" y="4248"/>
                    <a:pt x="73730" y="49569"/>
                    <a:pt x="96417" y="123215"/>
                  </a:cubicBezTo>
                  <a:cubicBezTo>
                    <a:pt x="102088" y="145875"/>
                    <a:pt x="107760" y="162871"/>
                    <a:pt x="107760" y="185531"/>
                  </a:cubicBezTo>
                  <a:cubicBezTo>
                    <a:pt x="107760" y="191196"/>
                    <a:pt x="102088" y="196861"/>
                    <a:pt x="96417" y="196861"/>
                  </a:cubicBezTo>
                  <a:cubicBezTo>
                    <a:pt x="90745" y="196861"/>
                    <a:pt x="85074" y="196861"/>
                    <a:pt x="85074" y="185531"/>
                  </a:cubicBezTo>
                  <a:cubicBezTo>
                    <a:pt x="79402" y="83559"/>
                    <a:pt x="5671" y="21243"/>
                    <a:pt x="5671" y="21243"/>
                  </a:cubicBezTo>
                  <a:cubicBezTo>
                    <a:pt x="0" y="15578"/>
                    <a:pt x="0" y="9913"/>
                    <a:pt x="0" y="4248"/>
                  </a:cubicBezTo>
                  <a:close/>
                </a:path>
              </a:pathLst>
            </a:custGeom>
            <a:solidFill>
              <a:srgbClr val="335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3" name="ExtraShape2">
              <a:extLst>
                <a:ext uri="{FF2B5EF4-FFF2-40B4-BE49-F238E27FC236}">
                  <a16:creationId xmlns:a16="http://schemas.microsoft.com/office/drawing/2014/main" id="{6A5FA940-4AB5-4C30-B258-0D306D26BC50}"/>
                </a:ext>
              </a:extLst>
            </p:cNvPr>
            <p:cNvSpPr/>
            <p:nvPr/>
          </p:nvSpPr>
          <p:spPr bwMode="auto">
            <a:xfrm>
              <a:off x="4493644" y="4839938"/>
              <a:ext cx="392247" cy="244256"/>
            </a:xfrm>
            <a:custGeom>
              <a:avLst/>
              <a:gdLst>
                <a:gd name="T0" fmla="*/ 0 w 69"/>
                <a:gd name="T1" fmla="*/ 31 h 43"/>
                <a:gd name="T2" fmla="*/ 60 w 69"/>
                <a:gd name="T3" fmla="*/ 43 h 43"/>
                <a:gd name="T4" fmla="*/ 47 w 69"/>
                <a:gd name="T5" fmla="*/ 10 h 43"/>
                <a:gd name="T6" fmla="*/ 10 w 69"/>
                <a:gd name="T7" fmla="*/ 0 h 43"/>
                <a:gd name="T8" fmla="*/ 0 w 69"/>
                <a:gd name="T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3">
                  <a:moveTo>
                    <a:pt x="0" y="31"/>
                  </a:moveTo>
                  <a:cubicBezTo>
                    <a:pt x="60" y="43"/>
                    <a:pt x="60" y="43"/>
                    <a:pt x="60" y="43"/>
                  </a:cubicBezTo>
                  <a:cubicBezTo>
                    <a:pt x="69" y="36"/>
                    <a:pt x="62" y="15"/>
                    <a:pt x="47" y="10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rgbClr val="FFA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4" name="ExtraShape3">
              <a:extLst>
                <a:ext uri="{FF2B5EF4-FFF2-40B4-BE49-F238E27FC236}">
                  <a16:creationId xmlns:a16="http://schemas.microsoft.com/office/drawing/2014/main" id="{70945FBD-F180-44FA-807D-61E3038405F9}"/>
                </a:ext>
              </a:extLst>
            </p:cNvPr>
            <p:cNvSpPr/>
            <p:nvPr/>
          </p:nvSpPr>
          <p:spPr bwMode="auto">
            <a:xfrm>
              <a:off x="4443356" y="4788214"/>
              <a:ext cx="227014" cy="307475"/>
            </a:xfrm>
            <a:custGeom>
              <a:avLst/>
              <a:gdLst>
                <a:gd name="T0" fmla="*/ 20 w 40"/>
                <a:gd name="T1" fmla="*/ 0 h 54"/>
                <a:gd name="T2" fmla="*/ 40 w 40"/>
                <a:gd name="T3" fmla="*/ 12 h 54"/>
                <a:gd name="T4" fmla="*/ 18 w 40"/>
                <a:gd name="T5" fmla="*/ 54 h 54"/>
                <a:gd name="T6" fmla="*/ 0 w 40"/>
                <a:gd name="T7" fmla="*/ 45 h 54"/>
                <a:gd name="T8" fmla="*/ 20 w 40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4">
                  <a:moveTo>
                    <a:pt x="20" y="0"/>
                  </a:moveTo>
                  <a:cubicBezTo>
                    <a:pt x="30" y="2"/>
                    <a:pt x="35" y="7"/>
                    <a:pt x="40" y="12"/>
                  </a:cubicBezTo>
                  <a:cubicBezTo>
                    <a:pt x="40" y="12"/>
                    <a:pt x="32" y="32"/>
                    <a:pt x="18" y="54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7" y="26"/>
                    <a:pt x="20" y="0"/>
                  </a:cubicBezTo>
                  <a:close/>
                </a:path>
              </a:pathLst>
            </a:custGeom>
            <a:solidFill>
              <a:srgbClr val="335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5" name="ExtraShape4">
              <a:extLst>
                <a:ext uri="{FF2B5EF4-FFF2-40B4-BE49-F238E27FC236}">
                  <a16:creationId xmlns:a16="http://schemas.microsoft.com/office/drawing/2014/main" id="{094CE5F3-EF1B-4911-9F4F-E7A5EEDB1783}"/>
                </a:ext>
              </a:extLst>
            </p:cNvPr>
            <p:cNvSpPr/>
            <p:nvPr/>
          </p:nvSpPr>
          <p:spPr bwMode="auto">
            <a:xfrm>
              <a:off x="4664623" y="4703443"/>
              <a:ext cx="665239" cy="540237"/>
            </a:xfrm>
            <a:custGeom>
              <a:avLst/>
              <a:gdLst>
                <a:gd name="T0" fmla="*/ 113 w 117"/>
                <a:gd name="T1" fmla="*/ 93 h 95"/>
                <a:gd name="T2" fmla="*/ 114 w 117"/>
                <a:gd name="T3" fmla="*/ 91 h 95"/>
                <a:gd name="T4" fmla="*/ 115 w 117"/>
                <a:gd name="T5" fmla="*/ 90 h 95"/>
                <a:gd name="T6" fmla="*/ 117 w 117"/>
                <a:gd name="T7" fmla="*/ 86 h 95"/>
                <a:gd name="T8" fmla="*/ 93 w 117"/>
                <a:gd name="T9" fmla="*/ 57 h 95"/>
                <a:gd name="T10" fmla="*/ 66 w 117"/>
                <a:gd name="T11" fmla="*/ 28 h 95"/>
                <a:gd name="T12" fmla="*/ 42 w 117"/>
                <a:gd name="T13" fmla="*/ 2 h 95"/>
                <a:gd name="T14" fmla="*/ 35 w 117"/>
                <a:gd name="T15" fmla="*/ 1 h 95"/>
                <a:gd name="T16" fmla="*/ 34 w 117"/>
                <a:gd name="T17" fmla="*/ 3 h 95"/>
                <a:gd name="T18" fmla="*/ 19 w 117"/>
                <a:gd name="T19" fmla="*/ 15 h 95"/>
                <a:gd name="T20" fmla="*/ 10 w 117"/>
                <a:gd name="T21" fmla="*/ 24 h 95"/>
                <a:gd name="T22" fmla="*/ 2 w 117"/>
                <a:gd name="T23" fmla="*/ 29 h 95"/>
                <a:gd name="T24" fmla="*/ 7 w 117"/>
                <a:gd name="T25" fmla="*/ 34 h 95"/>
                <a:gd name="T26" fmla="*/ 24 w 117"/>
                <a:gd name="T27" fmla="*/ 50 h 95"/>
                <a:gd name="T28" fmla="*/ 25 w 117"/>
                <a:gd name="T29" fmla="*/ 69 h 95"/>
                <a:gd name="T30" fmla="*/ 34 w 117"/>
                <a:gd name="T31" fmla="*/ 75 h 95"/>
                <a:gd name="T32" fmla="*/ 39 w 117"/>
                <a:gd name="T33" fmla="*/ 74 h 95"/>
                <a:gd name="T34" fmla="*/ 47 w 117"/>
                <a:gd name="T35" fmla="*/ 76 h 95"/>
                <a:gd name="T36" fmla="*/ 49 w 117"/>
                <a:gd name="T37" fmla="*/ 76 h 95"/>
                <a:gd name="T38" fmla="*/ 51 w 117"/>
                <a:gd name="T39" fmla="*/ 77 h 95"/>
                <a:gd name="T40" fmla="*/ 56 w 117"/>
                <a:gd name="T41" fmla="*/ 77 h 95"/>
                <a:gd name="T42" fmla="*/ 58 w 117"/>
                <a:gd name="T43" fmla="*/ 78 h 95"/>
                <a:gd name="T44" fmla="*/ 64 w 117"/>
                <a:gd name="T45" fmla="*/ 79 h 95"/>
                <a:gd name="T46" fmla="*/ 82 w 117"/>
                <a:gd name="T47" fmla="*/ 86 h 95"/>
                <a:gd name="T48" fmla="*/ 109 w 117"/>
                <a:gd name="T49" fmla="*/ 94 h 95"/>
                <a:gd name="T50" fmla="*/ 113 w 117"/>
                <a:gd name="T51" fmla="*/ 9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7" h="95">
                  <a:moveTo>
                    <a:pt x="113" y="93"/>
                  </a:moveTo>
                  <a:cubicBezTo>
                    <a:pt x="113" y="92"/>
                    <a:pt x="114" y="92"/>
                    <a:pt x="114" y="91"/>
                  </a:cubicBezTo>
                  <a:cubicBezTo>
                    <a:pt x="114" y="91"/>
                    <a:pt x="115" y="90"/>
                    <a:pt x="115" y="90"/>
                  </a:cubicBezTo>
                  <a:cubicBezTo>
                    <a:pt x="116" y="88"/>
                    <a:pt x="117" y="87"/>
                    <a:pt x="117" y="86"/>
                  </a:cubicBezTo>
                  <a:cubicBezTo>
                    <a:pt x="117" y="84"/>
                    <a:pt x="93" y="57"/>
                    <a:pt x="93" y="57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62" y="24"/>
                    <a:pt x="48" y="9"/>
                    <a:pt x="42" y="2"/>
                  </a:cubicBezTo>
                  <a:cubicBezTo>
                    <a:pt x="40" y="0"/>
                    <a:pt x="37" y="0"/>
                    <a:pt x="35" y="1"/>
                  </a:cubicBezTo>
                  <a:cubicBezTo>
                    <a:pt x="35" y="2"/>
                    <a:pt x="34" y="2"/>
                    <a:pt x="34" y="3"/>
                  </a:cubicBezTo>
                  <a:cubicBezTo>
                    <a:pt x="29" y="7"/>
                    <a:pt x="21" y="13"/>
                    <a:pt x="19" y="15"/>
                  </a:cubicBezTo>
                  <a:cubicBezTo>
                    <a:pt x="16" y="19"/>
                    <a:pt x="10" y="24"/>
                    <a:pt x="10" y="24"/>
                  </a:cubicBezTo>
                  <a:cubicBezTo>
                    <a:pt x="10" y="24"/>
                    <a:pt x="0" y="24"/>
                    <a:pt x="2" y="29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20" y="44"/>
                    <a:pt x="24" y="50"/>
                  </a:cubicBezTo>
                  <a:cubicBezTo>
                    <a:pt x="27" y="55"/>
                    <a:pt x="27" y="64"/>
                    <a:pt x="25" y="69"/>
                  </a:cubicBezTo>
                  <a:cubicBezTo>
                    <a:pt x="22" y="74"/>
                    <a:pt x="31" y="78"/>
                    <a:pt x="34" y="75"/>
                  </a:cubicBezTo>
                  <a:cubicBezTo>
                    <a:pt x="36" y="74"/>
                    <a:pt x="37" y="74"/>
                    <a:pt x="39" y="74"/>
                  </a:cubicBezTo>
                  <a:cubicBezTo>
                    <a:pt x="41" y="75"/>
                    <a:pt x="44" y="75"/>
                    <a:pt x="47" y="76"/>
                  </a:cubicBezTo>
                  <a:cubicBezTo>
                    <a:pt x="47" y="76"/>
                    <a:pt x="48" y="76"/>
                    <a:pt x="49" y="76"/>
                  </a:cubicBezTo>
                  <a:cubicBezTo>
                    <a:pt x="49" y="76"/>
                    <a:pt x="50" y="76"/>
                    <a:pt x="51" y="77"/>
                  </a:cubicBezTo>
                  <a:cubicBezTo>
                    <a:pt x="53" y="77"/>
                    <a:pt x="55" y="77"/>
                    <a:pt x="56" y="77"/>
                  </a:cubicBezTo>
                  <a:cubicBezTo>
                    <a:pt x="57" y="77"/>
                    <a:pt x="57" y="77"/>
                    <a:pt x="58" y="78"/>
                  </a:cubicBezTo>
                  <a:cubicBezTo>
                    <a:pt x="60" y="78"/>
                    <a:pt x="62" y="79"/>
                    <a:pt x="64" y="79"/>
                  </a:cubicBezTo>
                  <a:cubicBezTo>
                    <a:pt x="71" y="81"/>
                    <a:pt x="78" y="85"/>
                    <a:pt x="82" y="86"/>
                  </a:cubicBezTo>
                  <a:cubicBezTo>
                    <a:pt x="88" y="88"/>
                    <a:pt x="103" y="92"/>
                    <a:pt x="109" y="94"/>
                  </a:cubicBezTo>
                  <a:cubicBezTo>
                    <a:pt x="110" y="95"/>
                    <a:pt x="112" y="94"/>
                    <a:pt x="113" y="93"/>
                  </a:cubicBezTo>
                  <a:close/>
                </a:path>
              </a:pathLst>
            </a:custGeom>
            <a:solidFill>
              <a:srgbClr val="FC53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6" name="ExtraShape5">
              <a:extLst>
                <a:ext uri="{FF2B5EF4-FFF2-40B4-BE49-F238E27FC236}">
                  <a16:creationId xmlns:a16="http://schemas.microsoft.com/office/drawing/2014/main" id="{1F2A2F31-E183-414A-8612-7B9298E6211F}"/>
                </a:ext>
              </a:extLst>
            </p:cNvPr>
            <p:cNvSpPr/>
            <p:nvPr/>
          </p:nvSpPr>
          <p:spPr bwMode="auto">
            <a:xfrm>
              <a:off x="4858591" y="4703443"/>
              <a:ext cx="471270" cy="511501"/>
            </a:xfrm>
            <a:custGeom>
              <a:avLst/>
              <a:gdLst>
                <a:gd name="T0" fmla="*/ 81 w 83"/>
                <a:gd name="T1" fmla="*/ 90 h 90"/>
                <a:gd name="T2" fmla="*/ 83 w 83"/>
                <a:gd name="T3" fmla="*/ 86 h 90"/>
                <a:gd name="T4" fmla="*/ 59 w 83"/>
                <a:gd name="T5" fmla="*/ 57 h 90"/>
                <a:gd name="T6" fmla="*/ 32 w 83"/>
                <a:gd name="T7" fmla="*/ 28 h 90"/>
                <a:gd name="T8" fmla="*/ 8 w 83"/>
                <a:gd name="T9" fmla="*/ 2 h 90"/>
                <a:gd name="T10" fmla="*/ 1 w 83"/>
                <a:gd name="T11" fmla="*/ 1 h 90"/>
                <a:gd name="T12" fmla="*/ 0 w 83"/>
                <a:gd name="T13" fmla="*/ 3 h 90"/>
                <a:gd name="T14" fmla="*/ 81 w 83"/>
                <a:gd name="T15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90">
                  <a:moveTo>
                    <a:pt x="81" y="90"/>
                  </a:moveTo>
                  <a:cubicBezTo>
                    <a:pt x="82" y="88"/>
                    <a:pt x="83" y="87"/>
                    <a:pt x="83" y="86"/>
                  </a:cubicBezTo>
                  <a:cubicBezTo>
                    <a:pt x="83" y="84"/>
                    <a:pt x="59" y="57"/>
                    <a:pt x="59" y="57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28" y="24"/>
                    <a:pt x="14" y="9"/>
                    <a:pt x="8" y="2"/>
                  </a:cubicBezTo>
                  <a:cubicBezTo>
                    <a:pt x="6" y="0"/>
                    <a:pt x="3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27" y="29"/>
                    <a:pt x="54" y="58"/>
                    <a:pt x="81" y="90"/>
                  </a:cubicBezTo>
                  <a:close/>
                </a:path>
              </a:pathLst>
            </a:custGeom>
            <a:solidFill>
              <a:srgbClr val="E222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7" name="ExtraShape6">
              <a:extLst>
                <a:ext uri="{FF2B5EF4-FFF2-40B4-BE49-F238E27FC236}">
                  <a16:creationId xmlns:a16="http://schemas.microsoft.com/office/drawing/2014/main" id="{729FE2A8-996D-4D23-9EB2-01099837859E}"/>
                </a:ext>
              </a:extLst>
            </p:cNvPr>
            <p:cNvSpPr/>
            <p:nvPr/>
          </p:nvSpPr>
          <p:spPr bwMode="auto">
            <a:xfrm>
              <a:off x="4876192" y="5005171"/>
              <a:ext cx="174931" cy="181037"/>
            </a:xfrm>
            <a:custGeom>
              <a:avLst/>
              <a:gdLst>
                <a:gd name="connsiteX0" fmla="*/ 21193 w 174931"/>
                <a:gd name="connsiteY0" fmla="*/ 0 h 181037"/>
                <a:gd name="connsiteX1" fmla="*/ 32687 w 174931"/>
                <a:gd name="connsiteY1" fmla="*/ 11289 h 181037"/>
                <a:gd name="connsiteX2" fmla="*/ 32687 w 174931"/>
                <a:gd name="connsiteY2" fmla="*/ 16933 h 181037"/>
                <a:gd name="connsiteX3" fmla="*/ 26940 w 174931"/>
                <a:gd name="connsiteY3" fmla="*/ 90313 h 181037"/>
                <a:gd name="connsiteX4" fmla="*/ 61692 w 174931"/>
                <a:gd name="connsiteY4" fmla="*/ 133970 h 181037"/>
                <a:gd name="connsiteX5" fmla="*/ 66937 w 174931"/>
                <a:gd name="connsiteY5" fmla="*/ 135406 h 181037"/>
                <a:gd name="connsiteX6" fmla="*/ 63336 w 174931"/>
                <a:gd name="connsiteY6" fmla="*/ 132045 h 181037"/>
                <a:gd name="connsiteX7" fmla="*/ 49737 w 174931"/>
                <a:gd name="connsiteY7" fmla="*/ 101705 h 181037"/>
                <a:gd name="connsiteX8" fmla="*/ 55388 w 174931"/>
                <a:gd name="connsiteY8" fmla="*/ 11391 h 181037"/>
                <a:gd name="connsiteX9" fmla="*/ 72343 w 174931"/>
                <a:gd name="connsiteY9" fmla="*/ 5747 h 181037"/>
                <a:gd name="connsiteX10" fmla="*/ 77994 w 174931"/>
                <a:gd name="connsiteY10" fmla="*/ 11391 h 181037"/>
                <a:gd name="connsiteX11" fmla="*/ 77994 w 174931"/>
                <a:gd name="connsiteY11" fmla="*/ 22681 h 181037"/>
                <a:gd name="connsiteX12" fmla="*/ 72343 w 174931"/>
                <a:gd name="connsiteY12" fmla="*/ 96060 h 181037"/>
                <a:gd name="connsiteX13" fmla="*/ 107311 w 174931"/>
                <a:gd name="connsiteY13" fmla="*/ 134161 h 181037"/>
                <a:gd name="connsiteX14" fmla="*/ 109949 w 174931"/>
                <a:gd name="connsiteY14" fmla="*/ 134972 h 181037"/>
                <a:gd name="connsiteX15" fmla="*/ 101462 w 174931"/>
                <a:gd name="connsiteY15" fmla="*/ 118382 h 181037"/>
                <a:gd name="connsiteX16" fmla="*/ 107114 w 174931"/>
                <a:gd name="connsiteY16" fmla="*/ 32944 h 181037"/>
                <a:gd name="connsiteX17" fmla="*/ 124068 w 174931"/>
                <a:gd name="connsiteY17" fmla="*/ 21552 h 181037"/>
                <a:gd name="connsiteX18" fmla="*/ 129720 w 174931"/>
                <a:gd name="connsiteY18" fmla="*/ 27248 h 181037"/>
                <a:gd name="connsiteX19" fmla="*/ 129720 w 174931"/>
                <a:gd name="connsiteY19" fmla="*/ 38640 h 181037"/>
                <a:gd name="connsiteX20" fmla="*/ 124068 w 174931"/>
                <a:gd name="connsiteY20" fmla="*/ 112687 h 181037"/>
                <a:gd name="connsiteX21" fmla="*/ 163628 w 174931"/>
                <a:gd name="connsiteY21" fmla="*/ 158254 h 181037"/>
                <a:gd name="connsiteX22" fmla="*/ 174931 w 174931"/>
                <a:gd name="connsiteY22" fmla="*/ 169645 h 181037"/>
                <a:gd name="connsiteX23" fmla="*/ 163628 w 174931"/>
                <a:gd name="connsiteY23" fmla="*/ 181037 h 181037"/>
                <a:gd name="connsiteX24" fmla="*/ 136784 w 174931"/>
                <a:gd name="connsiteY24" fmla="*/ 168933 h 181037"/>
                <a:gd name="connsiteX25" fmla="*/ 122169 w 174931"/>
                <a:gd name="connsiteY25" fmla="*/ 154406 h 181037"/>
                <a:gd name="connsiteX26" fmla="*/ 118968 w 174931"/>
                <a:gd name="connsiteY26" fmla="*/ 160267 h 181037"/>
                <a:gd name="connsiteX27" fmla="*/ 106252 w 174931"/>
                <a:gd name="connsiteY27" fmla="*/ 163795 h 181037"/>
                <a:gd name="connsiteX28" fmla="*/ 82233 w 174931"/>
                <a:gd name="connsiteY28" fmla="*/ 149684 h 181037"/>
                <a:gd name="connsiteX29" fmla="*/ 73829 w 174931"/>
                <a:gd name="connsiteY29" fmla="*/ 141839 h 181037"/>
                <a:gd name="connsiteX30" fmla="*/ 72918 w 174931"/>
                <a:gd name="connsiteY30" fmla="*/ 146759 h 181037"/>
                <a:gd name="connsiteX31" fmla="*/ 61423 w 174931"/>
                <a:gd name="connsiteY31" fmla="*/ 158048 h 181037"/>
                <a:gd name="connsiteX32" fmla="*/ 3951 w 174931"/>
                <a:gd name="connsiteY32" fmla="*/ 95958 h 181037"/>
                <a:gd name="connsiteX33" fmla="*/ 9698 w 174931"/>
                <a:gd name="connsiteY33" fmla="*/ 11289 h 181037"/>
                <a:gd name="connsiteX34" fmla="*/ 21193 w 174931"/>
                <a:gd name="connsiteY34" fmla="*/ 0 h 181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74931" h="181037">
                  <a:moveTo>
                    <a:pt x="21193" y="0"/>
                  </a:moveTo>
                  <a:cubicBezTo>
                    <a:pt x="26940" y="5644"/>
                    <a:pt x="26940" y="5644"/>
                    <a:pt x="32687" y="11289"/>
                  </a:cubicBezTo>
                  <a:cubicBezTo>
                    <a:pt x="32687" y="11289"/>
                    <a:pt x="32687" y="16933"/>
                    <a:pt x="32687" y="16933"/>
                  </a:cubicBezTo>
                  <a:cubicBezTo>
                    <a:pt x="32687" y="16933"/>
                    <a:pt x="15446" y="62091"/>
                    <a:pt x="26940" y="90313"/>
                  </a:cubicBezTo>
                  <a:cubicBezTo>
                    <a:pt x="31250" y="119947"/>
                    <a:pt x="51725" y="130531"/>
                    <a:pt x="61692" y="133970"/>
                  </a:cubicBezTo>
                  <a:lnTo>
                    <a:pt x="66937" y="135406"/>
                  </a:lnTo>
                  <a:lnTo>
                    <a:pt x="63336" y="132045"/>
                  </a:lnTo>
                  <a:cubicBezTo>
                    <a:pt x="57508" y="124283"/>
                    <a:pt x="52563" y="114405"/>
                    <a:pt x="49737" y="101705"/>
                  </a:cubicBezTo>
                  <a:cubicBezTo>
                    <a:pt x="38434" y="62193"/>
                    <a:pt x="55388" y="17036"/>
                    <a:pt x="55388" y="11391"/>
                  </a:cubicBezTo>
                  <a:cubicBezTo>
                    <a:pt x="61040" y="5747"/>
                    <a:pt x="66691" y="5747"/>
                    <a:pt x="72343" y="5747"/>
                  </a:cubicBezTo>
                  <a:cubicBezTo>
                    <a:pt x="72343" y="5747"/>
                    <a:pt x="77994" y="11391"/>
                    <a:pt x="77994" y="11391"/>
                  </a:cubicBezTo>
                  <a:cubicBezTo>
                    <a:pt x="77994" y="17036"/>
                    <a:pt x="77994" y="17036"/>
                    <a:pt x="77994" y="22681"/>
                  </a:cubicBezTo>
                  <a:cubicBezTo>
                    <a:pt x="77994" y="22681"/>
                    <a:pt x="66691" y="67838"/>
                    <a:pt x="72343" y="96060"/>
                  </a:cubicBezTo>
                  <a:cubicBezTo>
                    <a:pt x="80820" y="121461"/>
                    <a:pt x="98834" y="130986"/>
                    <a:pt x="107311" y="134161"/>
                  </a:cubicBezTo>
                  <a:lnTo>
                    <a:pt x="109949" y="134972"/>
                  </a:lnTo>
                  <a:lnTo>
                    <a:pt x="101462" y="118382"/>
                  </a:lnTo>
                  <a:cubicBezTo>
                    <a:pt x="90159" y="84207"/>
                    <a:pt x="107114" y="32944"/>
                    <a:pt x="107114" y="32944"/>
                  </a:cubicBezTo>
                  <a:cubicBezTo>
                    <a:pt x="112765" y="21552"/>
                    <a:pt x="118417" y="21552"/>
                    <a:pt x="124068" y="21552"/>
                  </a:cubicBezTo>
                  <a:cubicBezTo>
                    <a:pt x="129720" y="21552"/>
                    <a:pt x="129720" y="27248"/>
                    <a:pt x="129720" y="27248"/>
                  </a:cubicBezTo>
                  <a:cubicBezTo>
                    <a:pt x="129720" y="32944"/>
                    <a:pt x="129720" y="32944"/>
                    <a:pt x="129720" y="38640"/>
                  </a:cubicBezTo>
                  <a:cubicBezTo>
                    <a:pt x="129720" y="38640"/>
                    <a:pt x="118417" y="84207"/>
                    <a:pt x="124068" y="112687"/>
                  </a:cubicBezTo>
                  <a:cubicBezTo>
                    <a:pt x="135371" y="146862"/>
                    <a:pt x="163628" y="152558"/>
                    <a:pt x="163628" y="158254"/>
                  </a:cubicBezTo>
                  <a:cubicBezTo>
                    <a:pt x="174931" y="158254"/>
                    <a:pt x="174931" y="163950"/>
                    <a:pt x="174931" y="169645"/>
                  </a:cubicBezTo>
                  <a:cubicBezTo>
                    <a:pt x="174931" y="175341"/>
                    <a:pt x="169280" y="181037"/>
                    <a:pt x="163628" y="181037"/>
                  </a:cubicBezTo>
                  <a:cubicBezTo>
                    <a:pt x="160802" y="181037"/>
                    <a:pt x="149500" y="178189"/>
                    <a:pt x="136784" y="168933"/>
                  </a:cubicBezTo>
                  <a:lnTo>
                    <a:pt x="122169" y="154406"/>
                  </a:lnTo>
                  <a:lnTo>
                    <a:pt x="118968" y="160267"/>
                  </a:lnTo>
                  <a:cubicBezTo>
                    <a:pt x="116142" y="162384"/>
                    <a:pt x="111903" y="163795"/>
                    <a:pt x="106252" y="163795"/>
                  </a:cubicBezTo>
                  <a:cubicBezTo>
                    <a:pt x="106252" y="160973"/>
                    <a:pt x="94949" y="158151"/>
                    <a:pt x="82233" y="149684"/>
                  </a:cubicBezTo>
                  <a:lnTo>
                    <a:pt x="73829" y="141839"/>
                  </a:lnTo>
                  <a:lnTo>
                    <a:pt x="72918" y="146759"/>
                  </a:lnTo>
                  <a:cubicBezTo>
                    <a:pt x="72918" y="152404"/>
                    <a:pt x="67170" y="158048"/>
                    <a:pt x="61423" y="158048"/>
                  </a:cubicBezTo>
                  <a:cubicBezTo>
                    <a:pt x="61423" y="158048"/>
                    <a:pt x="15446" y="146759"/>
                    <a:pt x="3951" y="95958"/>
                  </a:cubicBezTo>
                  <a:cubicBezTo>
                    <a:pt x="-7543" y="62091"/>
                    <a:pt x="9698" y="11289"/>
                    <a:pt x="9698" y="11289"/>
                  </a:cubicBezTo>
                  <a:cubicBezTo>
                    <a:pt x="9698" y="5644"/>
                    <a:pt x="15446" y="0"/>
                    <a:pt x="2119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8" name="ExtraShape7">
              <a:extLst>
                <a:ext uri="{FF2B5EF4-FFF2-40B4-BE49-F238E27FC236}">
                  <a16:creationId xmlns:a16="http://schemas.microsoft.com/office/drawing/2014/main" id="{CF21398C-D0D2-4414-9DDA-9A7209EC3CA8}"/>
                </a:ext>
              </a:extLst>
            </p:cNvPr>
            <p:cNvSpPr/>
            <p:nvPr/>
          </p:nvSpPr>
          <p:spPr bwMode="auto">
            <a:xfrm>
              <a:off x="4676117" y="4095676"/>
              <a:ext cx="1261511" cy="875012"/>
            </a:xfrm>
            <a:custGeom>
              <a:avLst/>
              <a:gdLst>
                <a:gd name="T0" fmla="*/ 209 w 222"/>
                <a:gd name="T1" fmla="*/ 0 h 154"/>
                <a:gd name="T2" fmla="*/ 127 w 222"/>
                <a:gd name="T3" fmla="*/ 25 h 154"/>
                <a:gd name="T4" fmla="*/ 14 w 222"/>
                <a:gd name="T5" fmla="*/ 71 h 154"/>
                <a:gd name="T6" fmla="*/ 12 w 222"/>
                <a:gd name="T7" fmla="*/ 135 h 154"/>
                <a:gd name="T8" fmla="*/ 130 w 222"/>
                <a:gd name="T9" fmla="*/ 107 h 154"/>
                <a:gd name="T10" fmla="*/ 209 w 222"/>
                <a:gd name="T11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2" h="154">
                  <a:moveTo>
                    <a:pt x="209" y="0"/>
                  </a:moveTo>
                  <a:cubicBezTo>
                    <a:pt x="209" y="0"/>
                    <a:pt x="168" y="6"/>
                    <a:pt x="127" y="25"/>
                  </a:cubicBezTo>
                  <a:cubicBezTo>
                    <a:pt x="99" y="38"/>
                    <a:pt x="14" y="71"/>
                    <a:pt x="14" y="71"/>
                  </a:cubicBezTo>
                  <a:cubicBezTo>
                    <a:pt x="14" y="71"/>
                    <a:pt x="0" y="129"/>
                    <a:pt x="12" y="135"/>
                  </a:cubicBezTo>
                  <a:cubicBezTo>
                    <a:pt x="53" y="154"/>
                    <a:pt x="130" y="107"/>
                    <a:pt x="130" y="107"/>
                  </a:cubicBezTo>
                  <a:cubicBezTo>
                    <a:pt x="130" y="107"/>
                    <a:pt x="222" y="59"/>
                    <a:pt x="209" y="0"/>
                  </a:cubicBezTo>
                  <a:close/>
                </a:path>
              </a:pathLst>
            </a:custGeom>
            <a:solidFill>
              <a:srgbClr val="0516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9" name="ExtraShape8">
              <a:extLst>
                <a:ext uri="{FF2B5EF4-FFF2-40B4-BE49-F238E27FC236}">
                  <a16:creationId xmlns:a16="http://schemas.microsoft.com/office/drawing/2014/main" id="{399982A4-568D-462C-A972-AFE1D63BBA4F}"/>
                </a:ext>
              </a:extLst>
            </p:cNvPr>
            <p:cNvSpPr/>
            <p:nvPr/>
          </p:nvSpPr>
          <p:spPr bwMode="auto">
            <a:xfrm>
              <a:off x="4908879" y="4089929"/>
              <a:ext cx="1211223" cy="942541"/>
            </a:xfrm>
            <a:custGeom>
              <a:avLst/>
              <a:gdLst>
                <a:gd name="T0" fmla="*/ 163 w 213"/>
                <a:gd name="T1" fmla="*/ 2 h 166"/>
                <a:gd name="T2" fmla="*/ 189 w 213"/>
                <a:gd name="T3" fmla="*/ 8 h 166"/>
                <a:gd name="T4" fmla="*/ 194 w 213"/>
                <a:gd name="T5" fmla="*/ 64 h 166"/>
                <a:gd name="T6" fmla="*/ 14 w 213"/>
                <a:gd name="T7" fmla="*/ 166 h 166"/>
                <a:gd name="T8" fmla="*/ 0 w 213"/>
                <a:gd name="T9" fmla="*/ 139 h 166"/>
                <a:gd name="T10" fmla="*/ 70 w 213"/>
                <a:gd name="T11" fmla="*/ 73 h 166"/>
                <a:gd name="T12" fmla="*/ 163 w 213"/>
                <a:gd name="T13" fmla="*/ 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3" h="166">
                  <a:moveTo>
                    <a:pt x="163" y="2"/>
                  </a:moveTo>
                  <a:cubicBezTo>
                    <a:pt x="172" y="0"/>
                    <a:pt x="182" y="2"/>
                    <a:pt x="189" y="8"/>
                  </a:cubicBezTo>
                  <a:cubicBezTo>
                    <a:pt x="201" y="20"/>
                    <a:pt x="213" y="35"/>
                    <a:pt x="194" y="64"/>
                  </a:cubicBezTo>
                  <a:cubicBezTo>
                    <a:pt x="165" y="108"/>
                    <a:pt x="14" y="166"/>
                    <a:pt x="14" y="166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39"/>
                    <a:pt x="35" y="108"/>
                    <a:pt x="70" y="73"/>
                  </a:cubicBezTo>
                  <a:cubicBezTo>
                    <a:pt x="110" y="34"/>
                    <a:pt x="122" y="14"/>
                    <a:pt x="163" y="2"/>
                  </a:cubicBezTo>
                  <a:close/>
                </a:path>
              </a:pathLst>
            </a:cu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0" name="ExtraShape1">
              <a:extLst>
                <a:ext uri="{FF2B5EF4-FFF2-40B4-BE49-F238E27FC236}">
                  <a16:creationId xmlns:a16="http://schemas.microsoft.com/office/drawing/2014/main" id="{52E7E466-26B7-4C59-92CD-67D285E2A67F}"/>
                </a:ext>
              </a:extLst>
            </p:cNvPr>
            <p:cNvSpPr/>
            <p:nvPr/>
          </p:nvSpPr>
          <p:spPr bwMode="auto">
            <a:xfrm>
              <a:off x="5232837" y="4533900"/>
              <a:ext cx="193291" cy="300291"/>
            </a:xfrm>
            <a:custGeom>
              <a:avLst/>
              <a:gdLst>
                <a:gd name="connsiteX0" fmla="*/ 37839 w 193291"/>
                <a:gd name="connsiteY0" fmla="*/ 80443 h 300291"/>
                <a:gd name="connsiteX1" fmla="*/ 45562 w 193291"/>
                <a:gd name="connsiteY1" fmla="*/ 84698 h 300291"/>
                <a:gd name="connsiteX2" fmla="*/ 51179 w 193291"/>
                <a:gd name="connsiteY2" fmla="*/ 96045 h 300291"/>
                <a:gd name="connsiteX3" fmla="*/ 34329 w 193291"/>
                <a:gd name="connsiteY3" fmla="*/ 283271 h 300291"/>
                <a:gd name="connsiteX4" fmla="*/ 23095 w 193291"/>
                <a:gd name="connsiteY4" fmla="*/ 300291 h 300291"/>
                <a:gd name="connsiteX5" fmla="*/ 11862 w 193291"/>
                <a:gd name="connsiteY5" fmla="*/ 288944 h 300291"/>
                <a:gd name="connsiteX6" fmla="*/ 629 w 193291"/>
                <a:gd name="connsiteY6" fmla="*/ 226536 h 300291"/>
                <a:gd name="connsiteX7" fmla="*/ 34329 w 193291"/>
                <a:gd name="connsiteY7" fmla="*/ 84698 h 300291"/>
                <a:gd name="connsiteX8" fmla="*/ 37839 w 193291"/>
                <a:gd name="connsiteY8" fmla="*/ 80443 h 300291"/>
                <a:gd name="connsiteX9" fmla="*/ 176229 w 193291"/>
                <a:gd name="connsiteY9" fmla="*/ 0 h 300291"/>
                <a:gd name="connsiteX10" fmla="*/ 193291 w 193291"/>
                <a:gd name="connsiteY10" fmla="*/ 5660 h 300291"/>
                <a:gd name="connsiteX11" fmla="*/ 187604 w 193291"/>
                <a:gd name="connsiteY11" fmla="*/ 22640 h 300291"/>
                <a:gd name="connsiteX12" fmla="*/ 85232 w 193291"/>
                <a:gd name="connsiteY12" fmla="*/ 175464 h 300291"/>
                <a:gd name="connsiteX13" fmla="*/ 68170 w 193291"/>
                <a:gd name="connsiteY13" fmla="*/ 186784 h 300291"/>
                <a:gd name="connsiteX14" fmla="*/ 62483 w 193291"/>
                <a:gd name="connsiteY14" fmla="*/ 169804 h 300291"/>
                <a:gd name="connsiteX15" fmla="*/ 79545 w 193291"/>
                <a:gd name="connsiteY15" fmla="*/ 113203 h 300291"/>
                <a:gd name="connsiteX16" fmla="*/ 176229 w 193291"/>
                <a:gd name="connsiteY16" fmla="*/ 0 h 300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3291" h="300291">
                  <a:moveTo>
                    <a:pt x="37839" y="80443"/>
                  </a:moveTo>
                  <a:cubicBezTo>
                    <a:pt x="39945" y="80443"/>
                    <a:pt x="42754" y="81861"/>
                    <a:pt x="45562" y="84698"/>
                  </a:cubicBezTo>
                  <a:cubicBezTo>
                    <a:pt x="51179" y="84698"/>
                    <a:pt x="56795" y="90371"/>
                    <a:pt x="51179" y="96045"/>
                  </a:cubicBezTo>
                  <a:cubicBezTo>
                    <a:pt x="51179" y="101718"/>
                    <a:pt x="629" y="186821"/>
                    <a:pt x="34329" y="283271"/>
                  </a:cubicBezTo>
                  <a:cubicBezTo>
                    <a:pt x="34329" y="288944"/>
                    <a:pt x="28712" y="294618"/>
                    <a:pt x="23095" y="300291"/>
                  </a:cubicBezTo>
                  <a:cubicBezTo>
                    <a:pt x="17479" y="300291"/>
                    <a:pt x="11862" y="294618"/>
                    <a:pt x="11862" y="288944"/>
                  </a:cubicBezTo>
                  <a:cubicBezTo>
                    <a:pt x="6246" y="271924"/>
                    <a:pt x="629" y="249230"/>
                    <a:pt x="629" y="226536"/>
                  </a:cubicBezTo>
                  <a:cubicBezTo>
                    <a:pt x="-4988" y="147106"/>
                    <a:pt x="28712" y="90371"/>
                    <a:pt x="34329" y="84698"/>
                  </a:cubicBezTo>
                  <a:cubicBezTo>
                    <a:pt x="34329" y="81861"/>
                    <a:pt x="35733" y="80443"/>
                    <a:pt x="37839" y="80443"/>
                  </a:cubicBezTo>
                  <a:close/>
                  <a:moveTo>
                    <a:pt x="176229" y="0"/>
                  </a:moveTo>
                  <a:cubicBezTo>
                    <a:pt x="181917" y="0"/>
                    <a:pt x="187604" y="0"/>
                    <a:pt x="193291" y="5660"/>
                  </a:cubicBezTo>
                  <a:cubicBezTo>
                    <a:pt x="193291" y="11320"/>
                    <a:pt x="193291" y="16980"/>
                    <a:pt x="187604" y="22640"/>
                  </a:cubicBezTo>
                  <a:cubicBezTo>
                    <a:pt x="187604" y="22640"/>
                    <a:pt x="102294" y="73581"/>
                    <a:pt x="85232" y="175464"/>
                  </a:cubicBezTo>
                  <a:cubicBezTo>
                    <a:pt x="79545" y="181124"/>
                    <a:pt x="73857" y="186784"/>
                    <a:pt x="68170" y="186784"/>
                  </a:cubicBezTo>
                  <a:cubicBezTo>
                    <a:pt x="62483" y="181124"/>
                    <a:pt x="56795" y="175464"/>
                    <a:pt x="62483" y="169804"/>
                  </a:cubicBezTo>
                  <a:cubicBezTo>
                    <a:pt x="62483" y="147163"/>
                    <a:pt x="73857" y="130183"/>
                    <a:pt x="79545" y="113203"/>
                  </a:cubicBezTo>
                  <a:cubicBezTo>
                    <a:pt x="113669" y="39621"/>
                    <a:pt x="170542" y="5660"/>
                    <a:pt x="176229" y="0"/>
                  </a:cubicBezTo>
                  <a:close/>
                </a:path>
              </a:pathLst>
            </a:custGeom>
            <a:solidFill>
              <a:srgbClr val="335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1" name="ExtraShape2">
              <a:extLst>
                <a:ext uri="{FF2B5EF4-FFF2-40B4-BE49-F238E27FC236}">
                  <a16:creationId xmlns:a16="http://schemas.microsoft.com/office/drawing/2014/main" id="{2E906EAA-7E69-416C-839D-3575C898E8E8}"/>
                </a:ext>
              </a:extLst>
            </p:cNvPr>
            <p:cNvSpPr/>
            <p:nvPr/>
          </p:nvSpPr>
          <p:spPr bwMode="auto">
            <a:xfrm>
              <a:off x="4635887" y="4839938"/>
              <a:ext cx="392247" cy="244256"/>
            </a:xfrm>
            <a:custGeom>
              <a:avLst/>
              <a:gdLst>
                <a:gd name="T0" fmla="*/ 69 w 69"/>
                <a:gd name="T1" fmla="*/ 31 h 43"/>
                <a:gd name="T2" fmla="*/ 9 w 69"/>
                <a:gd name="T3" fmla="*/ 43 h 43"/>
                <a:gd name="T4" fmla="*/ 22 w 69"/>
                <a:gd name="T5" fmla="*/ 10 h 43"/>
                <a:gd name="T6" fmla="*/ 59 w 69"/>
                <a:gd name="T7" fmla="*/ 0 h 43"/>
                <a:gd name="T8" fmla="*/ 69 w 69"/>
                <a:gd name="T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3">
                  <a:moveTo>
                    <a:pt x="69" y="31"/>
                  </a:moveTo>
                  <a:cubicBezTo>
                    <a:pt x="9" y="43"/>
                    <a:pt x="9" y="43"/>
                    <a:pt x="9" y="43"/>
                  </a:cubicBezTo>
                  <a:cubicBezTo>
                    <a:pt x="0" y="36"/>
                    <a:pt x="7" y="15"/>
                    <a:pt x="22" y="10"/>
                  </a:cubicBezTo>
                  <a:cubicBezTo>
                    <a:pt x="59" y="0"/>
                    <a:pt x="59" y="0"/>
                    <a:pt x="59" y="0"/>
                  </a:cubicBezTo>
                  <a:lnTo>
                    <a:pt x="69" y="31"/>
                  </a:lnTo>
                  <a:close/>
                </a:path>
              </a:pathLst>
            </a:custGeom>
            <a:solidFill>
              <a:srgbClr val="FFA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2" name="ExtraShape3">
              <a:extLst>
                <a:ext uri="{FF2B5EF4-FFF2-40B4-BE49-F238E27FC236}">
                  <a16:creationId xmlns:a16="http://schemas.microsoft.com/office/drawing/2014/main" id="{DA368791-6185-403A-9A3A-7EBD884B6AED}"/>
                </a:ext>
              </a:extLst>
            </p:cNvPr>
            <p:cNvSpPr/>
            <p:nvPr/>
          </p:nvSpPr>
          <p:spPr bwMode="auto">
            <a:xfrm>
              <a:off x="4847097" y="4788214"/>
              <a:ext cx="232762" cy="307475"/>
            </a:xfrm>
            <a:custGeom>
              <a:avLst/>
              <a:gdLst>
                <a:gd name="T0" fmla="*/ 20 w 41"/>
                <a:gd name="T1" fmla="*/ 0 h 54"/>
                <a:gd name="T2" fmla="*/ 0 w 41"/>
                <a:gd name="T3" fmla="*/ 12 h 54"/>
                <a:gd name="T4" fmla="*/ 22 w 41"/>
                <a:gd name="T5" fmla="*/ 54 h 54"/>
                <a:gd name="T6" fmla="*/ 41 w 41"/>
                <a:gd name="T7" fmla="*/ 45 h 54"/>
                <a:gd name="T8" fmla="*/ 20 w 41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54">
                  <a:moveTo>
                    <a:pt x="20" y="0"/>
                  </a:moveTo>
                  <a:cubicBezTo>
                    <a:pt x="11" y="2"/>
                    <a:pt x="5" y="7"/>
                    <a:pt x="0" y="12"/>
                  </a:cubicBezTo>
                  <a:cubicBezTo>
                    <a:pt x="0" y="12"/>
                    <a:pt x="9" y="32"/>
                    <a:pt x="22" y="54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33" y="26"/>
                    <a:pt x="20" y="0"/>
                  </a:cubicBezTo>
                  <a:close/>
                </a:path>
              </a:pathLst>
            </a:custGeom>
            <a:solidFill>
              <a:srgbClr val="335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3" name="ExtraShape4">
              <a:extLst>
                <a:ext uri="{FF2B5EF4-FFF2-40B4-BE49-F238E27FC236}">
                  <a16:creationId xmlns:a16="http://schemas.microsoft.com/office/drawing/2014/main" id="{7026BC80-E870-42E9-8304-44D14DF31577}"/>
                </a:ext>
              </a:extLst>
            </p:cNvPr>
            <p:cNvSpPr/>
            <p:nvPr/>
          </p:nvSpPr>
          <p:spPr bwMode="auto">
            <a:xfrm>
              <a:off x="4193353" y="4703443"/>
              <a:ext cx="665239" cy="540237"/>
            </a:xfrm>
            <a:custGeom>
              <a:avLst/>
              <a:gdLst>
                <a:gd name="T0" fmla="*/ 4 w 117"/>
                <a:gd name="T1" fmla="*/ 93 h 95"/>
                <a:gd name="T2" fmla="*/ 3 w 117"/>
                <a:gd name="T3" fmla="*/ 91 h 95"/>
                <a:gd name="T4" fmla="*/ 2 w 117"/>
                <a:gd name="T5" fmla="*/ 90 h 95"/>
                <a:gd name="T6" fmla="*/ 0 w 117"/>
                <a:gd name="T7" fmla="*/ 86 h 95"/>
                <a:gd name="T8" fmla="*/ 24 w 117"/>
                <a:gd name="T9" fmla="*/ 57 h 95"/>
                <a:gd name="T10" fmla="*/ 51 w 117"/>
                <a:gd name="T11" fmla="*/ 28 h 95"/>
                <a:gd name="T12" fmla="*/ 75 w 117"/>
                <a:gd name="T13" fmla="*/ 2 h 95"/>
                <a:gd name="T14" fmla="*/ 82 w 117"/>
                <a:gd name="T15" fmla="*/ 1 h 95"/>
                <a:gd name="T16" fmla="*/ 83 w 117"/>
                <a:gd name="T17" fmla="*/ 3 h 95"/>
                <a:gd name="T18" fmla="*/ 98 w 117"/>
                <a:gd name="T19" fmla="*/ 15 h 95"/>
                <a:gd name="T20" fmla="*/ 106 w 117"/>
                <a:gd name="T21" fmla="*/ 24 h 95"/>
                <a:gd name="T22" fmla="*/ 115 w 117"/>
                <a:gd name="T23" fmla="*/ 29 h 95"/>
                <a:gd name="T24" fmla="*/ 110 w 117"/>
                <a:gd name="T25" fmla="*/ 34 h 95"/>
                <a:gd name="T26" fmla="*/ 93 w 117"/>
                <a:gd name="T27" fmla="*/ 50 h 95"/>
                <a:gd name="T28" fmla="*/ 92 w 117"/>
                <a:gd name="T29" fmla="*/ 69 h 95"/>
                <a:gd name="T30" fmla="*/ 82 w 117"/>
                <a:gd name="T31" fmla="*/ 75 h 95"/>
                <a:gd name="T32" fmla="*/ 78 w 117"/>
                <a:gd name="T33" fmla="*/ 74 h 95"/>
                <a:gd name="T34" fmla="*/ 70 w 117"/>
                <a:gd name="T35" fmla="*/ 76 h 95"/>
                <a:gd name="T36" fmla="*/ 68 w 117"/>
                <a:gd name="T37" fmla="*/ 76 h 95"/>
                <a:gd name="T38" fmla="*/ 66 w 117"/>
                <a:gd name="T39" fmla="*/ 77 h 95"/>
                <a:gd name="T40" fmla="*/ 60 w 117"/>
                <a:gd name="T41" fmla="*/ 77 h 95"/>
                <a:gd name="T42" fmla="*/ 59 w 117"/>
                <a:gd name="T43" fmla="*/ 78 h 95"/>
                <a:gd name="T44" fmla="*/ 53 w 117"/>
                <a:gd name="T45" fmla="*/ 79 h 95"/>
                <a:gd name="T46" fmla="*/ 35 w 117"/>
                <a:gd name="T47" fmla="*/ 86 h 95"/>
                <a:gd name="T48" fmla="*/ 8 w 117"/>
                <a:gd name="T49" fmla="*/ 94 h 95"/>
                <a:gd name="T50" fmla="*/ 4 w 117"/>
                <a:gd name="T51" fmla="*/ 9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7" h="95">
                  <a:moveTo>
                    <a:pt x="4" y="93"/>
                  </a:moveTo>
                  <a:cubicBezTo>
                    <a:pt x="4" y="92"/>
                    <a:pt x="3" y="92"/>
                    <a:pt x="3" y="91"/>
                  </a:cubicBezTo>
                  <a:cubicBezTo>
                    <a:pt x="2" y="91"/>
                    <a:pt x="2" y="90"/>
                    <a:pt x="2" y="90"/>
                  </a:cubicBezTo>
                  <a:cubicBezTo>
                    <a:pt x="1" y="88"/>
                    <a:pt x="0" y="87"/>
                    <a:pt x="0" y="86"/>
                  </a:cubicBezTo>
                  <a:cubicBezTo>
                    <a:pt x="0" y="84"/>
                    <a:pt x="24" y="57"/>
                    <a:pt x="24" y="5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5" y="24"/>
                    <a:pt x="69" y="9"/>
                    <a:pt x="75" y="2"/>
                  </a:cubicBezTo>
                  <a:cubicBezTo>
                    <a:pt x="77" y="0"/>
                    <a:pt x="80" y="0"/>
                    <a:pt x="82" y="1"/>
                  </a:cubicBezTo>
                  <a:cubicBezTo>
                    <a:pt x="82" y="2"/>
                    <a:pt x="82" y="2"/>
                    <a:pt x="83" y="3"/>
                  </a:cubicBezTo>
                  <a:cubicBezTo>
                    <a:pt x="88" y="7"/>
                    <a:pt x="95" y="13"/>
                    <a:pt x="98" y="15"/>
                  </a:cubicBezTo>
                  <a:cubicBezTo>
                    <a:pt x="101" y="19"/>
                    <a:pt x="106" y="24"/>
                    <a:pt x="106" y="24"/>
                  </a:cubicBezTo>
                  <a:cubicBezTo>
                    <a:pt x="106" y="24"/>
                    <a:pt x="117" y="24"/>
                    <a:pt x="115" y="29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10" y="34"/>
                    <a:pt x="97" y="44"/>
                    <a:pt x="93" y="50"/>
                  </a:cubicBezTo>
                  <a:cubicBezTo>
                    <a:pt x="89" y="55"/>
                    <a:pt x="90" y="64"/>
                    <a:pt x="92" y="69"/>
                  </a:cubicBezTo>
                  <a:cubicBezTo>
                    <a:pt x="94" y="74"/>
                    <a:pt x="86" y="78"/>
                    <a:pt x="82" y="75"/>
                  </a:cubicBezTo>
                  <a:cubicBezTo>
                    <a:pt x="81" y="74"/>
                    <a:pt x="79" y="74"/>
                    <a:pt x="78" y="74"/>
                  </a:cubicBezTo>
                  <a:cubicBezTo>
                    <a:pt x="76" y="75"/>
                    <a:pt x="73" y="75"/>
                    <a:pt x="70" y="76"/>
                  </a:cubicBezTo>
                  <a:cubicBezTo>
                    <a:pt x="69" y="76"/>
                    <a:pt x="69" y="76"/>
                    <a:pt x="68" y="76"/>
                  </a:cubicBezTo>
                  <a:cubicBezTo>
                    <a:pt x="67" y="76"/>
                    <a:pt x="66" y="76"/>
                    <a:pt x="66" y="77"/>
                  </a:cubicBezTo>
                  <a:cubicBezTo>
                    <a:pt x="64" y="77"/>
                    <a:pt x="62" y="77"/>
                    <a:pt x="60" y="77"/>
                  </a:cubicBezTo>
                  <a:cubicBezTo>
                    <a:pt x="60" y="77"/>
                    <a:pt x="60" y="77"/>
                    <a:pt x="59" y="78"/>
                  </a:cubicBezTo>
                  <a:cubicBezTo>
                    <a:pt x="57" y="78"/>
                    <a:pt x="55" y="79"/>
                    <a:pt x="53" y="79"/>
                  </a:cubicBezTo>
                  <a:cubicBezTo>
                    <a:pt x="46" y="81"/>
                    <a:pt x="39" y="85"/>
                    <a:pt x="35" y="86"/>
                  </a:cubicBezTo>
                  <a:cubicBezTo>
                    <a:pt x="29" y="88"/>
                    <a:pt x="14" y="92"/>
                    <a:pt x="8" y="94"/>
                  </a:cubicBezTo>
                  <a:cubicBezTo>
                    <a:pt x="7" y="95"/>
                    <a:pt x="5" y="94"/>
                    <a:pt x="4" y="93"/>
                  </a:cubicBezTo>
                  <a:close/>
                </a:path>
              </a:pathLst>
            </a:custGeom>
            <a:solidFill>
              <a:srgbClr val="FC53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4" name="ExtraShape5">
              <a:extLst>
                <a:ext uri="{FF2B5EF4-FFF2-40B4-BE49-F238E27FC236}">
                  <a16:creationId xmlns:a16="http://schemas.microsoft.com/office/drawing/2014/main" id="{0B9F7AFD-228A-4F09-870F-26E4C764999C}"/>
                </a:ext>
              </a:extLst>
            </p:cNvPr>
            <p:cNvSpPr/>
            <p:nvPr/>
          </p:nvSpPr>
          <p:spPr bwMode="auto">
            <a:xfrm>
              <a:off x="4193353" y="4703443"/>
              <a:ext cx="471270" cy="511501"/>
            </a:xfrm>
            <a:custGeom>
              <a:avLst/>
              <a:gdLst>
                <a:gd name="T0" fmla="*/ 2 w 83"/>
                <a:gd name="T1" fmla="*/ 90 h 90"/>
                <a:gd name="T2" fmla="*/ 0 w 83"/>
                <a:gd name="T3" fmla="*/ 86 h 90"/>
                <a:gd name="T4" fmla="*/ 24 w 83"/>
                <a:gd name="T5" fmla="*/ 57 h 90"/>
                <a:gd name="T6" fmla="*/ 51 w 83"/>
                <a:gd name="T7" fmla="*/ 28 h 90"/>
                <a:gd name="T8" fmla="*/ 75 w 83"/>
                <a:gd name="T9" fmla="*/ 2 h 90"/>
                <a:gd name="T10" fmla="*/ 82 w 83"/>
                <a:gd name="T11" fmla="*/ 1 h 90"/>
                <a:gd name="T12" fmla="*/ 83 w 83"/>
                <a:gd name="T13" fmla="*/ 3 h 90"/>
                <a:gd name="T14" fmla="*/ 2 w 83"/>
                <a:gd name="T15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90">
                  <a:moveTo>
                    <a:pt x="2" y="90"/>
                  </a:moveTo>
                  <a:cubicBezTo>
                    <a:pt x="1" y="88"/>
                    <a:pt x="0" y="87"/>
                    <a:pt x="0" y="86"/>
                  </a:cubicBezTo>
                  <a:cubicBezTo>
                    <a:pt x="0" y="84"/>
                    <a:pt x="24" y="57"/>
                    <a:pt x="24" y="5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5" y="24"/>
                    <a:pt x="69" y="9"/>
                    <a:pt x="75" y="2"/>
                  </a:cubicBezTo>
                  <a:cubicBezTo>
                    <a:pt x="77" y="0"/>
                    <a:pt x="80" y="0"/>
                    <a:pt x="82" y="1"/>
                  </a:cubicBezTo>
                  <a:cubicBezTo>
                    <a:pt x="82" y="2"/>
                    <a:pt x="82" y="2"/>
                    <a:pt x="83" y="3"/>
                  </a:cubicBezTo>
                  <a:cubicBezTo>
                    <a:pt x="56" y="29"/>
                    <a:pt x="29" y="58"/>
                    <a:pt x="2" y="90"/>
                  </a:cubicBezTo>
                  <a:close/>
                </a:path>
              </a:pathLst>
            </a:custGeom>
            <a:solidFill>
              <a:srgbClr val="E222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5" name="ExtraShape6">
              <a:extLst>
                <a:ext uri="{FF2B5EF4-FFF2-40B4-BE49-F238E27FC236}">
                  <a16:creationId xmlns:a16="http://schemas.microsoft.com/office/drawing/2014/main" id="{A55EF14F-123E-430C-A62A-86CB99A7D6BF}"/>
                </a:ext>
              </a:extLst>
            </p:cNvPr>
            <p:cNvSpPr/>
            <p:nvPr/>
          </p:nvSpPr>
          <p:spPr bwMode="auto">
            <a:xfrm>
              <a:off x="4472092" y="5015947"/>
              <a:ext cx="173620" cy="159485"/>
            </a:xfrm>
            <a:custGeom>
              <a:avLst/>
              <a:gdLst>
                <a:gd name="connsiteX0" fmla="*/ 147129 w 173620"/>
                <a:gd name="connsiteY0" fmla="*/ 718 h 159485"/>
                <a:gd name="connsiteX1" fmla="*/ 164084 w 173620"/>
                <a:gd name="connsiteY1" fmla="*/ 12007 h 159485"/>
                <a:gd name="connsiteX2" fmla="*/ 169735 w 173620"/>
                <a:gd name="connsiteY2" fmla="*/ 96676 h 159485"/>
                <a:gd name="connsiteX3" fmla="*/ 113221 w 173620"/>
                <a:gd name="connsiteY3" fmla="*/ 158766 h 159485"/>
                <a:gd name="connsiteX4" fmla="*/ 96266 w 173620"/>
                <a:gd name="connsiteY4" fmla="*/ 147477 h 159485"/>
                <a:gd name="connsiteX5" fmla="*/ 107569 w 173620"/>
                <a:gd name="connsiteY5" fmla="*/ 136188 h 159485"/>
                <a:gd name="connsiteX6" fmla="*/ 147129 w 173620"/>
                <a:gd name="connsiteY6" fmla="*/ 91031 h 159485"/>
                <a:gd name="connsiteX7" fmla="*/ 141478 w 173620"/>
                <a:gd name="connsiteY7" fmla="*/ 17652 h 159485"/>
                <a:gd name="connsiteX8" fmla="*/ 141478 w 173620"/>
                <a:gd name="connsiteY8" fmla="*/ 12007 h 159485"/>
                <a:gd name="connsiteX9" fmla="*/ 147129 w 173620"/>
                <a:gd name="connsiteY9" fmla="*/ 718 h 159485"/>
                <a:gd name="connsiteX10" fmla="*/ 102013 w 173620"/>
                <a:gd name="connsiteY10" fmla="*/ 718 h 159485"/>
                <a:gd name="connsiteX11" fmla="*/ 119255 w 173620"/>
                <a:gd name="connsiteY11" fmla="*/ 6363 h 159485"/>
                <a:gd name="connsiteX12" fmla="*/ 125002 w 173620"/>
                <a:gd name="connsiteY12" fmla="*/ 96676 h 159485"/>
                <a:gd name="connsiteX13" fmla="*/ 61783 w 173620"/>
                <a:gd name="connsiteY13" fmla="*/ 158766 h 159485"/>
                <a:gd name="connsiteX14" fmla="*/ 50288 w 173620"/>
                <a:gd name="connsiteY14" fmla="*/ 147477 h 159485"/>
                <a:gd name="connsiteX15" fmla="*/ 61783 w 173620"/>
                <a:gd name="connsiteY15" fmla="*/ 130543 h 159485"/>
                <a:gd name="connsiteX16" fmla="*/ 102013 w 173620"/>
                <a:gd name="connsiteY16" fmla="*/ 91031 h 159485"/>
                <a:gd name="connsiteX17" fmla="*/ 96266 w 173620"/>
                <a:gd name="connsiteY17" fmla="*/ 17652 h 159485"/>
                <a:gd name="connsiteX18" fmla="*/ 96266 w 173620"/>
                <a:gd name="connsiteY18" fmla="*/ 6363 h 159485"/>
                <a:gd name="connsiteX19" fmla="*/ 102013 w 173620"/>
                <a:gd name="connsiteY19" fmla="*/ 718 h 159485"/>
                <a:gd name="connsiteX20" fmla="*/ 50801 w 173620"/>
                <a:gd name="connsiteY20" fmla="*/ 0 h 159485"/>
                <a:gd name="connsiteX21" fmla="*/ 62091 w 173620"/>
                <a:gd name="connsiteY21" fmla="*/ 11392 h 159485"/>
                <a:gd name="connsiteX22" fmla="*/ 73380 w 173620"/>
                <a:gd name="connsiteY22" fmla="*/ 96830 h 159485"/>
                <a:gd name="connsiteX23" fmla="*/ 11289 w 173620"/>
                <a:gd name="connsiteY23" fmla="*/ 159485 h 159485"/>
                <a:gd name="connsiteX24" fmla="*/ 0 w 173620"/>
                <a:gd name="connsiteY24" fmla="*/ 148093 h 159485"/>
                <a:gd name="connsiteX25" fmla="*/ 5645 w 173620"/>
                <a:gd name="connsiteY25" fmla="*/ 136702 h 159485"/>
                <a:gd name="connsiteX26" fmla="*/ 50801 w 173620"/>
                <a:gd name="connsiteY26" fmla="*/ 91135 h 159485"/>
                <a:gd name="connsiteX27" fmla="*/ 39512 w 173620"/>
                <a:gd name="connsiteY27" fmla="*/ 17088 h 159485"/>
                <a:gd name="connsiteX28" fmla="*/ 45157 w 173620"/>
                <a:gd name="connsiteY28" fmla="*/ 5696 h 159485"/>
                <a:gd name="connsiteX29" fmla="*/ 50801 w 173620"/>
                <a:gd name="connsiteY29" fmla="*/ 0 h 159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73620" h="159485">
                  <a:moveTo>
                    <a:pt x="147129" y="718"/>
                  </a:moveTo>
                  <a:cubicBezTo>
                    <a:pt x="158432" y="718"/>
                    <a:pt x="164084" y="6363"/>
                    <a:pt x="164084" y="12007"/>
                  </a:cubicBezTo>
                  <a:cubicBezTo>
                    <a:pt x="164084" y="12007"/>
                    <a:pt x="181038" y="62809"/>
                    <a:pt x="169735" y="96676"/>
                  </a:cubicBezTo>
                  <a:cubicBezTo>
                    <a:pt x="158432" y="147477"/>
                    <a:pt x="113221" y="158766"/>
                    <a:pt x="113221" y="158766"/>
                  </a:cubicBezTo>
                  <a:cubicBezTo>
                    <a:pt x="107569" y="158766"/>
                    <a:pt x="101918" y="153122"/>
                    <a:pt x="96266" y="147477"/>
                  </a:cubicBezTo>
                  <a:cubicBezTo>
                    <a:pt x="96266" y="141833"/>
                    <a:pt x="101918" y="136188"/>
                    <a:pt x="107569" y="136188"/>
                  </a:cubicBezTo>
                  <a:cubicBezTo>
                    <a:pt x="107569" y="136188"/>
                    <a:pt x="135827" y="130543"/>
                    <a:pt x="147129" y="91031"/>
                  </a:cubicBezTo>
                  <a:cubicBezTo>
                    <a:pt x="158432" y="62809"/>
                    <a:pt x="141478" y="17652"/>
                    <a:pt x="141478" y="17652"/>
                  </a:cubicBezTo>
                  <a:cubicBezTo>
                    <a:pt x="141478" y="17652"/>
                    <a:pt x="141478" y="12007"/>
                    <a:pt x="141478" y="12007"/>
                  </a:cubicBezTo>
                  <a:cubicBezTo>
                    <a:pt x="141478" y="6363"/>
                    <a:pt x="147129" y="6363"/>
                    <a:pt x="147129" y="718"/>
                  </a:cubicBezTo>
                  <a:close/>
                  <a:moveTo>
                    <a:pt x="102013" y="718"/>
                  </a:moveTo>
                  <a:cubicBezTo>
                    <a:pt x="107760" y="718"/>
                    <a:pt x="113508" y="718"/>
                    <a:pt x="119255" y="6363"/>
                  </a:cubicBezTo>
                  <a:cubicBezTo>
                    <a:pt x="119255" y="12007"/>
                    <a:pt x="130749" y="57164"/>
                    <a:pt x="125002" y="96676"/>
                  </a:cubicBezTo>
                  <a:cubicBezTo>
                    <a:pt x="107760" y="147477"/>
                    <a:pt x="67530" y="153122"/>
                    <a:pt x="61783" y="158766"/>
                  </a:cubicBezTo>
                  <a:cubicBezTo>
                    <a:pt x="56035" y="158766"/>
                    <a:pt x="50288" y="153122"/>
                    <a:pt x="50288" y="147477"/>
                  </a:cubicBezTo>
                  <a:cubicBezTo>
                    <a:pt x="50288" y="141833"/>
                    <a:pt x="50288" y="136188"/>
                    <a:pt x="61783" y="130543"/>
                  </a:cubicBezTo>
                  <a:cubicBezTo>
                    <a:pt x="61783" y="130543"/>
                    <a:pt x="90519" y="124899"/>
                    <a:pt x="102013" y="91031"/>
                  </a:cubicBezTo>
                  <a:cubicBezTo>
                    <a:pt x="107760" y="62809"/>
                    <a:pt x="96266" y="17652"/>
                    <a:pt x="96266" y="17652"/>
                  </a:cubicBezTo>
                  <a:cubicBezTo>
                    <a:pt x="90519" y="12007"/>
                    <a:pt x="90519" y="12007"/>
                    <a:pt x="96266" y="6363"/>
                  </a:cubicBezTo>
                  <a:cubicBezTo>
                    <a:pt x="96266" y="6363"/>
                    <a:pt x="96266" y="718"/>
                    <a:pt x="102013" y="718"/>
                  </a:cubicBezTo>
                  <a:close/>
                  <a:moveTo>
                    <a:pt x="50801" y="0"/>
                  </a:moveTo>
                  <a:cubicBezTo>
                    <a:pt x="56446" y="0"/>
                    <a:pt x="62091" y="0"/>
                    <a:pt x="62091" y="11392"/>
                  </a:cubicBezTo>
                  <a:cubicBezTo>
                    <a:pt x="67735" y="11392"/>
                    <a:pt x="79024" y="62655"/>
                    <a:pt x="73380" y="96830"/>
                  </a:cubicBezTo>
                  <a:cubicBezTo>
                    <a:pt x="56446" y="148093"/>
                    <a:pt x="16934" y="159485"/>
                    <a:pt x="11289" y="159485"/>
                  </a:cubicBezTo>
                  <a:cubicBezTo>
                    <a:pt x="5645" y="159485"/>
                    <a:pt x="0" y="153789"/>
                    <a:pt x="0" y="148093"/>
                  </a:cubicBezTo>
                  <a:cubicBezTo>
                    <a:pt x="0" y="142398"/>
                    <a:pt x="0" y="136702"/>
                    <a:pt x="5645" y="136702"/>
                  </a:cubicBezTo>
                  <a:cubicBezTo>
                    <a:pt x="11289" y="131006"/>
                    <a:pt x="39512" y="125310"/>
                    <a:pt x="50801" y="91135"/>
                  </a:cubicBezTo>
                  <a:cubicBezTo>
                    <a:pt x="56446" y="62655"/>
                    <a:pt x="39512" y="17088"/>
                    <a:pt x="39512" y="17088"/>
                  </a:cubicBezTo>
                  <a:cubicBezTo>
                    <a:pt x="39512" y="11392"/>
                    <a:pt x="39512" y="11392"/>
                    <a:pt x="45157" y="5696"/>
                  </a:cubicBezTo>
                  <a:cubicBezTo>
                    <a:pt x="45157" y="5696"/>
                    <a:pt x="45157" y="0"/>
                    <a:pt x="5080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6" name="ExtraShape1">
              <a:extLst>
                <a:ext uri="{FF2B5EF4-FFF2-40B4-BE49-F238E27FC236}">
                  <a16:creationId xmlns:a16="http://schemas.microsoft.com/office/drawing/2014/main" id="{AC5CF1D9-8381-4CA0-9A0A-F8ADC8786EB0}"/>
                </a:ext>
              </a:extLst>
            </p:cNvPr>
            <p:cNvSpPr/>
            <p:nvPr/>
          </p:nvSpPr>
          <p:spPr bwMode="auto">
            <a:xfrm>
              <a:off x="3766623" y="3045375"/>
              <a:ext cx="790240" cy="1163808"/>
            </a:xfrm>
            <a:custGeom>
              <a:avLst/>
              <a:gdLst>
                <a:gd name="T0" fmla="*/ 4 w 139"/>
                <a:gd name="T1" fmla="*/ 170 h 205"/>
                <a:gd name="T2" fmla="*/ 52 w 139"/>
                <a:gd name="T3" fmla="*/ 202 h 205"/>
                <a:gd name="T4" fmla="*/ 139 w 139"/>
                <a:gd name="T5" fmla="*/ 181 h 205"/>
                <a:gd name="T6" fmla="*/ 133 w 139"/>
                <a:gd name="T7" fmla="*/ 153 h 205"/>
                <a:gd name="T8" fmla="*/ 91 w 139"/>
                <a:gd name="T9" fmla="*/ 158 h 205"/>
                <a:gd name="T10" fmla="*/ 50 w 139"/>
                <a:gd name="T11" fmla="*/ 152 h 205"/>
                <a:gd name="T12" fmla="*/ 99 w 139"/>
                <a:gd name="T13" fmla="*/ 74 h 205"/>
                <a:gd name="T14" fmla="*/ 87 w 139"/>
                <a:gd name="T15" fmla="*/ 0 h 205"/>
                <a:gd name="T16" fmla="*/ 4 w 139"/>
                <a:gd name="T17" fmla="*/ 17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205">
                  <a:moveTo>
                    <a:pt x="4" y="170"/>
                  </a:moveTo>
                  <a:cubicBezTo>
                    <a:pt x="0" y="187"/>
                    <a:pt x="15" y="205"/>
                    <a:pt x="52" y="202"/>
                  </a:cubicBezTo>
                  <a:cubicBezTo>
                    <a:pt x="69" y="201"/>
                    <a:pt x="139" y="181"/>
                    <a:pt x="139" y="181"/>
                  </a:cubicBezTo>
                  <a:cubicBezTo>
                    <a:pt x="133" y="153"/>
                    <a:pt x="133" y="153"/>
                    <a:pt x="133" y="153"/>
                  </a:cubicBezTo>
                  <a:cubicBezTo>
                    <a:pt x="133" y="153"/>
                    <a:pt x="113" y="157"/>
                    <a:pt x="91" y="158"/>
                  </a:cubicBezTo>
                  <a:cubicBezTo>
                    <a:pt x="69" y="159"/>
                    <a:pt x="50" y="152"/>
                    <a:pt x="50" y="152"/>
                  </a:cubicBezTo>
                  <a:cubicBezTo>
                    <a:pt x="50" y="152"/>
                    <a:pt x="74" y="104"/>
                    <a:pt x="99" y="74"/>
                  </a:cubicBezTo>
                  <a:cubicBezTo>
                    <a:pt x="99" y="74"/>
                    <a:pt x="104" y="25"/>
                    <a:pt x="87" y="0"/>
                  </a:cubicBezTo>
                  <a:cubicBezTo>
                    <a:pt x="87" y="0"/>
                    <a:pt x="29" y="73"/>
                    <a:pt x="4" y="170"/>
                  </a:cubicBezTo>
                  <a:close/>
                </a:path>
              </a:pathLst>
            </a:custGeom>
            <a:solidFill>
              <a:srgbClr val="2E6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7" name="ExtraShape2">
              <a:extLst>
                <a:ext uri="{FF2B5EF4-FFF2-40B4-BE49-F238E27FC236}">
                  <a16:creationId xmlns:a16="http://schemas.microsoft.com/office/drawing/2014/main" id="{37649304-673E-47F5-A3E9-3683FF61A697}"/>
                </a:ext>
              </a:extLst>
            </p:cNvPr>
            <p:cNvSpPr/>
            <p:nvPr/>
          </p:nvSpPr>
          <p:spPr bwMode="auto">
            <a:xfrm>
              <a:off x="4443356" y="3722108"/>
              <a:ext cx="675296" cy="390810"/>
            </a:xfrm>
            <a:custGeom>
              <a:avLst/>
              <a:gdLst>
                <a:gd name="T0" fmla="*/ 470 w 470"/>
                <a:gd name="T1" fmla="*/ 0 h 272"/>
                <a:gd name="T2" fmla="*/ 391 w 470"/>
                <a:gd name="T3" fmla="*/ 272 h 272"/>
                <a:gd name="T4" fmla="*/ 79 w 470"/>
                <a:gd name="T5" fmla="*/ 272 h 272"/>
                <a:gd name="T6" fmla="*/ 0 w 470"/>
                <a:gd name="T7" fmla="*/ 0 h 272"/>
                <a:gd name="T8" fmla="*/ 470 w 470"/>
                <a:gd name="T9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0" h="272">
                  <a:moveTo>
                    <a:pt x="470" y="0"/>
                  </a:moveTo>
                  <a:lnTo>
                    <a:pt x="391" y="272"/>
                  </a:lnTo>
                  <a:lnTo>
                    <a:pt x="79" y="272"/>
                  </a:lnTo>
                  <a:lnTo>
                    <a:pt x="0" y="0"/>
                  </a:lnTo>
                  <a:lnTo>
                    <a:pt x="47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8" name="ExtraShape3">
              <a:extLst>
                <a:ext uri="{FF2B5EF4-FFF2-40B4-BE49-F238E27FC236}">
                  <a16:creationId xmlns:a16="http://schemas.microsoft.com/office/drawing/2014/main" id="{B64BC78A-C1DC-482D-9383-9FABD2BE6D43}"/>
                </a:ext>
              </a:extLst>
            </p:cNvPr>
            <p:cNvSpPr/>
            <p:nvPr/>
          </p:nvSpPr>
          <p:spPr bwMode="auto">
            <a:xfrm>
              <a:off x="4443356" y="3743660"/>
              <a:ext cx="675296" cy="392247"/>
            </a:xfrm>
            <a:custGeom>
              <a:avLst/>
              <a:gdLst>
                <a:gd name="T0" fmla="*/ 470 w 470"/>
                <a:gd name="T1" fmla="*/ 0 h 273"/>
                <a:gd name="T2" fmla="*/ 391 w 470"/>
                <a:gd name="T3" fmla="*/ 273 h 273"/>
                <a:gd name="T4" fmla="*/ 79 w 470"/>
                <a:gd name="T5" fmla="*/ 273 h 273"/>
                <a:gd name="T6" fmla="*/ 0 w 470"/>
                <a:gd name="T7" fmla="*/ 0 h 273"/>
                <a:gd name="T8" fmla="*/ 470 w 470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0" h="273">
                  <a:moveTo>
                    <a:pt x="470" y="0"/>
                  </a:moveTo>
                  <a:lnTo>
                    <a:pt x="391" y="273"/>
                  </a:lnTo>
                  <a:lnTo>
                    <a:pt x="79" y="273"/>
                  </a:lnTo>
                  <a:lnTo>
                    <a:pt x="0" y="0"/>
                  </a:lnTo>
                  <a:lnTo>
                    <a:pt x="470" y="0"/>
                  </a:lnTo>
                  <a:close/>
                </a:path>
              </a:pathLst>
            </a:custGeom>
            <a:solidFill>
              <a:srgbClr val="FFC1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9" name="ExtraShape4">
              <a:extLst>
                <a:ext uri="{FF2B5EF4-FFF2-40B4-BE49-F238E27FC236}">
                  <a16:creationId xmlns:a16="http://schemas.microsoft.com/office/drawing/2014/main" id="{D8608560-1C31-45EF-A587-AC6263BF788D}"/>
                </a:ext>
              </a:extLst>
            </p:cNvPr>
            <p:cNvSpPr/>
            <p:nvPr/>
          </p:nvSpPr>
          <p:spPr bwMode="auto">
            <a:xfrm>
              <a:off x="4783878" y="3743660"/>
              <a:ext cx="334775" cy="392247"/>
            </a:xfrm>
            <a:custGeom>
              <a:avLst/>
              <a:gdLst>
                <a:gd name="T0" fmla="*/ 233 w 233"/>
                <a:gd name="T1" fmla="*/ 0 h 273"/>
                <a:gd name="T2" fmla="*/ 154 w 233"/>
                <a:gd name="T3" fmla="*/ 273 h 273"/>
                <a:gd name="T4" fmla="*/ 0 w 233"/>
                <a:gd name="T5" fmla="*/ 273 h 273"/>
                <a:gd name="T6" fmla="*/ 0 w 233"/>
                <a:gd name="T7" fmla="*/ 0 h 273"/>
                <a:gd name="T8" fmla="*/ 233 w 233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273">
                  <a:moveTo>
                    <a:pt x="233" y="0"/>
                  </a:moveTo>
                  <a:lnTo>
                    <a:pt x="154" y="273"/>
                  </a:lnTo>
                  <a:lnTo>
                    <a:pt x="0" y="273"/>
                  </a:lnTo>
                  <a:lnTo>
                    <a:pt x="0" y="0"/>
                  </a:lnTo>
                  <a:lnTo>
                    <a:pt x="233" y="0"/>
                  </a:lnTo>
                  <a:close/>
                </a:path>
              </a:pathLst>
            </a:custGeom>
            <a:solidFill>
              <a:srgbClr val="FD9B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0" name="ExtraShape5">
              <a:extLst>
                <a:ext uri="{FF2B5EF4-FFF2-40B4-BE49-F238E27FC236}">
                  <a16:creationId xmlns:a16="http://schemas.microsoft.com/office/drawing/2014/main" id="{D4DCA56E-D0AB-4722-9B01-07581B4DC9BA}"/>
                </a:ext>
              </a:extLst>
            </p:cNvPr>
            <p:cNvSpPr/>
            <p:nvPr/>
          </p:nvSpPr>
          <p:spPr bwMode="auto">
            <a:xfrm>
              <a:off x="4403125" y="3835615"/>
              <a:ext cx="204026" cy="300292"/>
            </a:xfrm>
            <a:custGeom>
              <a:avLst/>
              <a:gdLst>
                <a:gd name="T0" fmla="*/ 17 w 36"/>
                <a:gd name="T1" fmla="*/ 22 h 53"/>
                <a:gd name="T2" fmla="*/ 28 w 36"/>
                <a:gd name="T3" fmla="*/ 15 h 53"/>
                <a:gd name="T4" fmla="*/ 15 w 36"/>
                <a:gd name="T5" fmla="*/ 13 h 53"/>
                <a:gd name="T6" fmla="*/ 14 w 36"/>
                <a:gd name="T7" fmla="*/ 10 h 53"/>
                <a:gd name="T8" fmla="*/ 14 w 36"/>
                <a:gd name="T9" fmla="*/ 9 h 53"/>
                <a:gd name="T10" fmla="*/ 12 w 36"/>
                <a:gd name="T11" fmla="*/ 0 h 53"/>
                <a:gd name="T12" fmla="*/ 7 w 36"/>
                <a:gd name="T13" fmla="*/ 2 h 53"/>
                <a:gd name="T14" fmla="*/ 5 w 36"/>
                <a:gd name="T15" fmla="*/ 15 h 53"/>
                <a:gd name="T16" fmla="*/ 1 w 36"/>
                <a:gd name="T17" fmla="*/ 23 h 53"/>
                <a:gd name="T18" fmla="*/ 7 w 36"/>
                <a:gd name="T19" fmla="*/ 27 h 53"/>
                <a:gd name="T20" fmla="*/ 5 w 36"/>
                <a:gd name="T21" fmla="*/ 33 h 53"/>
                <a:gd name="T22" fmla="*/ 12 w 36"/>
                <a:gd name="T23" fmla="*/ 35 h 53"/>
                <a:gd name="T24" fmla="*/ 10 w 36"/>
                <a:gd name="T25" fmla="*/ 43 h 53"/>
                <a:gd name="T26" fmla="*/ 16 w 36"/>
                <a:gd name="T27" fmla="*/ 44 h 53"/>
                <a:gd name="T28" fmla="*/ 17 w 36"/>
                <a:gd name="T29" fmla="*/ 51 h 53"/>
                <a:gd name="T30" fmla="*/ 32 w 36"/>
                <a:gd name="T31" fmla="*/ 47 h 53"/>
                <a:gd name="T32" fmla="*/ 23 w 36"/>
                <a:gd name="T33" fmla="*/ 43 h 53"/>
                <a:gd name="T34" fmla="*/ 34 w 36"/>
                <a:gd name="T35" fmla="*/ 38 h 53"/>
                <a:gd name="T36" fmla="*/ 19 w 36"/>
                <a:gd name="T37" fmla="*/ 32 h 53"/>
                <a:gd name="T38" fmla="*/ 35 w 36"/>
                <a:gd name="T39" fmla="*/ 25 h 53"/>
                <a:gd name="T40" fmla="*/ 17 w 36"/>
                <a:gd name="T41" fmla="*/ 2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53">
                  <a:moveTo>
                    <a:pt x="17" y="22"/>
                  </a:moveTo>
                  <a:cubicBezTo>
                    <a:pt x="19" y="22"/>
                    <a:pt x="31" y="18"/>
                    <a:pt x="28" y="15"/>
                  </a:cubicBezTo>
                  <a:cubicBezTo>
                    <a:pt x="26" y="13"/>
                    <a:pt x="15" y="13"/>
                    <a:pt x="15" y="13"/>
                  </a:cubicBezTo>
                  <a:cubicBezTo>
                    <a:pt x="15" y="13"/>
                    <a:pt x="14" y="10"/>
                    <a:pt x="14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1"/>
                    <a:pt x="8" y="1"/>
                    <a:pt x="7" y="2"/>
                  </a:cubicBezTo>
                  <a:cubicBezTo>
                    <a:pt x="3" y="4"/>
                    <a:pt x="5" y="15"/>
                    <a:pt x="5" y="15"/>
                  </a:cubicBezTo>
                  <a:cubicBezTo>
                    <a:pt x="5" y="15"/>
                    <a:pt x="0" y="18"/>
                    <a:pt x="1" y="23"/>
                  </a:cubicBezTo>
                  <a:cubicBezTo>
                    <a:pt x="2" y="27"/>
                    <a:pt x="7" y="27"/>
                    <a:pt x="7" y="27"/>
                  </a:cubicBezTo>
                  <a:cubicBezTo>
                    <a:pt x="7" y="27"/>
                    <a:pt x="3" y="30"/>
                    <a:pt x="5" y="33"/>
                  </a:cubicBezTo>
                  <a:cubicBezTo>
                    <a:pt x="7" y="37"/>
                    <a:pt x="12" y="35"/>
                    <a:pt x="12" y="35"/>
                  </a:cubicBezTo>
                  <a:cubicBezTo>
                    <a:pt x="12" y="35"/>
                    <a:pt x="8" y="41"/>
                    <a:pt x="10" y="43"/>
                  </a:cubicBezTo>
                  <a:cubicBezTo>
                    <a:pt x="13" y="45"/>
                    <a:pt x="16" y="44"/>
                    <a:pt x="16" y="44"/>
                  </a:cubicBezTo>
                  <a:cubicBezTo>
                    <a:pt x="16" y="44"/>
                    <a:pt x="13" y="49"/>
                    <a:pt x="17" y="51"/>
                  </a:cubicBezTo>
                  <a:cubicBezTo>
                    <a:pt x="22" y="53"/>
                    <a:pt x="28" y="50"/>
                    <a:pt x="32" y="47"/>
                  </a:cubicBezTo>
                  <a:cubicBezTo>
                    <a:pt x="35" y="45"/>
                    <a:pt x="33" y="43"/>
                    <a:pt x="23" y="43"/>
                  </a:cubicBezTo>
                  <a:cubicBezTo>
                    <a:pt x="23" y="43"/>
                    <a:pt x="33" y="39"/>
                    <a:pt x="34" y="38"/>
                  </a:cubicBezTo>
                  <a:cubicBezTo>
                    <a:pt x="35" y="33"/>
                    <a:pt x="26" y="31"/>
                    <a:pt x="19" y="32"/>
                  </a:cubicBezTo>
                  <a:cubicBezTo>
                    <a:pt x="24" y="31"/>
                    <a:pt x="36" y="29"/>
                    <a:pt x="35" y="25"/>
                  </a:cubicBezTo>
                  <a:cubicBezTo>
                    <a:pt x="33" y="21"/>
                    <a:pt x="19" y="22"/>
                    <a:pt x="17" y="22"/>
                  </a:cubicBezTo>
                  <a:close/>
                </a:path>
              </a:pathLst>
            </a:custGeom>
            <a:solidFill>
              <a:srgbClr val="FFA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1" name="ExtraShape6">
              <a:extLst>
                <a:ext uri="{FF2B5EF4-FFF2-40B4-BE49-F238E27FC236}">
                  <a16:creationId xmlns:a16="http://schemas.microsoft.com/office/drawing/2014/main" id="{AB2DCD07-2E1D-4009-B9A3-E6491BE213E2}"/>
                </a:ext>
              </a:extLst>
            </p:cNvPr>
            <p:cNvSpPr/>
            <p:nvPr/>
          </p:nvSpPr>
          <p:spPr bwMode="auto">
            <a:xfrm>
              <a:off x="5005145" y="3045375"/>
              <a:ext cx="795987" cy="1136510"/>
            </a:xfrm>
            <a:custGeom>
              <a:avLst/>
              <a:gdLst>
                <a:gd name="T0" fmla="*/ 134 w 140"/>
                <a:gd name="T1" fmla="*/ 163 h 200"/>
                <a:gd name="T2" fmla="*/ 87 w 140"/>
                <a:gd name="T3" fmla="*/ 197 h 200"/>
                <a:gd name="T4" fmla="*/ 0 w 140"/>
                <a:gd name="T5" fmla="*/ 181 h 200"/>
                <a:gd name="T6" fmla="*/ 7 w 140"/>
                <a:gd name="T7" fmla="*/ 153 h 200"/>
                <a:gd name="T8" fmla="*/ 48 w 140"/>
                <a:gd name="T9" fmla="*/ 158 h 200"/>
                <a:gd name="T10" fmla="*/ 85 w 140"/>
                <a:gd name="T11" fmla="*/ 153 h 200"/>
                <a:gd name="T12" fmla="*/ 38 w 140"/>
                <a:gd name="T13" fmla="*/ 72 h 200"/>
                <a:gd name="T14" fmla="*/ 44 w 140"/>
                <a:gd name="T15" fmla="*/ 0 h 200"/>
                <a:gd name="T16" fmla="*/ 134 w 140"/>
                <a:gd name="T17" fmla="*/ 16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200">
                  <a:moveTo>
                    <a:pt x="134" y="163"/>
                  </a:moveTo>
                  <a:cubicBezTo>
                    <a:pt x="140" y="180"/>
                    <a:pt x="123" y="200"/>
                    <a:pt x="87" y="197"/>
                  </a:cubicBezTo>
                  <a:cubicBezTo>
                    <a:pt x="70" y="196"/>
                    <a:pt x="0" y="181"/>
                    <a:pt x="0" y="181"/>
                  </a:cubicBezTo>
                  <a:cubicBezTo>
                    <a:pt x="7" y="153"/>
                    <a:pt x="7" y="153"/>
                    <a:pt x="7" y="153"/>
                  </a:cubicBezTo>
                  <a:cubicBezTo>
                    <a:pt x="7" y="153"/>
                    <a:pt x="27" y="157"/>
                    <a:pt x="48" y="158"/>
                  </a:cubicBezTo>
                  <a:cubicBezTo>
                    <a:pt x="70" y="159"/>
                    <a:pt x="85" y="153"/>
                    <a:pt x="85" y="153"/>
                  </a:cubicBezTo>
                  <a:cubicBezTo>
                    <a:pt x="85" y="153"/>
                    <a:pt x="64" y="101"/>
                    <a:pt x="38" y="72"/>
                  </a:cubicBezTo>
                  <a:cubicBezTo>
                    <a:pt x="38" y="72"/>
                    <a:pt x="35" y="31"/>
                    <a:pt x="44" y="0"/>
                  </a:cubicBezTo>
                  <a:cubicBezTo>
                    <a:pt x="44" y="0"/>
                    <a:pt x="109" y="81"/>
                    <a:pt x="134" y="163"/>
                  </a:cubicBezTo>
                  <a:close/>
                </a:path>
              </a:pathLst>
            </a:custGeom>
            <a:solidFill>
              <a:srgbClr val="2E6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2" name="ExtraShape7">
              <a:extLst>
                <a:ext uri="{FF2B5EF4-FFF2-40B4-BE49-F238E27FC236}">
                  <a16:creationId xmlns:a16="http://schemas.microsoft.com/office/drawing/2014/main" id="{4A4A9B18-C2C1-4B58-97F5-30081B47AD47}"/>
                </a:ext>
              </a:extLst>
            </p:cNvPr>
            <p:cNvSpPr/>
            <p:nvPr/>
          </p:nvSpPr>
          <p:spPr bwMode="auto">
            <a:xfrm>
              <a:off x="4954857" y="3835615"/>
              <a:ext cx="204026" cy="300292"/>
            </a:xfrm>
            <a:custGeom>
              <a:avLst/>
              <a:gdLst>
                <a:gd name="T0" fmla="*/ 19 w 36"/>
                <a:gd name="T1" fmla="*/ 22 h 53"/>
                <a:gd name="T2" fmla="*/ 8 w 36"/>
                <a:gd name="T3" fmla="*/ 15 h 53"/>
                <a:gd name="T4" fmla="*/ 21 w 36"/>
                <a:gd name="T5" fmla="*/ 13 h 53"/>
                <a:gd name="T6" fmla="*/ 22 w 36"/>
                <a:gd name="T7" fmla="*/ 10 h 53"/>
                <a:gd name="T8" fmla="*/ 22 w 36"/>
                <a:gd name="T9" fmla="*/ 9 h 53"/>
                <a:gd name="T10" fmla="*/ 24 w 36"/>
                <a:gd name="T11" fmla="*/ 0 h 53"/>
                <a:gd name="T12" fmla="*/ 29 w 36"/>
                <a:gd name="T13" fmla="*/ 2 h 53"/>
                <a:gd name="T14" fmla="*/ 31 w 36"/>
                <a:gd name="T15" fmla="*/ 15 h 53"/>
                <a:gd name="T16" fmla="*/ 35 w 36"/>
                <a:gd name="T17" fmla="*/ 23 h 53"/>
                <a:gd name="T18" fmla="*/ 29 w 36"/>
                <a:gd name="T19" fmla="*/ 27 h 53"/>
                <a:gd name="T20" fmla="*/ 31 w 36"/>
                <a:gd name="T21" fmla="*/ 33 h 53"/>
                <a:gd name="T22" fmla="*/ 24 w 36"/>
                <a:gd name="T23" fmla="*/ 35 h 53"/>
                <a:gd name="T24" fmla="*/ 26 w 36"/>
                <a:gd name="T25" fmla="*/ 43 h 53"/>
                <a:gd name="T26" fmla="*/ 20 w 36"/>
                <a:gd name="T27" fmla="*/ 44 h 53"/>
                <a:gd name="T28" fmla="*/ 19 w 36"/>
                <a:gd name="T29" fmla="*/ 51 h 53"/>
                <a:gd name="T30" fmla="*/ 5 w 36"/>
                <a:gd name="T31" fmla="*/ 47 h 53"/>
                <a:gd name="T32" fmla="*/ 14 w 36"/>
                <a:gd name="T33" fmla="*/ 43 h 53"/>
                <a:gd name="T34" fmla="*/ 2 w 36"/>
                <a:gd name="T35" fmla="*/ 38 h 53"/>
                <a:gd name="T36" fmla="*/ 17 w 36"/>
                <a:gd name="T37" fmla="*/ 32 h 53"/>
                <a:gd name="T38" fmla="*/ 2 w 36"/>
                <a:gd name="T39" fmla="*/ 25 h 53"/>
                <a:gd name="T40" fmla="*/ 19 w 36"/>
                <a:gd name="T41" fmla="*/ 2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53">
                  <a:moveTo>
                    <a:pt x="19" y="22"/>
                  </a:moveTo>
                  <a:cubicBezTo>
                    <a:pt x="17" y="22"/>
                    <a:pt x="5" y="18"/>
                    <a:pt x="8" y="15"/>
                  </a:cubicBezTo>
                  <a:cubicBezTo>
                    <a:pt x="10" y="13"/>
                    <a:pt x="21" y="13"/>
                    <a:pt x="21" y="13"/>
                  </a:cubicBezTo>
                  <a:cubicBezTo>
                    <a:pt x="21" y="13"/>
                    <a:pt x="22" y="10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1"/>
                    <a:pt x="28" y="1"/>
                    <a:pt x="29" y="2"/>
                  </a:cubicBezTo>
                  <a:cubicBezTo>
                    <a:pt x="34" y="4"/>
                    <a:pt x="31" y="15"/>
                    <a:pt x="31" y="15"/>
                  </a:cubicBezTo>
                  <a:cubicBezTo>
                    <a:pt x="31" y="15"/>
                    <a:pt x="36" y="18"/>
                    <a:pt x="35" y="23"/>
                  </a:cubicBezTo>
                  <a:cubicBezTo>
                    <a:pt x="34" y="27"/>
                    <a:pt x="29" y="27"/>
                    <a:pt x="29" y="27"/>
                  </a:cubicBezTo>
                  <a:cubicBezTo>
                    <a:pt x="29" y="27"/>
                    <a:pt x="34" y="30"/>
                    <a:pt x="31" y="33"/>
                  </a:cubicBezTo>
                  <a:cubicBezTo>
                    <a:pt x="29" y="37"/>
                    <a:pt x="24" y="35"/>
                    <a:pt x="24" y="35"/>
                  </a:cubicBezTo>
                  <a:cubicBezTo>
                    <a:pt x="24" y="35"/>
                    <a:pt x="29" y="41"/>
                    <a:pt x="26" y="43"/>
                  </a:cubicBezTo>
                  <a:cubicBezTo>
                    <a:pt x="24" y="45"/>
                    <a:pt x="20" y="44"/>
                    <a:pt x="20" y="44"/>
                  </a:cubicBezTo>
                  <a:cubicBezTo>
                    <a:pt x="20" y="44"/>
                    <a:pt x="23" y="49"/>
                    <a:pt x="19" y="51"/>
                  </a:cubicBezTo>
                  <a:cubicBezTo>
                    <a:pt x="14" y="53"/>
                    <a:pt x="8" y="50"/>
                    <a:pt x="5" y="47"/>
                  </a:cubicBezTo>
                  <a:cubicBezTo>
                    <a:pt x="1" y="45"/>
                    <a:pt x="3" y="43"/>
                    <a:pt x="14" y="43"/>
                  </a:cubicBezTo>
                  <a:cubicBezTo>
                    <a:pt x="14" y="43"/>
                    <a:pt x="3" y="39"/>
                    <a:pt x="2" y="38"/>
                  </a:cubicBezTo>
                  <a:cubicBezTo>
                    <a:pt x="1" y="33"/>
                    <a:pt x="11" y="31"/>
                    <a:pt x="17" y="32"/>
                  </a:cubicBezTo>
                  <a:cubicBezTo>
                    <a:pt x="12" y="31"/>
                    <a:pt x="0" y="29"/>
                    <a:pt x="2" y="25"/>
                  </a:cubicBezTo>
                  <a:cubicBezTo>
                    <a:pt x="3" y="21"/>
                    <a:pt x="17" y="22"/>
                    <a:pt x="19" y="22"/>
                  </a:cubicBezTo>
                  <a:close/>
                </a:path>
              </a:pathLst>
            </a:custGeom>
            <a:solidFill>
              <a:srgbClr val="FFA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3" name="ExtraShape">
              <a:extLst>
                <a:ext uri="{FF2B5EF4-FFF2-40B4-BE49-F238E27FC236}">
                  <a16:creationId xmlns:a16="http://schemas.microsoft.com/office/drawing/2014/main" id="{6C753541-6FF4-4E9C-AD84-B5919054C598}"/>
                </a:ext>
              </a:extLst>
            </p:cNvPr>
            <p:cNvSpPr/>
            <p:nvPr/>
          </p:nvSpPr>
          <p:spPr bwMode="auto">
            <a:xfrm>
              <a:off x="2426088" y="4476428"/>
              <a:ext cx="919552" cy="630756"/>
            </a:xfrm>
            <a:custGeom>
              <a:avLst/>
              <a:gdLst>
                <a:gd name="T0" fmla="*/ 114 w 162"/>
                <a:gd name="T1" fmla="*/ 111 h 111"/>
                <a:gd name="T2" fmla="*/ 49 w 162"/>
                <a:gd name="T3" fmla="*/ 111 h 111"/>
                <a:gd name="T4" fmla="*/ 29 w 162"/>
                <a:gd name="T5" fmla="*/ 97 h 111"/>
                <a:gd name="T6" fmla="*/ 1 w 162"/>
                <a:gd name="T7" fmla="*/ 11 h 111"/>
                <a:gd name="T8" fmla="*/ 6 w 162"/>
                <a:gd name="T9" fmla="*/ 4 h 111"/>
                <a:gd name="T10" fmla="*/ 156 w 162"/>
                <a:gd name="T11" fmla="*/ 4 h 111"/>
                <a:gd name="T12" fmla="*/ 161 w 162"/>
                <a:gd name="T13" fmla="*/ 11 h 111"/>
                <a:gd name="T14" fmla="*/ 133 w 162"/>
                <a:gd name="T15" fmla="*/ 97 h 111"/>
                <a:gd name="T16" fmla="*/ 114 w 162"/>
                <a:gd name="T1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111">
                  <a:moveTo>
                    <a:pt x="114" y="111"/>
                  </a:moveTo>
                  <a:cubicBezTo>
                    <a:pt x="49" y="111"/>
                    <a:pt x="49" y="111"/>
                    <a:pt x="49" y="111"/>
                  </a:cubicBezTo>
                  <a:cubicBezTo>
                    <a:pt x="40" y="111"/>
                    <a:pt x="32" y="105"/>
                    <a:pt x="29" y="97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8"/>
                    <a:pt x="3" y="4"/>
                    <a:pt x="6" y="4"/>
                  </a:cubicBezTo>
                  <a:cubicBezTo>
                    <a:pt x="57" y="0"/>
                    <a:pt x="107" y="0"/>
                    <a:pt x="156" y="4"/>
                  </a:cubicBezTo>
                  <a:cubicBezTo>
                    <a:pt x="160" y="4"/>
                    <a:pt x="162" y="8"/>
                    <a:pt x="161" y="11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31" y="105"/>
                    <a:pt x="123" y="111"/>
                    <a:pt x="114" y="111"/>
                  </a:cubicBezTo>
                  <a:close/>
                </a:path>
              </a:pathLst>
            </a:custGeom>
            <a:solidFill>
              <a:srgbClr val="FC53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4" name="ExtraShape8">
              <a:extLst>
                <a:ext uri="{FF2B5EF4-FFF2-40B4-BE49-F238E27FC236}">
                  <a16:creationId xmlns:a16="http://schemas.microsoft.com/office/drawing/2014/main" id="{016184A6-4DB6-44B8-A6FA-6AF8B8DA6DEF}"/>
                </a:ext>
              </a:extLst>
            </p:cNvPr>
            <p:cNvSpPr/>
            <p:nvPr/>
          </p:nvSpPr>
          <p:spPr bwMode="auto">
            <a:xfrm>
              <a:off x="2470630" y="4510912"/>
              <a:ext cx="836218" cy="44541"/>
            </a:xfrm>
            <a:prstGeom prst="ellipse">
              <a:avLst/>
            </a:prstGeom>
            <a:solidFill>
              <a:srgbClr val="1332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5" name="ExtraShape9">
              <a:extLst>
                <a:ext uri="{FF2B5EF4-FFF2-40B4-BE49-F238E27FC236}">
                  <a16:creationId xmlns:a16="http://schemas.microsoft.com/office/drawing/2014/main" id="{14396445-4BAE-4382-B873-DF4B309F63CE}"/>
                </a:ext>
              </a:extLst>
            </p:cNvPr>
            <p:cNvSpPr/>
            <p:nvPr/>
          </p:nvSpPr>
          <p:spPr bwMode="auto">
            <a:xfrm>
              <a:off x="2362869" y="2654566"/>
              <a:ext cx="1051738" cy="1879335"/>
            </a:xfrm>
            <a:custGeom>
              <a:avLst/>
              <a:gdLst>
                <a:gd name="T0" fmla="*/ 162 w 185"/>
                <a:gd name="T1" fmla="*/ 216 h 331"/>
                <a:gd name="T2" fmla="*/ 96 w 185"/>
                <a:gd name="T3" fmla="*/ 301 h 331"/>
                <a:gd name="T4" fmla="*/ 96 w 185"/>
                <a:gd name="T5" fmla="*/ 236 h 331"/>
                <a:gd name="T6" fmla="*/ 129 w 185"/>
                <a:gd name="T7" fmla="*/ 198 h 331"/>
                <a:gd name="T8" fmla="*/ 160 w 185"/>
                <a:gd name="T9" fmla="*/ 140 h 331"/>
                <a:gd name="T10" fmla="*/ 96 w 185"/>
                <a:gd name="T11" fmla="*/ 217 h 331"/>
                <a:gd name="T12" fmla="*/ 96 w 185"/>
                <a:gd name="T13" fmla="*/ 133 h 331"/>
                <a:gd name="T14" fmla="*/ 115 w 185"/>
                <a:gd name="T15" fmla="*/ 112 h 331"/>
                <a:gd name="T16" fmla="*/ 135 w 185"/>
                <a:gd name="T17" fmla="*/ 75 h 331"/>
                <a:gd name="T18" fmla="*/ 96 w 185"/>
                <a:gd name="T19" fmla="*/ 118 h 331"/>
                <a:gd name="T20" fmla="*/ 96 w 185"/>
                <a:gd name="T21" fmla="*/ 91 h 331"/>
                <a:gd name="T22" fmla="*/ 105 w 185"/>
                <a:gd name="T23" fmla="*/ 58 h 331"/>
                <a:gd name="T24" fmla="*/ 108 w 185"/>
                <a:gd name="T25" fmla="*/ 2 h 331"/>
                <a:gd name="T26" fmla="*/ 89 w 185"/>
                <a:gd name="T27" fmla="*/ 94 h 331"/>
                <a:gd name="T28" fmla="*/ 89 w 185"/>
                <a:gd name="T29" fmla="*/ 109 h 331"/>
                <a:gd name="T30" fmla="*/ 47 w 185"/>
                <a:gd name="T31" fmla="*/ 54 h 331"/>
                <a:gd name="T32" fmla="*/ 66 w 185"/>
                <a:gd name="T33" fmla="*/ 90 h 331"/>
                <a:gd name="T34" fmla="*/ 89 w 185"/>
                <a:gd name="T35" fmla="*/ 117 h 331"/>
                <a:gd name="T36" fmla="*/ 89 w 185"/>
                <a:gd name="T37" fmla="*/ 184 h 331"/>
                <a:gd name="T38" fmla="*/ 22 w 185"/>
                <a:gd name="T39" fmla="*/ 97 h 331"/>
                <a:gd name="T40" fmla="*/ 53 w 185"/>
                <a:gd name="T41" fmla="*/ 155 h 331"/>
                <a:gd name="T42" fmla="*/ 89 w 185"/>
                <a:gd name="T43" fmla="*/ 198 h 331"/>
                <a:gd name="T44" fmla="*/ 89 w 185"/>
                <a:gd name="T45" fmla="*/ 277 h 331"/>
                <a:gd name="T46" fmla="*/ 23 w 185"/>
                <a:gd name="T47" fmla="*/ 194 h 331"/>
                <a:gd name="T48" fmla="*/ 51 w 185"/>
                <a:gd name="T49" fmla="*/ 247 h 331"/>
                <a:gd name="T50" fmla="*/ 89 w 185"/>
                <a:gd name="T51" fmla="*/ 293 h 331"/>
                <a:gd name="T52" fmla="*/ 89 w 185"/>
                <a:gd name="T53" fmla="*/ 331 h 331"/>
                <a:gd name="T54" fmla="*/ 96 w 185"/>
                <a:gd name="T55" fmla="*/ 331 h 331"/>
                <a:gd name="T56" fmla="*/ 96 w 185"/>
                <a:gd name="T57" fmla="*/ 316 h 331"/>
                <a:gd name="T58" fmla="*/ 131 w 185"/>
                <a:gd name="T59" fmla="*/ 274 h 331"/>
                <a:gd name="T60" fmla="*/ 162 w 185"/>
                <a:gd name="T61" fmla="*/ 21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5" h="331">
                  <a:moveTo>
                    <a:pt x="162" y="216"/>
                  </a:moveTo>
                  <a:cubicBezTo>
                    <a:pt x="140" y="210"/>
                    <a:pt x="106" y="256"/>
                    <a:pt x="96" y="301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26"/>
                    <a:pt x="111" y="213"/>
                    <a:pt x="129" y="198"/>
                  </a:cubicBezTo>
                  <a:cubicBezTo>
                    <a:pt x="157" y="175"/>
                    <a:pt x="183" y="146"/>
                    <a:pt x="160" y="140"/>
                  </a:cubicBezTo>
                  <a:cubicBezTo>
                    <a:pt x="139" y="134"/>
                    <a:pt x="108" y="175"/>
                    <a:pt x="96" y="217"/>
                  </a:cubicBezTo>
                  <a:cubicBezTo>
                    <a:pt x="96" y="133"/>
                    <a:pt x="96" y="133"/>
                    <a:pt x="96" y="133"/>
                  </a:cubicBezTo>
                  <a:cubicBezTo>
                    <a:pt x="99" y="127"/>
                    <a:pt x="105" y="120"/>
                    <a:pt x="115" y="112"/>
                  </a:cubicBezTo>
                  <a:cubicBezTo>
                    <a:pt x="132" y="98"/>
                    <a:pt x="149" y="79"/>
                    <a:pt x="135" y="75"/>
                  </a:cubicBezTo>
                  <a:cubicBezTo>
                    <a:pt x="122" y="72"/>
                    <a:pt x="104" y="94"/>
                    <a:pt x="96" y="118"/>
                  </a:cubicBezTo>
                  <a:cubicBezTo>
                    <a:pt x="96" y="91"/>
                    <a:pt x="96" y="91"/>
                    <a:pt x="96" y="91"/>
                  </a:cubicBezTo>
                  <a:cubicBezTo>
                    <a:pt x="97" y="82"/>
                    <a:pt x="99" y="70"/>
                    <a:pt x="105" y="58"/>
                  </a:cubicBezTo>
                  <a:cubicBezTo>
                    <a:pt x="118" y="29"/>
                    <a:pt x="125" y="0"/>
                    <a:pt x="108" y="2"/>
                  </a:cubicBezTo>
                  <a:cubicBezTo>
                    <a:pt x="91" y="4"/>
                    <a:pt x="79" y="55"/>
                    <a:pt x="89" y="94"/>
                  </a:cubicBezTo>
                  <a:cubicBezTo>
                    <a:pt x="89" y="109"/>
                    <a:pt x="89" y="109"/>
                    <a:pt x="89" y="109"/>
                  </a:cubicBezTo>
                  <a:cubicBezTo>
                    <a:pt x="82" y="80"/>
                    <a:pt x="61" y="50"/>
                    <a:pt x="47" y="54"/>
                  </a:cubicBezTo>
                  <a:cubicBezTo>
                    <a:pt x="33" y="58"/>
                    <a:pt x="49" y="76"/>
                    <a:pt x="66" y="90"/>
                  </a:cubicBezTo>
                  <a:cubicBezTo>
                    <a:pt x="80" y="101"/>
                    <a:pt x="86" y="112"/>
                    <a:pt x="89" y="117"/>
                  </a:cubicBezTo>
                  <a:cubicBezTo>
                    <a:pt x="89" y="184"/>
                    <a:pt x="89" y="184"/>
                    <a:pt x="89" y="184"/>
                  </a:cubicBezTo>
                  <a:cubicBezTo>
                    <a:pt x="79" y="138"/>
                    <a:pt x="44" y="91"/>
                    <a:pt x="22" y="97"/>
                  </a:cubicBezTo>
                  <a:cubicBezTo>
                    <a:pt x="0" y="103"/>
                    <a:pt x="25" y="133"/>
                    <a:pt x="53" y="155"/>
                  </a:cubicBezTo>
                  <a:cubicBezTo>
                    <a:pt x="75" y="173"/>
                    <a:pt x="85" y="189"/>
                    <a:pt x="89" y="198"/>
                  </a:cubicBezTo>
                  <a:cubicBezTo>
                    <a:pt x="89" y="277"/>
                    <a:pt x="89" y="277"/>
                    <a:pt x="89" y="277"/>
                  </a:cubicBezTo>
                  <a:cubicBezTo>
                    <a:pt x="78" y="233"/>
                    <a:pt x="45" y="188"/>
                    <a:pt x="23" y="194"/>
                  </a:cubicBezTo>
                  <a:cubicBezTo>
                    <a:pt x="0" y="200"/>
                    <a:pt x="19" y="221"/>
                    <a:pt x="51" y="247"/>
                  </a:cubicBezTo>
                  <a:cubicBezTo>
                    <a:pt x="72" y="264"/>
                    <a:pt x="84" y="283"/>
                    <a:pt x="89" y="293"/>
                  </a:cubicBezTo>
                  <a:cubicBezTo>
                    <a:pt x="89" y="331"/>
                    <a:pt x="89" y="331"/>
                    <a:pt x="89" y="331"/>
                  </a:cubicBezTo>
                  <a:cubicBezTo>
                    <a:pt x="91" y="331"/>
                    <a:pt x="94" y="331"/>
                    <a:pt x="96" y="331"/>
                  </a:cubicBezTo>
                  <a:cubicBezTo>
                    <a:pt x="96" y="316"/>
                    <a:pt x="96" y="316"/>
                    <a:pt x="96" y="316"/>
                  </a:cubicBezTo>
                  <a:cubicBezTo>
                    <a:pt x="100" y="307"/>
                    <a:pt x="110" y="291"/>
                    <a:pt x="131" y="274"/>
                  </a:cubicBezTo>
                  <a:cubicBezTo>
                    <a:pt x="159" y="251"/>
                    <a:pt x="185" y="222"/>
                    <a:pt x="162" y="216"/>
                  </a:cubicBezTo>
                  <a:close/>
                </a:path>
              </a:pathLst>
            </a:custGeom>
            <a:solidFill>
              <a:srgbClr val="06C2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6" name="BackShape">
              <a:extLst>
                <a:ext uri="{FF2B5EF4-FFF2-40B4-BE49-F238E27FC236}">
                  <a16:creationId xmlns:a16="http://schemas.microsoft.com/office/drawing/2014/main" id="{BCD1F833-158F-40C8-863D-7DEC2C2FF12C}"/>
                </a:ext>
              </a:extLst>
            </p:cNvPr>
            <p:cNvSpPr/>
            <p:nvPr/>
          </p:nvSpPr>
          <p:spPr>
            <a:xfrm rot="16200000">
              <a:off x="6513544" y="2304647"/>
              <a:ext cx="420528" cy="630791"/>
            </a:xfrm>
            <a:prstGeom prst="round2Same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  <a:alpha val="51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333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57" name="BackShape">
              <a:extLst>
                <a:ext uri="{FF2B5EF4-FFF2-40B4-BE49-F238E27FC236}">
                  <a16:creationId xmlns:a16="http://schemas.microsoft.com/office/drawing/2014/main" id="{F67EFF64-5851-446F-9E4C-AA8E53445ED3}"/>
                </a:ext>
              </a:extLst>
            </p:cNvPr>
            <p:cNvSpPr/>
            <p:nvPr/>
          </p:nvSpPr>
          <p:spPr>
            <a:xfrm rot="5400000" flipH="1">
              <a:off x="8354308" y="1082490"/>
              <a:ext cx="420528" cy="3075105"/>
            </a:xfrm>
            <a:prstGeom prst="round2Same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  <a:alpha val="51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333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58" name="IconShape1">
              <a:extLst>
                <a:ext uri="{FF2B5EF4-FFF2-40B4-BE49-F238E27FC236}">
                  <a16:creationId xmlns:a16="http://schemas.microsoft.com/office/drawing/2014/main" id="{BC121C59-DE92-4D2F-BF8B-407965DAF3BF}"/>
                </a:ext>
              </a:extLst>
            </p:cNvPr>
            <p:cNvSpPr/>
            <p:nvPr/>
          </p:nvSpPr>
          <p:spPr>
            <a:xfrm rot="5400000">
              <a:off x="6643263" y="2529411"/>
              <a:ext cx="210263" cy="181261"/>
            </a:xfrm>
            <a:prstGeom prst="triangle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3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59" name="RelativeShape1">
              <a:extLst>
                <a:ext uri="{FF2B5EF4-FFF2-40B4-BE49-F238E27FC236}">
                  <a16:creationId xmlns:a16="http://schemas.microsoft.com/office/drawing/2014/main" id="{4575820E-8268-4C52-94D1-554D68223EAD}"/>
                </a:ext>
              </a:extLst>
            </p:cNvPr>
            <p:cNvSpPr/>
            <p:nvPr/>
          </p:nvSpPr>
          <p:spPr>
            <a:xfrm>
              <a:off x="7177450" y="2541194"/>
              <a:ext cx="2774245" cy="157697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38100">
                <a:prstClr val="black">
                  <a:alpha val="33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3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60" name="ValueShape1">
              <a:extLst>
                <a:ext uri="{FF2B5EF4-FFF2-40B4-BE49-F238E27FC236}">
                  <a16:creationId xmlns:a16="http://schemas.microsoft.com/office/drawing/2014/main" id="{BD1047BB-78E8-4F7A-99BB-986F6D5AD725}"/>
                </a:ext>
              </a:extLst>
            </p:cNvPr>
            <p:cNvSpPr/>
            <p:nvPr/>
          </p:nvSpPr>
          <p:spPr>
            <a:xfrm>
              <a:off x="7177450" y="2541194"/>
              <a:ext cx="1547175" cy="157697"/>
            </a:xfrm>
            <a:prstGeom prst="roundRect">
              <a:avLst>
                <a:gd name="adj" fmla="val 0"/>
              </a:avLst>
            </a:prstGeom>
            <a:solidFill>
              <a:schemeClr val="accent3">
                <a:lumMod val="100000"/>
                <a:alpha val="87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3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61" name="ValueText1">
              <a:extLst>
                <a:ext uri="{FF2B5EF4-FFF2-40B4-BE49-F238E27FC236}">
                  <a16:creationId xmlns:a16="http://schemas.microsoft.com/office/drawing/2014/main" id="{1271FCDC-5146-4F87-AC65-40D6B380E864}"/>
                </a:ext>
              </a:extLst>
            </p:cNvPr>
            <p:cNvSpPr txBox="1"/>
            <p:nvPr/>
          </p:nvSpPr>
          <p:spPr>
            <a:xfrm>
              <a:off x="7175491" y="1977119"/>
              <a:ext cx="542602" cy="299014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3600">
                  <a:solidFill>
                    <a:schemeClr val="accent3">
                      <a:lumMod val="100000"/>
                    </a:schemeClr>
                  </a:solidFill>
                  <a:latin typeface="+mj-lt"/>
                </a:rPr>
                <a:t>56%</a:t>
              </a:r>
              <a:endParaRPr lang="en-US" sz="3600" dirty="0">
                <a:solidFill>
                  <a:schemeClr val="accent3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62" name="CustomText">
              <a:extLst>
                <a:ext uri="{FF2B5EF4-FFF2-40B4-BE49-F238E27FC236}">
                  <a16:creationId xmlns:a16="http://schemas.microsoft.com/office/drawing/2014/main" id="{3408D0D6-D5CB-4EE5-A914-F4125E284EAA}"/>
                </a:ext>
              </a:extLst>
            </p:cNvPr>
            <p:cNvSpPr/>
            <p:nvPr/>
          </p:nvSpPr>
          <p:spPr>
            <a:xfrm>
              <a:off x="6361052" y="1894772"/>
              <a:ext cx="893468" cy="299014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  <a:latin typeface="+mj-lt"/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63" name="CustomText1">
              <a:extLst>
                <a:ext uri="{FF2B5EF4-FFF2-40B4-BE49-F238E27FC236}">
                  <a16:creationId xmlns:a16="http://schemas.microsoft.com/office/drawing/2014/main" id="{A33913DB-2495-4262-8DE0-77805D545951}"/>
                </a:ext>
              </a:extLst>
            </p:cNvPr>
            <p:cNvSpPr/>
            <p:nvPr/>
          </p:nvSpPr>
          <p:spPr bwMode="auto">
            <a:xfrm>
              <a:off x="6363552" y="2128878"/>
              <a:ext cx="893464" cy="205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800" dirty="0">
                  <a:solidFill>
                    <a:schemeClr val="tx2"/>
                  </a:solidFill>
                  <a:latin typeface="+mj-lt"/>
                </a:rPr>
                <a:t>Text Here</a:t>
              </a:r>
              <a:endParaRPr lang="zh-CN" altLang="en-US" sz="8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64" name="BackShape">
              <a:extLst>
                <a:ext uri="{FF2B5EF4-FFF2-40B4-BE49-F238E27FC236}">
                  <a16:creationId xmlns:a16="http://schemas.microsoft.com/office/drawing/2014/main" id="{541A2C4E-96C0-4162-8C43-C16ABDBE44F3}"/>
                </a:ext>
              </a:extLst>
            </p:cNvPr>
            <p:cNvSpPr/>
            <p:nvPr/>
          </p:nvSpPr>
          <p:spPr>
            <a:xfrm rot="16200000">
              <a:off x="6513543" y="3477535"/>
              <a:ext cx="420528" cy="630791"/>
            </a:xfrm>
            <a:prstGeom prst="round2Same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  <a:alpha val="51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333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65" name="BackShape">
              <a:extLst>
                <a:ext uri="{FF2B5EF4-FFF2-40B4-BE49-F238E27FC236}">
                  <a16:creationId xmlns:a16="http://schemas.microsoft.com/office/drawing/2014/main" id="{C111810E-8CE7-469F-9BE8-1F6BDA5FAE2D}"/>
                </a:ext>
              </a:extLst>
            </p:cNvPr>
            <p:cNvSpPr/>
            <p:nvPr/>
          </p:nvSpPr>
          <p:spPr>
            <a:xfrm rot="5400000" flipH="1">
              <a:off x="8354307" y="2255378"/>
              <a:ext cx="420528" cy="3075105"/>
            </a:xfrm>
            <a:prstGeom prst="round2Same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  <a:alpha val="51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333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66" name="IconShape2">
              <a:extLst>
                <a:ext uri="{FF2B5EF4-FFF2-40B4-BE49-F238E27FC236}">
                  <a16:creationId xmlns:a16="http://schemas.microsoft.com/office/drawing/2014/main" id="{7C339825-FFC9-4C01-BC98-29E54DEF3024}"/>
                </a:ext>
              </a:extLst>
            </p:cNvPr>
            <p:cNvSpPr/>
            <p:nvPr/>
          </p:nvSpPr>
          <p:spPr>
            <a:xfrm rot="5400000">
              <a:off x="6643262" y="3702299"/>
              <a:ext cx="210263" cy="181261"/>
            </a:xfrm>
            <a:prstGeom prst="triangle">
              <a:avLst/>
            </a:prstGeom>
            <a:solidFill>
              <a:schemeClr val="accent5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3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67" name="RelativeShape2">
              <a:extLst>
                <a:ext uri="{FF2B5EF4-FFF2-40B4-BE49-F238E27FC236}">
                  <a16:creationId xmlns:a16="http://schemas.microsoft.com/office/drawing/2014/main" id="{0AB2897A-8A1B-4066-AE26-CA4A96886FA6}"/>
                </a:ext>
              </a:extLst>
            </p:cNvPr>
            <p:cNvSpPr/>
            <p:nvPr/>
          </p:nvSpPr>
          <p:spPr>
            <a:xfrm>
              <a:off x="7177449" y="3714082"/>
              <a:ext cx="2774245" cy="157697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38100">
                <a:prstClr val="black">
                  <a:alpha val="33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3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68" name="ValueShape2">
              <a:extLst>
                <a:ext uri="{FF2B5EF4-FFF2-40B4-BE49-F238E27FC236}">
                  <a16:creationId xmlns:a16="http://schemas.microsoft.com/office/drawing/2014/main" id="{BFE86F7E-D973-4D96-A4F6-56A5AD7C0684}"/>
                </a:ext>
              </a:extLst>
            </p:cNvPr>
            <p:cNvSpPr/>
            <p:nvPr/>
          </p:nvSpPr>
          <p:spPr>
            <a:xfrm>
              <a:off x="7177449" y="3714082"/>
              <a:ext cx="2187385" cy="157697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3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69" name="ValueText2">
              <a:extLst>
                <a:ext uri="{FF2B5EF4-FFF2-40B4-BE49-F238E27FC236}">
                  <a16:creationId xmlns:a16="http://schemas.microsoft.com/office/drawing/2014/main" id="{3C1039F7-B53B-419A-922C-E0F2687B7BB1}"/>
                </a:ext>
              </a:extLst>
            </p:cNvPr>
            <p:cNvSpPr txBox="1"/>
            <p:nvPr/>
          </p:nvSpPr>
          <p:spPr>
            <a:xfrm>
              <a:off x="7175490" y="3150007"/>
              <a:ext cx="542602" cy="299014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3600">
                  <a:solidFill>
                    <a:schemeClr val="accent5">
                      <a:lumMod val="100000"/>
                    </a:schemeClr>
                  </a:solidFill>
                  <a:latin typeface="+mj-lt"/>
                </a:rPr>
                <a:t>79%</a:t>
              </a:r>
              <a:endParaRPr lang="en-US" sz="3600" dirty="0">
                <a:solidFill>
                  <a:schemeClr val="accent5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70" name="CustomText">
              <a:extLst>
                <a:ext uri="{FF2B5EF4-FFF2-40B4-BE49-F238E27FC236}">
                  <a16:creationId xmlns:a16="http://schemas.microsoft.com/office/drawing/2014/main" id="{09EBC7B0-2904-4C49-B0A6-3FB5764B57A1}"/>
                </a:ext>
              </a:extLst>
            </p:cNvPr>
            <p:cNvSpPr/>
            <p:nvPr/>
          </p:nvSpPr>
          <p:spPr>
            <a:xfrm>
              <a:off x="6361051" y="3067660"/>
              <a:ext cx="893468" cy="299014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  <a:latin typeface="+mj-lt"/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71" name="CustomText1">
              <a:extLst>
                <a:ext uri="{FF2B5EF4-FFF2-40B4-BE49-F238E27FC236}">
                  <a16:creationId xmlns:a16="http://schemas.microsoft.com/office/drawing/2014/main" id="{6B907898-B7C6-4889-9B31-DEB7151AABF3}"/>
                </a:ext>
              </a:extLst>
            </p:cNvPr>
            <p:cNvSpPr/>
            <p:nvPr/>
          </p:nvSpPr>
          <p:spPr bwMode="auto">
            <a:xfrm>
              <a:off x="6363551" y="3301766"/>
              <a:ext cx="893464" cy="205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800" dirty="0">
                  <a:solidFill>
                    <a:schemeClr val="tx2"/>
                  </a:solidFill>
                  <a:latin typeface="+mj-lt"/>
                </a:rPr>
                <a:t>Text Here</a:t>
              </a:r>
              <a:endParaRPr lang="zh-CN" altLang="en-US" sz="8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72" name="BackShape">
              <a:extLst>
                <a:ext uri="{FF2B5EF4-FFF2-40B4-BE49-F238E27FC236}">
                  <a16:creationId xmlns:a16="http://schemas.microsoft.com/office/drawing/2014/main" id="{E2008F23-169C-45AC-8250-CACEF30415F9}"/>
                </a:ext>
              </a:extLst>
            </p:cNvPr>
            <p:cNvSpPr/>
            <p:nvPr/>
          </p:nvSpPr>
          <p:spPr>
            <a:xfrm rot="16200000">
              <a:off x="6513542" y="4642525"/>
              <a:ext cx="420528" cy="630791"/>
            </a:xfrm>
            <a:prstGeom prst="round2Same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  <a:alpha val="51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333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73" name="BackShape">
              <a:extLst>
                <a:ext uri="{FF2B5EF4-FFF2-40B4-BE49-F238E27FC236}">
                  <a16:creationId xmlns:a16="http://schemas.microsoft.com/office/drawing/2014/main" id="{65CB06CB-C3B8-4CE5-B0EE-BE4A2563D0C4}"/>
                </a:ext>
              </a:extLst>
            </p:cNvPr>
            <p:cNvSpPr/>
            <p:nvPr/>
          </p:nvSpPr>
          <p:spPr>
            <a:xfrm rot="5400000" flipH="1">
              <a:off x="8354306" y="3420368"/>
              <a:ext cx="420528" cy="3075105"/>
            </a:xfrm>
            <a:prstGeom prst="round2Same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  <a:alpha val="51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121920" rIns="91440" bIns="1219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333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74" name="IconShape3">
              <a:extLst>
                <a:ext uri="{FF2B5EF4-FFF2-40B4-BE49-F238E27FC236}">
                  <a16:creationId xmlns:a16="http://schemas.microsoft.com/office/drawing/2014/main" id="{60AF7A91-5F8B-4A69-A8E7-7319124E8D16}"/>
                </a:ext>
              </a:extLst>
            </p:cNvPr>
            <p:cNvSpPr/>
            <p:nvPr/>
          </p:nvSpPr>
          <p:spPr>
            <a:xfrm rot="5400000">
              <a:off x="6643261" y="4867289"/>
              <a:ext cx="210263" cy="181261"/>
            </a:xfrm>
            <a:prstGeom prst="triangle">
              <a:avLst/>
            </a:prstGeom>
            <a:solidFill>
              <a:schemeClr val="accent6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3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75" name="RelativeShape3">
              <a:extLst>
                <a:ext uri="{FF2B5EF4-FFF2-40B4-BE49-F238E27FC236}">
                  <a16:creationId xmlns:a16="http://schemas.microsoft.com/office/drawing/2014/main" id="{3F13F07D-1008-41C2-AC5F-3883F9626C80}"/>
                </a:ext>
              </a:extLst>
            </p:cNvPr>
            <p:cNvSpPr/>
            <p:nvPr/>
          </p:nvSpPr>
          <p:spPr>
            <a:xfrm>
              <a:off x="7177448" y="4879072"/>
              <a:ext cx="2774245" cy="157697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38100">
                <a:prstClr val="black">
                  <a:alpha val="33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3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76" name="ValueShape3">
              <a:extLst>
                <a:ext uri="{FF2B5EF4-FFF2-40B4-BE49-F238E27FC236}">
                  <a16:creationId xmlns:a16="http://schemas.microsoft.com/office/drawing/2014/main" id="{21714128-FD18-4B5C-9E29-2EE62F5B1F72}"/>
                </a:ext>
              </a:extLst>
            </p:cNvPr>
            <p:cNvSpPr/>
            <p:nvPr/>
          </p:nvSpPr>
          <p:spPr>
            <a:xfrm>
              <a:off x="7177448" y="4879072"/>
              <a:ext cx="1653877" cy="157697"/>
            </a:xfrm>
            <a:prstGeom prst="roundRect">
              <a:avLst>
                <a:gd name="adj" fmla="val 0"/>
              </a:avLst>
            </a:prstGeom>
            <a:solidFill>
              <a:schemeClr val="accent6">
                <a:lumMod val="10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tIns="121920" bIns="121920" rtlCol="0" anchor="ctr" anchorCtr="0"/>
            <a:lstStyle/>
            <a:p>
              <a:pPr algn="ctr"/>
              <a:endParaRPr lang="zh-CN" altLang="en-US" sz="1333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77" name="ValueText3">
              <a:extLst>
                <a:ext uri="{FF2B5EF4-FFF2-40B4-BE49-F238E27FC236}">
                  <a16:creationId xmlns:a16="http://schemas.microsoft.com/office/drawing/2014/main" id="{6C6192F8-F654-43D7-9A7C-8FD73AD69780}"/>
                </a:ext>
              </a:extLst>
            </p:cNvPr>
            <p:cNvSpPr txBox="1"/>
            <p:nvPr/>
          </p:nvSpPr>
          <p:spPr>
            <a:xfrm>
              <a:off x="7175489" y="4314997"/>
              <a:ext cx="542602" cy="299014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3600">
                  <a:solidFill>
                    <a:schemeClr val="accent6">
                      <a:lumMod val="100000"/>
                    </a:schemeClr>
                  </a:solidFill>
                  <a:latin typeface="+mj-lt"/>
                </a:rPr>
                <a:t>60%</a:t>
              </a:r>
              <a:endParaRPr lang="en-US" sz="3600" dirty="0">
                <a:solidFill>
                  <a:schemeClr val="accent6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78" name="CustomText">
              <a:extLst>
                <a:ext uri="{FF2B5EF4-FFF2-40B4-BE49-F238E27FC236}">
                  <a16:creationId xmlns:a16="http://schemas.microsoft.com/office/drawing/2014/main" id="{3E9095E7-C16F-4881-A7C5-16631C93A257}"/>
                </a:ext>
              </a:extLst>
            </p:cNvPr>
            <p:cNvSpPr/>
            <p:nvPr/>
          </p:nvSpPr>
          <p:spPr>
            <a:xfrm>
              <a:off x="6361050" y="4232650"/>
              <a:ext cx="893468" cy="299014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  <a:latin typeface="+mj-lt"/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79" name="CustomText1">
              <a:extLst>
                <a:ext uri="{FF2B5EF4-FFF2-40B4-BE49-F238E27FC236}">
                  <a16:creationId xmlns:a16="http://schemas.microsoft.com/office/drawing/2014/main" id="{7FA24748-F0CE-4E29-8175-A377713A2713}"/>
                </a:ext>
              </a:extLst>
            </p:cNvPr>
            <p:cNvSpPr/>
            <p:nvPr/>
          </p:nvSpPr>
          <p:spPr bwMode="auto">
            <a:xfrm>
              <a:off x="6363550" y="4466756"/>
              <a:ext cx="893464" cy="205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800" dirty="0">
                  <a:solidFill>
                    <a:schemeClr val="tx2"/>
                  </a:solidFill>
                  <a:latin typeface="+mj-lt"/>
                </a:rPr>
                <a:t>Text Here</a:t>
              </a:r>
              <a:endParaRPr lang="zh-CN" altLang="en-US" sz="800" dirty="0">
                <a:solidFill>
                  <a:schemeClr val="tx2"/>
                </a:solidFill>
                <a:latin typeface="+mj-lt"/>
              </a:endParaRPr>
            </a:p>
          </p:txBody>
        </p:sp>
      </p:grpSp>
      <p:sp>
        <p:nvSpPr>
          <p:cNvPr id="80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82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1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22261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d51ce6fb-ffa9-419c-b1e4-336792912f35" descr="xBYAAB+LCAAAAAAABADNV02P2jAU/C/u9karOB8EuIWyqXrYLtKiXioOKTHgbT5Q4kigFf+9jgnLMwlZTBOFG372JPNmPHrkDT1QH40QRj30wHYbwn+/hF7CJtRbJV74FPsk4HvTJN6QhFGSotHvtwKkA9AvL8hIcWrH6080omEWijIaaV81XvK2oIQ1UZyQBQ29YEJXlPFn88qPdEqSBYlYcZAlGemhYtEXoO9JnG0E633vSMYAZL7FQZwAMgX4eNQER5+XS7ogszUJiUDxrRmNmBP5L2vPP1IfJ3S1ZhFJ06Lw/OeVLBiAjSwOFI8Ux7N0zR/+yXX1iT50cp6VpC0oO0totCqzRtpnVI3uA/Q4jgPiRWX4Qb4quN2BfTa0TwdkBtfbN2zDPrvaPtOxBhMH2gdJY03ZPwmO1Q2U8B0E0JICaEA2CgnErURwWO2h645dTYMeSrTVMyjBbwihhO8ghbaUQhOyUYghbiWHWKs2sW87j+4Emgh56+pBlOA3BJHj55whjXz+MmkqwlQ6/muWspAbUZw8zdKdkDIhyyLVaOrxgUsYSVKxU3oC2OcGRz7ZopHe4+3ycV1Q/DIUsj5GflHQbVHgJmzIT47OiR76ESWM5vvycD9xuriYA/Fg7mdkCzo9c+LUr4X2qjoIvqmkQUVX+fsbaco8D0Ktf8Zl3ocUQdqH641cGuT/rJxFHlOen5Sw4tIfQ/JezC2EcZI2bvHWgJ2fL6AMVusy5I61JMNHl+FqFfrqibY7SrRe068NWzxfwH5t9URj7UKka4S4PtKNdFWabbUGDu4w0nUyDGDn5wsow7B1GVqOdBMqGJp6pHFXU9qoaRhLQ6y8gj3jG2J9aVLXiXF9rpvqTFe60/gex3WtFNJwKq+gFKWvsOalaDnfTSlh3hDxrsa2WdezNNTKK9izpR5x/dLkrhPj+og31Vlf7V7f2fgee4u/5vFT8mPHpclVXkFd7PZ1aTnv/6fEfP8P+3f4MMQWAAA=">
            <a:extLst>
              <a:ext uri="{FF2B5EF4-FFF2-40B4-BE49-F238E27FC236}">
                <a16:creationId xmlns:a16="http://schemas.microsoft.com/office/drawing/2014/main" id="{E88BEDA7-A062-46C6-9294-4FC3B5B73FF2}"/>
              </a:ext>
            </a:extLst>
          </p:cNvPr>
          <p:cNvGrpSpPr>
            <a:grpSpLocks noChangeAspect="1"/>
          </p:cNvGrpSpPr>
          <p:nvPr/>
        </p:nvGrpSpPr>
        <p:grpSpPr>
          <a:xfrm>
            <a:off x="1668965" y="1398921"/>
            <a:ext cx="8854070" cy="4060158"/>
            <a:chOff x="1668965" y="1616101"/>
            <a:chExt cx="8854070" cy="4060158"/>
          </a:xfrm>
        </p:grpSpPr>
        <p:sp>
          <p:nvSpPr>
            <p:cNvPr id="3" name="ExtraShape">
              <a:extLst>
                <a:ext uri="{FF2B5EF4-FFF2-40B4-BE49-F238E27FC236}">
                  <a16:creationId xmlns:a16="http://schemas.microsoft.com/office/drawing/2014/main" id="{E2AC3896-2EE2-4B41-88A1-A768A7907A7D}"/>
                </a:ext>
              </a:extLst>
            </p:cNvPr>
            <p:cNvSpPr/>
            <p:nvPr/>
          </p:nvSpPr>
          <p:spPr>
            <a:xfrm>
              <a:off x="1997630" y="1616101"/>
              <a:ext cx="8433565" cy="4060158"/>
            </a:xfrm>
            <a:custGeom>
              <a:avLst/>
              <a:gdLst>
                <a:gd name="connsiteX0" fmla="*/ 2513918 w 10048557"/>
                <a:gd name="connsiteY0" fmla="*/ 4747819 h 4837661"/>
                <a:gd name="connsiteX1" fmla="*/ 2534067 w 10048557"/>
                <a:gd name="connsiteY1" fmla="*/ 4754582 h 4837661"/>
                <a:gd name="connsiteX2" fmla="*/ 2546720 w 10048557"/>
                <a:gd name="connsiteY2" fmla="*/ 4762572 h 4837661"/>
                <a:gd name="connsiteX3" fmla="*/ 2562353 w 10048557"/>
                <a:gd name="connsiteY3" fmla="*/ 4770363 h 4837661"/>
                <a:gd name="connsiteX4" fmla="*/ 2567187 w 10048557"/>
                <a:gd name="connsiteY4" fmla="*/ 4780150 h 4837661"/>
                <a:gd name="connsiteX5" fmla="*/ 2580883 w 10048557"/>
                <a:gd name="connsiteY5" fmla="*/ 4786210 h 4837661"/>
                <a:gd name="connsiteX6" fmla="*/ 2595635 w 10048557"/>
                <a:gd name="connsiteY6" fmla="*/ 4792774 h 4837661"/>
                <a:gd name="connsiteX7" fmla="*/ 2608605 w 10048557"/>
                <a:gd name="connsiteY7" fmla="*/ 4810925 h 4837661"/>
                <a:gd name="connsiteX8" fmla="*/ 2631459 w 10048557"/>
                <a:gd name="connsiteY8" fmla="*/ 4817493 h 4837661"/>
                <a:gd name="connsiteX9" fmla="*/ 2664131 w 10048557"/>
                <a:gd name="connsiteY9" fmla="*/ 4817493 h 4837661"/>
                <a:gd name="connsiteX10" fmla="*/ 2658788 w 10048557"/>
                <a:gd name="connsiteY10" fmla="*/ 4827338 h 4837661"/>
                <a:gd name="connsiteX11" fmla="*/ 2636703 w 10048557"/>
                <a:gd name="connsiteY11" fmla="*/ 4825824 h 4837661"/>
                <a:gd name="connsiteX12" fmla="*/ 2605452 w 10048557"/>
                <a:gd name="connsiteY12" fmla="*/ 4827841 h 4837661"/>
                <a:gd name="connsiteX13" fmla="*/ 2592810 w 10048557"/>
                <a:gd name="connsiteY13" fmla="*/ 4827841 h 4837661"/>
                <a:gd name="connsiteX14" fmla="*/ 2574594 w 10048557"/>
                <a:gd name="connsiteY14" fmla="*/ 4832612 h 4837661"/>
                <a:gd name="connsiteX15" fmla="*/ 2563979 w 10048557"/>
                <a:gd name="connsiteY15" fmla="*/ 4837661 h 4837661"/>
                <a:gd name="connsiteX16" fmla="*/ 2542963 w 10048557"/>
                <a:gd name="connsiteY16" fmla="*/ 4835390 h 4837661"/>
                <a:gd name="connsiteX17" fmla="*/ 2538390 w 10048557"/>
                <a:gd name="connsiteY17" fmla="*/ 4824056 h 4837661"/>
                <a:gd name="connsiteX18" fmla="*/ 2525419 w 10048557"/>
                <a:gd name="connsiteY18" fmla="*/ 4815217 h 4837661"/>
                <a:gd name="connsiteX19" fmla="*/ 2510227 w 10048557"/>
                <a:gd name="connsiteY19" fmla="*/ 4818216 h 4837661"/>
                <a:gd name="connsiteX20" fmla="*/ 2497771 w 10048557"/>
                <a:gd name="connsiteY20" fmla="*/ 4809631 h 4837661"/>
                <a:gd name="connsiteX21" fmla="*/ 2488901 w 10048557"/>
                <a:gd name="connsiteY21" fmla="*/ 4796563 h 4837661"/>
                <a:gd name="connsiteX22" fmla="*/ 2487708 w 10048557"/>
                <a:gd name="connsiteY22" fmla="*/ 4786210 h 4837661"/>
                <a:gd name="connsiteX23" fmla="*/ 2495818 w 10048557"/>
                <a:gd name="connsiteY23" fmla="*/ 4776140 h 4837661"/>
                <a:gd name="connsiteX24" fmla="*/ 2497313 w 10048557"/>
                <a:gd name="connsiteY24" fmla="*/ 4754928 h 4837661"/>
                <a:gd name="connsiteX25" fmla="*/ 2739333 w 10048557"/>
                <a:gd name="connsiteY25" fmla="*/ 4689927 h 4837661"/>
                <a:gd name="connsiteX26" fmla="*/ 2752738 w 10048557"/>
                <a:gd name="connsiteY26" fmla="*/ 4692939 h 4837661"/>
                <a:gd name="connsiteX27" fmla="*/ 2760812 w 10048557"/>
                <a:gd name="connsiteY27" fmla="*/ 4694452 h 4837661"/>
                <a:gd name="connsiteX28" fmla="*/ 2786746 w 10048557"/>
                <a:gd name="connsiteY28" fmla="*/ 4691423 h 4837661"/>
                <a:gd name="connsiteX29" fmla="*/ 2795871 w 10048557"/>
                <a:gd name="connsiteY29" fmla="*/ 4692907 h 4837661"/>
                <a:gd name="connsiteX30" fmla="*/ 2807027 w 10048557"/>
                <a:gd name="connsiteY30" fmla="*/ 4696632 h 4837661"/>
                <a:gd name="connsiteX31" fmla="*/ 2807027 w 10048557"/>
                <a:gd name="connsiteY31" fmla="*/ 4706956 h 4837661"/>
                <a:gd name="connsiteX32" fmla="*/ 2789229 w 10048557"/>
                <a:gd name="connsiteY32" fmla="*/ 4709230 h 4837661"/>
                <a:gd name="connsiteX33" fmla="*/ 2773244 w 10048557"/>
                <a:gd name="connsiteY33" fmla="*/ 4720562 h 4837661"/>
                <a:gd name="connsiteX34" fmla="*/ 2769427 w 10048557"/>
                <a:gd name="connsiteY34" fmla="*/ 4732652 h 4837661"/>
                <a:gd name="connsiteX35" fmla="*/ 2752963 w 10048557"/>
                <a:gd name="connsiteY35" fmla="*/ 4736628 h 4837661"/>
                <a:gd name="connsiteX36" fmla="*/ 2736469 w 10048557"/>
                <a:gd name="connsiteY36" fmla="*/ 4731327 h 4837661"/>
                <a:gd name="connsiteX37" fmla="*/ 2721972 w 10048557"/>
                <a:gd name="connsiteY37" fmla="*/ 4725267 h 4837661"/>
                <a:gd name="connsiteX38" fmla="*/ 2704989 w 10048557"/>
                <a:gd name="connsiteY38" fmla="*/ 4725267 h 4837661"/>
                <a:gd name="connsiteX39" fmla="*/ 2696930 w 10048557"/>
                <a:gd name="connsiteY39" fmla="*/ 4715479 h 4837661"/>
                <a:gd name="connsiteX40" fmla="*/ 2714220 w 10048557"/>
                <a:gd name="connsiteY40" fmla="*/ 4713176 h 4837661"/>
                <a:gd name="connsiteX41" fmla="*/ 2720082 w 10048557"/>
                <a:gd name="connsiteY41" fmla="*/ 4704147 h 4837661"/>
                <a:gd name="connsiteX42" fmla="*/ 2705963 w 10048557"/>
                <a:gd name="connsiteY42" fmla="*/ 4698896 h 4837661"/>
                <a:gd name="connsiteX43" fmla="*/ 2714255 w 10048557"/>
                <a:gd name="connsiteY43" fmla="*/ 4694539 h 4837661"/>
                <a:gd name="connsiteX44" fmla="*/ 2722549 w 10048557"/>
                <a:gd name="connsiteY44" fmla="*/ 4690180 h 4837661"/>
                <a:gd name="connsiteX45" fmla="*/ 8966279 w 10048557"/>
                <a:gd name="connsiteY45" fmla="*/ 4323981 h 4837661"/>
                <a:gd name="connsiteX46" fmla="*/ 8970671 w 10048557"/>
                <a:gd name="connsiteY46" fmla="*/ 4333834 h 4837661"/>
                <a:gd name="connsiteX47" fmla="*/ 8980493 w 10048557"/>
                <a:gd name="connsiteY47" fmla="*/ 4340617 h 4837661"/>
                <a:gd name="connsiteX48" fmla="*/ 8998773 w 10048557"/>
                <a:gd name="connsiteY48" fmla="*/ 4351191 h 4837661"/>
                <a:gd name="connsiteX49" fmla="*/ 9014248 w 10048557"/>
                <a:gd name="connsiteY49" fmla="*/ 4347434 h 4837661"/>
                <a:gd name="connsiteX50" fmla="*/ 9024139 w 10048557"/>
                <a:gd name="connsiteY50" fmla="*/ 4336101 h 4837661"/>
                <a:gd name="connsiteX51" fmla="*/ 9035549 w 10048557"/>
                <a:gd name="connsiteY51" fmla="*/ 4334844 h 4837661"/>
                <a:gd name="connsiteX52" fmla="*/ 9049247 w 10048557"/>
                <a:gd name="connsiteY52" fmla="*/ 4334844 h 4837661"/>
                <a:gd name="connsiteX53" fmla="*/ 9058146 w 10048557"/>
                <a:gd name="connsiteY53" fmla="*/ 4342415 h 4837661"/>
                <a:gd name="connsiteX54" fmla="*/ 9055124 w 10048557"/>
                <a:gd name="connsiteY54" fmla="*/ 4352927 h 4837661"/>
                <a:gd name="connsiteX55" fmla="*/ 9045813 w 10048557"/>
                <a:gd name="connsiteY55" fmla="*/ 4356718 h 4837661"/>
                <a:gd name="connsiteX56" fmla="*/ 9039012 w 10048557"/>
                <a:gd name="connsiteY56" fmla="*/ 4362714 h 4837661"/>
                <a:gd name="connsiteX57" fmla="*/ 9038250 w 10048557"/>
                <a:gd name="connsiteY57" fmla="*/ 4374046 h 4837661"/>
                <a:gd name="connsiteX58" fmla="*/ 9028869 w 10048557"/>
                <a:gd name="connsiteY58" fmla="*/ 4385664 h 4837661"/>
                <a:gd name="connsiteX59" fmla="*/ 9015423 w 10048557"/>
                <a:gd name="connsiteY59" fmla="*/ 4392955 h 4837661"/>
                <a:gd name="connsiteX60" fmla="*/ 8993457 w 10048557"/>
                <a:gd name="connsiteY60" fmla="*/ 4400440 h 4837661"/>
                <a:gd name="connsiteX61" fmla="*/ 8981508 w 10048557"/>
                <a:gd name="connsiteY61" fmla="*/ 4408011 h 4837661"/>
                <a:gd name="connsiteX62" fmla="*/ 8974169 w 10048557"/>
                <a:gd name="connsiteY62" fmla="*/ 4415843 h 4837661"/>
                <a:gd name="connsiteX63" fmla="*/ 8969335 w 10048557"/>
                <a:gd name="connsiteY63" fmla="*/ 4424173 h 4837661"/>
                <a:gd name="connsiteX64" fmla="*/ 8958212 w 10048557"/>
                <a:gd name="connsiteY64" fmla="*/ 4426445 h 4837661"/>
                <a:gd name="connsiteX65" fmla="*/ 8951853 w 10048557"/>
                <a:gd name="connsiteY65" fmla="*/ 4415587 h 4837661"/>
                <a:gd name="connsiteX66" fmla="*/ 8943017 w 10048557"/>
                <a:gd name="connsiteY66" fmla="*/ 4415587 h 4837661"/>
                <a:gd name="connsiteX67" fmla="*/ 8934296 w 10048557"/>
                <a:gd name="connsiteY67" fmla="*/ 4415335 h 4837661"/>
                <a:gd name="connsiteX68" fmla="*/ 8938120 w 10048557"/>
                <a:gd name="connsiteY68" fmla="*/ 4400497 h 4837661"/>
                <a:gd name="connsiteX69" fmla="*/ 8948378 w 10048557"/>
                <a:gd name="connsiteY69" fmla="*/ 4387651 h 4837661"/>
                <a:gd name="connsiteX70" fmla="*/ 8950385 w 10048557"/>
                <a:gd name="connsiteY70" fmla="*/ 4380137 h 4837661"/>
                <a:gd name="connsiteX71" fmla="*/ 8949622 w 10048557"/>
                <a:gd name="connsiteY71" fmla="*/ 4364573 h 4837661"/>
                <a:gd name="connsiteX72" fmla="*/ 8949622 w 10048557"/>
                <a:gd name="connsiteY72" fmla="*/ 4352709 h 4837661"/>
                <a:gd name="connsiteX73" fmla="*/ 8946853 w 10048557"/>
                <a:gd name="connsiteY73" fmla="*/ 4346172 h 4837661"/>
                <a:gd name="connsiteX74" fmla="*/ 8949972 w 10048557"/>
                <a:gd name="connsiteY74" fmla="*/ 4328905 h 4837661"/>
                <a:gd name="connsiteX75" fmla="*/ 9816136 w 10048557"/>
                <a:gd name="connsiteY75" fmla="*/ 4317953 h 4837661"/>
                <a:gd name="connsiteX76" fmla="*/ 9826023 w 10048557"/>
                <a:gd name="connsiteY76" fmla="*/ 4327765 h 4837661"/>
                <a:gd name="connsiteX77" fmla="*/ 9832884 w 10048557"/>
                <a:gd name="connsiteY77" fmla="*/ 4345026 h 4837661"/>
                <a:gd name="connsiteX78" fmla="*/ 9837469 w 10048557"/>
                <a:gd name="connsiteY78" fmla="*/ 4360976 h 4837661"/>
                <a:gd name="connsiteX79" fmla="*/ 9837469 w 10048557"/>
                <a:gd name="connsiteY79" fmla="*/ 4370847 h 4837661"/>
                <a:gd name="connsiteX80" fmla="*/ 9821516 w 10048557"/>
                <a:gd name="connsiteY80" fmla="*/ 4381354 h 4837661"/>
                <a:gd name="connsiteX81" fmla="*/ 9789765 w 10048557"/>
                <a:gd name="connsiteY81" fmla="*/ 4389720 h 4837661"/>
                <a:gd name="connsiteX82" fmla="*/ 9765797 w 10048557"/>
                <a:gd name="connsiteY82" fmla="*/ 4407156 h 4837661"/>
                <a:gd name="connsiteX83" fmla="*/ 9750296 w 10048557"/>
                <a:gd name="connsiteY83" fmla="*/ 4418064 h 4837661"/>
                <a:gd name="connsiteX84" fmla="*/ 9749532 w 10048557"/>
                <a:gd name="connsiteY84" fmla="*/ 4430887 h 4837661"/>
                <a:gd name="connsiteX85" fmla="*/ 9738179 w 10048557"/>
                <a:gd name="connsiteY85" fmla="*/ 4436155 h 4837661"/>
                <a:gd name="connsiteX86" fmla="*/ 9727497 w 10048557"/>
                <a:gd name="connsiteY86" fmla="*/ 4440700 h 4837661"/>
                <a:gd name="connsiteX87" fmla="*/ 9713805 w 10048557"/>
                <a:gd name="connsiteY87" fmla="*/ 4439820 h 4837661"/>
                <a:gd name="connsiteX88" fmla="*/ 9687606 w 10048557"/>
                <a:gd name="connsiteY88" fmla="*/ 4447893 h 4837661"/>
                <a:gd name="connsiteX89" fmla="*/ 9679980 w 10048557"/>
                <a:gd name="connsiteY89" fmla="*/ 4456230 h 4837661"/>
                <a:gd name="connsiteX90" fmla="*/ 9660409 w 10048557"/>
                <a:gd name="connsiteY90" fmla="*/ 4480038 h 4837661"/>
                <a:gd name="connsiteX91" fmla="*/ 9645906 w 10048557"/>
                <a:gd name="connsiteY91" fmla="*/ 4492920 h 4837661"/>
                <a:gd name="connsiteX92" fmla="*/ 9626070 w 10048557"/>
                <a:gd name="connsiteY92" fmla="*/ 4503524 h 4837661"/>
                <a:gd name="connsiteX93" fmla="*/ 9599372 w 10048557"/>
                <a:gd name="connsiteY93" fmla="*/ 4520149 h 4837661"/>
                <a:gd name="connsiteX94" fmla="*/ 9579287 w 10048557"/>
                <a:gd name="connsiteY94" fmla="*/ 4527724 h 4837661"/>
                <a:gd name="connsiteX95" fmla="*/ 9543497 w 10048557"/>
                <a:gd name="connsiteY95" fmla="*/ 4528486 h 4837661"/>
                <a:gd name="connsiteX96" fmla="*/ 9519981 w 10048557"/>
                <a:gd name="connsiteY96" fmla="*/ 4527724 h 4837661"/>
                <a:gd name="connsiteX97" fmla="*/ 9500628 w 10048557"/>
                <a:gd name="connsiteY97" fmla="*/ 4516875 h 4837661"/>
                <a:gd name="connsiteX98" fmla="*/ 9508550 w 10048557"/>
                <a:gd name="connsiteY98" fmla="*/ 4503769 h 4837661"/>
                <a:gd name="connsiteX99" fmla="*/ 9522148 w 10048557"/>
                <a:gd name="connsiteY99" fmla="*/ 4486792 h 4837661"/>
                <a:gd name="connsiteX100" fmla="*/ 9534109 w 10048557"/>
                <a:gd name="connsiteY100" fmla="*/ 4483225 h 4837661"/>
                <a:gd name="connsiteX101" fmla="*/ 9559076 w 10048557"/>
                <a:gd name="connsiteY101" fmla="*/ 4464498 h 4837661"/>
                <a:gd name="connsiteX102" fmla="*/ 9581953 w 10048557"/>
                <a:gd name="connsiteY102" fmla="*/ 4456416 h 4837661"/>
                <a:gd name="connsiteX103" fmla="*/ 9602226 w 10048557"/>
                <a:gd name="connsiteY103" fmla="*/ 4448343 h 4837661"/>
                <a:gd name="connsiteX104" fmla="*/ 9627411 w 10048557"/>
                <a:gd name="connsiteY104" fmla="*/ 4435461 h 4837661"/>
                <a:gd name="connsiteX105" fmla="*/ 9645688 w 10048557"/>
                <a:gd name="connsiteY105" fmla="*/ 4427916 h 4837661"/>
                <a:gd name="connsiteX106" fmla="*/ 9683052 w 10048557"/>
                <a:gd name="connsiteY106" fmla="*/ 4412767 h 4837661"/>
                <a:gd name="connsiteX107" fmla="*/ 9712775 w 10048557"/>
                <a:gd name="connsiteY107" fmla="*/ 4402954 h 4837661"/>
                <a:gd name="connsiteX108" fmla="*/ 9734358 w 10048557"/>
                <a:gd name="connsiteY108" fmla="*/ 4390326 h 4837661"/>
                <a:gd name="connsiteX109" fmla="*/ 9754709 w 10048557"/>
                <a:gd name="connsiteY109" fmla="*/ 4368648 h 4837661"/>
                <a:gd name="connsiteX110" fmla="*/ 9767419 w 10048557"/>
                <a:gd name="connsiteY110" fmla="*/ 4360566 h 4837661"/>
                <a:gd name="connsiteX111" fmla="*/ 9774530 w 10048557"/>
                <a:gd name="connsiteY111" fmla="*/ 4353499 h 4837661"/>
                <a:gd name="connsiteX112" fmla="*/ 9791762 w 10048557"/>
                <a:gd name="connsiteY112" fmla="*/ 4341634 h 4837661"/>
                <a:gd name="connsiteX113" fmla="*/ 9804440 w 10048557"/>
                <a:gd name="connsiteY113" fmla="*/ 4333219 h 4837661"/>
                <a:gd name="connsiteX114" fmla="*/ 9816136 w 10048557"/>
                <a:gd name="connsiteY114" fmla="*/ 4317953 h 4837661"/>
                <a:gd name="connsiteX115" fmla="*/ 9972547 w 10048557"/>
                <a:gd name="connsiteY115" fmla="*/ 4108249 h 4837661"/>
                <a:gd name="connsiteX116" fmla="*/ 9983097 w 10048557"/>
                <a:gd name="connsiteY116" fmla="*/ 4111981 h 4837661"/>
                <a:gd name="connsiteX117" fmla="*/ 9993060 w 10048557"/>
                <a:gd name="connsiteY117" fmla="*/ 4129267 h 4837661"/>
                <a:gd name="connsiteX118" fmla="*/ 9993060 w 10048557"/>
                <a:gd name="connsiteY118" fmla="*/ 4149215 h 4837661"/>
                <a:gd name="connsiteX119" fmla="*/ 9985462 w 10048557"/>
                <a:gd name="connsiteY119" fmla="*/ 4164594 h 4837661"/>
                <a:gd name="connsiteX120" fmla="*/ 9990291 w 10048557"/>
                <a:gd name="connsiteY120" fmla="*/ 4186054 h 4837661"/>
                <a:gd name="connsiteX121" fmla="*/ 9994616 w 10048557"/>
                <a:gd name="connsiteY121" fmla="*/ 4196411 h 4837661"/>
                <a:gd name="connsiteX122" fmla="*/ 10014420 w 10048557"/>
                <a:gd name="connsiteY122" fmla="*/ 4213069 h 4837661"/>
                <a:gd name="connsiteX123" fmla="*/ 10025855 w 10048557"/>
                <a:gd name="connsiteY123" fmla="*/ 4225194 h 4837661"/>
                <a:gd name="connsiteX124" fmla="*/ 10034856 w 10048557"/>
                <a:gd name="connsiteY124" fmla="*/ 4228984 h 4837661"/>
                <a:gd name="connsiteX125" fmla="*/ 10048557 w 10048557"/>
                <a:gd name="connsiteY125" fmla="*/ 4231216 h 4837661"/>
                <a:gd name="connsiteX126" fmla="*/ 10044743 w 10048557"/>
                <a:gd name="connsiteY126" fmla="*/ 4240283 h 4837661"/>
                <a:gd name="connsiteX127" fmla="*/ 10035840 w 10048557"/>
                <a:gd name="connsiteY127" fmla="*/ 4254418 h 4837661"/>
                <a:gd name="connsiteX128" fmla="*/ 10025420 w 10048557"/>
                <a:gd name="connsiteY128" fmla="*/ 4265276 h 4837661"/>
                <a:gd name="connsiteX129" fmla="*/ 10003580 w 10048557"/>
                <a:gd name="connsiteY129" fmla="*/ 4274878 h 4837661"/>
                <a:gd name="connsiteX130" fmla="*/ 9997507 w 10048557"/>
                <a:gd name="connsiteY130" fmla="*/ 4283178 h 4837661"/>
                <a:gd name="connsiteX131" fmla="*/ 9989375 w 10048557"/>
                <a:gd name="connsiteY131" fmla="*/ 4295768 h 4837661"/>
                <a:gd name="connsiteX132" fmla="*/ 9970304 w 10048557"/>
                <a:gd name="connsiteY132" fmla="*/ 4307892 h 4837661"/>
                <a:gd name="connsiteX133" fmla="*/ 9957618 w 10048557"/>
                <a:gd name="connsiteY133" fmla="*/ 4313670 h 4837661"/>
                <a:gd name="connsiteX134" fmla="*/ 9939058 w 10048557"/>
                <a:gd name="connsiteY134" fmla="*/ 4320993 h 4837661"/>
                <a:gd name="connsiteX135" fmla="*/ 9926852 w 10048557"/>
                <a:gd name="connsiteY135" fmla="*/ 4330584 h 4837661"/>
                <a:gd name="connsiteX136" fmla="*/ 9909086 w 10048557"/>
                <a:gd name="connsiteY136" fmla="*/ 4351764 h 4837661"/>
                <a:gd name="connsiteX137" fmla="*/ 9894622 w 10048557"/>
                <a:gd name="connsiteY137" fmla="*/ 4359343 h 4837661"/>
                <a:gd name="connsiteX138" fmla="*/ 9883782 w 10048557"/>
                <a:gd name="connsiteY138" fmla="*/ 4350288 h 4837661"/>
                <a:gd name="connsiteX139" fmla="*/ 9884667 w 10048557"/>
                <a:gd name="connsiteY139" fmla="*/ 4340441 h 4837661"/>
                <a:gd name="connsiteX140" fmla="*/ 9898696 w 10048557"/>
                <a:gd name="connsiteY140" fmla="*/ 4331339 h 4837661"/>
                <a:gd name="connsiteX141" fmla="*/ 9909376 w 10048557"/>
                <a:gd name="connsiteY141" fmla="*/ 4312158 h 4837661"/>
                <a:gd name="connsiteX142" fmla="*/ 9903250 w 10048557"/>
                <a:gd name="connsiteY142" fmla="*/ 4295489 h 4837661"/>
                <a:gd name="connsiteX143" fmla="*/ 9903311 w 10048557"/>
                <a:gd name="connsiteY143" fmla="*/ 4275029 h 4837661"/>
                <a:gd name="connsiteX144" fmla="*/ 9914487 w 10048557"/>
                <a:gd name="connsiteY144" fmla="*/ 4256383 h 4837661"/>
                <a:gd name="connsiteX145" fmla="*/ 9940111 w 10048557"/>
                <a:gd name="connsiteY145" fmla="*/ 4247537 h 4837661"/>
                <a:gd name="connsiteX146" fmla="*/ 9963362 w 10048557"/>
                <a:gd name="connsiteY146" fmla="*/ 4237946 h 4837661"/>
                <a:gd name="connsiteX147" fmla="*/ 9969541 w 10048557"/>
                <a:gd name="connsiteY147" fmla="*/ 4223811 h 4837661"/>
                <a:gd name="connsiteX148" fmla="*/ 9977421 w 10048557"/>
                <a:gd name="connsiteY148" fmla="*/ 4211709 h 4837661"/>
                <a:gd name="connsiteX149" fmla="*/ 9978184 w 10048557"/>
                <a:gd name="connsiteY149" fmla="*/ 4189239 h 4837661"/>
                <a:gd name="connsiteX150" fmla="*/ 9975926 w 10048557"/>
                <a:gd name="connsiteY150" fmla="*/ 4168128 h 4837661"/>
                <a:gd name="connsiteX151" fmla="*/ 9970617 w 10048557"/>
                <a:gd name="connsiteY151" fmla="*/ 4152493 h 4837661"/>
                <a:gd name="connsiteX152" fmla="*/ 9970380 w 10048557"/>
                <a:gd name="connsiteY152" fmla="*/ 4138102 h 4837661"/>
                <a:gd name="connsiteX153" fmla="*/ 9912029 w 10048557"/>
                <a:gd name="connsiteY153" fmla="*/ 3885337 h 4837661"/>
                <a:gd name="connsiteX154" fmla="*/ 9912045 w 10048557"/>
                <a:gd name="connsiteY154" fmla="*/ 3900065 h 4837661"/>
                <a:gd name="connsiteX155" fmla="*/ 9907462 w 10048557"/>
                <a:gd name="connsiteY155" fmla="*/ 3913670 h 4837661"/>
                <a:gd name="connsiteX156" fmla="*/ 9897419 w 10048557"/>
                <a:gd name="connsiteY156" fmla="*/ 3911429 h 4837661"/>
                <a:gd name="connsiteX157" fmla="*/ 9895685 w 10048557"/>
                <a:gd name="connsiteY157" fmla="*/ 3899338 h 4837661"/>
                <a:gd name="connsiteX158" fmla="*/ 9901379 w 10048557"/>
                <a:gd name="connsiteY158" fmla="*/ 3885652 h 4837661"/>
                <a:gd name="connsiteX159" fmla="*/ 6295931 w 10048557"/>
                <a:gd name="connsiteY159" fmla="*/ 3583784 h 4837661"/>
                <a:gd name="connsiteX160" fmla="*/ 6310882 w 10048557"/>
                <a:gd name="connsiteY160" fmla="*/ 3596121 h 4837661"/>
                <a:gd name="connsiteX161" fmla="*/ 6310882 w 10048557"/>
                <a:gd name="connsiteY161" fmla="*/ 3612757 h 4837661"/>
                <a:gd name="connsiteX162" fmla="*/ 6292574 w 10048557"/>
                <a:gd name="connsiteY162" fmla="*/ 3619575 h 4837661"/>
                <a:gd name="connsiteX163" fmla="*/ 6284122 w 10048557"/>
                <a:gd name="connsiteY163" fmla="*/ 3606251 h 4837661"/>
                <a:gd name="connsiteX164" fmla="*/ 6285853 w 10048557"/>
                <a:gd name="connsiteY164" fmla="*/ 3592530 h 4837661"/>
                <a:gd name="connsiteX165" fmla="*/ 6360688 w 10048557"/>
                <a:gd name="connsiteY165" fmla="*/ 3556232 h 4837661"/>
                <a:gd name="connsiteX166" fmla="*/ 6363414 w 10048557"/>
                <a:gd name="connsiteY166" fmla="*/ 3567395 h 4837661"/>
                <a:gd name="connsiteX167" fmla="*/ 6363448 w 10048557"/>
                <a:gd name="connsiteY167" fmla="*/ 3579739 h 4837661"/>
                <a:gd name="connsiteX168" fmla="*/ 6347088 w 10048557"/>
                <a:gd name="connsiteY168" fmla="*/ 3575982 h 4837661"/>
                <a:gd name="connsiteX169" fmla="*/ 6348414 w 10048557"/>
                <a:gd name="connsiteY169" fmla="*/ 3560778 h 4837661"/>
                <a:gd name="connsiteX170" fmla="*/ 9871158 w 10048557"/>
                <a:gd name="connsiteY170" fmla="*/ 3530137 h 4837661"/>
                <a:gd name="connsiteX171" fmla="*/ 9887842 w 10048557"/>
                <a:gd name="connsiteY171" fmla="*/ 3551351 h 4837661"/>
                <a:gd name="connsiteX172" fmla="*/ 9901833 w 10048557"/>
                <a:gd name="connsiteY172" fmla="*/ 3578088 h 4837661"/>
                <a:gd name="connsiteX173" fmla="*/ 9904117 w 10048557"/>
                <a:gd name="connsiteY173" fmla="*/ 3596017 h 4837661"/>
                <a:gd name="connsiteX174" fmla="*/ 9922425 w 10048557"/>
                <a:gd name="connsiteY174" fmla="*/ 3605829 h 4837661"/>
                <a:gd name="connsiteX175" fmla="*/ 9940732 w 10048557"/>
                <a:gd name="connsiteY175" fmla="*/ 3620227 h 4837661"/>
                <a:gd name="connsiteX176" fmla="*/ 9965145 w 10048557"/>
                <a:gd name="connsiteY176" fmla="*/ 3639918 h 4837661"/>
                <a:gd name="connsiteX177" fmla="*/ 9963619 w 10048557"/>
                <a:gd name="connsiteY177" fmla="*/ 3660091 h 4837661"/>
                <a:gd name="connsiteX178" fmla="*/ 9951412 w 10048557"/>
                <a:gd name="connsiteY178" fmla="*/ 3658070 h 4837661"/>
                <a:gd name="connsiteX179" fmla="*/ 9931865 w 10048557"/>
                <a:gd name="connsiteY179" fmla="*/ 3631086 h 4837661"/>
                <a:gd name="connsiteX180" fmla="*/ 9918930 w 10048557"/>
                <a:gd name="connsiteY180" fmla="*/ 3622748 h 4837661"/>
                <a:gd name="connsiteX181" fmla="*/ 9904720 w 10048557"/>
                <a:gd name="connsiteY181" fmla="*/ 3615462 h 4837661"/>
                <a:gd name="connsiteX182" fmla="*/ 9890035 w 10048557"/>
                <a:gd name="connsiteY182" fmla="*/ 3605643 h 4837661"/>
                <a:gd name="connsiteX183" fmla="*/ 9885460 w 10048557"/>
                <a:gd name="connsiteY183" fmla="*/ 3584429 h 4837661"/>
                <a:gd name="connsiteX184" fmla="*/ 9876049 w 10048557"/>
                <a:gd name="connsiteY184" fmla="*/ 3572059 h 4837661"/>
                <a:gd name="connsiteX185" fmla="*/ 9862413 w 10048557"/>
                <a:gd name="connsiteY185" fmla="*/ 3551700 h 4837661"/>
                <a:gd name="connsiteX186" fmla="*/ 9860143 w 10048557"/>
                <a:gd name="connsiteY186" fmla="*/ 3541406 h 4837661"/>
                <a:gd name="connsiteX187" fmla="*/ 4264904 w 10048557"/>
                <a:gd name="connsiteY187" fmla="*/ 3409505 h 4837661"/>
                <a:gd name="connsiteX188" fmla="*/ 4282906 w 10048557"/>
                <a:gd name="connsiteY188" fmla="*/ 3439769 h 4837661"/>
                <a:gd name="connsiteX189" fmla="*/ 4251041 w 10048557"/>
                <a:gd name="connsiteY189" fmla="*/ 3437284 h 4837661"/>
                <a:gd name="connsiteX190" fmla="*/ 10014656 w 10048557"/>
                <a:gd name="connsiteY190" fmla="*/ 3389008 h 4837661"/>
                <a:gd name="connsiteX191" fmla="*/ 10023610 w 10048557"/>
                <a:gd name="connsiteY191" fmla="*/ 3399274 h 4837661"/>
                <a:gd name="connsiteX192" fmla="*/ 10024370 w 10048557"/>
                <a:gd name="connsiteY192" fmla="*/ 3409001 h 4837661"/>
                <a:gd name="connsiteX193" fmla="*/ 10031713 w 10048557"/>
                <a:gd name="connsiteY193" fmla="*/ 3419830 h 4837661"/>
                <a:gd name="connsiteX194" fmla="*/ 10040806 w 10048557"/>
                <a:gd name="connsiteY194" fmla="*/ 3428162 h 4837661"/>
                <a:gd name="connsiteX195" fmla="*/ 10044621 w 10048557"/>
                <a:gd name="connsiteY195" fmla="*/ 3441769 h 4837661"/>
                <a:gd name="connsiteX196" fmla="*/ 10039281 w 10048557"/>
                <a:gd name="connsiteY196" fmla="*/ 3452310 h 4837661"/>
                <a:gd name="connsiteX197" fmla="*/ 10027867 w 10048557"/>
                <a:gd name="connsiteY197" fmla="*/ 3437253 h 4837661"/>
                <a:gd name="connsiteX198" fmla="*/ 10022785 w 10048557"/>
                <a:gd name="connsiteY198" fmla="*/ 3426676 h 4837661"/>
                <a:gd name="connsiteX199" fmla="*/ 10015725 w 10048557"/>
                <a:gd name="connsiteY199" fmla="*/ 3422889 h 4837661"/>
                <a:gd name="connsiteX200" fmla="*/ 10007026 w 10048557"/>
                <a:gd name="connsiteY200" fmla="*/ 3407665 h 4837661"/>
                <a:gd name="connsiteX201" fmla="*/ 5958391 w 10048557"/>
                <a:gd name="connsiteY201" fmla="*/ 3334784 h 4837661"/>
                <a:gd name="connsiteX202" fmla="*/ 5960510 w 10048557"/>
                <a:gd name="connsiteY202" fmla="*/ 3346088 h 4837661"/>
                <a:gd name="connsiteX203" fmla="*/ 5948000 w 10048557"/>
                <a:gd name="connsiteY203" fmla="*/ 3360450 h 4837661"/>
                <a:gd name="connsiteX204" fmla="*/ 5944150 w 10048557"/>
                <a:gd name="connsiteY204" fmla="*/ 3349119 h 4837661"/>
                <a:gd name="connsiteX205" fmla="*/ 5947796 w 10048557"/>
                <a:gd name="connsiteY205" fmla="*/ 3337057 h 4837661"/>
                <a:gd name="connsiteX206" fmla="*/ 5900224 w 10048557"/>
                <a:gd name="connsiteY206" fmla="*/ 3308257 h 4837661"/>
                <a:gd name="connsiteX207" fmla="*/ 5911692 w 10048557"/>
                <a:gd name="connsiteY207" fmla="*/ 3310755 h 4837661"/>
                <a:gd name="connsiteX208" fmla="*/ 5913218 w 10048557"/>
                <a:gd name="connsiteY208" fmla="*/ 3324138 h 4837661"/>
                <a:gd name="connsiteX209" fmla="*/ 5901847 w 10048557"/>
                <a:gd name="connsiteY209" fmla="*/ 3324896 h 4837661"/>
                <a:gd name="connsiteX210" fmla="*/ 5892879 w 10048557"/>
                <a:gd name="connsiteY210" fmla="*/ 3310278 h 4837661"/>
                <a:gd name="connsiteX211" fmla="*/ 5926569 w 10048557"/>
                <a:gd name="connsiteY211" fmla="*/ 3295247 h 4837661"/>
                <a:gd name="connsiteX212" fmla="*/ 5936138 w 10048557"/>
                <a:gd name="connsiteY212" fmla="*/ 3303741 h 4837661"/>
                <a:gd name="connsiteX213" fmla="*/ 5939525 w 10048557"/>
                <a:gd name="connsiteY213" fmla="*/ 3315893 h 4837661"/>
                <a:gd name="connsiteX214" fmla="*/ 5927303 w 10048557"/>
                <a:gd name="connsiteY214" fmla="*/ 3311382 h 4837661"/>
                <a:gd name="connsiteX215" fmla="*/ 5918454 w 10048557"/>
                <a:gd name="connsiteY215" fmla="*/ 3301580 h 4837661"/>
                <a:gd name="connsiteX216" fmla="*/ 6094036 w 10048557"/>
                <a:gd name="connsiteY216" fmla="*/ 3291178 h 4837661"/>
                <a:gd name="connsiteX217" fmla="*/ 6108093 w 10048557"/>
                <a:gd name="connsiteY217" fmla="*/ 3307323 h 4837661"/>
                <a:gd name="connsiteX218" fmla="*/ 6117526 w 10048557"/>
                <a:gd name="connsiteY218" fmla="*/ 3331682 h 4837661"/>
                <a:gd name="connsiteX219" fmla="*/ 6123622 w 10048557"/>
                <a:gd name="connsiteY219" fmla="*/ 3350360 h 4837661"/>
                <a:gd name="connsiteX220" fmla="*/ 6127441 w 10048557"/>
                <a:gd name="connsiteY220" fmla="*/ 3378860 h 4837661"/>
                <a:gd name="connsiteX221" fmla="*/ 6118538 w 10048557"/>
                <a:gd name="connsiteY221" fmla="*/ 3401810 h 4837661"/>
                <a:gd name="connsiteX222" fmla="*/ 6110152 w 10048557"/>
                <a:gd name="connsiteY222" fmla="*/ 3424782 h 4837661"/>
                <a:gd name="connsiteX223" fmla="*/ 6092863 w 10048557"/>
                <a:gd name="connsiteY223" fmla="*/ 3460353 h 4837661"/>
                <a:gd name="connsiteX224" fmla="*/ 6083753 w 10048557"/>
                <a:gd name="connsiteY224" fmla="*/ 3492399 h 4837661"/>
                <a:gd name="connsiteX225" fmla="*/ 6074884 w 10048557"/>
                <a:gd name="connsiteY225" fmla="*/ 3524468 h 4837661"/>
                <a:gd name="connsiteX226" fmla="*/ 6065727 w 10048557"/>
                <a:gd name="connsiteY226" fmla="*/ 3546185 h 4837661"/>
                <a:gd name="connsiteX227" fmla="*/ 6053856 w 10048557"/>
                <a:gd name="connsiteY227" fmla="*/ 3574883 h 4837661"/>
                <a:gd name="connsiteX228" fmla="*/ 6046989 w 10048557"/>
                <a:gd name="connsiteY228" fmla="*/ 3593539 h 4837661"/>
                <a:gd name="connsiteX229" fmla="*/ 6040133 w 10048557"/>
                <a:gd name="connsiteY229" fmla="*/ 3616269 h 4837661"/>
                <a:gd name="connsiteX230" fmla="*/ 6030988 w 10048557"/>
                <a:gd name="connsiteY230" fmla="*/ 3650363 h 4837661"/>
                <a:gd name="connsiteX231" fmla="*/ 6027940 w 10048557"/>
                <a:gd name="connsiteY231" fmla="*/ 3673071 h 4837661"/>
                <a:gd name="connsiteX232" fmla="*/ 6023373 w 10048557"/>
                <a:gd name="connsiteY232" fmla="*/ 3698048 h 4837661"/>
                <a:gd name="connsiteX233" fmla="*/ 6009638 w 10048557"/>
                <a:gd name="connsiteY233" fmla="*/ 3721460 h 4837661"/>
                <a:gd name="connsiteX234" fmla="*/ 5995858 w 10048557"/>
                <a:gd name="connsiteY234" fmla="*/ 3738882 h 4837661"/>
                <a:gd name="connsiteX235" fmla="*/ 5977522 w 10048557"/>
                <a:gd name="connsiteY235" fmla="*/ 3746459 h 4837661"/>
                <a:gd name="connsiteX236" fmla="*/ 5952997 w 10048557"/>
                <a:gd name="connsiteY236" fmla="*/ 3762383 h 4837661"/>
                <a:gd name="connsiteX237" fmla="*/ 5941621 w 10048557"/>
                <a:gd name="connsiteY237" fmla="*/ 3766920 h 4837661"/>
                <a:gd name="connsiteX238" fmla="*/ 5925793 w 10048557"/>
                <a:gd name="connsiteY238" fmla="*/ 3761612 h 4837661"/>
                <a:gd name="connsiteX239" fmla="*/ 5911782 w 10048557"/>
                <a:gd name="connsiteY239" fmla="*/ 3747010 h 4837661"/>
                <a:gd name="connsiteX240" fmla="*/ 5899025 w 10048557"/>
                <a:gd name="connsiteY240" fmla="*/ 3740931 h 4837661"/>
                <a:gd name="connsiteX241" fmla="*/ 5888684 w 10048557"/>
                <a:gd name="connsiteY241" fmla="*/ 3722518 h 4837661"/>
                <a:gd name="connsiteX242" fmla="*/ 5887372 w 10048557"/>
                <a:gd name="connsiteY242" fmla="*/ 3697013 h 4837661"/>
                <a:gd name="connsiteX243" fmla="*/ 5879769 w 10048557"/>
                <a:gd name="connsiteY243" fmla="*/ 3673578 h 4837661"/>
                <a:gd name="connsiteX244" fmla="*/ 5878975 w 10048557"/>
                <a:gd name="connsiteY244" fmla="*/ 3663226 h 4837661"/>
                <a:gd name="connsiteX245" fmla="*/ 5885118 w 10048557"/>
                <a:gd name="connsiteY245" fmla="*/ 3646597 h 4837661"/>
                <a:gd name="connsiteX246" fmla="*/ 5898024 w 10048557"/>
                <a:gd name="connsiteY246" fmla="*/ 3626973 h 4837661"/>
                <a:gd name="connsiteX247" fmla="*/ 5909976 w 10048557"/>
                <a:gd name="connsiteY247" fmla="*/ 3609044 h 4837661"/>
                <a:gd name="connsiteX248" fmla="*/ 5918339 w 10048557"/>
                <a:gd name="connsiteY248" fmla="*/ 3593913 h 4837661"/>
                <a:gd name="connsiteX249" fmla="*/ 5929014 w 10048557"/>
                <a:gd name="connsiteY249" fmla="*/ 3571183 h 4837661"/>
                <a:gd name="connsiteX250" fmla="*/ 5931303 w 10048557"/>
                <a:gd name="connsiteY250" fmla="*/ 3559069 h 4837661"/>
                <a:gd name="connsiteX251" fmla="*/ 5930543 w 10048557"/>
                <a:gd name="connsiteY251" fmla="*/ 3530305 h 4837661"/>
                <a:gd name="connsiteX252" fmla="*/ 5921387 w 10048557"/>
                <a:gd name="connsiteY252" fmla="*/ 3506826 h 4837661"/>
                <a:gd name="connsiteX253" fmla="*/ 5921387 w 10048557"/>
                <a:gd name="connsiteY253" fmla="*/ 3486365 h 4837661"/>
                <a:gd name="connsiteX254" fmla="*/ 5928254 w 10048557"/>
                <a:gd name="connsiteY254" fmla="*/ 3461652 h 4837661"/>
                <a:gd name="connsiteX255" fmla="*/ 5931820 w 10048557"/>
                <a:gd name="connsiteY255" fmla="*/ 3439980 h 4837661"/>
                <a:gd name="connsiteX256" fmla="*/ 5943254 w 10048557"/>
                <a:gd name="connsiteY256" fmla="*/ 3422602 h 4837661"/>
                <a:gd name="connsiteX257" fmla="*/ 5955908 w 10048557"/>
                <a:gd name="connsiteY257" fmla="*/ 3422602 h 4837661"/>
                <a:gd name="connsiteX258" fmla="*/ 5984642 w 10048557"/>
                <a:gd name="connsiteY258" fmla="*/ 3419585 h 4837661"/>
                <a:gd name="connsiteX259" fmla="*/ 6007016 w 10048557"/>
                <a:gd name="connsiteY259" fmla="*/ 3405180 h 4837661"/>
                <a:gd name="connsiteX260" fmla="*/ 6022234 w 10048557"/>
                <a:gd name="connsiteY260" fmla="*/ 3384477 h 4837661"/>
                <a:gd name="connsiteX261" fmla="*/ 6039788 w 10048557"/>
                <a:gd name="connsiteY261" fmla="*/ 3366306 h 4837661"/>
                <a:gd name="connsiteX262" fmla="*/ 6051958 w 10048557"/>
                <a:gd name="connsiteY262" fmla="*/ 3364786 h 4837661"/>
                <a:gd name="connsiteX263" fmla="*/ 6062633 w 10048557"/>
                <a:gd name="connsiteY263" fmla="*/ 3356461 h 4837661"/>
                <a:gd name="connsiteX264" fmla="*/ 6087043 w 10048557"/>
                <a:gd name="connsiteY264" fmla="*/ 3332211 h 4837661"/>
                <a:gd name="connsiteX265" fmla="*/ 6093910 w 10048557"/>
                <a:gd name="connsiteY265" fmla="*/ 3310252 h 4837661"/>
                <a:gd name="connsiteX266" fmla="*/ 6090102 w 10048557"/>
                <a:gd name="connsiteY266" fmla="*/ 3298689 h 4837661"/>
                <a:gd name="connsiteX267" fmla="*/ 5884301 w 10048557"/>
                <a:gd name="connsiteY267" fmla="*/ 3267921 h 4837661"/>
                <a:gd name="connsiteX268" fmla="*/ 5890767 w 10048557"/>
                <a:gd name="connsiteY268" fmla="*/ 3281639 h 4837661"/>
                <a:gd name="connsiteX269" fmla="*/ 5887594 w 10048557"/>
                <a:gd name="connsiteY269" fmla="*/ 3291960 h 4837661"/>
                <a:gd name="connsiteX270" fmla="*/ 5874407 w 10048557"/>
                <a:gd name="connsiteY270" fmla="*/ 3286718 h 4837661"/>
                <a:gd name="connsiteX271" fmla="*/ 5876716 w 10048557"/>
                <a:gd name="connsiteY271" fmla="*/ 3275498 h 4837661"/>
                <a:gd name="connsiteX272" fmla="*/ 9227056 w 10048557"/>
                <a:gd name="connsiteY272" fmla="*/ 3253319 h 4837661"/>
                <a:gd name="connsiteX273" fmla="*/ 9238749 w 10048557"/>
                <a:gd name="connsiteY273" fmla="*/ 3267921 h 4837661"/>
                <a:gd name="connsiteX274" fmla="*/ 9243034 w 10048557"/>
                <a:gd name="connsiteY274" fmla="*/ 3295815 h 4837661"/>
                <a:gd name="connsiteX275" fmla="*/ 9251421 w 10048557"/>
                <a:gd name="connsiteY275" fmla="*/ 3325347 h 4837661"/>
                <a:gd name="connsiteX276" fmla="*/ 9262869 w 10048557"/>
                <a:gd name="connsiteY276" fmla="*/ 3341213 h 4837661"/>
                <a:gd name="connsiteX277" fmla="*/ 9277317 w 10048557"/>
                <a:gd name="connsiteY277" fmla="*/ 3358623 h 4837661"/>
                <a:gd name="connsiteX278" fmla="*/ 9291826 w 10048557"/>
                <a:gd name="connsiteY278" fmla="*/ 3376595 h 4837661"/>
                <a:gd name="connsiteX279" fmla="*/ 9304008 w 10048557"/>
                <a:gd name="connsiteY279" fmla="*/ 3395596 h 4837661"/>
                <a:gd name="connsiteX280" fmla="*/ 9306029 w 10048557"/>
                <a:gd name="connsiteY280" fmla="*/ 3415206 h 4837661"/>
                <a:gd name="connsiteX281" fmla="*/ 9309579 w 10048557"/>
                <a:gd name="connsiteY281" fmla="*/ 3428497 h 4837661"/>
                <a:gd name="connsiteX282" fmla="*/ 9321211 w 10048557"/>
                <a:gd name="connsiteY282" fmla="*/ 3441836 h 4837661"/>
                <a:gd name="connsiteX283" fmla="*/ 9311293 w 10048557"/>
                <a:gd name="connsiteY283" fmla="*/ 3462616 h 4837661"/>
                <a:gd name="connsiteX284" fmla="*/ 9311293 w 10048557"/>
                <a:gd name="connsiteY284" fmla="*/ 3479511 h 4837661"/>
                <a:gd name="connsiteX285" fmla="*/ 9307559 w 10048557"/>
                <a:gd name="connsiteY285" fmla="*/ 3494675 h 4837661"/>
                <a:gd name="connsiteX286" fmla="*/ 9294825 w 10048557"/>
                <a:gd name="connsiteY286" fmla="*/ 3506516 h 4837661"/>
                <a:gd name="connsiteX287" fmla="*/ 9300947 w 10048557"/>
                <a:gd name="connsiteY287" fmla="*/ 3523224 h 4837661"/>
                <a:gd name="connsiteX288" fmla="*/ 9320782 w 10048557"/>
                <a:gd name="connsiteY288" fmla="*/ 3541383 h 4837661"/>
                <a:gd name="connsiteX289" fmla="*/ 9345882 w 10048557"/>
                <a:gd name="connsiteY289" fmla="*/ 3558793 h 4837661"/>
                <a:gd name="connsiteX290" fmla="*/ 9358126 w 10048557"/>
                <a:gd name="connsiteY290" fmla="*/ 3580743 h 4837661"/>
                <a:gd name="connsiteX291" fmla="*/ 9375634 w 10048557"/>
                <a:gd name="connsiteY291" fmla="*/ 3605501 h 4837661"/>
                <a:gd name="connsiteX292" fmla="*/ 9387327 w 10048557"/>
                <a:gd name="connsiteY292" fmla="*/ 3631991 h 4837661"/>
                <a:gd name="connsiteX293" fmla="*/ 9393449 w 10048557"/>
                <a:gd name="connsiteY293" fmla="*/ 3661476 h 4837661"/>
                <a:gd name="connsiteX294" fmla="*/ 9414018 w 10048557"/>
                <a:gd name="connsiteY294" fmla="*/ 3690118 h 4837661"/>
                <a:gd name="connsiteX295" fmla="*/ 9417569 w 10048557"/>
                <a:gd name="connsiteY295" fmla="*/ 3701725 h 4837661"/>
                <a:gd name="connsiteX296" fmla="*/ 9432078 w 10048557"/>
                <a:gd name="connsiteY296" fmla="*/ 3720679 h 4837661"/>
                <a:gd name="connsiteX297" fmla="*/ 9447566 w 10048557"/>
                <a:gd name="connsiteY297" fmla="*/ 3732567 h 4837661"/>
                <a:gd name="connsiteX298" fmla="*/ 9454178 w 10048557"/>
                <a:gd name="connsiteY298" fmla="*/ 3750211 h 4837661"/>
                <a:gd name="connsiteX299" fmla="*/ 9463299 w 10048557"/>
                <a:gd name="connsiteY299" fmla="*/ 3769915 h 4837661"/>
                <a:gd name="connsiteX300" fmla="*/ 9467095 w 10048557"/>
                <a:gd name="connsiteY300" fmla="*/ 3784049 h 4837661"/>
                <a:gd name="connsiteX301" fmla="*/ 9467095 w 10048557"/>
                <a:gd name="connsiteY301" fmla="*/ 3810445 h 4837661"/>
                <a:gd name="connsiteX302" fmla="*/ 9463299 w 10048557"/>
                <a:gd name="connsiteY302" fmla="*/ 3826872 h 4837661"/>
                <a:gd name="connsiteX303" fmla="*/ 9464034 w 10048557"/>
                <a:gd name="connsiteY303" fmla="*/ 3841287 h 4837661"/>
                <a:gd name="connsiteX304" fmla="*/ 9451178 w 10048557"/>
                <a:gd name="connsiteY304" fmla="*/ 3859306 h 4837661"/>
                <a:gd name="connsiteX305" fmla="*/ 9450382 w 10048557"/>
                <a:gd name="connsiteY305" fmla="*/ 3881536 h 4837661"/>
                <a:gd name="connsiteX306" fmla="*/ 9445056 w 10048557"/>
                <a:gd name="connsiteY306" fmla="*/ 3901989 h 4837661"/>
                <a:gd name="connsiteX307" fmla="*/ 9433119 w 10048557"/>
                <a:gd name="connsiteY307" fmla="*/ 3918182 h 4837661"/>
                <a:gd name="connsiteX308" fmla="*/ 9420936 w 10048557"/>
                <a:gd name="connsiteY308" fmla="*/ 3934048 h 4837661"/>
                <a:gd name="connsiteX309" fmla="*/ 9405937 w 10048557"/>
                <a:gd name="connsiteY309" fmla="*/ 3956278 h 4837661"/>
                <a:gd name="connsiteX310" fmla="*/ 9398285 w 10048557"/>
                <a:gd name="connsiteY310" fmla="*/ 3972659 h 4837661"/>
                <a:gd name="connsiteX311" fmla="*/ 9396755 w 10048557"/>
                <a:gd name="connsiteY311" fmla="*/ 3985389 h 4837661"/>
                <a:gd name="connsiteX312" fmla="*/ 9386592 w 10048557"/>
                <a:gd name="connsiteY312" fmla="*/ 3996528 h 4837661"/>
                <a:gd name="connsiteX313" fmla="*/ 9370553 w 10048557"/>
                <a:gd name="connsiteY313" fmla="*/ 4013891 h 4837661"/>
                <a:gd name="connsiteX314" fmla="*/ 9361431 w 10048557"/>
                <a:gd name="connsiteY314" fmla="*/ 4022971 h 4837661"/>
                <a:gd name="connsiteX315" fmla="*/ 9356105 w 10048557"/>
                <a:gd name="connsiteY315" fmla="*/ 4032799 h 4837661"/>
                <a:gd name="connsiteX316" fmla="*/ 9333210 w 10048557"/>
                <a:gd name="connsiteY316" fmla="*/ 4045389 h 4837661"/>
                <a:gd name="connsiteX317" fmla="*/ 9311538 w 10048557"/>
                <a:gd name="connsiteY317" fmla="*/ 4054889 h 4837661"/>
                <a:gd name="connsiteX318" fmla="*/ 9296295 w 10048557"/>
                <a:gd name="connsiteY318" fmla="*/ 4063969 h 4837661"/>
                <a:gd name="connsiteX319" fmla="*/ 9292499 w 10048557"/>
                <a:gd name="connsiteY319" fmla="*/ 4079647 h 4837661"/>
                <a:gd name="connsiteX320" fmla="*/ 9289010 w 10048557"/>
                <a:gd name="connsiteY320" fmla="*/ 4090739 h 4837661"/>
                <a:gd name="connsiteX321" fmla="*/ 9274501 w 10048557"/>
                <a:gd name="connsiteY321" fmla="*/ 4102112 h 4837661"/>
                <a:gd name="connsiteX322" fmla="*/ 9268624 w 10048557"/>
                <a:gd name="connsiteY322" fmla="*/ 4111706 h 4837661"/>
                <a:gd name="connsiteX323" fmla="*/ 9255951 w 10048557"/>
                <a:gd name="connsiteY323" fmla="*/ 4125092 h 4837661"/>
                <a:gd name="connsiteX324" fmla="*/ 9250564 w 10048557"/>
                <a:gd name="connsiteY324" fmla="*/ 4133422 h 4837661"/>
                <a:gd name="connsiteX325" fmla="*/ 9228770 w 10048557"/>
                <a:gd name="connsiteY325" fmla="*/ 4134920 h 4837661"/>
                <a:gd name="connsiteX326" fmla="*/ 9215302 w 10048557"/>
                <a:gd name="connsiteY326" fmla="*/ 4152845 h 4837661"/>
                <a:gd name="connsiteX327" fmla="*/ 9200793 w 10048557"/>
                <a:gd name="connsiteY327" fmla="*/ 4170255 h 4837661"/>
                <a:gd name="connsiteX328" fmla="*/ 9184754 w 10048557"/>
                <a:gd name="connsiteY328" fmla="*/ 4194498 h 4837661"/>
                <a:gd name="connsiteX329" fmla="*/ 9169511 w 10048557"/>
                <a:gd name="connsiteY329" fmla="*/ 4220988 h 4837661"/>
                <a:gd name="connsiteX330" fmla="*/ 9154512 w 10048557"/>
                <a:gd name="connsiteY330" fmla="*/ 4227025 h 4837661"/>
                <a:gd name="connsiteX331" fmla="*/ 9143860 w 10048557"/>
                <a:gd name="connsiteY331" fmla="*/ 4222486 h 4837661"/>
                <a:gd name="connsiteX332" fmla="*/ 9130882 w 10048557"/>
                <a:gd name="connsiteY332" fmla="*/ 4216401 h 4837661"/>
                <a:gd name="connsiteX333" fmla="*/ 9117903 w 10048557"/>
                <a:gd name="connsiteY333" fmla="*/ 4216401 h 4837661"/>
                <a:gd name="connsiteX334" fmla="*/ 9101925 w 10048557"/>
                <a:gd name="connsiteY334" fmla="*/ 4219444 h 4837661"/>
                <a:gd name="connsiteX335" fmla="*/ 9078601 w 10048557"/>
                <a:gd name="connsiteY335" fmla="*/ 4228289 h 4837661"/>
                <a:gd name="connsiteX336" fmla="*/ 9070214 w 10048557"/>
                <a:gd name="connsiteY336" fmla="*/ 4238117 h 4837661"/>
                <a:gd name="connsiteX337" fmla="*/ 9055766 w 10048557"/>
                <a:gd name="connsiteY337" fmla="*/ 4260301 h 4837661"/>
                <a:gd name="connsiteX338" fmla="*/ 9043829 w 10048557"/>
                <a:gd name="connsiteY338" fmla="*/ 4263343 h 4837661"/>
                <a:gd name="connsiteX339" fmla="*/ 9032625 w 10048557"/>
                <a:gd name="connsiteY339" fmla="*/ 4251269 h 4837661"/>
                <a:gd name="connsiteX340" fmla="*/ 9024239 w 10048557"/>
                <a:gd name="connsiteY340" fmla="*/ 4236152 h 4837661"/>
                <a:gd name="connsiteX341" fmla="*/ 9009852 w 10048557"/>
                <a:gd name="connsiteY341" fmla="*/ 4228242 h 4837661"/>
                <a:gd name="connsiteX342" fmla="*/ 8996384 w 10048557"/>
                <a:gd name="connsiteY342" fmla="*/ 4227727 h 4837661"/>
                <a:gd name="connsiteX343" fmla="*/ 8983651 w 10048557"/>
                <a:gd name="connsiteY343" fmla="*/ 4230489 h 4837661"/>
                <a:gd name="connsiteX344" fmla="*/ 8972999 w 10048557"/>
                <a:gd name="connsiteY344" fmla="*/ 4242610 h 4837661"/>
                <a:gd name="connsiteX345" fmla="*/ 8963387 w 10048557"/>
                <a:gd name="connsiteY345" fmla="*/ 4245606 h 4837661"/>
                <a:gd name="connsiteX346" fmla="*/ 8947899 w 10048557"/>
                <a:gd name="connsiteY346" fmla="*/ 4242798 h 4837661"/>
                <a:gd name="connsiteX347" fmla="*/ 8935227 w 10048557"/>
                <a:gd name="connsiteY347" fmla="*/ 4240551 h 4837661"/>
                <a:gd name="connsiteX348" fmla="*/ 8916126 w 10048557"/>
                <a:gd name="connsiteY348" fmla="*/ 4224919 h 4837661"/>
                <a:gd name="connsiteX349" fmla="*/ 8891210 w 10048557"/>
                <a:gd name="connsiteY349" fmla="*/ 4211300 h 4837661"/>
                <a:gd name="connsiteX350" fmla="*/ 8875967 w 10048557"/>
                <a:gd name="connsiteY350" fmla="*/ 4193843 h 4837661"/>
                <a:gd name="connsiteX351" fmla="*/ 8881293 w 10048557"/>
                <a:gd name="connsiteY351" fmla="*/ 4182564 h 4837661"/>
                <a:gd name="connsiteX352" fmla="*/ 8887353 w 10048557"/>
                <a:gd name="connsiteY352" fmla="*/ 4172455 h 4837661"/>
                <a:gd name="connsiteX353" fmla="*/ 8894271 w 10048557"/>
                <a:gd name="connsiteY353" fmla="*/ 4154296 h 4837661"/>
                <a:gd name="connsiteX354" fmla="*/ 8888149 w 10048557"/>
                <a:gd name="connsiteY354" fmla="*/ 4138477 h 4837661"/>
                <a:gd name="connsiteX355" fmla="*/ 8878783 w 10048557"/>
                <a:gd name="connsiteY355" fmla="*/ 4129397 h 4837661"/>
                <a:gd name="connsiteX356" fmla="*/ 8879579 w 10048557"/>
                <a:gd name="connsiteY356" fmla="*/ 4121816 h 4837661"/>
                <a:gd name="connsiteX357" fmla="*/ 8881109 w 10048557"/>
                <a:gd name="connsiteY357" fmla="*/ 4106699 h 4837661"/>
                <a:gd name="connsiteX358" fmla="*/ 8878293 w 10048557"/>
                <a:gd name="connsiteY358" fmla="*/ 4095607 h 4837661"/>
                <a:gd name="connsiteX359" fmla="*/ 8870763 w 10048557"/>
                <a:gd name="connsiteY359" fmla="*/ 4094156 h 4837661"/>
                <a:gd name="connsiteX360" fmla="*/ 8857846 w 10048557"/>
                <a:gd name="connsiteY360" fmla="*/ 4105482 h 4837661"/>
                <a:gd name="connsiteX361" fmla="*/ 8849214 w 10048557"/>
                <a:gd name="connsiteY361" fmla="*/ 4120879 h 4837661"/>
                <a:gd name="connsiteX362" fmla="*/ 8838746 w 10048557"/>
                <a:gd name="connsiteY362" fmla="*/ 4125419 h 4837661"/>
                <a:gd name="connsiteX363" fmla="*/ 8829685 w 10048557"/>
                <a:gd name="connsiteY363" fmla="*/ 4125419 h 4837661"/>
                <a:gd name="connsiteX364" fmla="*/ 8825829 w 10048557"/>
                <a:gd name="connsiteY364" fmla="*/ 4117603 h 4837661"/>
                <a:gd name="connsiteX365" fmla="*/ 8834950 w 10048557"/>
                <a:gd name="connsiteY365" fmla="*/ 4115310 h 4837661"/>
                <a:gd name="connsiteX366" fmla="*/ 8847133 w 10048557"/>
                <a:gd name="connsiteY366" fmla="*/ 4106277 h 4837661"/>
                <a:gd name="connsiteX367" fmla="*/ 8849398 w 10048557"/>
                <a:gd name="connsiteY367" fmla="*/ 4094437 h 4837661"/>
                <a:gd name="connsiteX368" fmla="*/ 8858213 w 10048557"/>
                <a:gd name="connsiteY368" fmla="*/ 4084842 h 4837661"/>
                <a:gd name="connsiteX369" fmla="*/ 8871681 w 10048557"/>
                <a:gd name="connsiteY369" fmla="*/ 4073470 h 4837661"/>
                <a:gd name="connsiteX370" fmla="*/ 8883619 w 10048557"/>
                <a:gd name="connsiteY370" fmla="*/ 4062144 h 4837661"/>
                <a:gd name="connsiteX371" fmla="*/ 8885639 w 10048557"/>
                <a:gd name="connsiteY371" fmla="*/ 4048290 h 4837661"/>
                <a:gd name="connsiteX372" fmla="*/ 8878354 w 10048557"/>
                <a:gd name="connsiteY372" fmla="*/ 4036169 h 4837661"/>
                <a:gd name="connsiteX373" fmla="*/ 8864641 w 10048557"/>
                <a:gd name="connsiteY373" fmla="*/ 4036169 h 4837661"/>
                <a:gd name="connsiteX374" fmla="*/ 8858519 w 10048557"/>
                <a:gd name="connsiteY374" fmla="*/ 4048758 h 4837661"/>
                <a:gd name="connsiteX375" fmla="*/ 8849643 w 10048557"/>
                <a:gd name="connsiteY375" fmla="*/ 4064390 h 4837661"/>
                <a:gd name="connsiteX376" fmla="*/ 8835379 w 10048557"/>
                <a:gd name="connsiteY376" fmla="*/ 4075529 h 4837661"/>
                <a:gd name="connsiteX377" fmla="*/ 8811993 w 10048557"/>
                <a:gd name="connsiteY377" fmla="*/ 4079039 h 4837661"/>
                <a:gd name="connsiteX378" fmla="*/ 8805137 w 10048557"/>
                <a:gd name="connsiteY378" fmla="*/ 4088118 h 4837661"/>
                <a:gd name="connsiteX379" fmla="*/ 8799076 w 10048557"/>
                <a:gd name="connsiteY379" fmla="*/ 4102533 h 4837661"/>
                <a:gd name="connsiteX380" fmla="*/ 8786098 w 10048557"/>
                <a:gd name="connsiteY380" fmla="*/ 4098742 h 4837661"/>
                <a:gd name="connsiteX381" fmla="*/ 8784567 w 10048557"/>
                <a:gd name="connsiteY381" fmla="*/ 4086902 h 4837661"/>
                <a:gd name="connsiteX382" fmla="*/ 8781506 w 10048557"/>
                <a:gd name="connsiteY382" fmla="*/ 4074874 h 4837661"/>
                <a:gd name="connsiteX383" fmla="*/ 8775446 w 10048557"/>
                <a:gd name="connsiteY383" fmla="*/ 4065045 h 4837661"/>
                <a:gd name="connsiteX384" fmla="*/ 8767610 w 10048557"/>
                <a:gd name="connsiteY384" fmla="*/ 4058540 h 4837661"/>
                <a:gd name="connsiteX385" fmla="*/ 8763814 w 10048557"/>
                <a:gd name="connsiteY385" fmla="*/ 4037432 h 4837661"/>
                <a:gd name="connsiteX386" fmla="*/ 8757815 w 10048557"/>
                <a:gd name="connsiteY386" fmla="*/ 4022315 h 4837661"/>
                <a:gd name="connsiteX387" fmla="*/ 8744836 w 10048557"/>
                <a:gd name="connsiteY387" fmla="*/ 4017261 h 4837661"/>
                <a:gd name="connsiteX388" fmla="*/ 8736449 w 10048557"/>
                <a:gd name="connsiteY388" fmla="*/ 4008181 h 4837661"/>
                <a:gd name="connsiteX389" fmla="*/ 8714655 w 10048557"/>
                <a:gd name="connsiteY389" fmla="*/ 3993298 h 4837661"/>
                <a:gd name="connsiteX390" fmla="*/ 8701922 w 10048557"/>
                <a:gd name="connsiteY390" fmla="*/ 3988759 h 4837661"/>
                <a:gd name="connsiteX391" fmla="*/ 8678842 w 10048557"/>
                <a:gd name="connsiteY391" fmla="*/ 3987308 h 4837661"/>
                <a:gd name="connsiteX392" fmla="*/ 8659803 w 10048557"/>
                <a:gd name="connsiteY392" fmla="*/ 3991099 h 4837661"/>
                <a:gd name="connsiteX393" fmla="*/ 8644070 w 10048557"/>
                <a:gd name="connsiteY393" fmla="*/ 3998634 h 4837661"/>
                <a:gd name="connsiteX394" fmla="*/ 8623011 w 10048557"/>
                <a:gd name="connsiteY394" fmla="*/ 3997136 h 4837661"/>
                <a:gd name="connsiteX395" fmla="*/ 8607278 w 10048557"/>
                <a:gd name="connsiteY395" fmla="*/ 3993345 h 4837661"/>
                <a:gd name="connsiteX396" fmla="*/ 8577770 w 10048557"/>
                <a:gd name="connsiteY396" fmla="*/ 4003688 h 4837661"/>
                <a:gd name="connsiteX397" fmla="*/ 8537733 w 10048557"/>
                <a:gd name="connsiteY397" fmla="*/ 4013189 h 4837661"/>
                <a:gd name="connsiteX398" fmla="*/ 8516123 w 10048557"/>
                <a:gd name="connsiteY398" fmla="*/ 4018010 h 4837661"/>
                <a:gd name="connsiteX399" fmla="*/ 8499410 w 10048557"/>
                <a:gd name="connsiteY399" fmla="*/ 4023251 h 4837661"/>
                <a:gd name="connsiteX400" fmla="*/ 8475963 w 10048557"/>
                <a:gd name="connsiteY400" fmla="*/ 4030599 h 4837661"/>
                <a:gd name="connsiteX401" fmla="*/ 8459985 w 10048557"/>
                <a:gd name="connsiteY401" fmla="*/ 4039679 h 4837661"/>
                <a:gd name="connsiteX402" fmla="*/ 8440150 w 10048557"/>
                <a:gd name="connsiteY402" fmla="*/ 4054000 h 4837661"/>
                <a:gd name="connsiteX403" fmla="*/ 8423438 w 10048557"/>
                <a:gd name="connsiteY403" fmla="*/ 4058821 h 4837661"/>
                <a:gd name="connsiteX404" fmla="*/ 8406603 w 10048557"/>
                <a:gd name="connsiteY404" fmla="*/ 4058821 h 4837661"/>
                <a:gd name="connsiteX405" fmla="*/ 8390625 w 10048557"/>
                <a:gd name="connsiteY405" fmla="*/ 4061114 h 4837661"/>
                <a:gd name="connsiteX406" fmla="*/ 8376361 w 10048557"/>
                <a:gd name="connsiteY406" fmla="*/ 4063360 h 4837661"/>
                <a:gd name="connsiteX407" fmla="*/ 8363443 w 10048557"/>
                <a:gd name="connsiteY407" fmla="*/ 4066402 h 4837661"/>
                <a:gd name="connsiteX408" fmla="*/ 8333201 w 10048557"/>
                <a:gd name="connsiteY408" fmla="*/ 4067151 h 4837661"/>
                <a:gd name="connsiteX409" fmla="*/ 8315693 w 10048557"/>
                <a:gd name="connsiteY409" fmla="*/ 4070193 h 4837661"/>
                <a:gd name="connsiteX410" fmla="*/ 8303755 w 10048557"/>
                <a:gd name="connsiteY410" fmla="*/ 4073984 h 4837661"/>
                <a:gd name="connsiteX411" fmla="*/ 8277553 w 10048557"/>
                <a:gd name="connsiteY411" fmla="*/ 4086574 h 4837661"/>
                <a:gd name="connsiteX412" fmla="*/ 8252944 w 10048557"/>
                <a:gd name="connsiteY412" fmla="*/ 4091114 h 4837661"/>
                <a:gd name="connsiteX413" fmla="*/ 8232864 w 10048557"/>
                <a:gd name="connsiteY413" fmla="*/ 4097947 h 4837661"/>
                <a:gd name="connsiteX414" fmla="*/ 8218355 w 10048557"/>
                <a:gd name="connsiteY414" fmla="*/ 4110536 h 4837661"/>
                <a:gd name="connsiteX415" fmla="*/ 8203173 w 10048557"/>
                <a:gd name="connsiteY415" fmla="*/ 4112783 h 4837661"/>
                <a:gd name="connsiteX416" fmla="*/ 8188664 w 10048557"/>
                <a:gd name="connsiteY416" fmla="*/ 4103469 h 4837661"/>
                <a:gd name="connsiteX417" fmla="*/ 8169808 w 10048557"/>
                <a:gd name="connsiteY417" fmla="*/ 4103516 h 4837661"/>
                <a:gd name="connsiteX418" fmla="*/ 8153830 w 10048557"/>
                <a:gd name="connsiteY418" fmla="*/ 4087416 h 4837661"/>
                <a:gd name="connsiteX419" fmla="*/ 8149361 w 10048557"/>
                <a:gd name="connsiteY419" fmla="*/ 4078852 h 4837661"/>
                <a:gd name="connsiteX420" fmla="*/ 8144770 w 10048557"/>
                <a:gd name="connsiteY420" fmla="*/ 4069538 h 4837661"/>
                <a:gd name="connsiteX421" fmla="*/ 8158116 w 10048557"/>
                <a:gd name="connsiteY421" fmla="*/ 4065232 h 4837661"/>
                <a:gd name="connsiteX422" fmla="*/ 8168829 w 10048557"/>
                <a:gd name="connsiteY422" fmla="*/ 4060693 h 4837661"/>
                <a:gd name="connsiteX423" fmla="*/ 8174400 w 10048557"/>
                <a:gd name="connsiteY423" fmla="*/ 4051379 h 4837661"/>
                <a:gd name="connsiteX424" fmla="*/ 8178195 w 10048557"/>
                <a:gd name="connsiteY424" fmla="*/ 4036496 h 4837661"/>
                <a:gd name="connsiteX425" fmla="*/ 8182726 w 10048557"/>
                <a:gd name="connsiteY425" fmla="*/ 4024515 h 4837661"/>
                <a:gd name="connsiteX426" fmla="*/ 8191051 w 10048557"/>
                <a:gd name="connsiteY426" fmla="*/ 4010147 h 4837661"/>
                <a:gd name="connsiteX427" fmla="*/ 8197173 w 10048557"/>
                <a:gd name="connsiteY427" fmla="*/ 3992737 h 4837661"/>
                <a:gd name="connsiteX428" fmla="*/ 8194112 w 10048557"/>
                <a:gd name="connsiteY428" fmla="*/ 3979211 h 4837661"/>
                <a:gd name="connsiteX429" fmla="*/ 8191051 w 10048557"/>
                <a:gd name="connsiteY429" fmla="*/ 3961099 h 4837661"/>
                <a:gd name="connsiteX430" fmla="*/ 8191051 w 10048557"/>
                <a:gd name="connsiteY430" fmla="*/ 3946965 h 4837661"/>
                <a:gd name="connsiteX431" fmla="*/ 8184991 w 10048557"/>
                <a:gd name="connsiteY431" fmla="*/ 3929555 h 4837661"/>
                <a:gd name="connsiteX432" fmla="*/ 8182664 w 10048557"/>
                <a:gd name="connsiteY432" fmla="*/ 3915982 h 4837661"/>
                <a:gd name="connsiteX433" fmla="*/ 8182664 w 10048557"/>
                <a:gd name="connsiteY433" fmla="*/ 3853549 h 4837661"/>
                <a:gd name="connsiteX434" fmla="*/ 8181930 w 10048557"/>
                <a:gd name="connsiteY434" fmla="*/ 3834080 h 4837661"/>
                <a:gd name="connsiteX435" fmla="*/ 8184134 w 10048557"/>
                <a:gd name="connsiteY435" fmla="*/ 3807309 h 4837661"/>
                <a:gd name="connsiteX436" fmla="*/ 8193990 w 10048557"/>
                <a:gd name="connsiteY436" fmla="*/ 3780819 h 4837661"/>
                <a:gd name="connsiteX437" fmla="*/ 8202622 w 10048557"/>
                <a:gd name="connsiteY437" fmla="*/ 3767247 h 4837661"/>
                <a:gd name="connsiteX438" fmla="*/ 8204887 w 10048557"/>
                <a:gd name="connsiteY438" fmla="*/ 3752130 h 4837661"/>
                <a:gd name="connsiteX439" fmla="*/ 8199071 w 10048557"/>
                <a:gd name="connsiteY439" fmla="*/ 3742817 h 4837661"/>
                <a:gd name="connsiteX440" fmla="*/ 8191664 w 10048557"/>
                <a:gd name="connsiteY440" fmla="*/ 3730695 h 4837661"/>
                <a:gd name="connsiteX441" fmla="*/ 8190194 w 10048557"/>
                <a:gd name="connsiteY441" fmla="*/ 3717169 h 4837661"/>
                <a:gd name="connsiteX442" fmla="*/ 8188725 w 10048557"/>
                <a:gd name="connsiteY442" fmla="*/ 3701304 h 4837661"/>
                <a:gd name="connsiteX443" fmla="*/ 8198643 w 10048557"/>
                <a:gd name="connsiteY443" fmla="*/ 3689182 h 4837661"/>
                <a:gd name="connsiteX444" fmla="*/ 8204764 w 10048557"/>
                <a:gd name="connsiteY444" fmla="*/ 3673738 h 4837661"/>
                <a:gd name="connsiteX445" fmla="*/ 8207519 w 10048557"/>
                <a:gd name="connsiteY445" fmla="*/ 3659416 h 4837661"/>
                <a:gd name="connsiteX446" fmla="*/ 8213090 w 10048557"/>
                <a:gd name="connsiteY446" fmla="*/ 3641538 h 4837661"/>
                <a:gd name="connsiteX447" fmla="*/ 8244373 w 10048557"/>
                <a:gd name="connsiteY447" fmla="*/ 3631710 h 4837661"/>
                <a:gd name="connsiteX448" fmla="*/ 8276941 w 10048557"/>
                <a:gd name="connsiteY448" fmla="*/ 3622630 h 4837661"/>
                <a:gd name="connsiteX449" fmla="*/ 8318631 w 10048557"/>
                <a:gd name="connsiteY449" fmla="*/ 3609760 h 4837661"/>
                <a:gd name="connsiteX450" fmla="*/ 8340731 w 10048557"/>
                <a:gd name="connsiteY450" fmla="*/ 3600634 h 4837661"/>
                <a:gd name="connsiteX451" fmla="*/ 8365464 w 10048557"/>
                <a:gd name="connsiteY451" fmla="*/ 3588044 h 4837661"/>
                <a:gd name="connsiteX452" fmla="*/ 8381503 w 10048557"/>
                <a:gd name="connsiteY452" fmla="*/ 3579198 h 4837661"/>
                <a:gd name="connsiteX453" fmla="*/ 8406664 w 10048557"/>
                <a:gd name="connsiteY453" fmla="*/ 3575922 h 4837661"/>
                <a:gd name="connsiteX454" fmla="*/ 8433661 w 10048557"/>
                <a:gd name="connsiteY454" fmla="*/ 3573161 h 4837661"/>
                <a:gd name="connsiteX455" fmla="*/ 8455884 w 10048557"/>
                <a:gd name="connsiteY455" fmla="*/ 3564830 h 4837661"/>
                <a:gd name="connsiteX456" fmla="*/ 8473209 w 10048557"/>
                <a:gd name="connsiteY456" fmla="*/ 3556734 h 4837661"/>
                <a:gd name="connsiteX457" fmla="*/ 8481657 w 10048557"/>
                <a:gd name="connsiteY457" fmla="*/ 3548684 h 4837661"/>
                <a:gd name="connsiteX458" fmla="*/ 8499594 w 10048557"/>
                <a:gd name="connsiteY458" fmla="*/ 3527998 h 4837661"/>
                <a:gd name="connsiteX459" fmla="*/ 8509266 w 10048557"/>
                <a:gd name="connsiteY459" fmla="*/ 3503988 h 4837661"/>
                <a:gd name="connsiteX460" fmla="*/ 8521877 w 10048557"/>
                <a:gd name="connsiteY460" fmla="*/ 3483770 h 4837661"/>
                <a:gd name="connsiteX461" fmla="*/ 8529224 w 10048557"/>
                <a:gd name="connsiteY461" fmla="*/ 3474176 h 4837661"/>
                <a:gd name="connsiteX462" fmla="*/ 8537856 w 10048557"/>
                <a:gd name="connsiteY462" fmla="*/ 3462335 h 4837661"/>
                <a:gd name="connsiteX463" fmla="*/ 8552120 w 10048557"/>
                <a:gd name="connsiteY463" fmla="*/ 3469917 h 4837661"/>
                <a:gd name="connsiteX464" fmla="*/ 8563261 w 10048557"/>
                <a:gd name="connsiteY464" fmla="*/ 3480494 h 4837661"/>
                <a:gd name="connsiteX465" fmla="*/ 8573730 w 10048557"/>
                <a:gd name="connsiteY465" fmla="*/ 3469917 h 4837661"/>
                <a:gd name="connsiteX466" fmla="*/ 8580586 w 10048557"/>
                <a:gd name="connsiteY466" fmla="*/ 3458029 h 4837661"/>
                <a:gd name="connsiteX467" fmla="*/ 8576791 w 10048557"/>
                <a:gd name="connsiteY467" fmla="*/ 3448248 h 4837661"/>
                <a:gd name="connsiteX468" fmla="*/ 8572505 w 10048557"/>
                <a:gd name="connsiteY468" fmla="*/ 3441695 h 4837661"/>
                <a:gd name="connsiteX469" fmla="*/ 8572444 w 10048557"/>
                <a:gd name="connsiteY469" fmla="*/ 3430369 h 4837661"/>
                <a:gd name="connsiteX470" fmla="*/ 8591238 w 10048557"/>
                <a:gd name="connsiteY470" fmla="*/ 3428310 h 4837661"/>
                <a:gd name="connsiteX471" fmla="*/ 8601890 w 10048557"/>
                <a:gd name="connsiteY471" fmla="*/ 3421758 h 4837661"/>
                <a:gd name="connsiteX472" fmla="*/ 8621664 w 10048557"/>
                <a:gd name="connsiteY472" fmla="*/ 3406688 h 4837661"/>
                <a:gd name="connsiteX473" fmla="*/ 8639417 w 10048557"/>
                <a:gd name="connsiteY473" fmla="*/ 3387031 h 4837661"/>
                <a:gd name="connsiteX474" fmla="*/ 8649825 w 10048557"/>
                <a:gd name="connsiteY474" fmla="*/ 3374956 h 4837661"/>
                <a:gd name="connsiteX475" fmla="*/ 8667639 w 10048557"/>
                <a:gd name="connsiteY475" fmla="*/ 3360308 h 4837661"/>
                <a:gd name="connsiteX476" fmla="*/ 8697392 w 10048557"/>
                <a:gd name="connsiteY476" fmla="*/ 3348186 h 4837661"/>
                <a:gd name="connsiteX477" fmla="*/ 8707799 w 10048557"/>
                <a:gd name="connsiteY477" fmla="*/ 3362320 h 4837661"/>
                <a:gd name="connsiteX478" fmla="*/ 8734490 w 10048557"/>
                <a:gd name="connsiteY478" fmla="*/ 3372195 h 4837661"/>
                <a:gd name="connsiteX479" fmla="*/ 8750774 w 10048557"/>
                <a:gd name="connsiteY479" fmla="*/ 3393396 h 4837661"/>
                <a:gd name="connsiteX480" fmla="*/ 8766691 w 10048557"/>
                <a:gd name="connsiteY480" fmla="*/ 3397936 h 4837661"/>
                <a:gd name="connsiteX481" fmla="*/ 8786220 w 10048557"/>
                <a:gd name="connsiteY481" fmla="*/ 3381509 h 4837661"/>
                <a:gd name="connsiteX482" fmla="*/ 8793321 w 10048557"/>
                <a:gd name="connsiteY482" fmla="*/ 3373178 h 4837661"/>
                <a:gd name="connsiteX483" fmla="*/ 8783159 w 10048557"/>
                <a:gd name="connsiteY483" fmla="*/ 3360308 h 4837661"/>
                <a:gd name="connsiteX484" fmla="*/ 8782425 w 10048557"/>
                <a:gd name="connsiteY484" fmla="*/ 3345237 h 4837661"/>
                <a:gd name="connsiteX485" fmla="*/ 8793872 w 10048557"/>
                <a:gd name="connsiteY485" fmla="*/ 3334614 h 4837661"/>
                <a:gd name="connsiteX486" fmla="*/ 8799933 w 10048557"/>
                <a:gd name="connsiteY486" fmla="*/ 3328576 h 4837661"/>
                <a:gd name="connsiteX487" fmla="*/ 8809055 w 10048557"/>
                <a:gd name="connsiteY487" fmla="*/ 3310698 h 4837661"/>
                <a:gd name="connsiteX488" fmla="*/ 8821727 w 10048557"/>
                <a:gd name="connsiteY488" fmla="*/ 3300916 h 4837661"/>
                <a:gd name="connsiteX489" fmla="*/ 8855214 w 10048557"/>
                <a:gd name="connsiteY489" fmla="*/ 3294879 h 4837661"/>
                <a:gd name="connsiteX490" fmla="*/ 8870886 w 10048557"/>
                <a:gd name="connsiteY490" fmla="*/ 3286829 h 4837661"/>
                <a:gd name="connsiteX491" fmla="*/ 8887415 w 10048557"/>
                <a:gd name="connsiteY491" fmla="*/ 3276486 h 4837661"/>
                <a:gd name="connsiteX492" fmla="*/ 8909515 w 10048557"/>
                <a:gd name="connsiteY492" fmla="*/ 3260573 h 4837661"/>
                <a:gd name="connsiteX493" fmla="*/ 8935655 w 10048557"/>
                <a:gd name="connsiteY493" fmla="*/ 3274708 h 4837661"/>
                <a:gd name="connsiteX494" fmla="*/ 8974345 w 10048557"/>
                <a:gd name="connsiteY494" fmla="*/ 3278077 h 4837661"/>
                <a:gd name="connsiteX495" fmla="*/ 8981691 w 10048557"/>
                <a:gd name="connsiteY495" fmla="*/ 3282617 h 4837661"/>
                <a:gd name="connsiteX496" fmla="*/ 9006546 w 10048557"/>
                <a:gd name="connsiteY496" fmla="*/ 3290714 h 4837661"/>
                <a:gd name="connsiteX497" fmla="*/ 9020259 w 10048557"/>
                <a:gd name="connsiteY497" fmla="*/ 3301806 h 4837661"/>
                <a:gd name="connsiteX498" fmla="*/ 9007526 w 10048557"/>
                <a:gd name="connsiteY498" fmla="*/ 3315472 h 4837661"/>
                <a:gd name="connsiteX499" fmla="*/ 8995343 w 10048557"/>
                <a:gd name="connsiteY499" fmla="*/ 3331384 h 4837661"/>
                <a:gd name="connsiteX500" fmla="*/ 8986956 w 10048557"/>
                <a:gd name="connsiteY500" fmla="*/ 3340464 h 4837661"/>
                <a:gd name="connsiteX501" fmla="*/ 8979610 w 10048557"/>
                <a:gd name="connsiteY501" fmla="*/ 3355347 h 4837661"/>
                <a:gd name="connsiteX502" fmla="*/ 8979610 w 10048557"/>
                <a:gd name="connsiteY502" fmla="*/ 3390214 h 4837661"/>
                <a:gd name="connsiteX503" fmla="*/ 8986467 w 10048557"/>
                <a:gd name="connsiteY503" fmla="*/ 3409168 h 4837661"/>
                <a:gd name="connsiteX504" fmla="*/ 9007281 w 10048557"/>
                <a:gd name="connsiteY504" fmla="*/ 3415721 h 4837661"/>
                <a:gd name="connsiteX505" fmla="*/ 9030973 w 10048557"/>
                <a:gd name="connsiteY505" fmla="*/ 3430884 h 4837661"/>
                <a:gd name="connsiteX506" fmla="*/ 9042421 w 10048557"/>
                <a:gd name="connsiteY506" fmla="*/ 3443006 h 4837661"/>
                <a:gd name="connsiteX507" fmla="*/ 9059439 w 10048557"/>
                <a:gd name="connsiteY507" fmla="*/ 3452600 h 4837661"/>
                <a:gd name="connsiteX508" fmla="*/ 9079152 w 10048557"/>
                <a:gd name="connsiteY508" fmla="*/ 3460182 h 4837661"/>
                <a:gd name="connsiteX509" fmla="*/ 9091885 w 10048557"/>
                <a:gd name="connsiteY509" fmla="*/ 3481336 h 4837661"/>
                <a:gd name="connsiteX510" fmla="*/ 9116189 w 10048557"/>
                <a:gd name="connsiteY510" fmla="*/ 3486391 h 4837661"/>
                <a:gd name="connsiteX511" fmla="*/ 9125984 w 10048557"/>
                <a:gd name="connsiteY511" fmla="*/ 3478154 h 4837661"/>
                <a:gd name="connsiteX512" fmla="*/ 9129780 w 10048557"/>
                <a:gd name="connsiteY512" fmla="*/ 3468419 h 4837661"/>
                <a:gd name="connsiteX513" fmla="*/ 9153410 w 10048557"/>
                <a:gd name="connsiteY513" fmla="*/ 3450962 h 4837661"/>
                <a:gd name="connsiteX514" fmla="*/ 9167674 w 10048557"/>
                <a:gd name="connsiteY514" fmla="*/ 3432522 h 4837661"/>
                <a:gd name="connsiteX515" fmla="*/ 9182122 w 10048557"/>
                <a:gd name="connsiteY515" fmla="*/ 3416891 h 4837661"/>
                <a:gd name="connsiteX516" fmla="*/ 9186468 w 10048557"/>
                <a:gd name="connsiteY516" fmla="*/ 3407296 h 4837661"/>
                <a:gd name="connsiteX517" fmla="*/ 9185672 w 10048557"/>
                <a:gd name="connsiteY517" fmla="*/ 3387359 h 4837661"/>
                <a:gd name="connsiteX518" fmla="*/ 9186468 w 10048557"/>
                <a:gd name="connsiteY518" fmla="*/ 3359606 h 4837661"/>
                <a:gd name="connsiteX519" fmla="*/ 9190998 w 10048557"/>
                <a:gd name="connsiteY519" fmla="*/ 3343506 h 4837661"/>
                <a:gd name="connsiteX520" fmla="*/ 9196080 w 10048557"/>
                <a:gd name="connsiteY520" fmla="*/ 3322352 h 4837661"/>
                <a:gd name="connsiteX521" fmla="*/ 9197610 w 10048557"/>
                <a:gd name="connsiteY521" fmla="*/ 3299606 h 4837661"/>
                <a:gd name="connsiteX522" fmla="*/ 9203732 w 10048557"/>
                <a:gd name="connsiteY522" fmla="*/ 3273959 h 4837661"/>
                <a:gd name="connsiteX523" fmla="*/ 9215915 w 10048557"/>
                <a:gd name="connsiteY523" fmla="*/ 3258795 h 4837661"/>
                <a:gd name="connsiteX524" fmla="*/ 9832115 w 10048557"/>
                <a:gd name="connsiteY524" fmla="*/ 3223985 h 4837661"/>
                <a:gd name="connsiteX525" fmla="*/ 9846134 w 10048557"/>
                <a:gd name="connsiteY525" fmla="*/ 3224126 h 4837661"/>
                <a:gd name="connsiteX526" fmla="*/ 9856530 w 10048557"/>
                <a:gd name="connsiteY526" fmla="*/ 3240256 h 4837661"/>
                <a:gd name="connsiteX527" fmla="*/ 9846643 w 10048557"/>
                <a:gd name="connsiteY527" fmla="*/ 3245055 h 4837661"/>
                <a:gd name="connsiteX528" fmla="*/ 9835170 w 10048557"/>
                <a:gd name="connsiteY528" fmla="*/ 3233611 h 4837661"/>
                <a:gd name="connsiteX529" fmla="*/ 9772421 w 10048557"/>
                <a:gd name="connsiteY529" fmla="*/ 3185990 h 4837661"/>
                <a:gd name="connsiteX530" fmla="*/ 9787426 w 10048557"/>
                <a:gd name="connsiteY530" fmla="*/ 3186577 h 4837661"/>
                <a:gd name="connsiteX531" fmla="*/ 9795146 w 10048557"/>
                <a:gd name="connsiteY531" fmla="*/ 3195953 h 4837661"/>
                <a:gd name="connsiteX532" fmla="*/ 9809894 w 10048557"/>
                <a:gd name="connsiteY532" fmla="*/ 3195426 h 4837661"/>
                <a:gd name="connsiteX533" fmla="*/ 9809894 w 10048557"/>
                <a:gd name="connsiteY533" fmla="*/ 3205435 h 4837661"/>
                <a:gd name="connsiteX534" fmla="*/ 9800007 w 10048557"/>
                <a:gd name="connsiteY534" fmla="*/ 3209915 h 4837661"/>
                <a:gd name="connsiteX535" fmla="*/ 9787134 w 10048557"/>
                <a:gd name="connsiteY535" fmla="*/ 3206161 h 4837661"/>
                <a:gd name="connsiteX536" fmla="*/ 9775542 w 10048557"/>
                <a:gd name="connsiteY536" fmla="*/ 3194827 h 4837661"/>
                <a:gd name="connsiteX537" fmla="*/ 8449491 w 10048557"/>
                <a:gd name="connsiteY537" fmla="*/ 3180692 h 4837661"/>
                <a:gd name="connsiteX538" fmla="*/ 8468474 w 10048557"/>
                <a:gd name="connsiteY538" fmla="*/ 3182183 h 4837661"/>
                <a:gd name="connsiteX539" fmla="*/ 8491274 w 10048557"/>
                <a:gd name="connsiteY539" fmla="*/ 3182100 h 4837661"/>
                <a:gd name="connsiteX540" fmla="*/ 8500426 w 10048557"/>
                <a:gd name="connsiteY540" fmla="*/ 3196942 h 4837661"/>
                <a:gd name="connsiteX541" fmla="*/ 8503436 w 10048557"/>
                <a:gd name="connsiteY541" fmla="*/ 3212009 h 4837661"/>
                <a:gd name="connsiteX542" fmla="*/ 8491657 w 10048557"/>
                <a:gd name="connsiteY542" fmla="*/ 3208051 h 4837661"/>
                <a:gd name="connsiteX543" fmla="*/ 8478092 w 10048557"/>
                <a:gd name="connsiteY543" fmla="*/ 3201699 h 4837661"/>
                <a:gd name="connsiteX544" fmla="*/ 8461143 w 10048557"/>
                <a:gd name="connsiteY544" fmla="*/ 3199678 h 4837661"/>
                <a:gd name="connsiteX545" fmla="*/ 8448341 w 10048557"/>
                <a:gd name="connsiteY545" fmla="*/ 3192690 h 4837661"/>
                <a:gd name="connsiteX546" fmla="*/ 9822516 w 10048557"/>
                <a:gd name="connsiteY546" fmla="*/ 3151515 h 4837661"/>
                <a:gd name="connsiteX547" fmla="*/ 9826633 w 10048557"/>
                <a:gd name="connsiteY547" fmla="*/ 3172115 h 4837661"/>
                <a:gd name="connsiteX548" fmla="*/ 9835502 w 10048557"/>
                <a:gd name="connsiteY548" fmla="*/ 3181679 h 4837661"/>
                <a:gd name="connsiteX549" fmla="*/ 9844624 w 10048557"/>
                <a:gd name="connsiteY549" fmla="*/ 3194272 h 4837661"/>
                <a:gd name="connsiteX550" fmla="*/ 9834232 w 10048557"/>
                <a:gd name="connsiteY550" fmla="*/ 3205638 h 4837661"/>
                <a:gd name="connsiteX551" fmla="*/ 9827364 w 10048557"/>
                <a:gd name="connsiteY551" fmla="*/ 3196578 h 4837661"/>
                <a:gd name="connsiteX552" fmla="*/ 9827364 w 10048557"/>
                <a:gd name="connsiteY552" fmla="*/ 3186477 h 4837661"/>
                <a:gd name="connsiteX553" fmla="*/ 9817509 w 10048557"/>
                <a:gd name="connsiteY553" fmla="*/ 3183731 h 4837661"/>
                <a:gd name="connsiteX554" fmla="*/ 9817175 w 10048557"/>
                <a:gd name="connsiteY554" fmla="*/ 3163415 h 4837661"/>
                <a:gd name="connsiteX555" fmla="*/ 8387891 w 10048557"/>
                <a:gd name="connsiteY555" fmla="*/ 3140669 h 4837661"/>
                <a:gd name="connsiteX556" fmla="*/ 8398505 w 10048557"/>
                <a:gd name="connsiteY556" fmla="*/ 3142532 h 4837661"/>
                <a:gd name="connsiteX557" fmla="*/ 8415462 w 10048557"/>
                <a:gd name="connsiteY557" fmla="*/ 3143879 h 4837661"/>
                <a:gd name="connsiteX558" fmla="*/ 8429264 w 10048557"/>
                <a:gd name="connsiteY558" fmla="*/ 3150303 h 4837661"/>
                <a:gd name="connsiteX559" fmla="*/ 8431975 w 10048557"/>
                <a:gd name="connsiteY559" fmla="*/ 3165709 h 4837661"/>
                <a:gd name="connsiteX560" fmla="*/ 8409641 w 10048557"/>
                <a:gd name="connsiteY560" fmla="*/ 3164699 h 4837661"/>
                <a:gd name="connsiteX561" fmla="*/ 8393533 w 10048557"/>
                <a:gd name="connsiteY561" fmla="*/ 3175683 h 4837661"/>
                <a:gd name="connsiteX562" fmla="*/ 8372055 w 10048557"/>
                <a:gd name="connsiteY562" fmla="*/ 3166259 h 4837661"/>
                <a:gd name="connsiteX563" fmla="*/ 8357758 w 10048557"/>
                <a:gd name="connsiteY563" fmla="*/ 3154472 h 4837661"/>
                <a:gd name="connsiteX564" fmla="*/ 8370004 w 10048557"/>
                <a:gd name="connsiteY564" fmla="*/ 3145717 h 4837661"/>
                <a:gd name="connsiteX565" fmla="*/ 8680035 w 10048557"/>
                <a:gd name="connsiteY565" fmla="*/ 3140171 h 4837661"/>
                <a:gd name="connsiteX566" fmla="*/ 8695643 w 10048557"/>
                <a:gd name="connsiteY566" fmla="*/ 3152911 h 4837661"/>
                <a:gd name="connsiteX567" fmla="*/ 8714887 w 10048557"/>
                <a:gd name="connsiteY567" fmla="*/ 3143481 h 4837661"/>
                <a:gd name="connsiteX568" fmla="*/ 8726076 w 10048557"/>
                <a:gd name="connsiteY568" fmla="*/ 3164651 h 4837661"/>
                <a:gd name="connsiteX569" fmla="*/ 8700014 w 10048557"/>
                <a:gd name="connsiteY569" fmla="*/ 3172394 h 4837661"/>
                <a:gd name="connsiteX570" fmla="*/ 8677043 w 10048557"/>
                <a:gd name="connsiteY570" fmla="*/ 3172394 h 4837661"/>
                <a:gd name="connsiteX571" fmla="*/ 8660809 w 10048557"/>
                <a:gd name="connsiteY571" fmla="*/ 3168395 h 4837661"/>
                <a:gd name="connsiteX572" fmla="*/ 8644539 w 10048557"/>
                <a:gd name="connsiteY572" fmla="*/ 3176143 h 4837661"/>
                <a:gd name="connsiteX573" fmla="*/ 8631997 w 10048557"/>
                <a:gd name="connsiteY573" fmla="*/ 3207035 h 4837661"/>
                <a:gd name="connsiteX574" fmla="*/ 8599388 w 10048557"/>
                <a:gd name="connsiteY574" fmla="*/ 3221132 h 4837661"/>
                <a:gd name="connsiteX575" fmla="*/ 8592551 w 10048557"/>
                <a:gd name="connsiteY575" fmla="*/ 3209393 h 4837661"/>
                <a:gd name="connsiteX576" fmla="*/ 8604513 w 10048557"/>
                <a:gd name="connsiteY576" fmla="*/ 3200720 h 4837661"/>
                <a:gd name="connsiteX577" fmla="*/ 8618353 w 10048557"/>
                <a:gd name="connsiteY577" fmla="*/ 3193984 h 4837661"/>
                <a:gd name="connsiteX578" fmla="*/ 8627335 w 10048557"/>
                <a:gd name="connsiteY578" fmla="*/ 3171847 h 4837661"/>
                <a:gd name="connsiteX579" fmla="*/ 8640311 w 10048557"/>
                <a:gd name="connsiteY579" fmla="*/ 3156360 h 4837661"/>
                <a:gd name="connsiteX580" fmla="*/ 8658250 w 10048557"/>
                <a:gd name="connsiteY580" fmla="*/ 3141895 h 4837661"/>
                <a:gd name="connsiteX581" fmla="*/ 9713092 w 10048557"/>
                <a:gd name="connsiteY581" fmla="*/ 3138950 h 4837661"/>
                <a:gd name="connsiteX582" fmla="*/ 9723261 w 10048557"/>
                <a:gd name="connsiteY582" fmla="*/ 3142295 h 4837661"/>
                <a:gd name="connsiteX583" fmla="*/ 9724140 w 10048557"/>
                <a:gd name="connsiteY583" fmla="*/ 3156750 h 4837661"/>
                <a:gd name="connsiteX584" fmla="*/ 9729191 w 10048557"/>
                <a:gd name="connsiteY584" fmla="*/ 3166063 h 4837661"/>
                <a:gd name="connsiteX585" fmla="*/ 9739333 w 10048557"/>
                <a:gd name="connsiteY585" fmla="*/ 3168842 h 4837661"/>
                <a:gd name="connsiteX586" fmla="*/ 9733515 w 10048557"/>
                <a:gd name="connsiteY586" fmla="*/ 3177899 h 4837661"/>
                <a:gd name="connsiteX587" fmla="*/ 9724109 w 10048557"/>
                <a:gd name="connsiteY587" fmla="*/ 3174868 h 4837661"/>
                <a:gd name="connsiteX588" fmla="*/ 9715524 w 10048557"/>
                <a:gd name="connsiteY588" fmla="*/ 3168337 h 4837661"/>
                <a:gd name="connsiteX589" fmla="*/ 9712472 w 10048557"/>
                <a:gd name="connsiteY589" fmla="*/ 3157002 h 4837661"/>
                <a:gd name="connsiteX590" fmla="*/ 9702045 w 10048557"/>
                <a:gd name="connsiteY590" fmla="*/ 3149176 h 4837661"/>
                <a:gd name="connsiteX591" fmla="*/ 8498988 w 10048557"/>
                <a:gd name="connsiteY591" fmla="*/ 3131801 h 4837661"/>
                <a:gd name="connsiteX592" fmla="*/ 8522043 w 10048557"/>
                <a:gd name="connsiteY592" fmla="*/ 3134832 h 4837661"/>
                <a:gd name="connsiteX593" fmla="*/ 8537289 w 10048557"/>
                <a:gd name="connsiteY593" fmla="*/ 3147607 h 4837661"/>
                <a:gd name="connsiteX594" fmla="*/ 8555895 w 10048557"/>
                <a:gd name="connsiteY594" fmla="*/ 3137844 h 4837661"/>
                <a:gd name="connsiteX595" fmla="*/ 8572808 w 10048557"/>
                <a:gd name="connsiteY595" fmla="*/ 3155689 h 4837661"/>
                <a:gd name="connsiteX596" fmla="*/ 8561660 w 10048557"/>
                <a:gd name="connsiteY596" fmla="*/ 3159647 h 4837661"/>
                <a:gd name="connsiteX597" fmla="*/ 8535891 w 10048557"/>
                <a:gd name="connsiteY597" fmla="*/ 3162341 h 4837661"/>
                <a:gd name="connsiteX598" fmla="*/ 8527758 w 10048557"/>
                <a:gd name="connsiteY598" fmla="*/ 3175133 h 4837661"/>
                <a:gd name="connsiteX599" fmla="*/ 8513218 w 10048557"/>
                <a:gd name="connsiteY599" fmla="*/ 3175133 h 4837661"/>
                <a:gd name="connsiteX600" fmla="*/ 8494876 w 10048557"/>
                <a:gd name="connsiteY600" fmla="*/ 3160067 h 4837661"/>
                <a:gd name="connsiteX601" fmla="*/ 8485557 w 10048557"/>
                <a:gd name="connsiteY601" fmla="*/ 3141209 h 4837661"/>
                <a:gd name="connsiteX602" fmla="*/ 9757145 w 10048557"/>
                <a:gd name="connsiteY602" fmla="*/ 3121400 h 4837661"/>
                <a:gd name="connsiteX603" fmla="*/ 9767628 w 10048557"/>
                <a:gd name="connsiteY603" fmla="*/ 3131784 h 4837661"/>
                <a:gd name="connsiteX604" fmla="*/ 9783812 w 10048557"/>
                <a:gd name="connsiteY604" fmla="*/ 3141102 h 4837661"/>
                <a:gd name="connsiteX605" fmla="*/ 9794237 w 10048557"/>
                <a:gd name="connsiteY605" fmla="*/ 3152181 h 4837661"/>
                <a:gd name="connsiteX606" fmla="*/ 9795001 w 10048557"/>
                <a:gd name="connsiteY606" fmla="*/ 3162787 h 4837661"/>
                <a:gd name="connsiteX607" fmla="*/ 9780317 w 10048557"/>
                <a:gd name="connsiteY607" fmla="*/ 3163514 h 4837661"/>
                <a:gd name="connsiteX608" fmla="*/ 9771448 w 10048557"/>
                <a:gd name="connsiteY608" fmla="*/ 3158967 h 4837661"/>
                <a:gd name="connsiteX609" fmla="*/ 9761784 w 10048557"/>
                <a:gd name="connsiteY609" fmla="*/ 3148616 h 4837661"/>
                <a:gd name="connsiteX610" fmla="*/ 9756000 w 10048557"/>
                <a:gd name="connsiteY610" fmla="*/ 3140313 h 4837661"/>
                <a:gd name="connsiteX611" fmla="*/ 9748316 w 10048557"/>
                <a:gd name="connsiteY611" fmla="*/ 3133334 h 4837661"/>
                <a:gd name="connsiteX612" fmla="*/ 9748262 w 10048557"/>
                <a:gd name="connsiteY612" fmla="*/ 3124498 h 4837661"/>
                <a:gd name="connsiteX613" fmla="*/ 9697900 w 10048557"/>
                <a:gd name="connsiteY613" fmla="*/ 3085671 h 4837661"/>
                <a:gd name="connsiteX614" fmla="*/ 9719450 w 10048557"/>
                <a:gd name="connsiteY614" fmla="*/ 3102210 h 4837661"/>
                <a:gd name="connsiteX615" fmla="*/ 9728543 w 10048557"/>
                <a:gd name="connsiteY615" fmla="*/ 3112817 h 4837661"/>
                <a:gd name="connsiteX616" fmla="*/ 9727304 w 10048557"/>
                <a:gd name="connsiteY616" fmla="*/ 3125161 h 4837661"/>
                <a:gd name="connsiteX617" fmla="*/ 9710043 w 10048557"/>
                <a:gd name="connsiteY617" fmla="*/ 3120141 h 4837661"/>
                <a:gd name="connsiteX618" fmla="*/ 9695579 w 10048557"/>
                <a:gd name="connsiteY618" fmla="*/ 3108021 h 4837661"/>
                <a:gd name="connsiteX619" fmla="*/ 9682942 w 10048557"/>
                <a:gd name="connsiteY619" fmla="*/ 3099182 h 4837661"/>
                <a:gd name="connsiteX620" fmla="*/ 8049112 w 10048557"/>
                <a:gd name="connsiteY620" fmla="*/ 3057565 h 4837661"/>
                <a:gd name="connsiteX621" fmla="*/ 8084408 w 10048557"/>
                <a:gd name="connsiteY621" fmla="*/ 3062788 h 4837661"/>
                <a:gd name="connsiteX622" fmla="*/ 8105531 w 10048557"/>
                <a:gd name="connsiteY622" fmla="*/ 3086041 h 4837661"/>
                <a:gd name="connsiteX623" fmla="*/ 8126883 w 10048557"/>
                <a:gd name="connsiteY623" fmla="*/ 3099169 h 4837661"/>
                <a:gd name="connsiteX624" fmla="*/ 8153206 w 10048557"/>
                <a:gd name="connsiteY624" fmla="*/ 3096140 h 4837661"/>
                <a:gd name="connsiteX625" fmla="*/ 8178286 w 10048557"/>
                <a:gd name="connsiteY625" fmla="*/ 3086378 h 4837661"/>
                <a:gd name="connsiteX626" fmla="*/ 8201602 w 10048557"/>
                <a:gd name="connsiteY626" fmla="*/ 3080652 h 4837661"/>
                <a:gd name="connsiteX627" fmla="*/ 8222878 w 10048557"/>
                <a:gd name="connsiteY627" fmla="*/ 3091723 h 4837661"/>
                <a:gd name="connsiteX628" fmla="*/ 8240166 w 10048557"/>
                <a:gd name="connsiteY628" fmla="*/ 3108178 h 4837661"/>
                <a:gd name="connsiteX629" fmla="*/ 8260169 w 10048557"/>
                <a:gd name="connsiteY629" fmla="*/ 3113186 h 4837661"/>
                <a:gd name="connsiteX630" fmla="*/ 8286614 w 10048557"/>
                <a:gd name="connsiteY630" fmla="*/ 3113186 h 4837661"/>
                <a:gd name="connsiteX631" fmla="*/ 8325270 w 10048557"/>
                <a:gd name="connsiteY631" fmla="*/ 3131366 h 4837661"/>
                <a:gd name="connsiteX632" fmla="*/ 8327341 w 10048557"/>
                <a:gd name="connsiteY632" fmla="*/ 3143072 h 4837661"/>
                <a:gd name="connsiteX633" fmla="*/ 8318229 w 10048557"/>
                <a:gd name="connsiteY633" fmla="*/ 3151109 h 4837661"/>
                <a:gd name="connsiteX634" fmla="*/ 8302337 w 10048557"/>
                <a:gd name="connsiteY634" fmla="*/ 3152120 h 4837661"/>
                <a:gd name="connsiteX635" fmla="*/ 8272165 w 10048557"/>
                <a:gd name="connsiteY635" fmla="*/ 3141343 h 4837661"/>
                <a:gd name="connsiteX636" fmla="*/ 8226437 w 10048557"/>
                <a:gd name="connsiteY636" fmla="*/ 3137302 h 4837661"/>
                <a:gd name="connsiteX637" fmla="*/ 8167871 w 10048557"/>
                <a:gd name="connsiteY637" fmla="*/ 3137302 h 4837661"/>
                <a:gd name="connsiteX638" fmla="*/ 8147868 w 10048557"/>
                <a:gd name="connsiteY638" fmla="*/ 3127540 h 4837661"/>
                <a:gd name="connsiteX639" fmla="*/ 8131255 w 10048557"/>
                <a:gd name="connsiteY639" fmla="*/ 3117104 h 4837661"/>
                <a:gd name="connsiteX640" fmla="*/ 8115026 w 10048557"/>
                <a:gd name="connsiteY640" fmla="*/ 3116137 h 4837661"/>
                <a:gd name="connsiteX641" fmla="*/ 8095054 w 10048557"/>
                <a:gd name="connsiteY641" fmla="*/ 3126231 h 4837661"/>
                <a:gd name="connsiteX642" fmla="*/ 8074759 w 10048557"/>
                <a:gd name="connsiteY642" fmla="*/ 3125899 h 4837661"/>
                <a:gd name="connsiteX643" fmla="*/ 8035260 w 10048557"/>
                <a:gd name="connsiteY643" fmla="*/ 3114872 h 4837661"/>
                <a:gd name="connsiteX644" fmla="*/ 8027237 w 10048557"/>
                <a:gd name="connsiteY644" fmla="*/ 3105780 h 4837661"/>
                <a:gd name="connsiteX645" fmla="*/ 8005056 w 10048557"/>
                <a:gd name="connsiteY645" fmla="*/ 3099717 h 4837661"/>
                <a:gd name="connsiteX646" fmla="*/ 7996006 w 10048557"/>
                <a:gd name="connsiteY646" fmla="*/ 3087937 h 4837661"/>
                <a:gd name="connsiteX647" fmla="*/ 8007403 w 10048557"/>
                <a:gd name="connsiteY647" fmla="*/ 3072151 h 4837661"/>
                <a:gd name="connsiteX648" fmla="*/ 8018939 w 10048557"/>
                <a:gd name="connsiteY648" fmla="*/ 3068115 h 4837661"/>
                <a:gd name="connsiteX649" fmla="*/ 9631549 w 10048557"/>
                <a:gd name="connsiteY649" fmla="*/ 3036176 h 4837661"/>
                <a:gd name="connsiteX650" fmla="*/ 9640606 w 10048557"/>
                <a:gd name="connsiteY650" fmla="*/ 3037438 h 4837661"/>
                <a:gd name="connsiteX651" fmla="*/ 9642588 w 10048557"/>
                <a:gd name="connsiteY651" fmla="*/ 3066495 h 4837661"/>
                <a:gd name="connsiteX652" fmla="*/ 9654279 w 10048557"/>
                <a:gd name="connsiteY652" fmla="*/ 3079344 h 4837661"/>
                <a:gd name="connsiteX653" fmla="*/ 9668109 w 10048557"/>
                <a:gd name="connsiteY653" fmla="*/ 3086444 h 4837661"/>
                <a:gd name="connsiteX654" fmla="*/ 9663025 w 10048557"/>
                <a:gd name="connsiteY654" fmla="*/ 3100583 h 4837661"/>
                <a:gd name="connsiteX655" fmla="*/ 9646505 w 10048557"/>
                <a:gd name="connsiteY655" fmla="*/ 3098087 h 4837661"/>
                <a:gd name="connsiteX656" fmla="*/ 9634556 w 10048557"/>
                <a:gd name="connsiteY656" fmla="*/ 3087484 h 4837661"/>
                <a:gd name="connsiteX657" fmla="*/ 9622388 w 10048557"/>
                <a:gd name="connsiteY657" fmla="*/ 3072426 h 4837661"/>
                <a:gd name="connsiteX658" fmla="*/ 9622369 w 10048557"/>
                <a:gd name="connsiteY658" fmla="*/ 3055791 h 4837661"/>
                <a:gd name="connsiteX659" fmla="*/ 6327817 w 10048557"/>
                <a:gd name="connsiteY659" fmla="*/ 3016168 h 4837661"/>
                <a:gd name="connsiteX660" fmla="*/ 6343707 w 10048557"/>
                <a:gd name="connsiteY660" fmla="*/ 3020258 h 4837661"/>
                <a:gd name="connsiteX661" fmla="*/ 6343707 w 10048557"/>
                <a:gd name="connsiteY661" fmla="*/ 3035158 h 4837661"/>
                <a:gd name="connsiteX662" fmla="*/ 6336872 w 10048557"/>
                <a:gd name="connsiteY662" fmla="*/ 3043489 h 4837661"/>
                <a:gd name="connsiteX663" fmla="*/ 6323141 w 10048557"/>
                <a:gd name="connsiteY663" fmla="*/ 3036705 h 4837661"/>
                <a:gd name="connsiteX664" fmla="*/ 6321235 w 10048557"/>
                <a:gd name="connsiteY664" fmla="*/ 3027973 h 4837661"/>
                <a:gd name="connsiteX665" fmla="*/ 9562442 w 10048557"/>
                <a:gd name="connsiteY665" fmla="*/ 2990152 h 4837661"/>
                <a:gd name="connsiteX666" fmla="*/ 9572583 w 10048557"/>
                <a:gd name="connsiteY666" fmla="*/ 3004244 h 4837661"/>
                <a:gd name="connsiteX667" fmla="*/ 9571819 w 10048557"/>
                <a:gd name="connsiteY667" fmla="*/ 3021417 h 4837661"/>
                <a:gd name="connsiteX668" fmla="*/ 9563681 w 10048557"/>
                <a:gd name="connsiteY668" fmla="*/ 3032999 h 4837661"/>
                <a:gd name="connsiteX669" fmla="*/ 9555292 w 10048557"/>
                <a:gd name="connsiteY669" fmla="*/ 3046637 h 4837661"/>
                <a:gd name="connsiteX670" fmla="*/ 9540828 w 10048557"/>
                <a:gd name="connsiteY670" fmla="*/ 3060969 h 4837661"/>
                <a:gd name="connsiteX671" fmla="*/ 9519530 w 10048557"/>
                <a:gd name="connsiteY671" fmla="*/ 3066966 h 4837661"/>
                <a:gd name="connsiteX672" fmla="*/ 9509682 w 10048557"/>
                <a:gd name="connsiteY672" fmla="*/ 3073753 h 4837661"/>
                <a:gd name="connsiteX673" fmla="*/ 9501320 w 10048557"/>
                <a:gd name="connsiteY673" fmla="*/ 3082813 h 4837661"/>
                <a:gd name="connsiteX674" fmla="*/ 9491718 w 10048557"/>
                <a:gd name="connsiteY674" fmla="*/ 3082088 h 4837661"/>
                <a:gd name="connsiteX675" fmla="*/ 9480786 w 10048557"/>
                <a:gd name="connsiteY675" fmla="*/ 3066430 h 4837661"/>
                <a:gd name="connsiteX676" fmla="*/ 9467118 w 10048557"/>
                <a:gd name="connsiteY676" fmla="*/ 3065671 h 4837661"/>
                <a:gd name="connsiteX677" fmla="*/ 9457169 w 10048557"/>
                <a:gd name="connsiteY677" fmla="*/ 3056645 h 4837661"/>
                <a:gd name="connsiteX678" fmla="*/ 9470046 w 10048557"/>
                <a:gd name="connsiteY678" fmla="*/ 3054371 h 4837661"/>
                <a:gd name="connsiteX679" fmla="*/ 9480989 w 10048557"/>
                <a:gd name="connsiteY679" fmla="*/ 3054371 h 4837661"/>
                <a:gd name="connsiteX680" fmla="*/ 9489918 w 10048557"/>
                <a:gd name="connsiteY680" fmla="*/ 3047585 h 4837661"/>
                <a:gd name="connsiteX681" fmla="*/ 9508085 w 10048557"/>
                <a:gd name="connsiteY681" fmla="*/ 3049859 h 4837661"/>
                <a:gd name="connsiteX682" fmla="*/ 9521512 w 10048557"/>
                <a:gd name="connsiteY682" fmla="*/ 3044586 h 4837661"/>
                <a:gd name="connsiteX683" fmla="*/ 9538792 w 10048557"/>
                <a:gd name="connsiteY683" fmla="*/ 3028456 h 4837661"/>
                <a:gd name="connsiteX684" fmla="*/ 9554598 w 10048557"/>
                <a:gd name="connsiteY684" fmla="*/ 3012108 h 4837661"/>
                <a:gd name="connsiteX685" fmla="*/ 9559391 w 10048557"/>
                <a:gd name="connsiteY685" fmla="*/ 2999410 h 4837661"/>
                <a:gd name="connsiteX686" fmla="*/ 8831392 w 10048557"/>
                <a:gd name="connsiteY686" fmla="*/ 2936915 h 4837661"/>
                <a:gd name="connsiteX687" fmla="*/ 8845271 w 10048557"/>
                <a:gd name="connsiteY687" fmla="*/ 2949932 h 4837661"/>
                <a:gd name="connsiteX688" fmla="*/ 8833064 w 10048557"/>
                <a:gd name="connsiteY688" fmla="*/ 2965418 h 4837661"/>
                <a:gd name="connsiteX689" fmla="*/ 8817850 w 10048557"/>
                <a:gd name="connsiteY689" fmla="*/ 2974467 h 4837661"/>
                <a:gd name="connsiteX690" fmla="*/ 8800643 w 10048557"/>
                <a:gd name="connsiteY690" fmla="*/ 2973499 h 4837661"/>
                <a:gd name="connsiteX691" fmla="*/ 8796237 w 10048557"/>
                <a:gd name="connsiteY691" fmla="*/ 2961754 h 4837661"/>
                <a:gd name="connsiteX692" fmla="*/ 8773902 w 10048557"/>
                <a:gd name="connsiteY692" fmla="*/ 2963775 h 4837661"/>
                <a:gd name="connsiteX693" fmla="*/ 8762710 w 10048557"/>
                <a:gd name="connsiteY693" fmla="*/ 2950605 h 4837661"/>
                <a:gd name="connsiteX694" fmla="*/ 8766655 w 10048557"/>
                <a:gd name="connsiteY694" fmla="*/ 2939552 h 4837661"/>
                <a:gd name="connsiteX695" fmla="*/ 8784538 w 10048557"/>
                <a:gd name="connsiteY695" fmla="*/ 2937531 h 4837661"/>
                <a:gd name="connsiteX696" fmla="*/ 8801319 w 10048557"/>
                <a:gd name="connsiteY696" fmla="*/ 2947577 h 4837661"/>
                <a:gd name="connsiteX697" fmla="*/ 8817512 w 10048557"/>
                <a:gd name="connsiteY697" fmla="*/ 2949932 h 4837661"/>
                <a:gd name="connsiteX698" fmla="*/ 8831392 w 10048557"/>
                <a:gd name="connsiteY698" fmla="*/ 2936915 h 4837661"/>
                <a:gd name="connsiteX699" fmla="*/ 9518652 w 10048557"/>
                <a:gd name="connsiteY699" fmla="*/ 2934081 h 4837661"/>
                <a:gd name="connsiteX700" fmla="*/ 9531433 w 10048557"/>
                <a:gd name="connsiteY700" fmla="*/ 2936917 h 4837661"/>
                <a:gd name="connsiteX701" fmla="*/ 9544879 w 10048557"/>
                <a:gd name="connsiteY701" fmla="*/ 2943927 h 4837661"/>
                <a:gd name="connsiteX702" fmla="*/ 9567700 w 10048557"/>
                <a:gd name="connsiteY702" fmla="*/ 2962581 h 4837661"/>
                <a:gd name="connsiteX703" fmla="*/ 9594305 w 10048557"/>
                <a:gd name="connsiteY703" fmla="*/ 2978491 h 4837661"/>
                <a:gd name="connsiteX704" fmla="*/ 9603427 w 10048557"/>
                <a:gd name="connsiteY704" fmla="*/ 3010278 h 4837661"/>
                <a:gd name="connsiteX705" fmla="*/ 9587661 w 10048557"/>
                <a:gd name="connsiteY705" fmla="*/ 3009520 h 4837661"/>
                <a:gd name="connsiteX706" fmla="*/ 9581560 w 10048557"/>
                <a:gd name="connsiteY706" fmla="*/ 2988149 h 4837661"/>
                <a:gd name="connsiteX707" fmla="*/ 9567321 w 10048557"/>
                <a:gd name="connsiteY707" fmla="*/ 2973503 h 4837661"/>
                <a:gd name="connsiteX708" fmla="*/ 9552828 w 10048557"/>
                <a:gd name="connsiteY708" fmla="*/ 2961382 h 4837661"/>
                <a:gd name="connsiteX709" fmla="*/ 9535285 w 10048557"/>
                <a:gd name="connsiteY709" fmla="*/ 2950019 h 4837661"/>
                <a:gd name="connsiteX710" fmla="*/ 9516396 w 10048557"/>
                <a:gd name="connsiteY710" fmla="*/ 2942826 h 4837661"/>
                <a:gd name="connsiteX711" fmla="*/ 8927585 w 10048557"/>
                <a:gd name="connsiteY711" fmla="*/ 2858207 h 4837661"/>
                <a:gd name="connsiteX712" fmla="*/ 8947927 w 10048557"/>
                <a:gd name="connsiteY712" fmla="*/ 2858423 h 4837661"/>
                <a:gd name="connsiteX713" fmla="*/ 8951703 w 10048557"/>
                <a:gd name="connsiteY713" fmla="*/ 2878561 h 4837661"/>
                <a:gd name="connsiteX714" fmla="*/ 8962118 w 10048557"/>
                <a:gd name="connsiteY714" fmla="*/ 2893696 h 4837661"/>
                <a:gd name="connsiteX715" fmla="*/ 8967965 w 10048557"/>
                <a:gd name="connsiteY715" fmla="*/ 2902712 h 4837661"/>
                <a:gd name="connsiteX716" fmla="*/ 8963397 w 10048557"/>
                <a:gd name="connsiteY716" fmla="*/ 2921374 h 4837661"/>
                <a:gd name="connsiteX717" fmla="*/ 8964189 w 10048557"/>
                <a:gd name="connsiteY717" fmla="*/ 2932730 h 4837661"/>
                <a:gd name="connsiteX718" fmla="*/ 8978623 w 10048557"/>
                <a:gd name="connsiteY718" fmla="*/ 2947091 h 4837661"/>
                <a:gd name="connsiteX719" fmla="*/ 8990043 w 10048557"/>
                <a:gd name="connsiteY719" fmla="*/ 2959473 h 4837661"/>
                <a:gd name="connsiteX720" fmla="*/ 9004021 w 10048557"/>
                <a:gd name="connsiteY720" fmla="*/ 2972340 h 4837661"/>
                <a:gd name="connsiteX721" fmla="*/ 9012639 w 10048557"/>
                <a:gd name="connsiteY721" fmla="*/ 2962496 h 4837661"/>
                <a:gd name="connsiteX722" fmla="*/ 9020983 w 10048557"/>
                <a:gd name="connsiteY722" fmla="*/ 2943078 h 4837661"/>
                <a:gd name="connsiteX723" fmla="*/ 9032189 w 10048557"/>
                <a:gd name="connsiteY723" fmla="*/ 2938795 h 4837661"/>
                <a:gd name="connsiteX724" fmla="*/ 9052532 w 10048557"/>
                <a:gd name="connsiteY724" fmla="*/ 2928951 h 4837661"/>
                <a:gd name="connsiteX725" fmla="*/ 9069250 w 10048557"/>
                <a:gd name="connsiteY725" fmla="*/ 2919125 h 4837661"/>
                <a:gd name="connsiteX726" fmla="*/ 9081431 w 10048557"/>
                <a:gd name="connsiteY726" fmla="*/ 2909281 h 4837661"/>
                <a:gd name="connsiteX727" fmla="*/ 9092881 w 10048557"/>
                <a:gd name="connsiteY727" fmla="*/ 2896395 h 4837661"/>
                <a:gd name="connsiteX728" fmla="*/ 9113985 w 10048557"/>
                <a:gd name="connsiteY728" fmla="*/ 2896395 h 4837661"/>
                <a:gd name="connsiteX729" fmla="*/ 9120836 w 10048557"/>
                <a:gd name="connsiteY729" fmla="*/ 2903972 h 4837661"/>
                <a:gd name="connsiteX730" fmla="*/ 9131525 w 10048557"/>
                <a:gd name="connsiteY730" fmla="*/ 2916102 h 4837661"/>
                <a:gd name="connsiteX731" fmla="*/ 9151106 w 10048557"/>
                <a:gd name="connsiteY731" fmla="*/ 2924938 h 4837661"/>
                <a:gd name="connsiteX732" fmla="*/ 9171235 w 10048557"/>
                <a:gd name="connsiteY732" fmla="*/ 2929347 h 4837661"/>
                <a:gd name="connsiteX733" fmla="*/ 9191029 w 10048557"/>
                <a:gd name="connsiteY733" fmla="*/ 2940685 h 4837661"/>
                <a:gd name="connsiteX734" fmla="*/ 9223065 w 10048557"/>
                <a:gd name="connsiteY734" fmla="*/ 2948261 h 4837661"/>
                <a:gd name="connsiteX735" fmla="*/ 9244412 w 10048557"/>
                <a:gd name="connsiteY735" fmla="*/ 2958609 h 4837661"/>
                <a:gd name="connsiteX736" fmla="*/ 9286863 w 10048557"/>
                <a:gd name="connsiteY736" fmla="*/ 2970487 h 4837661"/>
                <a:gd name="connsiteX737" fmla="*/ 9314331 w 10048557"/>
                <a:gd name="connsiteY737" fmla="*/ 2991165 h 4837661"/>
                <a:gd name="connsiteX738" fmla="*/ 9346611 w 10048557"/>
                <a:gd name="connsiteY738" fmla="*/ 3015658 h 4837661"/>
                <a:gd name="connsiteX739" fmla="*/ 9375602 w 10048557"/>
                <a:gd name="connsiteY739" fmla="*/ 3028525 h 4837661"/>
                <a:gd name="connsiteX740" fmla="*/ 9394665 w 10048557"/>
                <a:gd name="connsiteY740" fmla="*/ 3036569 h 4837661"/>
                <a:gd name="connsiteX741" fmla="*/ 9409922 w 10048557"/>
                <a:gd name="connsiteY741" fmla="*/ 3062016 h 4837661"/>
                <a:gd name="connsiteX742" fmla="*/ 9417565 w 10048557"/>
                <a:gd name="connsiteY742" fmla="*/ 3080445 h 4837661"/>
                <a:gd name="connsiteX743" fmla="*/ 9400299 w 10048557"/>
                <a:gd name="connsiteY743" fmla="*/ 3088543 h 4837661"/>
                <a:gd name="connsiteX744" fmla="*/ 9394513 w 10048557"/>
                <a:gd name="connsiteY744" fmla="*/ 3100871 h 4837661"/>
                <a:gd name="connsiteX745" fmla="*/ 9402400 w 10048557"/>
                <a:gd name="connsiteY745" fmla="*/ 3117031 h 4837661"/>
                <a:gd name="connsiteX746" fmla="*/ 9424265 w 10048557"/>
                <a:gd name="connsiteY746" fmla="*/ 3129413 h 4837661"/>
                <a:gd name="connsiteX747" fmla="*/ 9424995 w 10048557"/>
                <a:gd name="connsiteY747" fmla="*/ 3145826 h 4837661"/>
                <a:gd name="connsiteX748" fmla="*/ 9424995 w 10048557"/>
                <a:gd name="connsiteY748" fmla="*/ 3162940 h 4837661"/>
                <a:gd name="connsiteX749" fmla="*/ 9436659 w 10048557"/>
                <a:gd name="connsiteY749" fmla="*/ 3176761 h 4837661"/>
                <a:gd name="connsiteX750" fmla="*/ 9459529 w 10048557"/>
                <a:gd name="connsiteY750" fmla="*/ 3186569 h 4837661"/>
                <a:gd name="connsiteX751" fmla="*/ 9479110 w 10048557"/>
                <a:gd name="connsiteY751" fmla="*/ 3188855 h 4837661"/>
                <a:gd name="connsiteX752" fmla="*/ 9495036 w 10048557"/>
                <a:gd name="connsiteY752" fmla="*/ 3203900 h 4837661"/>
                <a:gd name="connsiteX753" fmla="*/ 9514099 w 10048557"/>
                <a:gd name="connsiteY753" fmla="*/ 3219053 h 4837661"/>
                <a:gd name="connsiteX754" fmla="*/ 9523966 w 10048557"/>
                <a:gd name="connsiteY754" fmla="*/ 3237103 h 4837661"/>
                <a:gd name="connsiteX755" fmla="*/ 9520921 w 10048557"/>
                <a:gd name="connsiteY755" fmla="*/ 3246929 h 4837661"/>
                <a:gd name="connsiteX756" fmla="*/ 9494214 w 10048557"/>
                <a:gd name="connsiteY756" fmla="*/ 3236599 h 4837661"/>
                <a:gd name="connsiteX757" fmla="*/ 9479231 w 10048557"/>
                <a:gd name="connsiteY757" fmla="*/ 3230822 h 4837661"/>
                <a:gd name="connsiteX758" fmla="*/ 9446982 w 10048557"/>
                <a:gd name="connsiteY758" fmla="*/ 3230067 h 4837661"/>
                <a:gd name="connsiteX759" fmla="*/ 9419514 w 10048557"/>
                <a:gd name="connsiteY759" fmla="*/ 3220978 h 4837661"/>
                <a:gd name="connsiteX760" fmla="*/ 9406054 w 10048557"/>
                <a:gd name="connsiteY760" fmla="*/ 3208867 h 4837661"/>
                <a:gd name="connsiteX761" fmla="*/ 9398441 w 10048557"/>
                <a:gd name="connsiteY761" fmla="*/ 3199545 h 4837661"/>
                <a:gd name="connsiteX762" fmla="*/ 9390828 w 10048557"/>
                <a:gd name="connsiteY762" fmla="*/ 3177571 h 4837661"/>
                <a:gd name="connsiteX763" fmla="*/ 9380139 w 10048557"/>
                <a:gd name="connsiteY763" fmla="*/ 3158891 h 4837661"/>
                <a:gd name="connsiteX764" fmla="*/ 9365674 w 10048557"/>
                <a:gd name="connsiteY764" fmla="*/ 3145268 h 4837661"/>
                <a:gd name="connsiteX765" fmla="*/ 9338967 w 10048557"/>
                <a:gd name="connsiteY765" fmla="*/ 3127325 h 4837661"/>
                <a:gd name="connsiteX766" fmla="*/ 9319204 w 10048557"/>
                <a:gd name="connsiteY766" fmla="*/ 3115268 h 4837661"/>
                <a:gd name="connsiteX767" fmla="*/ 9299897 w 10048557"/>
                <a:gd name="connsiteY767" fmla="*/ 3115268 h 4837661"/>
                <a:gd name="connsiteX768" fmla="*/ 9283361 w 10048557"/>
                <a:gd name="connsiteY768" fmla="*/ 3136953 h 4837661"/>
                <a:gd name="connsiteX769" fmla="*/ 9278793 w 10048557"/>
                <a:gd name="connsiteY769" fmla="*/ 3146023 h 4837661"/>
                <a:gd name="connsiteX770" fmla="*/ 9265821 w 10048557"/>
                <a:gd name="connsiteY770" fmla="*/ 3163156 h 4837661"/>
                <a:gd name="connsiteX771" fmla="*/ 9243743 w 10048557"/>
                <a:gd name="connsiteY771" fmla="*/ 3178273 h 4837661"/>
                <a:gd name="connsiteX772" fmla="*/ 9212742 w 10048557"/>
                <a:gd name="connsiteY772" fmla="*/ 3167673 h 4837661"/>
                <a:gd name="connsiteX773" fmla="*/ 9199008 w 10048557"/>
                <a:gd name="connsiteY773" fmla="*/ 3165406 h 4837661"/>
                <a:gd name="connsiteX774" fmla="*/ 9183782 w 10048557"/>
                <a:gd name="connsiteY774" fmla="*/ 3166161 h 4837661"/>
                <a:gd name="connsiteX775" fmla="*/ 9175407 w 10048557"/>
                <a:gd name="connsiteY775" fmla="*/ 3154068 h 4837661"/>
                <a:gd name="connsiteX776" fmla="*/ 9159146 w 10048557"/>
                <a:gd name="connsiteY776" fmla="*/ 3141686 h 4837661"/>
                <a:gd name="connsiteX777" fmla="*/ 9145412 w 10048557"/>
                <a:gd name="connsiteY777" fmla="*/ 3135640 h 4837661"/>
                <a:gd name="connsiteX778" fmla="*/ 9121202 w 10048557"/>
                <a:gd name="connsiteY778" fmla="*/ 3137151 h 4837661"/>
                <a:gd name="connsiteX779" fmla="*/ 9103204 w 10048557"/>
                <a:gd name="connsiteY779" fmla="*/ 3139383 h 4837661"/>
                <a:gd name="connsiteX780" fmla="*/ 9097906 w 10048557"/>
                <a:gd name="connsiteY780" fmla="*/ 3130547 h 4837661"/>
                <a:gd name="connsiteX781" fmla="*/ 9081918 w 10048557"/>
                <a:gd name="connsiteY781" fmla="*/ 3131302 h 4837661"/>
                <a:gd name="connsiteX782" fmla="*/ 9087978 w 10048557"/>
                <a:gd name="connsiteY782" fmla="*/ 3118489 h 4837661"/>
                <a:gd name="connsiteX783" fmla="*/ 9100190 w 10048557"/>
                <a:gd name="connsiteY783" fmla="*/ 3115466 h 4837661"/>
                <a:gd name="connsiteX784" fmla="*/ 9111853 w 10048557"/>
                <a:gd name="connsiteY784" fmla="*/ 3106431 h 4837661"/>
                <a:gd name="connsiteX785" fmla="*/ 9122755 w 10048557"/>
                <a:gd name="connsiteY785" fmla="*/ 3096839 h 4837661"/>
                <a:gd name="connsiteX786" fmla="*/ 9122724 w 10048557"/>
                <a:gd name="connsiteY786" fmla="*/ 3075982 h 4837661"/>
                <a:gd name="connsiteX787" fmla="*/ 9109752 w 10048557"/>
                <a:gd name="connsiteY787" fmla="*/ 3052496 h 4837661"/>
                <a:gd name="connsiteX788" fmla="*/ 9099824 w 10048557"/>
                <a:gd name="connsiteY788" fmla="*/ 3037361 h 4837661"/>
                <a:gd name="connsiteX789" fmla="*/ 9079756 w 10048557"/>
                <a:gd name="connsiteY789" fmla="*/ 3021974 h 4837661"/>
                <a:gd name="connsiteX790" fmla="*/ 9041599 w 10048557"/>
                <a:gd name="connsiteY790" fmla="*/ 3013642 h 4837661"/>
                <a:gd name="connsiteX791" fmla="*/ 9032463 w 10048557"/>
                <a:gd name="connsiteY791" fmla="*/ 3002052 h 4837661"/>
                <a:gd name="connsiteX792" fmla="*/ 9018212 w 10048557"/>
                <a:gd name="connsiteY792" fmla="*/ 2995484 h 4837661"/>
                <a:gd name="connsiteX793" fmla="*/ 8994672 w 10048557"/>
                <a:gd name="connsiteY793" fmla="*/ 2981914 h 4837661"/>
                <a:gd name="connsiteX794" fmla="*/ 8972807 w 10048557"/>
                <a:gd name="connsiteY794" fmla="*/ 2971566 h 4837661"/>
                <a:gd name="connsiteX795" fmla="*/ 8949937 w 10048557"/>
                <a:gd name="connsiteY795" fmla="*/ 2971566 h 4837661"/>
                <a:gd name="connsiteX796" fmla="*/ 8932671 w 10048557"/>
                <a:gd name="connsiteY796" fmla="*/ 2973834 h 4837661"/>
                <a:gd name="connsiteX797" fmla="*/ 8917170 w 10048557"/>
                <a:gd name="connsiteY797" fmla="*/ 2962442 h 4837661"/>
                <a:gd name="connsiteX798" fmla="*/ 8917170 w 10048557"/>
                <a:gd name="connsiteY798" fmla="*/ 2948081 h 4837661"/>
                <a:gd name="connsiteX799" fmla="*/ 8933188 w 10048557"/>
                <a:gd name="connsiteY799" fmla="*/ 2937751 h 4837661"/>
                <a:gd name="connsiteX800" fmla="*/ 8939279 w 10048557"/>
                <a:gd name="connsiteY800" fmla="*/ 2924146 h 4837661"/>
                <a:gd name="connsiteX801" fmla="*/ 8930904 w 10048557"/>
                <a:gd name="connsiteY801" fmla="*/ 2914356 h 4837661"/>
                <a:gd name="connsiteX802" fmla="*/ 8912603 w 10048557"/>
                <a:gd name="connsiteY802" fmla="*/ 2905268 h 4837661"/>
                <a:gd name="connsiteX803" fmla="*/ 8883429 w 10048557"/>
                <a:gd name="connsiteY803" fmla="*/ 2896683 h 4837661"/>
                <a:gd name="connsiteX804" fmla="*/ 8866193 w 10048557"/>
                <a:gd name="connsiteY804" fmla="*/ 2887343 h 4837661"/>
                <a:gd name="connsiteX805" fmla="*/ 8867837 w 10048557"/>
                <a:gd name="connsiteY805" fmla="*/ 2876509 h 4837661"/>
                <a:gd name="connsiteX806" fmla="*/ 8876516 w 10048557"/>
                <a:gd name="connsiteY806" fmla="*/ 2877445 h 4837661"/>
                <a:gd name="connsiteX807" fmla="*/ 8897864 w 10048557"/>
                <a:gd name="connsiteY807" fmla="*/ 2874458 h 4837661"/>
                <a:gd name="connsiteX808" fmla="*/ 8904746 w 10048557"/>
                <a:gd name="connsiteY808" fmla="*/ 2858423 h 4837661"/>
                <a:gd name="connsiteX809" fmla="*/ 4676177 w 10048557"/>
                <a:gd name="connsiteY809" fmla="*/ 2795669 h 4837661"/>
                <a:gd name="connsiteX810" fmla="*/ 4675181 w 10048557"/>
                <a:gd name="connsiteY810" fmla="*/ 2806410 h 4837661"/>
                <a:gd name="connsiteX811" fmla="*/ 4663036 w 10048557"/>
                <a:gd name="connsiteY811" fmla="*/ 2817015 h 4837661"/>
                <a:gd name="connsiteX812" fmla="*/ 4652932 w 10048557"/>
                <a:gd name="connsiteY812" fmla="*/ 2807199 h 4837661"/>
                <a:gd name="connsiteX813" fmla="*/ 4658124 w 10048557"/>
                <a:gd name="connsiteY813" fmla="*/ 2799742 h 4837661"/>
                <a:gd name="connsiteX814" fmla="*/ 8644783 w 10048557"/>
                <a:gd name="connsiteY814" fmla="*/ 2779496 h 4837661"/>
                <a:gd name="connsiteX815" fmla="*/ 8668303 w 10048557"/>
                <a:gd name="connsiteY815" fmla="*/ 2779619 h 4837661"/>
                <a:gd name="connsiteX816" fmla="*/ 8666604 w 10048557"/>
                <a:gd name="connsiteY816" fmla="*/ 2797993 h 4837661"/>
                <a:gd name="connsiteX817" fmla="*/ 8652705 w 10048557"/>
                <a:gd name="connsiteY817" fmla="*/ 2815792 h 4837661"/>
                <a:gd name="connsiteX818" fmla="*/ 8642541 w 10048557"/>
                <a:gd name="connsiteY818" fmla="*/ 2829894 h 4837661"/>
                <a:gd name="connsiteX819" fmla="*/ 8620198 w 10048557"/>
                <a:gd name="connsiteY819" fmla="*/ 2836969 h 4837661"/>
                <a:gd name="connsiteX820" fmla="*/ 8601211 w 10048557"/>
                <a:gd name="connsiteY820" fmla="*/ 2834276 h 4837661"/>
                <a:gd name="connsiteX821" fmla="*/ 8589349 w 10048557"/>
                <a:gd name="connsiteY821" fmla="*/ 2825854 h 4837661"/>
                <a:gd name="connsiteX822" fmla="*/ 8576125 w 10048557"/>
                <a:gd name="connsiteY822" fmla="*/ 2820468 h 4837661"/>
                <a:gd name="connsiteX823" fmla="*/ 8562226 w 10048557"/>
                <a:gd name="connsiteY823" fmla="*/ 2818778 h 4837661"/>
                <a:gd name="connsiteX824" fmla="*/ 8533076 w 10048557"/>
                <a:gd name="connsiteY824" fmla="*/ 2818105 h 4837661"/>
                <a:gd name="connsiteX825" fmla="*/ 8509719 w 10048557"/>
                <a:gd name="connsiteY825" fmla="*/ 2825854 h 4837661"/>
                <a:gd name="connsiteX826" fmla="*/ 8500610 w 10048557"/>
                <a:gd name="connsiteY826" fmla="*/ 2843910 h 4837661"/>
                <a:gd name="connsiteX827" fmla="*/ 8500610 w 10048557"/>
                <a:gd name="connsiteY827" fmla="*/ 2865124 h 4837661"/>
                <a:gd name="connsiteX828" fmla="*/ 8519555 w 10048557"/>
                <a:gd name="connsiteY828" fmla="*/ 2884943 h 4837661"/>
                <a:gd name="connsiteX829" fmla="*/ 8533710 w 10048557"/>
                <a:gd name="connsiteY829" fmla="*/ 2891002 h 4837661"/>
                <a:gd name="connsiteX830" fmla="*/ 8570874 w 10048557"/>
                <a:gd name="connsiteY830" fmla="*/ 2876239 h 4837661"/>
                <a:gd name="connsiteX831" fmla="*/ 8598253 w 10048557"/>
                <a:gd name="connsiteY831" fmla="*/ 2872187 h 4837661"/>
                <a:gd name="connsiteX832" fmla="*/ 8604354 w 10048557"/>
                <a:gd name="connsiteY832" fmla="*/ 2885995 h 4837661"/>
                <a:gd name="connsiteX833" fmla="*/ 8592573 w 10048557"/>
                <a:gd name="connsiteY833" fmla="*/ 2891002 h 4837661"/>
                <a:gd name="connsiteX834" fmla="*/ 8575286 w 10048557"/>
                <a:gd name="connsiteY834" fmla="*/ 2901101 h 4837661"/>
                <a:gd name="connsiteX835" fmla="*/ 8562062 w 10048557"/>
                <a:gd name="connsiteY835" fmla="*/ 2914236 h 4837661"/>
                <a:gd name="connsiteX836" fmla="*/ 8561038 w 10048557"/>
                <a:gd name="connsiteY836" fmla="*/ 2941461 h 4837661"/>
                <a:gd name="connsiteX837" fmla="*/ 8572184 w 10048557"/>
                <a:gd name="connsiteY837" fmla="*/ 2957583 h 4837661"/>
                <a:gd name="connsiteX838" fmla="*/ 8578633 w 10048557"/>
                <a:gd name="connsiteY838" fmla="*/ 2975724 h 4837661"/>
                <a:gd name="connsiteX839" fmla="*/ 8578633 w 10048557"/>
                <a:gd name="connsiteY839" fmla="*/ 2999583 h 4837661"/>
                <a:gd name="connsiteX840" fmla="*/ 8569820 w 10048557"/>
                <a:gd name="connsiteY840" fmla="*/ 3006658 h 4837661"/>
                <a:gd name="connsiteX841" fmla="*/ 8551550 w 10048557"/>
                <a:gd name="connsiteY841" fmla="*/ 2996559 h 4837661"/>
                <a:gd name="connsiteX842" fmla="*/ 8537313 w 10048557"/>
                <a:gd name="connsiteY842" fmla="*/ 2983130 h 4837661"/>
                <a:gd name="connsiteX843" fmla="*/ 8537313 w 10048557"/>
                <a:gd name="connsiteY843" fmla="*/ 2957925 h 4837661"/>
                <a:gd name="connsiteX844" fmla="*/ 8529514 w 10048557"/>
                <a:gd name="connsiteY844" fmla="*/ 2942428 h 4837661"/>
                <a:gd name="connsiteX845" fmla="*/ 8516751 w 10048557"/>
                <a:gd name="connsiteY845" fmla="*/ 2946431 h 4837661"/>
                <a:gd name="connsiteX846" fmla="*/ 8495738 w 10048557"/>
                <a:gd name="connsiteY846" fmla="*/ 2960239 h 4837661"/>
                <a:gd name="connsiteX847" fmla="*/ 8487601 w 10048557"/>
                <a:gd name="connsiteY847" fmla="*/ 2977328 h 4837661"/>
                <a:gd name="connsiteX848" fmla="*/ 8491664 w 10048557"/>
                <a:gd name="connsiteY848" fmla="*/ 2995469 h 4837661"/>
                <a:gd name="connsiteX849" fmla="*/ 8500825 w 10048557"/>
                <a:gd name="connsiteY849" fmla="*/ 3021054 h 4837661"/>
                <a:gd name="connsiteX850" fmla="*/ 8492688 w 10048557"/>
                <a:gd name="connsiteY850" fmla="*/ 3040872 h 4837661"/>
                <a:gd name="connsiteX851" fmla="*/ 8471665 w 10048557"/>
                <a:gd name="connsiteY851" fmla="*/ 3043908 h 4837661"/>
                <a:gd name="connsiteX852" fmla="*/ 8463528 w 10048557"/>
                <a:gd name="connsiteY852" fmla="*/ 3029096 h 4837661"/>
                <a:gd name="connsiteX853" fmla="*/ 8470651 w 10048557"/>
                <a:gd name="connsiteY853" fmla="*/ 3008886 h 4837661"/>
                <a:gd name="connsiteX854" fmla="*/ 8466578 w 10048557"/>
                <a:gd name="connsiteY854" fmla="*/ 2991760 h 4837661"/>
                <a:gd name="connsiteX855" fmla="*/ 8457438 w 10048557"/>
                <a:gd name="connsiteY855" fmla="*/ 2980694 h 4837661"/>
                <a:gd name="connsiteX856" fmla="*/ 8447223 w 10048557"/>
                <a:gd name="connsiteY856" fmla="*/ 2953763 h 4837661"/>
                <a:gd name="connsiteX857" fmla="*/ 8460191 w 10048557"/>
                <a:gd name="connsiteY857" fmla="*/ 2931533 h 4837661"/>
                <a:gd name="connsiteX858" fmla="*/ 8479484 w 10048557"/>
                <a:gd name="connsiteY858" fmla="*/ 2910711 h 4837661"/>
                <a:gd name="connsiteX859" fmla="*/ 8482534 w 10048557"/>
                <a:gd name="connsiteY859" fmla="*/ 2897233 h 4837661"/>
                <a:gd name="connsiteX860" fmla="*/ 8480508 w 10048557"/>
                <a:gd name="connsiteY860" fmla="*/ 2881074 h 4837661"/>
                <a:gd name="connsiteX861" fmla="*/ 8480477 w 10048557"/>
                <a:gd name="connsiteY861" fmla="*/ 2853801 h 4837661"/>
                <a:gd name="connsiteX862" fmla="*/ 8481286 w 10048557"/>
                <a:gd name="connsiteY862" fmla="*/ 2829233 h 4837661"/>
                <a:gd name="connsiteX863" fmla="*/ 8487243 w 10048557"/>
                <a:gd name="connsiteY863" fmla="*/ 2814115 h 4837661"/>
                <a:gd name="connsiteX864" fmla="*/ 8519668 w 10048557"/>
                <a:gd name="connsiteY864" fmla="*/ 2801996 h 4837661"/>
                <a:gd name="connsiteX865" fmla="*/ 8544693 w 10048557"/>
                <a:gd name="connsiteY865" fmla="*/ 2799976 h 4837661"/>
                <a:gd name="connsiteX866" fmla="*/ 8559810 w 10048557"/>
                <a:gd name="connsiteY866" fmla="*/ 2801322 h 4837661"/>
                <a:gd name="connsiteX867" fmla="*/ 8592798 w 10048557"/>
                <a:gd name="connsiteY867" fmla="*/ 2802338 h 4837661"/>
                <a:gd name="connsiteX868" fmla="*/ 8606769 w 10048557"/>
                <a:gd name="connsiteY868" fmla="*/ 2812058 h 4837661"/>
                <a:gd name="connsiteX869" fmla="*/ 8620075 w 10048557"/>
                <a:gd name="connsiteY869" fmla="*/ 2810038 h 4837661"/>
                <a:gd name="connsiteX870" fmla="*/ 8636646 w 10048557"/>
                <a:gd name="connsiteY870" fmla="*/ 2797956 h 4837661"/>
                <a:gd name="connsiteX871" fmla="*/ 4704828 w 10048557"/>
                <a:gd name="connsiteY871" fmla="*/ 2759984 h 4837661"/>
                <a:gd name="connsiteX872" fmla="*/ 4712672 w 10048557"/>
                <a:gd name="connsiteY872" fmla="*/ 2761324 h 4837661"/>
                <a:gd name="connsiteX873" fmla="*/ 4715726 w 10048557"/>
                <a:gd name="connsiteY873" fmla="*/ 2769125 h 4837661"/>
                <a:gd name="connsiteX874" fmla="*/ 4704960 w 10048557"/>
                <a:gd name="connsiteY874" fmla="*/ 2776344 h 4837661"/>
                <a:gd name="connsiteX875" fmla="*/ 4699366 w 10048557"/>
                <a:gd name="connsiteY875" fmla="*/ 2766811 h 4837661"/>
                <a:gd name="connsiteX876" fmla="*/ 8777376 w 10048557"/>
                <a:gd name="connsiteY876" fmla="*/ 2746496 h 4837661"/>
                <a:gd name="connsiteX877" fmla="*/ 8785624 w 10048557"/>
                <a:gd name="connsiteY877" fmla="*/ 2758288 h 4837661"/>
                <a:gd name="connsiteX878" fmla="*/ 8769774 w 10048557"/>
                <a:gd name="connsiteY878" fmla="*/ 2766284 h 4837661"/>
                <a:gd name="connsiteX879" fmla="*/ 8766724 w 10048557"/>
                <a:gd name="connsiteY879" fmla="*/ 2776722 h 4837661"/>
                <a:gd name="connsiteX880" fmla="*/ 8771767 w 10048557"/>
                <a:gd name="connsiteY880" fmla="*/ 2791791 h 4837661"/>
                <a:gd name="connsiteX881" fmla="*/ 8778504 w 10048557"/>
                <a:gd name="connsiteY881" fmla="*/ 2808961 h 4837661"/>
                <a:gd name="connsiteX882" fmla="*/ 8778504 w 10048557"/>
                <a:gd name="connsiteY882" fmla="*/ 2827101 h 4837661"/>
                <a:gd name="connsiteX883" fmla="*/ 8776469 w 10048557"/>
                <a:gd name="connsiteY883" fmla="*/ 2845241 h 4837661"/>
                <a:gd name="connsiteX884" fmla="*/ 8762272 w 10048557"/>
                <a:gd name="connsiteY884" fmla="*/ 2850291 h 4837661"/>
                <a:gd name="connsiteX885" fmla="*/ 8744623 w 10048557"/>
                <a:gd name="connsiteY885" fmla="*/ 2837874 h 4837661"/>
                <a:gd name="connsiteX886" fmla="*/ 8745350 w 10048557"/>
                <a:gd name="connsiteY886" fmla="*/ 2822766 h 4837661"/>
                <a:gd name="connsiteX887" fmla="*/ 8751409 w 10048557"/>
                <a:gd name="connsiteY887" fmla="*/ 2814011 h 4837661"/>
                <a:gd name="connsiteX888" fmla="*/ 8756494 w 10048557"/>
                <a:gd name="connsiteY888" fmla="*/ 2804626 h 4837661"/>
                <a:gd name="connsiteX889" fmla="*/ 8752360 w 10048557"/>
                <a:gd name="connsiteY889" fmla="*/ 2791830 h 4837661"/>
                <a:gd name="connsiteX890" fmla="*/ 8747313 w 10048557"/>
                <a:gd name="connsiteY890" fmla="*/ 2774660 h 4837661"/>
                <a:gd name="connsiteX891" fmla="*/ 8756175 w 10048557"/>
                <a:gd name="connsiteY891" fmla="*/ 2763632 h 4837661"/>
                <a:gd name="connsiteX892" fmla="*/ 8763138 w 10048557"/>
                <a:gd name="connsiteY892" fmla="*/ 2751210 h 4837661"/>
                <a:gd name="connsiteX893" fmla="*/ 4736710 w 10048557"/>
                <a:gd name="connsiteY893" fmla="*/ 2702170 h 4837661"/>
                <a:gd name="connsiteX894" fmla="*/ 4746824 w 10048557"/>
                <a:gd name="connsiteY894" fmla="*/ 2705512 h 4837661"/>
                <a:gd name="connsiteX895" fmla="*/ 4740977 w 10048557"/>
                <a:gd name="connsiteY895" fmla="*/ 2718530 h 4837661"/>
                <a:gd name="connsiteX896" fmla="*/ 4728058 w 10048557"/>
                <a:gd name="connsiteY896" fmla="*/ 2717654 h 4837661"/>
                <a:gd name="connsiteX897" fmla="*/ 4726123 w 10048557"/>
                <a:gd name="connsiteY897" fmla="*/ 2706701 h 4837661"/>
                <a:gd name="connsiteX898" fmla="*/ 6892605 w 10048557"/>
                <a:gd name="connsiteY898" fmla="*/ 2670027 h 4837661"/>
                <a:gd name="connsiteX899" fmla="*/ 6903681 w 10048557"/>
                <a:gd name="connsiteY899" fmla="*/ 2679111 h 4837661"/>
                <a:gd name="connsiteX900" fmla="*/ 6893508 w 10048557"/>
                <a:gd name="connsiteY900" fmla="*/ 2690178 h 4837661"/>
                <a:gd name="connsiteX901" fmla="*/ 6882138 w 10048557"/>
                <a:gd name="connsiteY901" fmla="*/ 2678151 h 4837661"/>
                <a:gd name="connsiteX902" fmla="*/ 7684313 w 10048557"/>
                <a:gd name="connsiteY902" fmla="*/ 2634300 h 4837661"/>
                <a:gd name="connsiteX903" fmla="*/ 7700540 w 10048557"/>
                <a:gd name="connsiteY903" fmla="*/ 2645772 h 4837661"/>
                <a:gd name="connsiteX904" fmla="*/ 7714103 w 10048557"/>
                <a:gd name="connsiteY904" fmla="*/ 2656495 h 4837661"/>
                <a:gd name="connsiteX905" fmla="*/ 7738173 w 10048557"/>
                <a:gd name="connsiteY905" fmla="*/ 2661541 h 4837661"/>
                <a:gd name="connsiteX906" fmla="*/ 7757162 w 10048557"/>
                <a:gd name="connsiteY906" fmla="*/ 2676696 h 4837661"/>
                <a:gd name="connsiteX907" fmla="*/ 7758861 w 10048557"/>
                <a:gd name="connsiteY907" fmla="*/ 2692138 h 4837661"/>
                <a:gd name="connsiteX908" fmla="*/ 7778814 w 10048557"/>
                <a:gd name="connsiteY908" fmla="*/ 2695131 h 4837661"/>
                <a:gd name="connsiteX909" fmla="*/ 7786952 w 10048557"/>
                <a:gd name="connsiteY909" fmla="*/ 2714334 h 4837661"/>
                <a:gd name="connsiteX910" fmla="*/ 7790988 w 10048557"/>
                <a:gd name="connsiteY910" fmla="*/ 2731503 h 4837661"/>
                <a:gd name="connsiteX911" fmla="*/ 7810303 w 10048557"/>
                <a:gd name="connsiteY911" fmla="*/ 2742610 h 4837661"/>
                <a:gd name="connsiteX912" fmla="*/ 7831661 w 10048557"/>
                <a:gd name="connsiteY912" fmla="*/ 2755406 h 4837661"/>
                <a:gd name="connsiteX913" fmla="*/ 7854032 w 10048557"/>
                <a:gd name="connsiteY913" fmla="*/ 2772498 h 4837661"/>
                <a:gd name="connsiteX914" fmla="*/ 7881126 w 10048557"/>
                <a:gd name="connsiteY914" fmla="*/ 2788267 h 4837661"/>
                <a:gd name="connsiteX915" fmla="*/ 7897401 w 10048557"/>
                <a:gd name="connsiteY915" fmla="*/ 2803096 h 4837661"/>
                <a:gd name="connsiteX916" fmla="*/ 7905866 w 10048557"/>
                <a:gd name="connsiteY916" fmla="*/ 2810501 h 4837661"/>
                <a:gd name="connsiteX917" fmla="*/ 7915360 w 10048557"/>
                <a:gd name="connsiteY917" fmla="*/ 2821263 h 4837661"/>
                <a:gd name="connsiteX918" fmla="*/ 7923498 w 10048557"/>
                <a:gd name="connsiteY918" fmla="*/ 2834269 h 4837661"/>
                <a:gd name="connsiteX919" fmla="*/ 7922518 w 10048557"/>
                <a:gd name="connsiteY919" fmla="*/ 2853088 h 4837661"/>
                <a:gd name="connsiteX920" fmla="*/ 7922518 w 10048557"/>
                <a:gd name="connsiteY920" fmla="*/ 2866171 h 4837661"/>
                <a:gd name="connsiteX921" fmla="*/ 7940150 w 10048557"/>
                <a:gd name="connsiteY921" fmla="*/ 2873538 h 4837661"/>
                <a:gd name="connsiteX922" fmla="*/ 7955968 w 10048557"/>
                <a:gd name="connsiteY922" fmla="*/ 2885201 h 4837661"/>
                <a:gd name="connsiteX923" fmla="*/ 7960037 w 10048557"/>
                <a:gd name="connsiteY923" fmla="*/ 2917180 h 4837661"/>
                <a:gd name="connsiteX924" fmla="*/ 7983078 w 10048557"/>
                <a:gd name="connsiteY924" fmla="*/ 2927923 h 4837661"/>
                <a:gd name="connsiteX925" fmla="*/ 7995971 w 10048557"/>
                <a:gd name="connsiteY925" fmla="*/ 2945016 h 4837661"/>
                <a:gd name="connsiteX926" fmla="*/ 8009191 w 10048557"/>
                <a:gd name="connsiteY926" fmla="*/ 2951058 h 4837661"/>
                <a:gd name="connsiteX927" fmla="*/ 8015287 w 10048557"/>
                <a:gd name="connsiteY927" fmla="*/ 2977321 h 4837661"/>
                <a:gd name="connsiteX928" fmla="*/ 8021055 w 10048557"/>
                <a:gd name="connsiteY928" fmla="*/ 2996485 h 4837661"/>
                <a:gd name="connsiteX929" fmla="*/ 8010923 w 10048557"/>
                <a:gd name="connsiteY929" fmla="*/ 3019371 h 4837661"/>
                <a:gd name="connsiteX930" fmla="*/ 7990628 w 10048557"/>
                <a:gd name="connsiteY930" fmla="*/ 3042602 h 4837661"/>
                <a:gd name="connsiteX931" fmla="*/ 7975708 w 10048557"/>
                <a:gd name="connsiteY931" fmla="*/ 3048664 h 4837661"/>
                <a:gd name="connsiteX932" fmla="*/ 7960920 w 10048557"/>
                <a:gd name="connsiteY932" fmla="*/ 3035581 h 4837661"/>
                <a:gd name="connsiteX933" fmla="*/ 7941980 w 10048557"/>
                <a:gd name="connsiteY933" fmla="*/ 3030574 h 4837661"/>
                <a:gd name="connsiteX934" fmla="*/ 7933156 w 10048557"/>
                <a:gd name="connsiteY934" fmla="*/ 3020464 h 4837661"/>
                <a:gd name="connsiteX935" fmla="*/ 7927437 w 10048557"/>
                <a:gd name="connsiteY935" fmla="*/ 3005981 h 4837661"/>
                <a:gd name="connsiteX936" fmla="*/ 7908791 w 10048557"/>
                <a:gd name="connsiteY936" fmla="*/ 2989541 h 4837661"/>
                <a:gd name="connsiteX937" fmla="*/ 7877988 w 10048557"/>
                <a:gd name="connsiteY937" fmla="*/ 2959614 h 4837661"/>
                <a:gd name="connsiteX938" fmla="*/ 7853918 w 10048557"/>
                <a:gd name="connsiteY938" fmla="*/ 2923242 h 4837661"/>
                <a:gd name="connsiteX939" fmla="*/ 7852251 w 10048557"/>
                <a:gd name="connsiteY939" fmla="*/ 2888904 h 4837661"/>
                <a:gd name="connsiteX940" fmla="*/ 7829537 w 10048557"/>
                <a:gd name="connsiteY940" fmla="*/ 2862315 h 4837661"/>
                <a:gd name="connsiteX941" fmla="*/ 7802753 w 10048557"/>
                <a:gd name="connsiteY941" fmla="*/ 2836725 h 4837661"/>
                <a:gd name="connsiteX942" fmla="*/ 7795645 w 10048557"/>
                <a:gd name="connsiteY942" fmla="*/ 2800698 h 4837661"/>
                <a:gd name="connsiteX943" fmla="*/ 7782425 w 10048557"/>
                <a:gd name="connsiteY943" fmla="*/ 2770426 h 4837661"/>
                <a:gd name="connsiteX944" fmla="*/ 7755037 w 10048557"/>
                <a:gd name="connsiteY944" fmla="*/ 2744644 h 4837661"/>
                <a:gd name="connsiteX945" fmla="*/ 7721636 w 10048557"/>
                <a:gd name="connsiteY945" fmla="*/ 2711475 h 4837661"/>
                <a:gd name="connsiteX946" fmla="*/ 7702027 w 10048557"/>
                <a:gd name="connsiteY946" fmla="*/ 2699716 h 4837661"/>
                <a:gd name="connsiteX947" fmla="*/ 7676338 w 10048557"/>
                <a:gd name="connsiteY947" fmla="*/ 2669176 h 4837661"/>
                <a:gd name="connsiteX948" fmla="*/ 7672269 w 10048557"/>
                <a:gd name="connsiteY948" fmla="*/ 2656706 h 4837661"/>
                <a:gd name="connsiteX949" fmla="*/ 7668086 w 10048557"/>
                <a:gd name="connsiteY949" fmla="*/ 2637830 h 4837661"/>
                <a:gd name="connsiteX950" fmla="*/ 6905700 w 10048557"/>
                <a:gd name="connsiteY950" fmla="*/ 2620619 h 4837661"/>
                <a:gd name="connsiteX951" fmla="*/ 6902749 w 10048557"/>
                <a:gd name="connsiteY951" fmla="*/ 2632709 h 4837661"/>
                <a:gd name="connsiteX952" fmla="*/ 6899739 w 10048557"/>
                <a:gd name="connsiteY952" fmla="*/ 2645463 h 4837661"/>
                <a:gd name="connsiteX953" fmla="*/ 6885497 w 10048557"/>
                <a:gd name="connsiteY953" fmla="*/ 2644412 h 4837661"/>
                <a:gd name="connsiteX954" fmla="*/ 6893547 w 10048557"/>
                <a:gd name="connsiteY954" fmla="*/ 2624070 h 4837661"/>
                <a:gd name="connsiteX955" fmla="*/ 8407160 w 10048557"/>
                <a:gd name="connsiteY955" fmla="*/ 2595870 h 4837661"/>
                <a:gd name="connsiteX956" fmla="*/ 8426549 w 10048557"/>
                <a:gd name="connsiteY956" fmla="*/ 2619430 h 4837661"/>
                <a:gd name="connsiteX957" fmla="*/ 8436671 w 10048557"/>
                <a:gd name="connsiteY957" fmla="*/ 2637555 h 4837661"/>
                <a:gd name="connsiteX958" fmla="*/ 8445785 w 10048557"/>
                <a:gd name="connsiteY958" fmla="*/ 2648638 h 4837661"/>
                <a:gd name="connsiteX959" fmla="*/ 8436640 w 10048557"/>
                <a:gd name="connsiteY959" fmla="*/ 2663780 h 4837661"/>
                <a:gd name="connsiteX960" fmla="*/ 8429175 w 10048557"/>
                <a:gd name="connsiteY960" fmla="*/ 2674563 h 4837661"/>
                <a:gd name="connsiteX961" fmla="*/ 8420061 w 10048557"/>
                <a:gd name="connsiteY961" fmla="*/ 2688029 h 4837661"/>
                <a:gd name="connsiteX962" fmla="*/ 8411923 w 10048557"/>
                <a:gd name="connsiteY962" fmla="*/ 2706877 h 4837661"/>
                <a:gd name="connsiteX963" fmla="*/ 8411923 w 10048557"/>
                <a:gd name="connsiteY963" fmla="*/ 2727032 h 4837661"/>
                <a:gd name="connsiteX964" fmla="*/ 8415649 w 10048557"/>
                <a:gd name="connsiteY964" fmla="*/ 2741168 h 4837661"/>
                <a:gd name="connsiteX965" fmla="*/ 8428839 w 10048557"/>
                <a:gd name="connsiteY965" fmla="*/ 2760316 h 4837661"/>
                <a:gd name="connsiteX966" fmla="*/ 8443709 w 10048557"/>
                <a:gd name="connsiteY966" fmla="*/ 2779817 h 4837661"/>
                <a:gd name="connsiteX967" fmla="*/ 8444732 w 10048557"/>
                <a:gd name="connsiteY967" fmla="*/ 2808425 h 4837661"/>
                <a:gd name="connsiteX968" fmla="*/ 8416335 w 10048557"/>
                <a:gd name="connsiteY968" fmla="*/ 2818202 h 4837661"/>
                <a:gd name="connsiteX969" fmla="*/ 8410229 w 10048557"/>
                <a:gd name="connsiteY969" fmla="*/ 2834280 h 4837661"/>
                <a:gd name="connsiteX970" fmla="*/ 8412610 w 10048557"/>
                <a:gd name="connsiteY970" fmla="*/ 2856499 h 4837661"/>
                <a:gd name="connsiteX971" fmla="*/ 8402779 w 10048557"/>
                <a:gd name="connsiteY971" fmla="*/ 2876653 h 4837661"/>
                <a:gd name="connsiteX972" fmla="*/ 8391283 w 10048557"/>
                <a:gd name="connsiteY972" fmla="*/ 2894125 h 4837661"/>
                <a:gd name="connsiteX973" fmla="*/ 8372978 w 10048557"/>
                <a:gd name="connsiteY973" fmla="*/ 2912214 h 4837661"/>
                <a:gd name="connsiteX974" fmla="*/ 8366062 w 10048557"/>
                <a:gd name="connsiteY974" fmla="*/ 2933392 h 4837661"/>
                <a:gd name="connsiteX975" fmla="*/ 8353940 w 10048557"/>
                <a:gd name="connsiteY975" fmla="*/ 2965335 h 4837661"/>
                <a:gd name="connsiteX976" fmla="*/ 8337117 w 10048557"/>
                <a:gd name="connsiteY976" fmla="*/ 2977071 h 4837661"/>
                <a:gd name="connsiteX977" fmla="*/ 8323422 w 10048557"/>
                <a:gd name="connsiteY977" fmla="*/ 2966976 h 4837661"/>
                <a:gd name="connsiteX978" fmla="*/ 8302461 w 10048557"/>
                <a:gd name="connsiteY978" fmla="*/ 2959229 h 4837661"/>
                <a:gd name="connsiteX979" fmla="*/ 8291561 w 10048557"/>
                <a:gd name="connsiteY979" fmla="*/ 2956529 h 4837661"/>
                <a:gd name="connsiteX980" fmla="*/ 8272538 w 10048557"/>
                <a:gd name="connsiteY980" fmla="*/ 2960570 h 4837661"/>
                <a:gd name="connsiteX981" fmla="*/ 8261668 w 10048557"/>
                <a:gd name="connsiteY981" fmla="*/ 2960570 h 4837661"/>
                <a:gd name="connsiteX982" fmla="*/ 8232097 w 10048557"/>
                <a:gd name="connsiteY982" fmla="*/ 2956529 h 4837661"/>
                <a:gd name="connsiteX983" fmla="*/ 8211807 w 10048557"/>
                <a:gd name="connsiteY983" fmla="*/ 2951870 h 4837661"/>
                <a:gd name="connsiteX984" fmla="*/ 8181366 w 10048557"/>
                <a:gd name="connsiteY984" fmla="*/ 2946804 h 4837661"/>
                <a:gd name="connsiteX985" fmla="*/ 8167534 w 10048557"/>
                <a:gd name="connsiteY985" fmla="*/ 2937804 h 4837661"/>
                <a:gd name="connsiteX986" fmla="*/ 8158511 w 10048557"/>
                <a:gd name="connsiteY986" fmla="*/ 2908843 h 4837661"/>
                <a:gd name="connsiteX987" fmla="*/ 8139382 w 10048557"/>
                <a:gd name="connsiteY987" fmla="*/ 2882247 h 4837661"/>
                <a:gd name="connsiteX988" fmla="*/ 8129199 w 10048557"/>
                <a:gd name="connsiteY988" fmla="*/ 2856075 h 4837661"/>
                <a:gd name="connsiteX989" fmla="*/ 8116024 w 10048557"/>
                <a:gd name="connsiteY989" fmla="*/ 2818784 h 4837661"/>
                <a:gd name="connsiteX990" fmla="*/ 8119032 w 10048557"/>
                <a:gd name="connsiteY990" fmla="*/ 2800642 h 4837661"/>
                <a:gd name="connsiteX991" fmla="*/ 8135245 w 10048557"/>
                <a:gd name="connsiteY991" fmla="*/ 2779517 h 4837661"/>
                <a:gd name="connsiteX992" fmla="*/ 8153214 w 10048557"/>
                <a:gd name="connsiteY992" fmla="*/ 2771434 h 4837661"/>
                <a:gd name="connsiteX993" fmla="*/ 8160328 w 10048557"/>
                <a:gd name="connsiteY993" fmla="*/ 2787600 h 4837661"/>
                <a:gd name="connsiteX994" fmla="*/ 8176266 w 10048557"/>
                <a:gd name="connsiteY994" fmla="*/ 2799336 h 4837661"/>
                <a:gd name="connsiteX995" fmla="*/ 8182022 w 10048557"/>
                <a:gd name="connsiteY995" fmla="*/ 2789577 h 4837661"/>
                <a:gd name="connsiteX996" fmla="*/ 8188129 w 10048557"/>
                <a:gd name="connsiteY996" fmla="*/ 2771399 h 4837661"/>
                <a:gd name="connsiteX997" fmla="*/ 8198938 w 10048557"/>
                <a:gd name="connsiteY997" fmla="*/ 2758639 h 4837661"/>
                <a:gd name="connsiteX998" fmla="*/ 8211136 w 10048557"/>
                <a:gd name="connsiteY998" fmla="*/ 2750557 h 4837661"/>
                <a:gd name="connsiteX999" fmla="*/ 8228051 w 10048557"/>
                <a:gd name="connsiteY999" fmla="*/ 2742474 h 4837661"/>
                <a:gd name="connsiteX1000" fmla="*/ 8247379 w 10048557"/>
                <a:gd name="connsiteY1000" fmla="*/ 2732379 h 4837661"/>
                <a:gd name="connsiteX1001" fmla="*/ 8259195 w 10048557"/>
                <a:gd name="connsiteY1001" fmla="*/ 2722655 h 4837661"/>
                <a:gd name="connsiteX1002" fmla="*/ 8272386 w 10048557"/>
                <a:gd name="connsiteY1002" fmla="*/ 2694453 h 4837661"/>
                <a:gd name="connsiteX1003" fmla="*/ 8282843 w 10048557"/>
                <a:gd name="connsiteY1003" fmla="*/ 2684693 h 4837661"/>
                <a:gd name="connsiteX1004" fmla="*/ 8296751 w 10048557"/>
                <a:gd name="connsiteY1004" fmla="*/ 2674934 h 4837661"/>
                <a:gd name="connsiteX1005" fmla="*/ 8307927 w 10048557"/>
                <a:gd name="connsiteY1005" fmla="*/ 2670893 h 4837661"/>
                <a:gd name="connsiteX1006" fmla="*/ 8320476 w 10048557"/>
                <a:gd name="connsiteY1006" fmla="*/ 2667186 h 4837661"/>
                <a:gd name="connsiteX1007" fmla="*/ 8335651 w 10048557"/>
                <a:gd name="connsiteY1007" fmla="*/ 2654144 h 4837661"/>
                <a:gd name="connsiteX1008" fmla="*/ 8349895 w 10048557"/>
                <a:gd name="connsiteY1008" fmla="*/ 2638314 h 4837661"/>
                <a:gd name="connsiteX1009" fmla="*/ 8363787 w 10048557"/>
                <a:gd name="connsiteY1009" fmla="*/ 2621478 h 4837661"/>
                <a:gd name="connsiteX1010" fmla="*/ 8386138 w 10048557"/>
                <a:gd name="connsiteY1010" fmla="*/ 2599082 h 4837661"/>
                <a:gd name="connsiteX1011" fmla="*/ 6870272 w 10048557"/>
                <a:gd name="connsiteY1011" fmla="*/ 2589682 h 4837661"/>
                <a:gd name="connsiteX1012" fmla="*/ 6878742 w 10048557"/>
                <a:gd name="connsiteY1012" fmla="*/ 2598674 h 4837661"/>
                <a:gd name="connsiteX1013" fmla="*/ 6869289 w 10048557"/>
                <a:gd name="connsiteY1013" fmla="*/ 2610040 h 4837661"/>
                <a:gd name="connsiteX1014" fmla="*/ 6859908 w 10048557"/>
                <a:gd name="connsiteY1014" fmla="*/ 2601041 h 4837661"/>
                <a:gd name="connsiteX1015" fmla="*/ 9759010 w 10048557"/>
                <a:gd name="connsiteY1015" fmla="*/ 2562087 h 4837661"/>
                <a:gd name="connsiteX1016" fmla="*/ 9778076 w 10048557"/>
                <a:gd name="connsiteY1016" fmla="*/ 2571933 h 4837661"/>
                <a:gd name="connsiteX1017" fmla="*/ 9765443 w 10048557"/>
                <a:gd name="connsiteY1017" fmla="*/ 2591021 h 4837661"/>
                <a:gd name="connsiteX1018" fmla="*/ 8968106 w 10048557"/>
                <a:gd name="connsiteY1018" fmla="*/ 2542788 h 4837661"/>
                <a:gd name="connsiteX1019" fmla="*/ 8977069 w 10048557"/>
                <a:gd name="connsiteY1019" fmla="*/ 2547727 h 4837661"/>
                <a:gd name="connsiteX1020" fmla="*/ 8977069 w 10048557"/>
                <a:gd name="connsiteY1020" fmla="*/ 2559566 h 4837661"/>
                <a:gd name="connsiteX1021" fmla="*/ 8962647 w 10048557"/>
                <a:gd name="connsiteY1021" fmla="*/ 2565596 h 4837661"/>
                <a:gd name="connsiteX1022" fmla="*/ 8958747 w 10048557"/>
                <a:gd name="connsiteY1022" fmla="*/ 2546888 h 4837661"/>
                <a:gd name="connsiteX1023" fmla="*/ 7143713 w 10048557"/>
                <a:gd name="connsiteY1023" fmla="*/ 2495374 h 4837661"/>
                <a:gd name="connsiteX1024" fmla="*/ 7158207 w 10048557"/>
                <a:gd name="connsiteY1024" fmla="*/ 2496340 h 4837661"/>
                <a:gd name="connsiteX1025" fmla="*/ 7165988 w 10048557"/>
                <a:gd name="connsiteY1025" fmla="*/ 2518886 h 4837661"/>
                <a:gd name="connsiteX1026" fmla="*/ 7179253 w 10048557"/>
                <a:gd name="connsiteY1026" fmla="*/ 2538077 h 4837661"/>
                <a:gd name="connsiteX1027" fmla="*/ 7192432 w 10048557"/>
                <a:gd name="connsiteY1027" fmla="*/ 2548174 h 4837661"/>
                <a:gd name="connsiteX1028" fmla="*/ 7203621 w 10048557"/>
                <a:gd name="connsiteY1028" fmla="*/ 2573768 h 4837661"/>
                <a:gd name="connsiteX1029" fmla="*/ 7197856 w 10048557"/>
                <a:gd name="connsiteY1029" fmla="*/ 2589211 h 4837661"/>
                <a:gd name="connsiteX1030" fmla="*/ 7174125 w 10048557"/>
                <a:gd name="connsiteY1030" fmla="*/ 2610042 h 4837661"/>
                <a:gd name="connsiteX1031" fmla="*/ 7147466 w 10048557"/>
                <a:gd name="connsiteY1031" fmla="*/ 2604994 h 4837661"/>
                <a:gd name="connsiteX1032" fmla="*/ 7140390 w 10048557"/>
                <a:gd name="connsiteY1032" fmla="*/ 2592996 h 4837661"/>
                <a:gd name="connsiteX1033" fmla="*/ 7136612 w 10048557"/>
                <a:gd name="connsiteY1033" fmla="*/ 2565428 h 4837661"/>
                <a:gd name="connsiteX1034" fmla="*/ 7127502 w 10048557"/>
                <a:gd name="connsiteY1034" fmla="*/ 2537148 h 4837661"/>
                <a:gd name="connsiteX1035" fmla="*/ 7128507 w 10048557"/>
                <a:gd name="connsiteY1035" fmla="*/ 2520314 h 4837661"/>
                <a:gd name="connsiteX1036" fmla="*/ 8676440 w 10048557"/>
                <a:gd name="connsiteY1036" fmla="*/ 2479195 h 4837661"/>
                <a:gd name="connsiteX1037" fmla="*/ 8683584 w 10048557"/>
                <a:gd name="connsiteY1037" fmla="*/ 2504056 h 4837661"/>
                <a:gd name="connsiteX1038" fmla="*/ 8687650 w 10048557"/>
                <a:gd name="connsiteY1038" fmla="*/ 2531328 h 4837661"/>
                <a:gd name="connsiteX1039" fmla="*/ 8699181 w 10048557"/>
                <a:gd name="connsiteY1039" fmla="*/ 2553888 h 4837661"/>
                <a:gd name="connsiteX1040" fmla="*/ 8711723 w 10048557"/>
                <a:gd name="connsiteY1040" fmla="*/ 2581160 h 4837661"/>
                <a:gd name="connsiteX1041" fmla="*/ 8712741 w 10048557"/>
                <a:gd name="connsiteY1041" fmla="*/ 2605359 h 4837661"/>
                <a:gd name="connsiteX1042" fmla="*/ 8699518 w 10048557"/>
                <a:gd name="connsiteY1042" fmla="*/ 2604683 h 4837661"/>
                <a:gd name="connsiteX1043" fmla="*/ 8697527 w 10048557"/>
                <a:gd name="connsiteY1043" fmla="*/ 2584901 h 4837661"/>
                <a:gd name="connsiteX1044" fmla="*/ 8679258 w 10048557"/>
                <a:gd name="connsiteY1044" fmla="*/ 2580866 h 4837661"/>
                <a:gd name="connsiteX1045" fmla="*/ 8668071 w 10048557"/>
                <a:gd name="connsiteY1045" fmla="*/ 2587599 h 4837661"/>
                <a:gd name="connsiteX1046" fmla="*/ 8669090 w 10048557"/>
                <a:gd name="connsiteY1046" fmla="*/ 2604433 h 4837661"/>
                <a:gd name="connsiteX1047" fmla="*/ 8687696 w 10048557"/>
                <a:gd name="connsiteY1047" fmla="*/ 2618532 h 4837661"/>
                <a:gd name="connsiteX1048" fmla="*/ 8686678 w 10048557"/>
                <a:gd name="connsiteY1048" fmla="*/ 2627875 h 4837661"/>
                <a:gd name="connsiteX1049" fmla="*/ 8670062 w 10048557"/>
                <a:gd name="connsiteY1049" fmla="*/ 2622825 h 4837661"/>
                <a:gd name="connsiteX1050" fmla="*/ 8658914 w 10048557"/>
                <a:gd name="connsiteY1050" fmla="*/ 2630565 h 4837661"/>
                <a:gd name="connsiteX1051" fmla="*/ 8646372 w 10048557"/>
                <a:gd name="connsiteY1051" fmla="*/ 2637975 h 4837661"/>
                <a:gd name="connsiteX1052" fmla="*/ 8637896 w 10048557"/>
                <a:gd name="connsiteY1052" fmla="*/ 2624927 h 4837661"/>
                <a:gd name="connsiteX1053" fmla="*/ 8623440 w 10048557"/>
                <a:gd name="connsiteY1053" fmla="*/ 2598912 h 4837661"/>
                <a:gd name="connsiteX1054" fmla="*/ 8623440 w 10048557"/>
                <a:gd name="connsiteY1054" fmla="*/ 2578756 h 4837661"/>
                <a:gd name="connsiteX1055" fmla="*/ 8610224 w 10048557"/>
                <a:gd name="connsiteY1055" fmla="*/ 2562591 h 4837661"/>
                <a:gd name="connsiteX1056" fmla="*/ 8598394 w 10048557"/>
                <a:gd name="connsiteY1056" fmla="*/ 2558592 h 4837661"/>
                <a:gd name="connsiteX1057" fmla="*/ 8584581 w 10048557"/>
                <a:gd name="connsiteY1057" fmla="*/ 2574081 h 4837661"/>
                <a:gd name="connsiteX1058" fmla="*/ 8556856 w 10048557"/>
                <a:gd name="connsiteY1058" fmla="*/ 2573074 h 4837661"/>
                <a:gd name="connsiteX1059" fmla="*/ 8564735 w 10048557"/>
                <a:gd name="connsiteY1059" fmla="*/ 2559056 h 4837661"/>
                <a:gd name="connsiteX1060" fmla="*/ 8569551 w 10048557"/>
                <a:gd name="connsiteY1060" fmla="*/ 2539862 h 4837661"/>
                <a:gd name="connsiteX1061" fmla="*/ 8587636 w 10048557"/>
                <a:gd name="connsiteY1061" fmla="*/ 2532791 h 4837661"/>
                <a:gd name="connsiteX1062" fmla="*/ 8603785 w 10048557"/>
                <a:gd name="connsiteY1062" fmla="*/ 2543905 h 4837661"/>
                <a:gd name="connsiteX1063" fmla="*/ 8618256 w 10048557"/>
                <a:gd name="connsiteY1063" fmla="*/ 2544876 h 4837661"/>
                <a:gd name="connsiteX1064" fmla="*/ 8629083 w 10048557"/>
                <a:gd name="connsiteY1064" fmla="*/ 2531784 h 4837661"/>
                <a:gd name="connsiteX1065" fmla="*/ 8646081 w 10048557"/>
                <a:gd name="connsiteY1065" fmla="*/ 2519618 h 4837661"/>
                <a:gd name="connsiteX1066" fmla="*/ 8663294 w 10048557"/>
                <a:gd name="connsiteY1066" fmla="*/ 2504710 h 4837661"/>
                <a:gd name="connsiteX1067" fmla="*/ 8664572 w 10048557"/>
                <a:gd name="connsiteY1067" fmla="*/ 2480202 h 4837661"/>
                <a:gd name="connsiteX1068" fmla="*/ 8573750 w 10048557"/>
                <a:gd name="connsiteY1068" fmla="*/ 2459493 h 4837661"/>
                <a:gd name="connsiteX1069" fmla="*/ 8585572 w 10048557"/>
                <a:gd name="connsiteY1069" fmla="*/ 2464986 h 4837661"/>
                <a:gd name="connsiteX1070" fmla="*/ 8594940 w 10048557"/>
                <a:gd name="connsiteY1070" fmla="*/ 2470710 h 4837661"/>
                <a:gd name="connsiteX1071" fmla="*/ 8597950 w 10048557"/>
                <a:gd name="connsiteY1071" fmla="*/ 2483842 h 4837661"/>
                <a:gd name="connsiteX1072" fmla="*/ 8590871 w 10048557"/>
                <a:gd name="connsiteY1072" fmla="*/ 2493859 h 4837661"/>
                <a:gd name="connsiteX1073" fmla="*/ 8590871 w 10048557"/>
                <a:gd name="connsiteY1073" fmla="*/ 2510315 h 4837661"/>
                <a:gd name="connsiteX1074" fmla="*/ 8574720 w 10048557"/>
                <a:gd name="connsiteY1074" fmla="*/ 2514397 h 4837661"/>
                <a:gd name="connsiteX1075" fmla="*/ 8569638 w 10048557"/>
                <a:gd name="connsiteY1075" fmla="*/ 2503625 h 4837661"/>
                <a:gd name="connsiteX1076" fmla="*/ 8561584 w 10048557"/>
                <a:gd name="connsiteY1076" fmla="*/ 2497565 h 4837661"/>
                <a:gd name="connsiteX1077" fmla="*/ 8560666 w 10048557"/>
                <a:gd name="connsiteY1077" fmla="*/ 2483798 h 4837661"/>
                <a:gd name="connsiteX1078" fmla="*/ 8570146 w 10048557"/>
                <a:gd name="connsiteY1078" fmla="*/ 2471280 h 4837661"/>
                <a:gd name="connsiteX1079" fmla="*/ 2373053 w 10048557"/>
                <a:gd name="connsiteY1079" fmla="*/ 2442064 h 4837661"/>
                <a:gd name="connsiteX1080" fmla="*/ 2384971 w 10048557"/>
                <a:gd name="connsiteY1080" fmla="*/ 2443611 h 4837661"/>
                <a:gd name="connsiteX1081" fmla="*/ 2393329 w 10048557"/>
                <a:gd name="connsiteY1081" fmla="*/ 2443120 h 4837661"/>
                <a:gd name="connsiteX1082" fmla="*/ 2397112 w 10048557"/>
                <a:gd name="connsiteY1082" fmla="*/ 2448897 h 4837661"/>
                <a:gd name="connsiteX1083" fmla="*/ 2390276 w 10048557"/>
                <a:gd name="connsiteY1083" fmla="*/ 2458463 h 4837661"/>
                <a:gd name="connsiteX1084" fmla="*/ 2388752 w 10048557"/>
                <a:gd name="connsiteY1084" fmla="*/ 2468246 h 4837661"/>
                <a:gd name="connsiteX1085" fmla="*/ 2386495 w 10048557"/>
                <a:gd name="connsiteY1085" fmla="*/ 2480591 h 4837661"/>
                <a:gd name="connsiteX1086" fmla="*/ 2366406 w 10048557"/>
                <a:gd name="connsiteY1086" fmla="*/ 2480591 h 4837661"/>
                <a:gd name="connsiteX1087" fmla="*/ 2357946 w 10048557"/>
                <a:gd name="connsiteY1087" fmla="*/ 2471530 h 4837661"/>
                <a:gd name="connsiteX1088" fmla="*/ 2363256 w 10048557"/>
                <a:gd name="connsiteY1088" fmla="*/ 2462469 h 4837661"/>
                <a:gd name="connsiteX1089" fmla="*/ 2370034 w 10048557"/>
                <a:gd name="connsiteY1089" fmla="*/ 2453474 h 4837661"/>
                <a:gd name="connsiteX1090" fmla="*/ 2363053 w 10048557"/>
                <a:gd name="connsiteY1090" fmla="*/ 2446939 h 4837661"/>
                <a:gd name="connsiteX1091" fmla="*/ 8458445 w 10048557"/>
                <a:gd name="connsiteY1091" fmla="*/ 2438541 h 4837661"/>
                <a:gd name="connsiteX1092" fmla="*/ 8471184 w 10048557"/>
                <a:gd name="connsiteY1092" fmla="*/ 2448188 h 4837661"/>
                <a:gd name="connsiteX1093" fmla="*/ 8463466 w 10048557"/>
                <a:gd name="connsiteY1093" fmla="*/ 2470658 h 4837661"/>
                <a:gd name="connsiteX1094" fmla="*/ 8445161 w 10048557"/>
                <a:gd name="connsiteY1094" fmla="*/ 2494522 h 4837661"/>
                <a:gd name="connsiteX1095" fmla="*/ 8437360 w 10048557"/>
                <a:gd name="connsiteY1095" fmla="*/ 2503955 h 4837661"/>
                <a:gd name="connsiteX1096" fmla="*/ 8428209 w 10048557"/>
                <a:gd name="connsiteY1096" fmla="*/ 2517753 h 4837661"/>
                <a:gd name="connsiteX1097" fmla="*/ 8412055 w 10048557"/>
                <a:gd name="connsiteY1097" fmla="*/ 2528491 h 4837661"/>
                <a:gd name="connsiteX1098" fmla="*/ 8382709 w 10048557"/>
                <a:gd name="connsiteY1098" fmla="*/ 2514094 h 4837661"/>
                <a:gd name="connsiteX1099" fmla="*/ 8403854 w 10048557"/>
                <a:gd name="connsiteY1099" fmla="*/ 2507360 h 4837661"/>
                <a:gd name="connsiteX1100" fmla="*/ 8417687 w 10048557"/>
                <a:gd name="connsiteY1100" fmla="*/ 2497299 h 4837661"/>
                <a:gd name="connsiteX1101" fmla="*/ 8417661 w 10048557"/>
                <a:gd name="connsiteY1101" fmla="*/ 2475419 h 4837661"/>
                <a:gd name="connsiteX1102" fmla="*/ 8428388 w 10048557"/>
                <a:gd name="connsiteY1102" fmla="*/ 2463379 h 4837661"/>
                <a:gd name="connsiteX1103" fmla="*/ 8446067 w 10048557"/>
                <a:gd name="connsiteY1103" fmla="*/ 2446960 h 4837661"/>
                <a:gd name="connsiteX1104" fmla="*/ 8613128 w 10048557"/>
                <a:gd name="connsiteY1104" fmla="*/ 2430708 h 4837661"/>
                <a:gd name="connsiteX1105" fmla="*/ 8624318 w 10048557"/>
                <a:gd name="connsiteY1105" fmla="*/ 2436097 h 4837661"/>
                <a:gd name="connsiteX1106" fmla="*/ 8637844 w 10048557"/>
                <a:gd name="connsiteY1106" fmla="*/ 2456666 h 4837661"/>
                <a:gd name="connsiteX1107" fmla="*/ 8639879 w 10048557"/>
                <a:gd name="connsiteY1107" fmla="*/ 2476410 h 4837661"/>
                <a:gd name="connsiteX1108" fmla="*/ 8628353 w 10048557"/>
                <a:gd name="connsiteY1108" fmla="*/ 2481713 h 4837661"/>
                <a:gd name="connsiteX1109" fmla="*/ 8624368 w 10048557"/>
                <a:gd name="connsiteY1109" fmla="*/ 2470053 h 4837661"/>
                <a:gd name="connsiteX1110" fmla="*/ 8622333 w 10048557"/>
                <a:gd name="connsiteY1110" fmla="*/ 2450187 h 4837661"/>
                <a:gd name="connsiteX1111" fmla="*/ 8609938 w 10048557"/>
                <a:gd name="connsiteY1111" fmla="*/ 2440423 h 4837661"/>
                <a:gd name="connsiteX1112" fmla="*/ 2406168 w 10048557"/>
                <a:gd name="connsiteY1112" fmla="*/ 2415695 h 4837661"/>
                <a:gd name="connsiteX1113" fmla="*/ 2415799 w 10048557"/>
                <a:gd name="connsiteY1113" fmla="*/ 2418123 h 4837661"/>
                <a:gd name="connsiteX1114" fmla="*/ 2420353 w 10048557"/>
                <a:gd name="connsiteY1114" fmla="*/ 2432055 h 4837661"/>
                <a:gd name="connsiteX1115" fmla="*/ 2403579 w 10048557"/>
                <a:gd name="connsiteY1115" fmla="*/ 2432055 h 4837661"/>
                <a:gd name="connsiteX1116" fmla="*/ 2398876 w 10048557"/>
                <a:gd name="connsiteY1116" fmla="*/ 2422447 h 4837661"/>
                <a:gd name="connsiteX1117" fmla="*/ 8558012 w 10048557"/>
                <a:gd name="connsiteY1117" fmla="*/ 2407480 h 4837661"/>
                <a:gd name="connsiteX1118" fmla="*/ 8570855 w 10048557"/>
                <a:gd name="connsiteY1118" fmla="*/ 2412567 h 4837661"/>
                <a:gd name="connsiteX1119" fmla="*/ 8559029 w 10048557"/>
                <a:gd name="connsiteY1119" fmla="*/ 2434370 h 4837661"/>
                <a:gd name="connsiteX1120" fmla="*/ 8560003 w 10048557"/>
                <a:gd name="connsiteY1120" fmla="*/ 2448470 h 4837661"/>
                <a:gd name="connsiteX1121" fmla="*/ 8552205 w 10048557"/>
                <a:gd name="connsiteY1121" fmla="*/ 2456469 h 4837661"/>
                <a:gd name="connsiteX1122" fmla="*/ 8536312 w 10048557"/>
                <a:gd name="connsiteY1122" fmla="*/ 2453439 h 4837661"/>
                <a:gd name="connsiteX1123" fmla="*/ 8523164 w 10048557"/>
                <a:gd name="connsiteY1123" fmla="*/ 2438663 h 4837661"/>
                <a:gd name="connsiteX1124" fmla="*/ 8536080 w 10048557"/>
                <a:gd name="connsiteY1124" fmla="*/ 2424316 h 4837661"/>
                <a:gd name="connsiteX1125" fmla="*/ 8540551 w 10048557"/>
                <a:gd name="connsiteY1125" fmla="*/ 2419643 h 4837661"/>
                <a:gd name="connsiteX1126" fmla="*/ 8545020 w 10048557"/>
                <a:gd name="connsiteY1126" fmla="*/ 2414969 h 4837661"/>
                <a:gd name="connsiteX1127" fmla="*/ 2379802 w 10048557"/>
                <a:gd name="connsiteY1127" fmla="*/ 2391438 h 4837661"/>
                <a:gd name="connsiteX1128" fmla="*/ 2387735 w 10048557"/>
                <a:gd name="connsiteY1128" fmla="*/ 2398387 h 4837661"/>
                <a:gd name="connsiteX1129" fmla="*/ 2383671 w 10048557"/>
                <a:gd name="connsiteY1129" fmla="*/ 2413476 h 4837661"/>
                <a:gd name="connsiteX1130" fmla="*/ 2373880 w 10048557"/>
                <a:gd name="connsiteY1130" fmla="*/ 2411992 h 4837661"/>
                <a:gd name="connsiteX1131" fmla="*/ 2371374 w 10048557"/>
                <a:gd name="connsiteY1131" fmla="*/ 2401288 h 4837661"/>
                <a:gd name="connsiteX1132" fmla="*/ 8643171 w 10048557"/>
                <a:gd name="connsiteY1132" fmla="*/ 2388507 h 4837661"/>
                <a:gd name="connsiteX1133" fmla="*/ 8653556 w 10048557"/>
                <a:gd name="connsiteY1133" fmla="*/ 2403074 h 4837661"/>
                <a:gd name="connsiteX1134" fmla="*/ 8664321 w 10048557"/>
                <a:gd name="connsiteY1134" fmla="*/ 2405091 h 4837661"/>
                <a:gd name="connsiteX1135" fmla="*/ 8676102 w 10048557"/>
                <a:gd name="connsiteY1135" fmla="*/ 2415152 h 4837661"/>
                <a:gd name="connsiteX1136" fmla="*/ 8688945 w 10048557"/>
                <a:gd name="connsiteY1136" fmla="*/ 2437585 h 4837661"/>
                <a:gd name="connsiteX1137" fmla="*/ 8662541 w 10048557"/>
                <a:gd name="connsiteY1137" fmla="*/ 2436574 h 4837661"/>
                <a:gd name="connsiteX1138" fmla="*/ 8644909 w 10048557"/>
                <a:gd name="connsiteY1138" fmla="*/ 2428917 h 4837661"/>
                <a:gd name="connsiteX1139" fmla="*/ 8628949 w 10048557"/>
                <a:gd name="connsiteY1139" fmla="*/ 2407743 h 4837661"/>
                <a:gd name="connsiteX1140" fmla="*/ 8618377 w 10048557"/>
                <a:gd name="connsiteY1140" fmla="*/ 2391743 h 4837661"/>
                <a:gd name="connsiteX1141" fmla="*/ 8628544 w 10048557"/>
                <a:gd name="connsiteY1141" fmla="*/ 2388712 h 4837661"/>
                <a:gd name="connsiteX1142" fmla="*/ 2136866 w 10048557"/>
                <a:gd name="connsiteY1142" fmla="*/ 2363907 h 4837661"/>
                <a:gd name="connsiteX1143" fmla="*/ 2145441 w 10048557"/>
                <a:gd name="connsiteY1143" fmla="*/ 2371514 h 4837661"/>
                <a:gd name="connsiteX1144" fmla="*/ 2154852 w 10048557"/>
                <a:gd name="connsiteY1144" fmla="*/ 2390896 h 4837661"/>
                <a:gd name="connsiteX1145" fmla="*/ 2142135 w 10048557"/>
                <a:gd name="connsiteY1145" fmla="*/ 2398217 h 4837661"/>
                <a:gd name="connsiteX1146" fmla="*/ 2132982 w 10048557"/>
                <a:gd name="connsiteY1146" fmla="*/ 2383918 h 4837661"/>
                <a:gd name="connsiteX1147" fmla="*/ 2130030 w 10048557"/>
                <a:gd name="connsiteY1147" fmla="*/ 2375237 h 4837661"/>
                <a:gd name="connsiteX1148" fmla="*/ 2093988 w 10048557"/>
                <a:gd name="connsiteY1148" fmla="*/ 2361920 h 4837661"/>
                <a:gd name="connsiteX1149" fmla="*/ 2105085 w 10048557"/>
                <a:gd name="connsiteY1149" fmla="*/ 2370005 h 4837661"/>
                <a:gd name="connsiteX1150" fmla="*/ 2109599 w 10048557"/>
                <a:gd name="connsiteY1150" fmla="*/ 2382093 h 4837661"/>
                <a:gd name="connsiteX1151" fmla="*/ 2107598 w 10048557"/>
                <a:gd name="connsiteY1151" fmla="*/ 2391438 h 4837661"/>
                <a:gd name="connsiteX1152" fmla="*/ 2092402 w 10048557"/>
                <a:gd name="connsiteY1152" fmla="*/ 2388470 h 4837661"/>
                <a:gd name="connsiteX1153" fmla="*/ 2092049 w 10048557"/>
                <a:gd name="connsiteY1153" fmla="*/ 2368929 h 4837661"/>
                <a:gd name="connsiteX1154" fmla="*/ 8493488 w 10048557"/>
                <a:gd name="connsiteY1154" fmla="*/ 2357063 h 4837661"/>
                <a:gd name="connsiteX1155" fmla="*/ 8512614 w 10048557"/>
                <a:gd name="connsiteY1155" fmla="*/ 2370750 h 4837661"/>
                <a:gd name="connsiteX1156" fmla="*/ 8524139 w 10048557"/>
                <a:gd name="connsiteY1156" fmla="*/ 2397686 h 4837661"/>
                <a:gd name="connsiteX1157" fmla="*/ 8504179 w 10048557"/>
                <a:gd name="connsiteY1157" fmla="*/ 2398696 h 4837661"/>
                <a:gd name="connsiteX1158" fmla="*/ 8496278 w 10048557"/>
                <a:gd name="connsiteY1158" fmla="*/ 2386952 h 4837661"/>
                <a:gd name="connsiteX1159" fmla="*/ 8482172 w 10048557"/>
                <a:gd name="connsiteY1159" fmla="*/ 2364767 h 4837661"/>
                <a:gd name="connsiteX1160" fmla="*/ 2407876 w 10048557"/>
                <a:gd name="connsiteY1160" fmla="*/ 2356310 h 4837661"/>
                <a:gd name="connsiteX1161" fmla="*/ 2407062 w 10048557"/>
                <a:gd name="connsiteY1161" fmla="*/ 2374399 h 4837661"/>
                <a:gd name="connsiteX1162" fmla="*/ 2396030 w 10048557"/>
                <a:gd name="connsiteY1162" fmla="*/ 2374683 h 4837661"/>
                <a:gd name="connsiteX1163" fmla="*/ 2391516 w 10048557"/>
                <a:gd name="connsiteY1163" fmla="*/ 2364449 h 4837661"/>
                <a:gd name="connsiteX1164" fmla="*/ 2395550 w 10048557"/>
                <a:gd name="connsiteY1164" fmla="*/ 2356936 h 4837661"/>
                <a:gd name="connsiteX1165" fmla="*/ 2477360 w 10048557"/>
                <a:gd name="connsiteY1165" fmla="*/ 2344409 h 4837661"/>
                <a:gd name="connsiteX1166" fmla="*/ 2481478 w 10048557"/>
                <a:gd name="connsiteY1166" fmla="*/ 2354488 h 4837661"/>
                <a:gd name="connsiteX1167" fmla="*/ 2495684 w 10048557"/>
                <a:gd name="connsiteY1167" fmla="*/ 2363327 h 4837661"/>
                <a:gd name="connsiteX1168" fmla="*/ 2486024 w 10048557"/>
                <a:gd name="connsiteY1168" fmla="*/ 2366324 h 4837661"/>
                <a:gd name="connsiteX1169" fmla="*/ 2469976 w 10048557"/>
                <a:gd name="connsiteY1169" fmla="*/ 2365566 h 4837661"/>
                <a:gd name="connsiteX1170" fmla="*/ 2470434 w 10048557"/>
                <a:gd name="connsiteY1170" fmla="*/ 2354824 h 4837661"/>
                <a:gd name="connsiteX1171" fmla="*/ 2411206 w 10048557"/>
                <a:gd name="connsiteY1171" fmla="*/ 2326036 h 4837661"/>
                <a:gd name="connsiteX1172" fmla="*/ 2421839 w 10048557"/>
                <a:gd name="connsiteY1172" fmla="*/ 2337431 h 4837661"/>
                <a:gd name="connsiteX1173" fmla="*/ 2417467 w 10048557"/>
                <a:gd name="connsiteY1173" fmla="*/ 2349710 h 4837661"/>
                <a:gd name="connsiteX1174" fmla="*/ 2405478 w 10048557"/>
                <a:gd name="connsiteY1174" fmla="*/ 2337686 h 4837661"/>
                <a:gd name="connsiteX1175" fmla="*/ 9258598 w 10048557"/>
                <a:gd name="connsiteY1175" fmla="*/ 2305851 h 4837661"/>
                <a:gd name="connsiteX1176" fmla="*/ 9272146 w 10048557"/>
                <a:gd name="connsiteY1176" fmla="*/ 2312292 h 4837661"/>
                <a:gd name="connsiteX1177" fmla="*/ 9269857 w 10048557"/>
                <a:gd name="connsiteY1177" fmla="*/ 2337009 h 4837661"/>
                <a:gd name="connsiteX1178" fmla="*/ 9254088 w 10048557"/>
                <a:gd name="connsiteY1178" fmla="*/ 2335747 h 4837661"/>
                <a:gd name="connsiteX1179" fmla="*/ 9253797 w 10048557"/>
                <a:gd name="connsiteY1179" fmla="*/ 2312103 h 4837661"/>
                <a:gd name="connsiteX1180" fmla="*/ 2435095 w 10048557"/>
                <a:gd name="connsiteY1180" fmla="*/ 2296082 h 4837661"/>
                <a:gd name="connsiteX1181" fmla="*/ 2447619 w 10048557"/>
                <a:gd name="connsiteY1181" fmla="*/ 2301917 h 4837661"/>
                <a:gd name="connsiteX1182" fmla="*/ 2443073 w 10048557"/>
                <a:gd name="connsiteY1182" fmla="*/ 2314764 h 4837661"/>
                <a:gd name="connsiteX1183" fmla="*/ 2430781 w 10048557"/>
                <a:gd name="connsiteY1183" fmla="*/ 2314764 h 4837661"/>
                <a:gd name="connsiteX1184" fmla="*/ 2427559 w 10048557"/>
                <a:gd name="connsiteY1184" fmla="*/ 2302365 h 4837661"/>
                <a:gd name="connsiteX1185" fmla="*/ 3655091 w 10048557"/>
                <a:gd name="connsiteY1185" fmla="*/ 2272544 h 4837661"/>
                <a:gd name="connsiteX1186" fmla="*/ 3664982 w 10048557"/>
                <a:gd name="connsiteY1186" fmla="*/ 2280655 h 4837661"/>
                <a:gd name="connsiteX1187" fmla="*/ 3660436 w 10048557"/>
                <a:gd name="connsiteY1187" fmla="*/ 2290473 h 4837661"/>
                <a:gd name="connsiteX1188" fmla="*/ 3646561 w 10048557"/>
                <a:gd name="connsiteY1188" fmla="*/ 2285169 h 4837661"/>
                <a:gd name="connsiteX1189" fmla="*/ 3648479 w 10048557"/>
                <a:gd name="connsiteY1189" fmla="*/ 2276330 h 4837661"/>
                <a:gd name="connsiteX1190" fmla="*/ 3680800 w 10048557"/>
                <a:gd name="connsiteY1190" fmla="*/ 2268377 h 4837661"/>
                <a:gd name="connsiteX1191" fmla="*/ 3692975 w 10048557"/>
                <a:gd name="connsiteY1191" fmla="*/ 2271377 h 4837661"/>
                <a:gd name="connsiteX1192" fmla="*/ 3696641 w 10048557"/>
                <a:gd name="connsiteY1192" fmla="*/ 2284985 h 4837661"/>
                <a:gd name="connsiteX1193" fmla="*/ 3689044 w 10048557"/>
                <a:gd name="connsiteY1193" fmla="*/ 2289216 h 4837661"/>
                <a:gd name="connsiteX1194" fmla="*/ 3675426 w 10048557"/>
                <a:gd name="connsiteY1194" fmla="*/ 2283438 h 4837661"/>
                <a:gd name="connsiteX1195" fmla="*/ 3673072 w 10048557"/>
                <a:gd name="connsiteY1195" fmla="*/ 2272864 h 4837661"/>
                <a:gd name="connsiteX1196" fmla="*/ 2427179 w 10048557"/>
                <a:gd name="connsiteY1196" fmla="*/ 2264510 h 4837661"/>
                <a:gd name="connsiteX1197" fmla="*/ 2433306 w 10048557"/>
                <a:gd name="connsiteY1197" fmla="*/ 2276673 h 4837661"/>
                <a:gd name="connsiteX1198" fmla="*/ 2422114 w 10048557"/>
                <a:gd name="connsiteY1198" fmla="*/ 2281977 h 4837661"/>
                <a:gd name="connsiteX1199" fmla="*/ 2414749 w 10048557"/>
                <a:gd name="connsiteY1199" fmla="*/ 2275189 h 4837661"/>
                <a:gd name="connsiteX1200" fmla="*/ 2418437 w 10048557"/>
                <a:gd name="connsiteY1200" fmla="*/ 2266057 h 4837661"/>
                <a:gd name="connsiteX1201" fmla="*/ 3681877 w 10048557"/>
                <a:gd name="connsiteY1201" fmla="*/ 2233097 h 4837661"/>
                <a:gd name="connsiteX1202" fmla="*/ 3698237 w 10048557"/>
                <a:gd name="connsiteY1202" fmla="*/ 2234541 h 4837661"/>
                <a:gd name="connsiteX1203" fmla="*/ 3693475 w 10048557"/>
                <a:gd name="connsiteY1203" fmla="*/ 2249457 h 4837661"/>
                <a:gd name="connsiteX1204" fmla="*/ 3682474 w 10048557"/>
                <a:gd name="connsiteY1204" fmla="*/ 2243105 h 4837661"/>
                <a:gd name="connsiteX1205" fmla="*/ 3651603 w 10048557"/>
                <a:gd name="connsiteY1205" fmla="*/ 2231181 h 4837661"/>
                <a:gd name="connsiteX1206" fmla="*/ 3656172 w 10048557"/>
                <a:gd name="connsiteY1206" fmla="*/ 2247541 h 4837661"/>
                <a:gd name="connsiteX1207" fmla="*/ 3640016 w 10048557"/>
                <a:gd name="connsiteY1207" fmla="*/ 2247281 h 4837661"/>
                <a:gd name="connsiteX1208" fmla="*/ 3639812 w 10048557"/>
                <a:gd name="connsiteY1208" fmla="*/ 2235567 h 4837661"/>
                <a:gd name="connsiteX1209" fmla="*/ 9288812 w 10048557"/>
                <a:gd name="connsiteY1209" fmla="*/ 2229466 h 4837661"/>
                <a:gd name="connsiteX1210" fmla="*/ 9296426 w 10048557"/>
                <a:gd name="connsiteY1210" fmla="*/ 2242371 h 4837661"/>
                <a:gd name="connsiteX1211" fmla="*/ 9293311 w 10048557"/>
                <a:gd name="connsiteY1211" fmla="*/ 2251339 h 4837661"/>
                <a:gd name="connsiteX1212" fmla="*/ 9280066 w 10048557"/>
                <a:gd name="connsiteY1212" fmla="*/ 2247928 h 4837661"/>
                <a:gd name="connsiteX1213" fmla="*/ 9282154 w 10048557"/>
                <a:gd name="connsiteY1213" fmla="*/ 2234770 h 4837661"/>
                <a:gd name="connsiteX1214" fmla="*/ 2421408 w 10048557"/>
                <a:gd name="connsiteY1214" fmla="*/ 2225378 h 4837661"/>
                <a:gd name="connsiteX1215" fmla="*/ 2423952 w 10048557"/>
                <a:gd name="connsiteY1215" fmla="*/ 2235893 h 4837661"/>
                <a:gd name="connsiteX1216" fmla="*/ 2418134 w 10048557"/>
                <a:gd name="connsiteY1216" fmla="*/ 2246182 h 4837661"/>
                <a:gd name="connsiteX1217" fmla="*/ 2410759 w 10048557"/>
                <a:gd name="connsiteY1217" fmla="*/ 2259000 h 4837661"/>
                <a:gd name="connsiteX1218" fmla="*/ 2403124 w 10048557"/>
                <a:gd name="connsiteY1218" fmla="*/ 2250444 h 4837661"/>
                <a:gd name="connsiteX1219" fmla="*/ 2404324 w 10048557"/>
                <a:gd name="connsiteY1219" fmla="*/ 2237466 h 4837661"/>
                <a:gd name="connsiteX1220" fmla="*/ 2408902 w 10048557"/>
                <a:gd name="connsiteY1220" fmla="*/ 2228406 h 4837661"/>
                <a:gd name="connsiteX1221" fmla="*/ 2382225 w 10048557"/>
                <a:gd name="connsiteY1221" fmla="*/ 2223618 h 4837661"/>
                <a:gd name="connsiteX1222" fmla="*/ 2389195 w 10048557"/>
                <a:gd name="connsiteY1222" fmla="*/ 2235784 h 4837661"/>
                <a:gd name="connsiteX1223" fmla="*/ 2374860 w 10048557"/>
                <a:gd name="connsiteY1223" fmla="*/ 2239978 h 4837661"/>
                <a:gd name="connsiteX1224" fmla="*/ 2372835 w 10048557"/>
                <a:gd name="connsiteY1224" fmla="*/ 2227913 h 4837661"/>
                <a:gd name="connsiteX1225" fmla="*/ 2328582 w 10048557"/>
                <a:gd name="connsiteY1225" fmla="*/ 2200658 h 4837661"/>
                <a:gd name="connsiteX1226" fmla="*/ 2340724 w 10048557"/>
                <a:gd name="connsiteY1226" fmla="*/ 2207415 h 4837661"/>
                <a:gd name="connsiteX1227" fmla="*/ 2348828 w 10048557"/>
                <a:gd name="connsiteY1227" fmla="*/ 2211268 h 4837661"/>
                <a:gd name="connsiteX1228" fmla="*/ 2357440 w 10048557"/>
                <a:gd name="connsiteY1228" fmla="*/ 2214993 h 4837661"/>
                <a:gd name="connsiteX1229" fmla="*/ 2352897 w 10048557"/>
                <a:gd name="connsiteY1229" fmla="*/ 2223042 h 4837661"/>
                <a:gd name="connsiteX1230" fmla="*/ 2338433 w 10048557"/>
                <a:gd name="connsiteY1230" fmla="*/ 2223547 h 4837661"/>
                <a:gd name="connsiteX1231" fmla="*/ 2321608 w 10048557"/>
                <a:gd name="connsiteY1231" fmla="*/ 2209185 h 4837661"/>
                <a:gd name="connsiteX1232" fmla="*/ 3602886 w 10048557"/>
                <a:gd name="connsiteY1232" fmla="*/ 2199686 h 4837661"/>
                <a:gd name="connsiteX1233" fmla="*/ 3609252 w 10048557"/>
                <a:gd name="connsiteY1233" fmla="*/ 2210421 h 4837661"/>
                <a:gd name="connsiteX1234" fmla="*/ 3605631 w 10048557"/>
                <a:gd name="connsiteY1234" fmla="*/ 2221784 h 4837661"/>
                <a:gd name="connsiteX1235" fmla="*/ 3596171 w 10048557"/>
                <a:gd name="connsiteY1235" fmla="*/ 2214343 h 4837661"/>
                <a:gd name="connsiteX1236" fmla="*/ 3592892 w 10048557"/>
                <a:gd name="connsiteY1236" fmla="*/ 2203514 h 4837661"/>
                <a:gd name="connsiteX1237" fmla="*/ 2405055 w 10048557"/>
                <a:gd name="connsiteY1237" fmla="*/ 2185124 h 4837661"/>
                <a:gd name="connsiteX1238" fmla="*/ 2413929 w 10048557"/>
                <a:gd name="connsiteY1238" fmla="*/ 2195100 h 4837661"/>
                <a:gd name="connsiteX1239" fmla="*/ 2424833 w 10048557"/>
                <a:gd name="connsiteY1239" fmla="*/ 2199899 h 4837661"/>
                <a:gd name="connsiteX1240" fmla="*/ 2418760 w 10048557"/>
                <a:gd name="connsiteY1240" fmla="*/ 2208929 h 4837661"/>
                <a:gd name="connsiteX1241" fmla="*/ 2402958 w 10048557"/>
                <a:gd name="connsiteY1241" fmla="*/ 2207414 h 4837661"/>
                <a:gd name="connsiteX1242" fmla="*/ 2399618 w 10048557"/>
                <a:gd name="connsiteY1242" fmla="*/ 2192103 h 4837661"/>
                <a:gd name="connsiteX1243" fmla="*/ 2369363 w 10048557"/>
                <a:gd name="connsiteY1243" fmla="*/ 2183013 h 4837661"/>
                <a:gd name="connsiteX1244" fmla="*/ 2383189 w 10048557"/>
                <a:gd name="connsiteY1244" fmla="*/ 2186770 h 4837661"/>
                <a:gd name="connsiteX1245" fmla="*/ 2384813 w 10048557"/>
                <a:gd name="connsiteY1245" fmla="*/ 2199746 h 4837661"/>
                <a:gd name="connsiteX1246" fmla="*/ 2378232 w 10048557"/>
                <a:gd name="connsiteY1246" fmla="*/ 2206535 h 4837661"/>
                <a:gd name="connsiteX1247" fmla="*/ 2373430 w 10048557"/>
                <a:gd name="connsiteY1247" fmla="*/ 2199810 h 4837661"/>
                <a:gd name="connsiteX1248" fmla="*/ 2362527 w 10048557"/>
                <a:gd name="connsiteY1248" fmla="*/ 2193277 h 4837661"/>
                <a:gd name="connsiteX1249" fmla="*/ 2272614 w 10048557"/>
                <a:gd name="connsiteY1249" fmla="*/ 2178536 h 4837661"/>
                <a:gd name="connsiteX1250" fmla="*/ 2288383 w 10048557"/>
                <a:gd name="connsiteY1250" fmla="*/ 2183965 h 4837661"/>
                <a:gd name="connsiteX1251" fmla="*/ 2283806 w 10048557"/>
                <a:gd name="connsiteY1251" fmla="*/ 2197572 h 4837661"/>
                <a:gd name="connsiteX1252" fmla="*/ 2262317 w 10048557"/>
                <a:gd name="connsiteY1252" fmla="*/ 2191511 h 4837661"/>
                <a:gd name="connsiteX1253" fmla="*/ 2259928 w 10048557"/>
                <a:gd name="connsiteY1253" fmla="*/ 2182100 h 4837661"/>
                <a:gd name="connsiteX1254" fmla="*/ 8467558 w 10048557"/>
                <a:gd name="connsiteY1254" fmla="*/ 2156446 h 4837661"/>
                <a:gd name="connsiteX1255" fmla="*/ 8491167 w 10048557"/>
                <a:gd name="connsiteY1255" fmla="*/ 2158506 h 4837661"/>
                <a:gd name="connsiteX1256" fmla="*/ 8505230 w 10048557"/>
                <a:gd name="connsiteY1256" fmla="*/ 2187823 h 4837661"/>
                <a:gd name="connsiteX1257" fmla="*/ 8518454 w 10048557"/>
                <a:gd name="connsiteY1257" fmla="*/ 2208987 h 4837661"/>
                <a:gd name="connsiteX1258" fmla="*/ 8532017 w 10048557"/>
                <a:gd name="connsiteY1258" fmla="*/ 2229526 h 4837661"/>
                <a:gd name="connsiteX1259" fmla="*/ 8529001 w 10048557"/>
                <a:gd name="connsiteY1259" fmla="*/ 2244974 h 4837661"/>
                <a:gd name="connsiteX1260" fmla="*/ 8519977 w 10048557"/>
                <a:gd name="connsiteY1260" fmla="*/ 2261009 h 4837661"/>
                <a:gd name="connsiteX1261" fmla="*/ 8508790 w 10048557"/>
                <a:gd name="connsiteY1261" fmla="*/ 2280835 h 4837661"/>
                <a:gd name="connsiteX1262" fmla="*/ 8509467 w 10048557"/>
                <a:gd name="connsiteY1262" fmla="*/ 2293290 h 4837661"/>
                <a:gd name="connsiteX1263" fmla="*/ 8515189 w 10048557"/>
                <a:gd name="connsiteY1263" fmla="*/ 2303684 h 4837661"/>
                <a:gd name="connsiteX1264" fmla="*/ 8534473 w 10048557"/>
                <a:gd name="connsiteY1264" fmla="*/ 2315763 h 4837661"/>
                <a:gd name="connsiteX1265" fmla="*/ 8550662 w 10048557"/>
                <a:gd name="connsiteY1265" fmla="*/ 2333954 h 4837661"/>
                <a:gd name="connsiteX1266" fmla="*/ 8562864 w 10048557"/>
                <a:gd name="connsiteY1266" fmla="*/ 2331933 h 4837661"/>
                <a:gd name="connsiteX1267" fmla="*/ 8575062 w 10048557"/>
                <a:gd name="connsiteY1267" fmla="*/ 2329754 h 4837661"/>
                <a:gd name="connsiteX1268" fmla="*/ 8578965 w 10048557"/>
                <a:gd name="connsiteY1268" fmla="*/ 2318415 h 4837661"/>
                <a:gd name="connsiteX1269" fmla="*/ 8592773 w 10048557"/>
                <a:gd name="connsiteY1269" fmla="*/ 2323383 h 4837661"/>
                <a:gd name="connsiteX1270" fmla="*/ 8593207 w 10048557"/>
                <a:gd name="connsiteY1270" fmla="*/ 2331585 h 4837661"/>
                <a:gd name="connsiteX1271" fmla="*/ 8597998 w 10048557"/>
                <a:gd name="connsiteY1271" fmla="*/ 2336899 h 4837661"/>
                <a:gd name="connsiteX1272" fmla="*/ 8604397 w 10048557"/>
                <a:gd name="connsiteY1272" fmla="*/ 2345610 h 4837661"/>
                <a:gd name="connsiteX1273" fmla="*/ 8603000 w 10048557"/>
                <a:gd name="connsiteY1273" fmla="*/ 2364339 h 4837661"/>
                <a:gd name="connsiteX1274" fmla="*/ 8582994 w 10048557"/>
                <a:gd name="connsiteY1274" fmla="*/ 2358661 h 4837661"/>
                <a:gd name="connsiteX1275" fmla="*/ 8564688 w 10048557"/>
                <a:gd name="connsiteY1275" fmla="*/ 2351586 h 4837661"/>
                <a:gd name="connsiteX1276" fmla="*/ 8551508 w 10048557"/>
                <a:gd name="connsiteY1276" fmla="*/ 2350576 h 4837661"/>
                <a:gd name="connsiteX1277" fmla="*/ 8529134 w 10048557"/>
                <a:gd name="connsiteY1277" fmla="*/ 2349565 h 4837661"/>
                <a:gd name="connsiteX1278" fmla="*/ 8508452 w 10048557"/>
                <a:gd name="connsiteY1278" fmla="*/ 2339132 h 4837661"/>
                <a:gd name="connsiteX1279" fmla="*/ 8499295 w 10048557"/>
                <a:gd name="connsiteY1279" fmla="*/ 2329363 h 4837661"/>
                <a:gd name="connsiteX1280" fmla="*/ 8484041 w 10048557"/>
                <a:gd name="connsiteY1280" fmla="*/ 2302096 h 4837661"/>
                <a:gd name="connsiteX1281" fmla="*/ 8478024 w 10048557"/>
                <a:gd name="connsiteY1281" fmla="*/ 2292029 h 4837661"/>
                <a:gd name="connsiteX1282" fmla="*/ 8454591 w 10048557"/>
                <a:gd name="connsiteY1282" fmla="*/ 2271827 h 4837661"/>
                <a:gd name="connsiteX1283" fmla="*/ 8445530 w 10048557"/>
                <a:gd name="connsiteY1283" fmla="*/ 2247967 h 4837661"/>
                <a:gd name="connsiteX1284" fmla="*/ 8460461 w 10048557"/>
                <a:gd name="connsiteY1284" fmla="*/ 2227091 h 4837661"/>
                <a:gd name="connsiteX1285" fmla="*/ 8467918 w 10048557"/>
                <a:gd name="connsiteY1285" fmla="*/ 2200537 h 4837661"/>
                <a:gd name="connsiteX1286" fmla="*/ 8464535 w 10048557"/>
                <a:gd name="connsiteY1286" fmla="*/ 2181008 h 4837661"/>
                <a:gd name="connsiteX1287" fmla="*/ 1843380 w 10048557"/>
                <a:gd name="connsiteY1287" fmla="*/ 2154455 h 4837661"/>
                <a:gd name="connsiteX1288" fmla="*/ 1856887 w 10048557"/>
                <a:gd name="connsiteY1288" fmla="*/ 2155558 h 4837661"/>
                <a:gd name="connsiteX1289" fmla="*/ 1870685 w 10048557"/>
                <a:gd name="connsiteY1289" fmla="*/ 2158476 h 4837661"/>
                <a:gd name="connsiteX1290" fmla="*/ 1881047 w 10048557"/>
                <a:gd name="connsiteY1290" fmla="*/ 2162769 h 4837661"/>
                <a:gd name="connsiteX1291" fmla="*/ 1896115 w 10048557"/>
                <a:gd name="connsiteY1291" fmla="*/ 2170252 h 4837661"/>
                <a:gd name="connsiteX1292" fmla="*/ 1894622 w 10048557"/>
                <a:gd name="connsiteY1292" fmla="*/ 2180323 h 4837661"/>
                <a:gd name="connsiteX1293" fmla="*/ 1879653 w 10048557"/>
                <a:gd name="connsiteY1293" fmla="*/ 2185088 h 4837661"/>
                <a:gd name="connsiteX1294" fmla="*/ 1856766 w 10048557"/>
                <a:gd name="connsiteY1294" fmla="*/ 2180544 h 4837661"/>
                <a:gd name="connsiteX1295" fmla="*/ 1836878 w 10048557"/>
                <a:gd name="connsiteY1295" fmla="*/ 2174514 h 4837661"/>
                <a:gd name="connsiteX1296" fmla="*/ 1823320 w 10048557"/>
                <a:gd name="connsiteY1296" fmla="*/ 2160878 h 4837661"/>
                <a:gd name="connsiteX1297" fmla="*/ 2331454 w 10048557"/>
                <a:gd name="connsiteY1297" fmla="*/ 2153925 h 4837661"/>
                <a:gd name="connsiteX1298" fmla="*/ 2329738 w 10048557"/>
                <a:gd name="connsiteY1298" fmla="*/ 2168662 h 4837661"/>
                <a:gd name="connsiteX1299" fmla="*/ 2318194 w 10048557"/>
                <a:gd name="connsiteY1299" fmla="*/ 2170285 h 4837661"/>
                <a:gd name="connsiteX1300" fmla="*/ 2315095 w 10048557"/>
                <a:gd name="connsiteY1300" fmla="*/ 2156962 h 4837661"/>
                <a:gd name="connsiteX1301" fmla="*/ 2232348 w 10048557"/>
                <a:gd name="connsiteY1301" fmla="*/ 2153380 h 4837661"/>
                <a:gd name="connsiteX1302" fmla="*/ 2247846 w 10048557"/>
                <a:gd name="connsiteY1302" fmla="*/ 2159233 h 4837661"/>
                <a:gd name="connsiteX1303" fmla="*/ 2255414 w 10048557"/>
                <a:gd name="connsiteY1303" fmla="*/ 2169747 h 4837661"/>
                <a:gd name="connsiteX1304" fmla="*/ 2238633 w 10048557"/>
                <a:gd name="connsiteY1304" fmla="*/ 2182877 h 4837661"/>
                <a:gd name="connsiteX1305" fmla="*/ 2216766 w 10048557"/>
                <a:gd name="connsiteY1305" fmla="*/ 2178586 h 4837661"/>
                <a:gd name="connsiteX1306" fmla="*/ 2202296 w 10048557"/>
                <a:gd name="connsiteY1306" fmla="*/ 2173314 h 4837661"/>
                <a:gd name="connsiteX1307" fmla="*/ 2199322 w 10048557"/>
                <a:gd name="connsiteY1307" fmla="*/ 2166114 h 4837661"/>
                <a:gd name="connsiteX1308" fmla="*/ 2206124 w 10048557"/>
                <a:gd name="connsiteY1308" fmla="*/ 2156327 h 4837661"/>
                <a:gd name="connsiteX1309" fmla="*/ 2217251 w 10048557"/>
                <a:gd name="connsiteY1309" fmla="*/ 2154452 h 4837661"/>
                <a:gd name="connsiteX1310" fmla="*/ 2294202 w 10048557"/>
                <a:gd name="connsiteY1310" fmla="*/ 2146969 h 4837661"/>
                <a:gd name="connsiteX1311" fmla="*/ 2306173 w 10048557"/>
                <a:gd name="connsiteY1311" fmla="*/ 2159747 h 4837661"/>
                <a:gd name="connsiteX1312" fmla="*/ 2290980 w 10048557"/>
                <a:gd name="connsiteY1312" fmla="*/ 2167321 h 4837661"/>
                <a:gd name="connsiteX1313" fmla="*/ 2272554 w 10048557"/>
                <a:gd name="connsiteY1313" fmla="*/ 2161322 h 4837661"/>
                <a:gd name="connsiteX1314" fmla="*/ 2280216 w 10048557"/>
                <a:gd name="connsiteY1314" fmla="*/ 2152273 h 4837661"/>
                <a:gd name="connsiteX1315" fmla="*/ 2054156 w 10048557"/>
                <a:gd name="connsiteY1315" fmla="*/ 2113307 h 4837661"/>
                <a:gd name="connsiteX1316" fmla="*/ 2073416 w 10048557"/>
                <a:gd name="connsiteY1316" fmla="*/ 2114805 h 4837661"/>
                <a:gd name="connsiteX1317" fmla="*/ 2101872 w 10048557"/>
                <a:gd name="connsiteY1317" fmla="*/ 2117657 h 4837661"/>
                <a:gd name="connsiteX1318" fmla="*/ 2130854 w 10048557"/>
                <a:gd name="connsiteY1318" fmla="*/ 2127503 h 4837661"/>
                <a:gd name="connsiteX1319" fmla="*/ 2142779 w 10048557"/>
                <a:gd name="connsiteY1319" fmla="*/ 2137071 h 4837661"/>
                <a:gd name="connsiteX1320" fmla="*/ 2163087 w 10048557"/>
                <a:gd name="connsiteY1320" fmla="*/ 2142625 h 4837661"/>
                <a:gd name="connsiteX1321" fmla="*/ 2165373 w 10048557"/>
                <a:gd name="connsiteY1321" fmla="*/ 2153169 h 4837661"/>
                <a:gd name="connsiteX1322" fmla="*/ 2156282 w 10048557"/>
                <a:gd name="connsiteY1322" fmla="*/ 2158475 h 4837661"/>
                <a:gd name="connsiteX1323" fmla="*/ 2142356 w 10048557"/>
                <a:gd name="connsiteY1323" fmla="*/ 2158727 h 4837661"/>
                <a:gd name="connsiteX1324" fmla="*/ 2121512 w 10048557"/>
                <a:gd name="connsiteY1324" fmla="*/ 2160998 h 4837661"/>
                <a:gd name="connsiteX1325" fmla="*/ 2099419 w 10048557"/>
                <a:gd name="connsiteY1325" fmla="*/ 2169332 h 4837661"/>
                <a:gd name="connsiteX1326" fmla="*/ 2083437 w 10048557"/>
                <a:gd name="connsiteY1326" fmla="*/ 2181420 h 4837661"/>
                <a:gd name="connsiteX1327" fmla="*/ 2057526 w 10048557"/>
                <a:gd name="connsiteY1327" fmla="*/ 2179935 h 4837661"/>
                <a:gd name="connsiteX1328" fmla="*/ 2043291 w 10048557"/>
                <a:gd name="connsiteY1328" fmla="*/ 2170090 h 4837661"/>
                <a:gd name="connsiteX1329" fmla="*/ 2021171 w 10048557"/>
                <a:gd name="connsiteY1329" fmla="*/ 2173121 h 4837661"/>
                <a:gd name="connsiteX1330" fmla="*/ 2003117 w 10048557"/>
                <a:gd name="connsiteY1330" fmla="*/ 2178173 h 4837661"/>
                <a:gd name="connsiteX1331" fmla="*/ 1984837 w 10048557"/>
                <a:gd name="connsiteY1331" fmla="*/ 2172867 h 4837661"/>
                <a:gd name="connsiteX1332" fmla="*/ 1962746 w 10048557"/>
                <a:gd name="connsiteY1332" fmla="*/ 2172110 h 4837661"/>
                <a:gd name="connsiteX1333" fmla="*/ 1942920 w 10048557"/>
                <a:gd name="connsiteY1333" fmla="*/ 2163269 h 4837661"/>
                <a:gd name="connsiteX1334" fmla="*/ 1951334 w 10048557"/>
                <a:gd name="connsiteY1334" fmla="*/ 2153515 h 4837661"/>
                <a:gd name="connsiteX1335" fmla="*/ 1980471 w 10048557"/>
                <a:gd name="connsiteY1335" fmla="*/ 2153548 h 4837661"/>
                <a:gd name="connsiteX1336" fmla="*/ 2006431 w 10048557"/>
                <a:gd name="connsiteY1336" fmla="*/ 2157333 h 4837661"/>
                <a:gd name="connsiteX1337" fmla="*/ 2026680 w 10048557"/>
                <a:gd name="connsiteY1337" fmla="*/ 2156605 h 4837661"/>
                <a:gd name="connsiteX1338" fmla="*/ 2037586 w 10048557"/>
                <a:gd name="connsiteY1338" fmla="*/ 2145748 h 4837661"/>
                <a:gd name="connsiteX1339" fmla="*/ 2021273 w 10048557"/>
                <a:gd name="connsiteY1339" fmla="*/ 2130433 h 4837661"/>
                <a:gd name="connsiteX1340" fmla="*/ 2026135 w 10048557"/>
                <a:gd name="connsiteY1340" fmla="*/ 2120963 h 4837661"/>
                <a:gd name="connsiteX1341" fmla="*/ 2040718 w 10048557"/>
                <a:gd name="connsiteY1341" fmla="*/ 2115582 h 4837661"/>
                <a:gd name="connsiteX1342" fmla="*/ 8100441 w 10048557"/>
                <a:gd name="connsiteY1342" fmla="*/ 2112344 h 4837661"/>
                <a:gd name="connsiteX1343" fmla="*/ 8120911 w 10048557"/>
                <a:gd name="connsiteY1343" fmla="*/ 2114738 h 4837661"/>
                <a:gd name="connsiteX1344" fmla="*/ 8124774 w 10048557"/>
                <a:gd name="connsiteY1344" fmla="*/ 2131813 h 4837661"/>
                <a:gd name="connsiteX1345" fmla="*/ 8101761 w 10048557"/>
                <a:gd name="connsiteY1345" fmla="*/ 2155001 h 4837661"/>
                <a:gd name="connsiteX1346" fmla="*/ 8095660 w 10048557"/>
                <a:gd name="connsiteY1346" fmla="*/ 2174150 h 4837661"/>
                <a:gd name="connsiteX1347" fmla="*/ 8077774 w 10048557"/>
                <a:gd name="connsiteY1347" fmla="*/ 2176508 h 4837661"/>
                <a:gd name="connsiteX1348" fmla="*/ 8068659 w 10048557"/>
                <a:gd name="connsiteY1348" fmla="*/ 2158370 h 4837661"/>
                <a:gd name="connsiteX1349" fmla="*/ 8063558 w 10048557"/>
                <a:gd name="connsiteY1349" fmla="*/ 2142210 h 4837661"/>
                <a:gd name="connsiteX1350" fmla="*/ 8068078 w 10048557"/>
                <a:gd name="connsiteY1350" fmla="*/ 2129160 h 4837661"/>
                <a:gd name="connsiteX1351" fmla="*/ 8075776 w 10048557"/>
                <a:gd name="connsiteY1351" fmla="*/ 2119435 h 4837661"/>
                <a:gd name="connsiteX1352" fmla="*/ 1731689 w 10048557"/>
                <a:gd name="connsiteY1352" fmla="*/ 2111876 h 4837661"/>
                <a:gd name="connsiteX1353" fmla="*/ 1745357 w 10048557"/>
                <a:gd name="connsiteY1353" fmla="*/ 2122451 h 4837661"/>
                <a:gd name="connsiteX1354" fmla="*/ 1734743 w 10048557"/>
                <a:gd name="connsiteY1354" fmla="*/ 2133027 h 4837661"/>
                <a:gd name="connsiteX1355" fmla="*/ 1717483 w 10048557"/>
                <a:gd name="connsiteY1355" fmla="*/ 2130249 h 4837661"/>
                <a:gd name="connsiteX1356" fmla="*/ 1713666 w 10048557"/>
                <a:gd name="connsiteY1356" fmla="*/ 2119510 h 4837661"/>
                <a:gd name="connsiteX1357" fmla="*/ 1719007 w 10048557"/>
                <a:gd name="connsiteY1357" fmla="*/ 2113482 h 4837661"/>
                <a:gd name="connsiteX1358" fmla="*/ 1993048 w 10048557"/>
                <a:gd name="connsiteY1358" fmla="*/ 2026178 h 4837661"/>
                <a:gd name="connsiteX1359" fmla="*/ 2008472 w 10048557"/>
                <a:gd name="connsiteY1359" fmla="*/ 2031515 h 4837661"/>
                <a:gd name="connsiteX1360" fmla="*/ 2008439 w 10048557"/>
                <a:gd name="connsiteY1360" fmla="*/ 2045375 h 4837661"/>
                <a:gd name="connsiteX1361" fmla="*/ 1994008 w 10048557"/>
                <a:gd name="connsiteY1361" fmla="*/ 2043134 h 4837661"/>
                <a:gd name="connsiteX1362" fmla="*/ 1976207 w 10048557"/>
                <a:gd name="connsiteY1362" fmla="*/ 2042123 h 4837661"/>
                <a:gd name="connsiteX1363" fmla="*/ 1968489 w 10048557"/>
                <a:gd name="connsiteY1363" fmla="*/ 2039061 h 4837661"/>
                <a:gd name="connsiteX1364" fmla="*/ 1980114 w 10048557"/>
                <a:gd name="connsiteY1364" fmla="*/ 2029967 h 4837661"/>
                <a:gd name="connsiteX1365" fmla="*/ 2063974 w 10048557"/>
                <a:gd name="connsiteY1365" fmla="*/ 1996442 h 4837661"/>
                <a:gd name="connsiteX1366" fmla="*/ 2073318 w 10048557"/>
                <a:gd name="connsiteY1366" fmla="*/ 1997439 h 4837661"/>
                <a:gd name="connsiteX1367" fmla="*/ 2076880 w 10048557"/>
                <a:gd name="connsiteY1367" fmla="*/ 2007161 h 4837661"/>
                <a:gd name="connsiteX1368" fmla="*/ 2063244 w 10048557"/>
                <a:gd name="connsiteY1368" fmla="*/ 2014770 h 4837661"/>
                <a:gd name="connsiteX1369" fmla="*/ 2049006 w 10048557"/>
                <a:gd name="connsiteY1369" fmla="*/ 2018527 h 4837661"/>
                <a:gd name="connsiteX1370" fmla="*/ 2037084 w 10048557"/>
                <a:gd name="connsiteY1370" fmla="*/ 2026069 h 4837661"/>
                <a:gd name="connsiteX1371" fmla="*/ 2028200 w 10048557"/>
                <a:gd name="connsiteY1371" fmla="*/ 2013254 h 4837661"/>
                <a:gd name="connsiteX1372" fmla="*/ 2041107 w 10048557"/>
                <a:gd name="connsiteY1372" fmla="*/ 1999287 h 4837661"/>
                <a:gd name="connsiteX1373" fmla="*/ 2052069 w 10048557"/>
                <a:gd name="connsiteY1373" fmla="*/ 1999317 h 4837661"/>
                <a:gd name="connsiteX1374" fmla="*/ 1754246 w 10048557"/>
                <a:gd name="connsiteY1374" fmla="*/ 1991652 h 4837661"/>
                <a:gd name="connsiteX1375" fmla="*/ 1781982 w 10048557"/>
                <a:gd name="connsiteY1375" fmla="*/ 1995455 h 4837661"/>
                <a:gd name="connsiteX1376" fmla="*/ 1803185 w 10048557"/>
                <a:gd name="connsiteY1376" fmla="*/ 1999214 h 4837661"/>
                <a:gd name="connsiteX1377" fmla="*/ 1834933 w 10048557"/>
                <a:gd name="connsiteY1377" fmla="*/ 2004992 h 4837661"/>
                <a:gd name="connsiteX1378" fmla="*/ 1868441 w 10048557"/>
                <a:gd name="connsiteY1378" fmla="*/ 2025164 h 4837661"/>
                <a:gd name="connsiteX1379" fmla="*/ 1905526 w 10048557"/>
                <a:gd name="connsiteY1379" fmla="*/ 2049122 h 4837661"/>
                <a:gd name="connsiteX1380" fmla="*/ 1933246 w 10048557"/>
                <a:gd name="connsiteY1380" fmla="*/ 2059477 h 4837661"/>
                <a:gd name="connsiteX1381" fmla="*/ 1963503 w 10048557"/>
                <a:gd name="connsiteY1381" fmla="*/ 2070837 h 4837661"/>
                <a:gd name="connsiteX1382" fmla="*/ 1986137 w 10048557"/>
                <a:gd name="connsiteY1382" fmla="*/ 2084221 h 4837661"/>
                <a:gd name="connsiteX1383" fmla="*/ 1985886 w 10048557"/>
                <a:gd name="connsiteY1383" fmla="*/ 2097577 h 4837661"/>
                <a:gd name="connsiteX1384" fmla="*/ 1976724 w 10048557"/>
                <a:gd name="connsiteY1384" fmla="*/ 2098335 h 4837661"/>
                <a:gd name="connsiteX1385" fmla="*/ 1960703 w 10048557"/>
                <a:gd name="connsiteY1385" fmla="*/ 2104898 h 4837661"/>
                <a:gd name="connsiteX1386" fmla="*/ 1950063 w 10048557"/>
                <a:gd name="connsiteY1386" fmla="*/ 2110928 h 4837661"/>
                <a:gd name="connsiteX1387" fmla="*/ 1929715 w 10048557"/>
                <a:gd name="connsiteY1387" fmla="*/ 2107893 h 4837661"/>
                <a:gd name="connsiteX1388" fmla="*/ 1915217 w 10048557"/>
                <a:gd name="connsiteY1388" fmla="*/ 2100320 h 4837661"/>
                <a:gd name="connsiteX1389" fmla="*/ 1892599 w 10048557"/>
                <a:gd name="connsiteY1389" fmla="*/ 2100320 h 4837661"/>
                <a:gd name="connsiteX1390" fmla="*/ 1873807 w 10048557"/>
                <a:gd name="connsiteY1390" fmla="*/ 2102340 h 4837661"/>
                <a:gd name="connsiteX1391" fmla="*/ 1855498 w 10048557"/>
                <a:gd name="connsiteY1391" fmla="*/ 2097325 h 4837661"/>
                <a:gd name="connsiteX1392" fmla="*/ 1861316 w 10048557"/>
                <a:gd name="connsiteY1392" fmla="*/ 2085489 h 4837661"/>
                <a:gd name="connsiteX1393" fmla="*/ 1859061 w 10048557"/>
                <a:gd name="connsiteY1393" fmla="*/ 2067331 h 4837661"/>
                <a:gd name="connsiteX1394" fmla="*/ 1847658 w 10048557"/>
                <a:gd name="connsiteY1394" fmla="*/ 2052718 h 4837661"/>
                <a:gd name="connsiteX1395" fmla="*/ 1806715 w 10048557"/>
                <a:gd name="connsiteY1395" fmla="*/ 2037061 h 4837661"/>
                <a:gd name="connsiteX1396" fmla="*/ 1773923 w 10048557"/>
                <a:gd name="connsiteY1396" fmla="*/ 2025730 h 4837661"/>
                <a:gd name="connsiteX1397" fmla="*/ 1739747 w 10048557"/>
                <a:gd name="connsiteY1397" fmla="*/ 2018185 h 4837661"/>
                <a:gd name="connsiteX1398" fmla="*/ 1683357 w 10048557"/>
                <a:gd name="connsiteY1398" fmla="*/ 2028726 h 4837661"/>
                <a:gd name="connsiteX1399" fmla="*/ 1650177 w 10048557"/>
                <a:gd name="connsiteY1399" fmla="*/ 2036809 h 4837661"/>
                <a:gd name="connsiteX1400" fmla="*/ 1650130 w 10048557"/>
                <a:gd name="connsiteY1400" fmla="*/ 2017933 h 4837661"/>
                <a:gd name="connsiteX1401" fmla="*/ 1679764 w 10048557"/>
                <a:gd name="connsiteY1401" fmla="*/ 2002024 h 4837661"/>
                <a:gd name="connsiteX1402" fmla="*/ 1712260 w 10048557"/>
                <a:gd name="connsiteY1402" fmla="*/ 1993324 h 4837661"/>
                <a:gd name="connsiteX1403" fmla="*/ 1969238 w 10048557"/>
                <a:gd name="connsiteY1403" fmla="*/ 1976647 h 4837661"/>
                <a:gd name="connsiteX1404" fmla="*/ 1982521 w 10048557"/>
                <a:gd name="connsiteY1404" fmla="*/ 1977978 h 4837661"/>
                <a:gd name="connsiteX1405" fmla="*/ 1987453 w 10048557"/>
                <a:gd name="connsiteY1405" fmla="*/ 1991533 h 4837661"/>
                <a:gd name="connsiteX1406" fmla="*/ 1975206 w 10048557"/>
                <a:gd name="connsiteY1406" fmla="*/ 1993017 h 4837661"/>
                <a:gd name="connsiteX1407" fmla="*/ 1962442 w 10048557"/>
                <a:gd name="connsiteY1407" fmla="*/ 1980513 h 4837661"/>
                <a:gd name="connsiteX1408" fmla="*/ 1966969 w 10048557"/>
                <a:gd name="connsiteY1408" fmla="*/ 1937034 h 4837661"/>
                <a:gd name="connsiteX1409" fmla="*/ 1974465 w 10048557"/>
                <a:gd name="connsiteY1409" fmla="*/ 1944498 h 4837661"/>
                <a:gd name="connsiteX1410" fmla="*/ 1974465 w 10048557"/>
                <a:gd name="connsiteY1410" fmla="*/ 1961860 h 4837661"/>
                <a:gd name="connsiteX1411" fmla="*/ 1960349 w 10048557"/>
                <a:gd name="connsiteY1411" fmla="*/ 1958196 h 4837661"/>
                <a:gd name="connsiteX1412" fmla="*/ 1958105 w 10048557"/>
                <a:gd name="connsiteY1412" fmla="*/ 1943538 h 4837661"/>
                <a:gd name="connsiteX1413" fmla="*/ 8434348 w 10048557"/>
                <a:gd name="connsiteY1413" fmla="*/ 1915720 h 4837661"/>
                <a:gd name="connsiteX1414" fmla="*/ 8462493 w 10048557"/>
                <a:gd name="connsiteY1414" fmla="*/ 1928029 h 4837661"/>
                <a:gd name="connsiteX1415" fmla="*/ 8460457 w 10048557"/>
                <a:gd name="connsiteY1415" fmla="*/ 1960348 h 4837661"/>
                <a:gd name="connsiteX1416" fmla="*/ 8457407 w 10048557"/>
                <a:gd name="connsiteY1416" fmla="*/ 1977860 h 4837661"/>
                <a:gd name="connsiteX1417" fmla="*/ 8458424 w 10048557"/>
                <a:gd name="connsiteY1417" fmla="*/ 1994988 h 4837661"/>
                <a:gd name="connsiteX1418" fmla="*/ 8454354 w 10048557"/>
                <a:gd name="connsiteY1418" fmla="*/ 2019566 h 4837661"/>
                <a:gd name="connsiteX1419" fmla="*/ 8437786 w 10048557"/>
                <a:gd name="connsiteY1419" fmla="*/ 2023270 h 4837661"/>
                <a:gd name="connsiteX1420" fmla="*/ 8422528 w 10048557"/>
                <a:gd name="connsiteY1420" fmla="*/ 2006102 h 4837661"/>
                <a:gd name="connsiteX1421" fmla="*/ 8412681 w 10048557"/>
                <a:gd name="connsiteY1421" fmla="*/ 1995367 h 4837661"/>
                <a:gd name="connsiteX1422" fmla="*/ 8406697 w 10048557"/>
                <a:gd name="connsiteY1422" fmla="*/ 1978239 h 4837661"/>
                <a:gd name="connsiteX1423" fmla="*/ 8421231 w 10048557"/>
                <a:gd name="connsiteY1423" fmla="*/ 1959522 h 4837661"/>
                <a:gd name="connsiteX1424" fmla="*/ 8425234 w 10048557"/>
                <a:gd name="connsiteY1424" fmla="*/ 1930792 h 4837661"/>
                <a:gd name="connsiteX1425" fmla="*/ 1872019 w 10048557"/>
                <a:gd name="connsiteY1425" fmla="*/ 1893830 h 4837661"/>
                <a:gd name="connsiteX1426" fmla="*/ 1885933 w 10048557"/>
                <a:gd name="connsiteY1426" fmla="*/ 1898398 h 4837661"/>
                <a:gd name="connsiteX1427" fmla="*/ 1885933 w 10048557"/>
                <a:gd name="connsiteY1427" fmla="*/ 1916581 h 4837661"/>
                <a:gd name="connsiteX1428" fmla="*/ 1882149 w 10048557"/>
                <a:gd name="connsiteY1428" fmla="*/ 1925387 h 4837661"/>
                <a:gd name="connsiteX1429" fmla="*/ 1892001 w 10048557"/>
                <a:gd name="connsiteY1429" fmla="*/ 1932871 h 4837661"/>
                <a:gd name="connsiteX1430" fmla="*/ 1888953 w 10048557"/>
                <a:gd name="connsiteY1430" fmla="*/ 1946506 h 4837661"/>
                <a:gd name="connsiteX1431" fmla="*/ 1879575 w 10048557"/>
                <a:gd name="connsiteY1431" fmla="*/ 1942970 h 4837661"/>
                <a:gd name="connsiteX1432" fmla="*/ 1863669 w 10048557"/>
                <a:gd name="connsiteY1432" fmla="*/ 1924882 h 4837661"/>
                <a:gd name="connsiteX1433" fmla="*/ 1876769 w 10048557"/>
                <a:gd name="connsiteY1433" fmla="*/ 1917756 h 4837661"/>
                <a:gd name="connsiteX1434" fmla="*/ 1863689 w 10048557"/>
                <a:gd name="connsiteY1434" fmla="*/ 1899103 h 4837661"/>
                <a:gd name="connsiteX1435" fmla="*/ 1896326 w 10048557"/>
                <a:gd name="connsiteY1435" fmla="*/ 1887212 h 4837661"/>
                <a:gd name="connsiteX1436" fmla="*/ 1905697 w 10048557"/>
                <a:gd name="connsiteY1436" fmla="*/ 1889304 h 4837661"/>
                <a:gd name="connsiteX1437" fmla="*/ 1917150 w 10048557"/>
                <a:gd name="connsiteY1437" fmla="*/ 1896515 h 4837661"/>
                <a:gd name="connsiteX1438" fmla="*/ 1910284 w 10048557"/>
                <a:gd name="connsiteY1438" fmla="*/ 1903572 h 4837661"/>
                <a:gd name="connsiteX1439" fmla="*/ 1895313 w 10048557"/>
                <a:gd name="connsiteY1439" fmla="*/ 1901021 h 4837661"/>
                <a:gd name="connsiteX1440" fmla="*/ 1888239 w 10048557"/>
                <a:gd name="connsiteY1440" fmla="*/ 1895097 h 4837661"/>
                <a:gd name="connsiteX1441" fmla="*/ 6118344 w 10048557"/>
                <a:gd name="connsiteY1441" fmla="*/ 1859761 h 4837661"/>
                <a:gd name="connsiteX1442" fmla="*/ 6121834 w 10048557"/>
                <a:gd name="connsiteY1442" fmla="*/ 1886600 h 4837661"/>
                <a:gd name="connsiteX1443" fmla="*/ 6105756 w 10048557"/>
                <a:gd name="connsiteY1443" fmla="*/ 1890936 h 4837661"/>
                <a:gd name="connsiteX1444" fmla="*/ 6099487 w 10048557"/>
                <a:gd name="connsiteY1444" fmla="*/ 1869486 h 4837661"/>
                <a:gd name="connsiteX1445" fmla="*/ 1922448 w 10048557"/>
                <a:gd name="connsiteY1445" fmla="*/ 1846325 h 4837661"/>
                <a:gd name="connsiteX1446" fmla="*/ 1928490 w 10048557"/>
                <a:gd name="connsiteY1446" fmla="*/ 1852605 h 4837661"/>
                <a:gd name="connsiteX1447" fmla="*/ 1937083 w 10048557"/>
                <a:gd name="connsiteY1447" fmla="*/ 1861885 h 4837661"/>
                <a:gd name="connsiteX1448" fmla="*/ 1934030 w 10048557"/>
                <a:gd name="connsiteY1448" fmla="*/ 1873752 h 4837661"/>
                <a:gd name="connsiteX1449" fmla="*/ 1921599 w 10048557"/>
                <a:gd name="connsiteY1449" fmla="*/ 1882623 h 4837661"/>
                <a:gd name="connsiteX1450" fmla="*/ 1918501 w 10048557"/>
                <a:gd name="connsiteY1450" fmla="*/ 1874036 h 4837661"/>
                <a:gd name="connsiteX1451" fmla="*/ 1914848 w 10048557"/>
                <a:gd name="connsiteY1451" fmla="*/ 1864948 h 4837661"/>
                <a:gd name="connsiteX1452" fmla="*/ 1911855 w 10048557"/>
                <a:gd name="connsiteY1452" fmla="*/ 1850835 h 4837661"/>
                <a:gd name="connsiteX1453" fmla="*/ 1887903 w 10048557"/>
                <a:gd name="connsiteY1453" fmla="*/ 1844747 h 4837661"/>
                <a:gd name="connsiteX1454" fmla="*/ 1899861 w 10048557"/>
                <a:gd name="connsiteY1454" fmla="*/ 1849609 h 4837661"/>
                <a:gd name="connsiteX1455" fmla="*/ 1893278 w 10048557"/>
                <a:gd name="connsiteY1455" fmla="*/ 1857078 h 4837661"/>
                <a:gd name="connsiteX1456" fmla="*/ 1884218 w 10048557"/>
                <a:gd name="connsiteY1456" fmla="*/ 1863109 h 4837661"/>
                <a:gd name="connsiteX1457" fmla="*/ 1882696 w 10048557"/>
                <a:gd name="connsiteY1457" fmla="*/ 1873146 h 4837661"/>
                <a:gd name="connsiteX1458" fmla="*/ 1872045 w 10048557"/>
                <a:gd name="connsiteY1458" fmla="*/ 1879176 h 4837661"/>
                <a:gd name="connsiteX1459" fmla="*/ 1866005 w 10048557"/>
                <a:gd name="connsiteY1459" fmla="*/ 1875419 h 4837661"/>
                <a:gd name="connsiteX1460" fmla="*/ 1870360 w 10048557"/>
                <a:gd name="connsiteY1460" fmla="*/ 1868129 h 4837661"/>
                <a:gd name="connsiteX1461" fmla="*/ 1875536 w 10048557"/>
                <a:gd name="connsiteY1461" fmla="*/ 1859383 h 4837661"/>
                <a:gd name="connsiteX1462" fmla="*/ 1870611 w 10048557"/>
                <a:gd name="connsiteY1462" fmla="*/ 1849580 h 4837661"/>
                <a:gd name="connsiteX1463" fmla="*/ 2390869 w 10048557"/>
                <a:gd name="connsiteY1463" fmla="*/ 1622753 h 4837661"/>
                <a:gd name="connsiteX1464" fmla="*/ 2415123 w 10048557"/>
                <a:gd name="connsiteY1464" fmla="*/ 1641269 h 4837661"/>
                <a:gd name="connsiteX1465" fmla="*/ 2397317 w 10048557"/>
                <a:gd name="connsiteY1465" fmla="*/ 1654275 h 4837661"/>
                <a:gd name="connsiteX1466" fmla="*/ 2372008 w 10048557"/>
                <a:gd name="connsiteY1466" fmla="*/ 1645974 h 4837661"/>
                <a:gd name="connsiteX1467" fmla="*/ 2381012 w 10048557"/>
                <a:gd name="connsiteY1467" fmla="*/ 1626542 h 4837661"/>
                <a:gd name="connsiteX1468" fmla="*/ 8645858 w 10048557"/>
                <a:gd name="connsiteY1468" fmla="*/ 1611325 h 4837661"/>
                <a:gd name="connsiteX1469" fmla="*/ 8659592 w 10048557"/>
                <a:gd name="connsiteY1469" fmla="*/ 1621044 h 4837661"/>
                <a:gd name="connsiteX1470" fmla="*/ 8675610 w 10048557"/>
                <a:gd name="connsiteY1470" fmla="*/ 1629379 h 4837661"/>
                <a:gd name="connsiteX1471" fmla="*/ 8686040 w 10048557"/>
                <a:gd name="connsiteY1471" fmla="*/ 1636368 h 4837661"/>
                <a:gd name="connsiteX1472" fmla="*/ 8685022 w 10048557"/>
                <a:gd name="connsiteY1472" fmla="*/ 1654465 h 4837661"/>
                <a:gd name="connsiteX1473" fmla="*/ 8688753 w 10048557"/>
                <a:gd name="connsiteY1473" fmla="*/ 1668524 h 4837661"/>
                <a:gd name="connsiteX1474" fmla="*/ 8690447 w 10048557"/>
                <a:gd name="connsiteY1474" fmla="*/ 1685317 h 4837661"/>
                <a:gd name="connsiteX1475" fmla="*/ 8682350 w 10048557"/>
                <a:gd name="connsiteY1475" fmla="*/ 1694367 h 4837661"/>
                <a:gd name="connsiteX1476" fmla="*/ 8662476 w 10048557"/>
                <a:gd name="connsiteY1476" fmla="*/ 1688600 h 4837661"/>
                <a:gd name="connsiteX1477" fmla="*/ 8663489 w 10048557"/>
                <a:gd name="connsiteY1477" fmla="*/ 1669747 h 4837661"/>
                <a:gd name="connsiteX1478" fmla="*/ 8644886 w 10048557"/>
                <a:gd name="connsiteY1478" fmla="*/ 1653584 h 4837661"/>
                <a:gd name="connsiteX1479" fmla="*/ 8635504 w 10048557"/>
                <a:gd name="connsiteY1479" fmla="*/ 1644242 h 4837661"/>
                <a:gd name="connsiteX1480" fmla="*/ 8631795 w 10048557"/>
                <a:gd name="connsiteY1480" fmla="*/ 1628752 h 4837661"/>
                <a:gd name="connsiteX1481" fmla="*/ 8709171 w 10048557"/>
                <a:gd name="connsiteY1481" fmla="*/ 1602695 h 4837661"/>
                <a:gd name="connsiteX1482" fmla="*/ 8735536 w 10048557"/>
                <a:gd name="connsiteY1482" fmla="*/ 1608253 h 4837661"/>
                <a:gd name="connsiteX1483" fmla="*/ 8749805 w 10048557"/>
                <a:gd name="connsiteY1483" fmla="*/ 1604526 h 4837661"/>
                <a:gd name="connsiteX1484" fmla="*/ 8743659 w 10048557"/>
                <a:gd name="connsiteY1484" fmla="*/ 1631799 h 4837661"/>
                <a:gd name="connsiteX1485" fmla="*/ 8733492 w 10048557"/>
                <a:gd name="connsiteY1485" fmla="*/ 1645266 h 4837661"/>
                <a:gd name="connsiteX1486" fmla="*/ 8711875 w 10048557"/>
                <a:gd name="connsiteY1486" fmla="*/ 1641565 h 4837661"/>
                <a:gd name="connsiteX1487" fmla="*/ 8711498 w 10048557"/>
                <a:gd name="connsiteY1487" fmla="*/ 1622832 h 4837661"/>
                <a:gd name="connsiteX1488" fmla="*/ 8702169 w 10048557"/>
                <a:gd name="connsiteY1488" fmla="*/ 1611803 h 4837661"/>
                <a:gd name="connsiteX1489" fmla="*/ 5539722 w 10048557"/>
                <a:gd name="connsiteY1489" fmla="*/ 1538303 h 4837661"/>
                <a:gd name="connsiteX1490" fmla="*/ 5556779 w 10048557"/>
                <a:gd name="connsiteY1490" fmla="*/ 1541146 h 4837661"/>
                <a:gd name="connsiteX1491" fmla="*/ 5549705 w 10048557"/>
                <a:gd name="connsiteY1491" fmla="*/ 1552930 h 4837661"/>
                <a:gd name="connsiteX1492" fmla="*/ 5539871 w 10048557"/>
                <a:gd name="connsiteY1492" fmla="*/ 1559623 h 4837661"/>
                <a:gd name="connsiteX1493" fmla="*/ 5530037 w 10048557"/>
                <a:gd name="connsiteY1493" fmla="*/ 1570059 h 4837661"/>
                <a:gd name="connsiteX1494" fmla="*/ 5521267 w 10048557"/>
                <a:gd name="connsiteY1494" fmla="*/ 1582771 h 4837661"/>
                <a:gd name="connsiteX1495" fmla="*/ 5499946 w 10048557"/>
                <a:gd name="connsiteY1495" fmla="*/ 1571658 h 4837661"/>
                <a:gd name="connsiteX1496" fmla="*/ 5489557 w 10048557"/>
                <a:gd name="connsiteY1496" fmla="*/ 1564673 h 4837661"/>
                <a:gd name="connsiteX1497" fmla="*/ 5491645 w 10048557"/>
                <a:gd name="connsiteY1497" fmla="*/ 1550530 h 4837661"/>
                <a:gd name="connsiteX1498" fmla="*/ 5516063 w 10048557"/>
                <a:gd name="connsiteY1498" fmla="*/ 1551541 h 4837661"/>
                <a:gd name="connsiteX1499" fmla="*/ 5529551 w 10048557"/>
                <a:gd name="connsiteY1499" fmla="*/ 1547312 h 4837661"/>
                <a:gd name="connsiteX1500" fmla="*/ 5211866 w 10048557"/>
                <a:gd name="connsiteY1500" fmla="*/ 1538133 h 4837661"/>
                <a:gd name="connsiteX1501" fmla="*/ 5221309 w 10048557"/>
                <a:gd name="connsiteY1501" fmla="*/ 1540752 h 4837661"/>
                <a:gd name="connsiteX1502" fmla="*/ 5237747 w 10048557"/>
                <a:gd name="connsiteY1502" fmla="*/ 1541120 h 4837661"/>
                <a:gd name="connsiteX1503" fmla="*/ 5262246 w 10048557"/>
                <a:gd name="connsiteY1503" fmla="*/ 1545126 h 4837661"/>
                <a:gd name="connsiteX1504" fmla="*/ 5273805 w 10048557"/>
                <a:gd name="connsiteY1504" fmla="*/ 1552058 h 4837661"/>
                <a:gd name="connsiteX1505" fmla="*/ 5286993 w 10048557"/>
                <a:gd name="connsiteY1505" fmla="*/ 1554835 h 4837661"/>
                <a:gd name="connsiteX1506" fmla="*/ 5301964 w 10048557"/>
                <a:gd name="connsiteY1506" fmla="*/ 1553574 h 4837661"/>
                <a:gd name="connsiteX1507" fmla="*/ 5303458 w 10048557"/>
                <a:gd name="connsiteY1507" fmla="*/ 1564936 h 4837661"/>
                <a:gd name="connsiteX1508" fmla="*/ 5283658 w 10048557"/>
                <a:gd name="connsiteY1508" fmla="*/ 1570996 h 4837661"/>
                <a:gd name="connsiteX1509" fmla="*/ 5265604 w 10048557"/>
                <a:gd name="connsiteY1509" fmla="*/ 1570996 h 4837661"/>
                <a:gd name="connsiteX1510" fmla="*/ 5245831 w 10048557"/>
                <a:gd name="connsiteY1510" fmla="*/ 1567998 h 4837661"/>
                <a:gd name="connsiteX1511" fmla="*/ 5234421 w 10048557"/>
                <a:gd name="connsiteY1511" fmla="*/ 1558908 h 4837661"/>
                <a:gd name="connsiteX1512" fmla="*/ 5222988 w 10048557"/>
                <a:gd name="connsiteY1512" fmla="*/ 1550572 h 4837661"/>
                <a:gd name="connsiteX1513" fmla="*/ 5206126 w 10048557"/>
                <a:gd name="connsiteY1513" fmla="*/ 1546027 h 4837661"/>
                <a:gd name="connsiteX1514" fmla="*/ 5211866 w 10048557"/>
                <a:gd name="connsiteY1514" fmla="*/ 1538133 h 4837661"/>
                <a:gd name="connsiteX1515" fmla="*/ 4906709 w 10048557"/>
                <a:gd name="connsiteY1515" fmla="*/ 1521152 h 4837661"/>
                <a:gd name="connsiteX1516" fmla="*/ 4919584 w 10048557"/>
                <a:gd name="connsiteY1516" fmla="*/ 1521975 h 4837661"/>
                <a:gd name="connsiteX1517" fmla="*/ 4924812 w 10048557"/>
                <a:gd name="connsiteY1517" fmla="*/ 1538118 h 4837661"/>
                <a:gd name="connsiteX1518" fmla="*/ 4905429 w 10048557"/>
                <a:gd name="connsiteY1518" fmla="*/ 1535056 h 4837661"/>
                <a:gd name="connsiteX1519" fmla="*/ 4895811 w 10048557"/>
                <a:gd name="connsiteY1519" fmla="*/ 1447799 h 4837661"/>
                <a:gd name="connsiteX1520" fmla="*/ 4909501 w 10048557"/>
                <a:gd name="connsiteY1520" fmla="*/ 1450912 h 4837661"/>
                <a:gd name="connsiteX1521" fmla="*/ 4919130 w 10048557"/>
                <a:gd name="connsiteY1521" fmla="*/ 1460700 h 4837661"/>
                <a:gd name="connsiteX1522" fmla="*/ 4942239 w 10048557"/>
                <a:gd name="connsiteY1522" fmla="*/ 1450850 h 4837661"/>
                <a:gd name="connsiteX1523" fmla="*/ 4951358 w 10048557"/>
                <a:gd name="connsiteY1523" fmla="*/ 1459910 h 4837661"/>
                <a:gd name="connsiteX1524" fmla="*/ 4942523 w 10048557"/>
                <a:gd name="connsiteY1524" fmla="*/ 1472282 h 4837661"/>
                <a:gd name="connsiteX1525" fmla="*/ 4942523 w 10048557"/>
                <a:gd name="connsiteY1525" fmla="*/ 1481091 h 4837661"/>
                <a:gd name="connsiteX1526" fmla="*/ 4934955 w 10048557"/>
                <a:gd name="connsiteY1526" fmla="*/ 1494758 h 4837661"/>
                <a:gd name="connsiteX1527" fmla="*/ 4917442 w 10048557"/>
                <a:gd name="connsiteY1527" fmla="*/ 1482890 h 4837661"/>
                <a:gd name="connsiteX1528" fmla="*/ 4899900 w 10048557"/>
                <a:gd name="connsiteY1528" fmla="*/ 1472282 h 4837661"/>
                <a:gd name="connsiteX1529" fmla="*/ 4872467 w 10048557"/>
                <a:gd name="connsiteY1529" fmla="*/ 1466225 h 4837661"/>
                <a:gd name="connsiteX1530" fmla="*/ 4863894 w 10048557"/>
                <a:gd name="connsiteY1530" fmla="*/ 1459437 h 4837661"/>
                <a:gd name="connsiteX1531" fmla="*/ 4869920 w 10048557"/>
                <a:gd name="connsiteY1531" fmla="*/ 1454132 h 4837661"/>
                <a:gd name="connsiteX1532" fmla="*/ 4886914 w 10048557"/>
                <a:gd name="connsiteY1532" fmla="*/ 1455373 h 4837661"/>
                <a:gd name="connsiteX1533" fmla="*/ 4571136 w 10048557"/>
                <a:gd name="connsiteY1533" fmla="*/ 1370102 h 4837661"/>
                <a:gd name="connsiteX1534" fmla="*/ 4570371 w 10048557"/>
                <a:gd name="connsiteY1534" fmla="*/ 1392009 h 4837661"/>
                <a:gd name="connsiteX1535" fmla="*/ 4563505 w 10048557"/>
                <a:gd name="connsiteY1535" fmla="*/ 1414675 h 4837661"/>
                <a:gd name="connsiteX1536" fmla="*/ 4548533 w 10048557"/>
                <a:gd name="connsiteY1536" fmla="*/ 1413160 h 4837661"/>
                <a:gd name="connsiteX1537" fmla="*/ 4534515 w 10048557"/>
                <a:gd name="connsiteY1537" fmla="*/ 1410160 h 4837661"/>
                <a:gd name="connsiteX1538" fmla="*/ 4533276 w 10048557"/>
                <a:gd name="connsiteY1538" fmla="*/ 1400313 h 4837661"/>
                <a:gd name="connsiteX1539" fmla="*/ 4545411 w 10048557"/>
                <a:gd name="connsiteY1539" fmla="*/ 1401828 h 4837661"/>
                <a:gd name="connsiteX1540" fmla="*/ 4550875 w 10048557"/>
                <a:gd name="connsiteY1540" fmla="*/ 1390327 h 4837661"/>
                <a:gd name="connsiteX1541" fmla="*/ 4556021 w 10048557"/>
                <a:gd name="connsiteY1541" fmla="*/ 1380541 h 4837661"/>
                <a:gd name="connsiteX1542" fmla="*/ 8833189 w 10048557"/>
                <a:gd name="connsiteY1542" fmla="*/ 1344494 h 4837661"/>
                <a:gd name="connsiteX1543" fmla="*/ 8849985 w 10048557"/>
                <a:gd name="connsiteY1543" fmla="*/ 1353750 h 4837661"/>
                <a:gd name="connsiteX1544" fmla="*/ 8862916 w 10048557"/>
                <a:gd name="connsiteY1544" fmla="*/ 1363793 h 4837661"/>
                <a:gd name="connsiteX1545" fmla="*/ 8884151 w 10048557"/>
                <a:gd name="connsiteY1545" fmla="*/ 1367793 h 4837661"/>
                <a:gd name="connsiteX1546" fmla="*/ 8884151 w 10048557"/>
                <a:gd name="connsiteY1546" fmla="*/ 1386858 h 4837661"/>
                <a:gd name="connsiteX1547" fmla="*/ 8889529 w 10048557"/>
                <a:gd name="connsiteY1547" fmla="*/ 1401628 h 4837661"/>
                <a:gd name="connsiteX1548" fmla="*/ 8898646 w 10048557"/>
                <a:gd name="connsiteY1548" fmla="*/ 1413628 h 4837661"/>
                <a:gd name="connsiteX1549" fmla="*/ 8888512 w 10048557"/>
                <a:gd name="connsiteY1549" fmla="*/ 1429407 h 4837661"/>
                <a:gd name="connsiteX1550" fmla="*/ 8888512 w 10048557"/>
                <a:gd name="connsiteY1550" fmla="*/ 1444177 h 4837661"/>
                <a:gd name="connsiteX1551" fmla="*/ 8894615 w 10048557"/>
                <a:gd name="connsiteY1551" fmla="*/ 1459882 h 4837661"/>
                <a:gd name="connsiteX1552" fmla="*/ 8901659 w 10048557"/>
                <a:gd name="connsiteY1552" fmla="*/ 1472928 h 4837661"/>
                <a:gd name="connsiteX1553" fmla="*/ 8906466 w 10048557"/>
                <a:gd name="connsiteY1553" fmla="*/ 1490861 h 4837661"/>
                <a:gd name="connsiteX1554" fmla="*/ 8918240 w 10048557"/>
                <a:gd name="connsiteY1554" fmla="*/ 1511317 h 4837661"/>
                <a:gd name="connsiteX1555" fmla="*/ 8919257 w 10048557"/>
                <a:gd name="connsiteY1555" fmla="*/ 1539551 h 4837661"/>
                <a:gd name="connsiteX1556" fmla="*/ 8901036 w 10048557"/>
                <a:gd name="connsiteY1556" fmla="*/ 1554666 h 4837661"/>
                <a:gd name="connsiteX1557" fmla="*/ 8884125 w 10048557"/>
                <a:gd name="connsiteY1557" fmla="*/ 1562666 h 4837661"/>
                <a:gd name="connsiteX1558" fmla="*/ 8856750 w 10048557"/>
                <a:gd name="connsiteY1558" fmla="*/ 1567380 h 4837661"/>
                <a:gd name="connsiteX1559" fmla="*/ 8838821 w 10048557"/>
                <a:gd name="connsiteY1559" fmla="*/ 1568352 h 4837661"/>
                <a:gd name="connsiteX1560" fmla="*/ 8820931 w 10048557"/>
                <a:gd name="connsiteY1560" fmla="*/ 1571331 h 4837661"/>
                <a:gd name="connsiteX1561" fmla="*/ 8815782 w 10048557"/>
                <a:gd name="connsiteY1561" fmla="*/ 1588168 h 4837661"/>
                <a:gd name="connsiteX1562" fmla="*/ 8811992 w 10048557"/>
                <a:gd name="connsiteY1562" fmla="*/ 1600624 h 4837661"/>
                <a:gd name="connsiteX1563" fmla="*/ 8803219 w 10048557"/>
                <a:gd name="connsiteY1563" fmla="*/ 1610347 h 4837661"/>
                <a:gd name="connsiteX1564" fmla="*/ 8786537 w 10048557"/>
                <a:gd name="connsiteY1564" fmla="*/ 1589510 h 4837661"/>
                <a:gd name="connsiteX1565" fmla="*/ 8777051 w 10048557"/>
                <a:gd name="connsiteY1565" fmla="*/ 1581436 h 4837661"/>
                <a:gd name="connsiteX1566" fmla="*/ 8738487 w 10048557"/>
                <a:gd name="connsiteY1566" fmla="*/ 1579749 h 4837661"/>
                <a:gd name="connsiteX1567" fmla="*/ 8699655 w 10048557"/>
                <a:gd name="connsiteY1567" fmla="*/ 1583122 h 4837661"/>
                <a:gd name="connsiteX1568" fmla="*/ 8668859 w 10048557"/>
                <a:gd name="connsiteY1568" fmla="*/ 1592796 h 4837661"/>
                <a:gd name="connsiteX1569" fmla="*/ 8644611 w 10048557"/>
                <a:gd name="connsiteY1569" fmla="*/ 1577399 h 4837661"/>
                <a:gd name="connsiteX1570" fmla="*/ 8659577 w 10048557"/>
                <a:gd name="connsiteY1570" fmla="*/ 1563626 h 4837661"/>
                <a:gd name="connsiteX1571" fmla="*/ 8678611 w 10048557"/>
                <a:gd name="connsiteY1571" fmla="*/ 1561952 h 4837661"/>
                <a:gd name="connsiteX1572" fmla="*/ 8691403 w 10048557"/>
                <a:gd name="connsiteY1572" fmla="*/ 1545533 h 4837661"/>
                <a:gd name="connsiteX1573" fmla="*/ 8707678 w 10048557"/>
                <a:gd name="connsiteY1573" fmla="*/ 1535773 h 4837661"/>
                <a:gd name="connsiteX1574" fmla="*/ 8729001 w 10048557"/>
                <a:gd name="connsiteY1574" fmla="*/ 1541828 h 4837661"/>
                <a:gd name="connsiteX1575" fmla="*/ 8748913 w 10048557"/>
                <a:gd name="connsiteY1575" fmla="*/ 1544856 h 4837661"/>
                <a:gd name="connsiteX1576" fmla="*/ 8767858 w 10048557"/>
                <a:gd name="connsiteY1576" fmla="*/ 1531096 h 4837661"/>
                <a:gd name="connsiteX1577" fmla="*/ 8781006 w 10048557"/>
                <a:gd name="connsiteY1577" fmla="*/ 1519022 h 4837661"/>
                <a:gd name="connsiteX1578" fmla="*/ 8815578 w 10048557"/>
                <a:gd name="connsiteY1578" fmla="*/ 1495193 h 4837661"/>
                <a:gd name="connsiteX1579" fmla="*/ 8825712 w 10048557"/>
                <a:gd name="connsiteY1579" fmla="*/ 1484165 h 4837661"/>
                <a:gd name="connsiteX1580" fmla="*/ 8851130 w 10048557"/>
                <a:gd name="connsiteY1580" fmla="*/ 1476424 h 4837661"/>
                <a:gd name="connsiteX1581" fmla="*/ 8854181 w 10048557"/>
                <a:gd name="connsiteY1581" fmla="*/ 1455303 h 4837661"/>
                <a:gd name="connsiteX1582" fmla="*/ 8854181 w 10048557"/>
                <a:gd name="connsiteY1582" fmla="*/ 1436435 h 4837661"/>
                <a:gd name="connsiteX1583" fmla="*/ 8834867 w 10048557"/>
                <a:gd name="connsiteY1583" fmla="*/ 1411524 h 4837661"/>
                <a:gd name="connsiteX1584" fmla="*/ 8823004 w 10048557"/>
                <a:gd name="connsiteY1584" fmla="*/ 1385271 h 4837661"/>
                <a:gd name="connsiteX1585" fmla="*/ 8822317 w 10048557"/>
                <a:gd name="connsiteY1585" fmla="*/ 1370119 h 4837661"/>
                <a:gd name="connsiteX1586" fmla="*/ 8816265 w 10048557"/>
                <a:gd name="connsiteY1586" fmla="*/ 1358033 h 4837661"/>
                <a:gd name="connsiteX1587" fmla="*/ 4747601 w 10048557"/>
                <a:gd name="connsiteY1587" fmla="*/ 1343451 h 4837661"/>
                <a:gd name="connsiteX1588" fmla="*/ 4766877 w 10048557"/>
                <a:gd name="connsiteY1588" fmla="*/ 1346746 h 4837661"/>
                <a:gd name="connsiteX1589" fmla="*/ 4767608 w 10048557"/>
                <a:gd name="connsiteY1589" fmla="*/ 1363288 h 4837661"/>
                <a:gd name="connsiteX1590" fmla="*/ 4772187 w 10048557"/>
                <a:gd name="connsiteY1590" fmla="*/ 1393559 h 4837661"/>
                <a:gd name="connsiteX1591" fmla="*/ 4767132 w 10048557"/>
                <a:gd name="connsiteY1591" fmla="*/ 1407412 h 4837661"/>
                <a:gd name="connsiteX1592" fmla="*/ 4759504 w 10048557"/>
                <a:gd name="connsiteY1592" fmla="*/ 1409686 h 4837661"/>
                <a:gd name="connsiteX1593" fmla="*/ 4751620 w 10048557"/>
                <a:gd name="connsiteY1593" fmla="*/ 1420796 h 4837661"/>
                <a:gd name="connsiteX1594" fmla="*/ 4746310 w 10048557"/>
                <a:gd name="connsiteY1594" fmla="*/ 1415019 h 4837661"/>
                <a:gd name="connsiteX1595" fmla="*/ 4744053 w 10048557"/>
                <a:gd name="connsiteY1595" fmla="*/ 1402205 h 4837661"/>
                <a:gd name="connsiteX1596" fmla="*/ 4739000 w 10048557"/>
                <a:gd name="connsiteY1596" fmla="*/ 1395419 h 4837661"/>
                <a:gd name="connsiteX1597" fmla="*/ 4739000 w 10048557"/>
                <a:gd name="connsiteY1597" fmla="*/ 1379604 h 4837661"/>
                <a:gd name="connsiteX1598" fmla="*/ 4728667 w 10048557"/>
                <a:gd name="connsiteY1598" fmla="*/ 1371048 h 4837661"/>
                <a:gd name="connsiteX1599" fmla="*/ 4729223 w 10048557"/>
                <a:gd name="connsiteY1599" fmla="*/ 1358205 h 4837661"/>
                <a:gd name="connsiteX1600" fmla="*/ 4738604 w 10048557"/>
                <a:gd name="connsiteY1600" fmla="*/ 1351909 h 4837661"/>
                <a:gd name="connsiteX1601" fmla="*/ 4768764 w 10048557"/>
                <a:gd name="connsiteY1601" fmla="*/ 1271832 h 4837661"/>
                <a:gd name="connsiteX1602" fmla="*/ 4772579 w 10048557"/>
                <a:gd name="connsiteY1602" fmla="*/ 1284175 h 4837661"/>
                <a:gd name="connsiteX1603" fmla="*/ 4774105 w 10048557"/>
                <a:gd name="connsiteY1603" fmla="*/ 1301538 h 4837661"/>
                <a:gd name="connsiteX1604" fmla="*/ 4774105 w 10048557"/>
                <a:gd name="connsiteY1604" fmla="*/ 1321172 h 4837661"/>
                <a:gd name="connsiteX1605" fmla="*/ 4759451 w 10048557"/>
                <a:gd name="connsiteY1605" fmla="*/ 1324233 h 4837661"/>
                <a:gd name="connsiteX1606" fmla="*/ 4752331 w 10048557"/>
                <a:gd name="connsiteY1606" fmla="*/ 1313627 h 4837661"/>
                <a:gd name="connsiteX1607" fmla="*/ 4741684 w 10048557"/>
                <a:gd name="connsiteY1607" fmla="*/ 1306868 h 4837661"/>
                <a:gd name="connsiteX1608" fmla="*/ 4741430 w 10048557"/>
                <a:gd name="connsiteY1608" fmla="*/ 1294782 h 4837661"/>
                <a:gd name="connsiteX1609" fmla="*/ 4747793 w 10048557"/>
                <a:gd name="connsiteY1609" fmla="*/ 1284207 h 4837661"/>
                <a:gd name="connsiteX1610" fmla="*/ 4759361 w 10048557"/>
                <a:gd name="connsiteY1610" fmla="*/ 1286131 h 4837661"/>
                <a:gd name="connsiteX1611" fmla="*/ 4762096 w 10048557"/>
                <a:gd name="connsiteY1611" fmla="*/ 1276031 h 4837661"/>
                <a:gd name="connsiteX1612" fmla="*/ 8771750 w 10048557"/>
                <a:gd name="connsiteY1612" fmla="*/ 1189028 h 4837661"/>
                <a:gd name="connsiteX1613" fmla="*/ 8786671 w 10048557"/>
                <a:gd name="connsiteY1613" fmla="*/ 1207087 h 4837661"/>
                <a:gd name="connsiteX1614" fmla="*/ 8799407 w 10048557"/>
                <a:gd name="connsiteY1614" fmla="*/ 1212324 h 4837661"/>
                <a:gd name="connsiteX1615" fmla="*/ 8805472 w 10048557"/>
                <a:gd name="connsiteY1615" fmla="*/ 1225415 h 4837661"/>
                <a:gd name="connsiteX1616" fmla="*/ 8826485 w 10048557"/>
                <a:gd name="connsiteY1616" fmla="*/ 1243258 h 4837661"/>
                <a:gd name="connsiteX1617" fmla="*/ 8856284 w 10048557"/>
                <a:gd name="connsiteY1617" fmla="*/ 1243258 h 4837661"/>
                <a:gd name="connsiteX1618" fmla="*/ 8877941 w 10048557"/>
                <a:gd name="connsiteY1618" fmla="*/ 1243218 h 4837661"/>
                <a:gd name="connsiteX1619" fmla="*/ 8905019 w 10048557"/>
                <a:gd name="connsiteY1619" fmla="*/ 1252940 h 4837661"/>
                <a:gd name="connsiteX1620" fmla="*/ 8915826 w 10048557"/>
                <a:gd name="connsiteY1620" fmla="*/ 1268054 h 4837661"/>
                <a:gd name="connsiteX1621" fmla="*/ 8892091 w 10048557"/>
                <a:gd name="connsiteY1621" fmla="*/ 1278441 h 4837661"/>
                <a:gd name="connsiteX1622" fmla="*/ 8877220 w 10048557"/>
                <a:gd name="connsiteY1622" fmla="*/ 1282441 h 4837661"/>
                <a:gd name="connsiteX1623" fmla="*/ 8882302 w 10048557"/>
                <a:gd name="connsiteY1623" fmla="*/ 1305590 h 4837661"/>
                <a:gd name="connsiteX1624" fmla="*/ 8862384 w 10048557"/>
                <a:gd name="connsiteY1624" fmla="*/ 1304541 h 4837661"/>
                <a:gd name="connsiteX1625" fmla="*/ 8853358 w 10048557"/>
                <a:gd name="connsiteY1625" fmla="*/ 1297515 h 4837661"/>
                <a:gd name="connsiteX1626" fmla="*/ 8833737 w 10048557"/>
                <a:gd name="connsiteY1626" fmla="*/ 1293515 h 4837661"/>
                <a:gd name="connsiteX1627" fmla="*/ 8815296 w 10048557"/>
                <a:gd name="connsiteY1627" fmla="*/ 1287874 h 4837661"/>
                <a:gd name="connsiteX1628" fmla="*/ 8804447 w 10048557"/>
                <a:gd name="connsiteY1628" fmla="*/ 1289891 h 4837661"/>
                <a:gd name="connsiteX1629" fmla="*/ 8805507 w 10048557"/>
                <a:gd name="connsiteY1629" fmla="*/ 1317416 h 4837661"/>
                <a:gd name="connsiteX1630" fmla="*/ 8797753 w 10048557"/>
                <a:gd name="connsiteY1630" fmla="*/ 1334251 h 4837661"/>
                <a:gd name="connsiteX1631" fmla="*/ 8781857 w 10048557"/>
                <a:gd name="connsiteY1631" fmla="*/ 1313375 h 4837661"/>
                <a:gd name="connsiteX1632" fmla="*/ 8778811 w 10048557"/>
                <a:gd name="connsiteY1632" fmla="*/ 1301294 h 4837661"/>
                <a:gd name="connsiteX1633" fmla="*/ 8766682 w 10048557"/>
                <a:gd name="connsiteY1633" fmla="*/ 1289219 h 4837661"/>
                <a:gd name="connsiteX1634" fmla="*/ 8763395 w 10048557"/>
                <a:gd name="connsiteY1634" fmla="*/ 1274905 h 4837661"/>
                <a:gd name="connsiteX1635" fmla="*/ 8777397 w 10048557"/>
                <a:gd name="connsiteY1635" fmla="*/ 1262789 h 4837661"/>
                <a:gd name="connsiteX1636" fmla="*/ 8786550 w 10048557"/>
                <a:gd name="connsiteY1636" fmla="*/ 1246331 h 4837661"/>
                <a:gd name="connsiteX1637" fmla="*/ 8774005 w 10048557"/>
                <a:gd name="connsiteY1637" fmla="*/ 1225159 h 4837661"/>
                <a:gd name="connsiteX1638" fmla="*/ 8763155 w 10048557"/>
                <a:gd name="connsiteY1638" fmla="*/ 1212076 h 4837661"/>
                <a:gd name="connsiteX1639" fmla="*/ 6038231 w 10048557"/>
                <a:gd name="connsiteY1639" fmla="*/ 1126064 h 4837661"/>
                <a:gd name="connsiteX1640" fmla="*/ 6010238 w 10048557"/>
                <a:gd name="connsiteY1640" fmla="*/ 1132728 h 4837661"/>
                <a:gd name="connsiteX1641" fmla="*/ 5979508 w 10048557"/>
                <a:gd name="connsiteY1641" fmla="*/ 1144019 h 4837661"/>
                <a:gd name="connsiteX1642" fmla="*/ 5963244 w 10048557"/>
                <a:gd name="connsiteY1642" fmla="*/ 1158174 h 4837661"/>
                <a:gd name="connsiteX1643" fmla="*/ 5957098 w 10048557"/>
                <a:gd name="connsiteY1643" fmla="*/ 1167924 h 4837661"/>
                <a:gd name="connsiteX1644" fmla="*/ 5947265 w 10048557"/>
                <a:gd name="connsiteY1644" fmla="*/ 1181528 h 4837661"/>
                <a:gd name="connsiteX1645" fmla="*/ 5925423 w 10048557"/>
                <a:gd name="connsiteY1645" fmla="*/ 1182299 h 4837661"/>
                <a:gd name="connsiteX1646" fmla="*/ 5908687 w 10048557"/>
                <a:gd name="connsiteY1646" fmla="*/ 1198217 h 4837661"/>
                <a:gd name="connsiteX1647" fmla="*/ 5891383 w 10048557"/>
                <a:gd name="connsiteY1647" fmla="*/ 1218377 h 4837661"/>
                <a:gd name="connsiteX1648" fmla="*/ 5906134 w 10048557"/>
                <a:gd name="connsiteY1648" fmla="*/ 1238040 h 4837661"/>
                <a:gd name="connsiteX1649" fmla="*/ 5926652 w 10048557"/>
                <a:gd name="connsiteY1649" fmla="*/ 1249111 h 4837661"/>
                <a:gd name="connsiteX1650" fmla="*/ 5926652 w 10048557"/>
                <a:gd name="connsiteY1650" fmla="*/ 1263542 h 4837661"/>
                <a:gd name="connsiteX1651" fmla="*/ 5940173 w 10048557"/>
                <a:gd name="connsiteY1651" fmla="*/ 1276431 h 4837661"/>
                <a:gd name="connsiteX1652" fmla="*/ 5950669 w 10048557"/>
                <a:gd name="connsiteY1652" fmla="*/ 1290751 h 4837661"/>
                <a:gd name="connsiteX1653" fmla="*/ 5964379 w 10048557"/>
                <a:gd name="connsiteY1653" fmla="*/ 1306614 h 4837661"/>
                <a:gd name="connsiteX1654" fmla="*/ 5985181 w 10048557"/>
                <a:gd name="connsiteY1654" fmla="*/ 1319228 h 4837661"/>
                <a:gd name="connsiteX1655" fmla="*/ 5998891 w 10048557"/>
                <a:gd name="connsiteY1655" fmla="*/ 1349466 h 4837661"/>
                <a:gd name="connsiteX1656" fmla="*/ 6013831 w 10048557"/>
                <a:gd name="connsiteY1656" fmla="*/ 1376235 h 4837661"/>
                <a:gd name="connsiteX1657" fmla="*/ 6013136 w 10048557"/>
                <a:gd name="connsiteY1657" fmla="*/ 1393587 h 4837661"/>
                <a:gd name="connsiteX1658" fmla="*/ 6013194 w 10048557"/>
                <a:gd name="connsiteY1658" fmla="*/ 1393614 h 4837661"/>
                <a:gd name="connsiteX1659" fmla="*/ 6013131 w 10048557"/>
                <a:gd name="connsiteY1659" fmla="*/ 1393715 h 4837661"/>
                <a:gd name="connsiteX1660" fmla="*/ 6013074 w 10048557"/>
                <a:gd name="connsiteY1660" fmla="*/ 1395127 h 4837661"/>
                <a:gd name="connsiteX1661" fmla="*/ 6012401 w 10048557"/>
                <a:gd name="connsiteY1661" fmla="*/ 1394894 h 4837661"/>
                <a:gd name="connsiteX1662" fmla="*/ 6004370 w 10048557"/>
                <a:gd name="connsiteY1662" fmla="*/ 1407858 h 4837661"/>
                <a:gd name="connsiteX1663" fmla="*/ 5993669 w 10048557"/>
                <a:gd name="connsiteY1663" fmla="*/ 1427013 h 4837661"/>
                <a:gd name="connsiteX1664" fmla="*/ 5997236 w 10048557"/>
                <a:gd name="connsiteY1664" fmla="*/ 1447396 h 4837661"/>
                <a:gd name="connsiteX1665" fmla="*/ 6008313 w 10048557"/>
                <a:gd name="connsiteY1665" fmla="*/ 1468761 h 4837661"/>
                <a:gd name="connsiteX1666" fmla="*/ 6042480 w 10048557"/>
                <a:gd name="connsiteY1666" fmla="*/ 1486443 h 4837661"/>
                <a:gd name="connsiteX1667" fmla="*/ 6068012 w 10048557"/>
                <a:gd name="connsiteY1667" fmla="*/ 1499827 h 4837661"/>
                <a:gd name="connsiteX1668" fmla="*/ 6088474 w 10048557"/>
                <a:gd name="connsiteY1668" fmla="*/ 1508177 h 4837661"/>
                <a:gd name="connsiteX1669" fmla="*/ 6104620 w 10048557"/>
                <a:gd name="connsiteY1669" fmla="*/ 1523526 h 4837661"/>
                <a:gd name="connsiteX1670" fmla="*/ 6114945 w 10048557"/>
                <a:gd name="connsiteY1670" fmla="*/ 1508668 h 4837661"/>
                <a:gd name="connsiteX1671" fmla="*/ 6144419 w 10048557"/>
                <a:gd name="connsiteY1671" fmla="*/ 1507931 h 4837661"/>
                <a:gd name="connsiteX1672" fmla="*/ 6166571 w 10048557"/>
                <a:gd name="connsiteY1672" fmla="*/ 1488653 h 4837661"/>
                <a:gd name="connsiteX1673" fmla="*/ 6168636 w 10048557"/>
                <a:gd name="connsiteY1673" fmla="*/ 1456114 h 4837661"/>
                <a:gd name="connsiteX1674" fmla="*/ 6154181 w 10048557"/>
                <a:gd name="connsiteY1674" fmla="*/ 1416207 h 4837661"/>
                <a:gd name="connsiteX1675" fmla="*/ 6138975 w 10048557"/>
                <a:gd name="connsiteY1675" fmla="*/ 1395333 h 4837661"/>
                <a:gd name="connsiteX1676" fmla="*/ 6120577 w 10048557"/>
                <a:gd name="connsiteY1676" fmla="*/ 1378388 h 4837661"/>
                <a:gd name="connsiteX1677" fmla="*/ 6108937 w 10048557"/>
                <a:gd name="connsiteY1677" fmla="*/ 1359847 h 4837661"/>
                <a:gd name="connsiteX1678" fmla="*/ 6125270 w 10048557"/>
                <a:gd name="connsiteY1678" fmla="*/ 1354567 h 4837661"/>
                <a:gd name="connsiteX1679" fmla="*/ 6144794 w 10048557"/>
                <a:gd name="connsiteY1679" fmla="*/ 1369670 h 4837661"/>
                <a:gd name="connsiteX1680" fmla="*/ 6166196 w 10048557"/>
                <a:gd name="connsiteY1680" fmla="*/ 1358128 h 4837661"/>
                <a:gd name="connsiteX1681" fmla="*/ 6171077 w 10048557"/>
                <a:gd name="connsiteY1681" fmla="*/ 1342533 h 4837661"/>
                <a:gd name="connsiteX1682" fmla="*/ 6150614 w 10048557"/>
                <a:gd name="connsiteY1682" fmla="*/ 1322887 h 4837661"/>
                <a:gd name="connsiteX1683" fmla="*/ 6144982 w 10048557"/>
                <a:gd name="connsiteY1683" fmla="*/ 1310363 h 4837661"/>
                <a:gd name="connsiteX1684" fmla="*/ 6128086 w 10048557"/>
                <a:gd name="connsiteY1684" fmla="*/ 1305328 h 4837661"/>
                <a:gd name="connsiteX1685" fmla="*/ 6105370 w 10048557"/>
                <a:gd name="connsiteY1685" fmla="*/ 1316502 h 4837661"/>
                <a:gd name="connsiteX1686" fmla="*/ 6093731 w 10048557"/>
                <a:gd name="connsiteY1686" fmla="*/ 1298329 h 4837661"/>
                <a:gd name="connsiteX1687" fmla="*/ 6062943 w 10048557"/>
                <a:gd name="connsiteY1687" fmla="*/ 1276841 h 4837661"/>
                <a:gd name="connsiteX1688" fmla="*/ 6036848 w 10048557"/>
                <a:gd name="connsiteY1688" fmla="*/ 1268000 h 4837661"/>
                <a:gd name="connsiteX1689" fmla="*/ 6009439 w 10048557"/>
                <a:gd name="connsiteY1689" fmla="*/ 1248599 h 4837661"/>
                <a:gd name="connsiteX1690" fmla="*/ 6022393 w 10048557"/>
                <a:gd name="connsiteY1690" fmla="*/ 1218270 h 4837661"/>
                <a:gd name="connsiteX1691" fmla="*/ 6039101 w 10048557"/>
                <a:gd name="connsiteY1691" fmla="*/ 1200834 h 4837661"/>
                <a:gd name="connsiteX1692" fmla="*/ 6066510 w 10048557"/>
                <a:gd name="connsiteY1692" fmla="*/ 1194817 h 4837661"/>
                <a:gd name="connsiteX1693" fmla="*/ 6090352 w 10048557"/>
                <a:gd name="connsiteY1693" fmla="*/ 1202185 h 4837661"/>
                <a:gd name="connsiteX1694" fmla="*/ 6106121 w 10048557"/>
                <a:gd name="connsiteY1694" fmla="*/ 1197887 h 4837661"/>
                <a:gd name="connsiteX1695" fmla="*/ 6102930 w 10048557"/>
                <a:gd name="connsiteY1695" fmla="*/ 1186959 h 4837661"/>
                <a:gd name="connsiteX1696" fmla="*/ 6089225 w 10048557"/>
                <a:gd name="connsiteY1696" fmla="*/ 1169031 h 4837661"/>
                <a:gd name="connsiteX1697" fmla="*/ 6089225 w 10048557"/>
                <a:gd name="connsiteY1697" fmla="*/ 1152946 h 4837661"/>
                <a:gd name="connsiteX1698" fmla="*/ 6075521 w 10048557"/>
                <a:gd name="connsiteY1698" fmla="*/ 1137352 h 4837661"/>
                <a:gd name="connsiteX1699" fmla="*/ 6050365 w 10048557"/>
                <a:gd name="connsiteY1699" fmla="*/ 1132072 h 4837661"/>
                <a:gd name="connsiteX1700" fmla="*/ 4431262 w 10048557"/>
                <a:gd name="connsiteY1700" fmla="*/ 1039437 h 4837661"/>
                <a:gd name="connsiteX1701" fmla="*/ 4427343 w 10048557"/>
                <a:gd name="connsiteY1701" fmla="*/ 1055797 h 4837661"/>
                <a:gd name="connsiteX1702" fmla="*/ 4414902 w 10048557"/>
                <a:gd name="connsiteY1702" fmla="*/ 1052749 h 4837661"/>
                <a:gd name="connsiteX1703" fmla="*/ 4418409 w 10048557"/>
                <a:gd name="connsiteY1703" fmla="*/ 1040792 h 4837661"/>
                <a:gd name="connsiteX1704" fmla="*/ 4400370 w 10048557"/>
                <a:gd name="connsiteY1704" fmla="*/ 1033884 h 4837661"/>
                <a:gd name="connsiteX1705" fmla="*/ 4407266 w 10048557"/>
                <a:gd name="connsiteY1705" fmla="*/ 1043685 h 4837661"/>
                <a:gd name="connsiteX1706" fmla="*/ 4393390 w 10048557"/>
                <a:gd name="connsiteY1706" fmla="*/ 1050244 h 4837661"/>
                <a:gd name="connsiteX1707" fmla="*/ 4389502 w 10048557"/>
                <a:gd name="connsiteY1707" fmla="*/ 1038532 h 4837661"/>
                <a:gd name="connsiteX1708" fmla="*/ 788533 w 10048557"/>
                <a:gd name="connsiteY1708" fmla="*/ 997084 h 4837661"/>
                <a:gd name="connsiteX1709" fmla="*/ 796037 w 10048557"/>
                <a:gd name="connsiteY1709" fmla="*/ 1003587 h 4837661"/>
                <a:gd name="connsiteX1710" fmla="*/ 800359 w 10048557"/>
                <a:gd name="connsiteY1710" fmla="*/ 1010089 h 4837661"/>
                <a:gd name="connsiteX1711" fmla="*/ 808432 w 10048557"/>
                <a:gd name="connsiteY1711" fmla="*/ 1015615 h 4837661"/>
                <a:gd name="connsiteX1712" fmla="*/ 821144 w 10048557"/>
                <a:gd name="connsiteY1712" fmla="*/ 1015615 h 4837661"/>
                <a:gd name="connsiteX1713" fmla="*/ 828014 w 10048557"/>
                <a:gd name="connsiteY1713" fmla="*/ 1031491 h 4837661"/>
                <a:gd name="connsiteX1714" fmla="*/ 829538 w 10048557"/>
                <a:gd name="connsiteY1714" fmla="*/ 1041845 h 4837661"/>
                <a:gd name="connsiteX1715" fmla="*/ 837419 w 10048557"/>
                <a:gd name="connsiteY1715" fmla="*/ 1055733 h 4837661"/>
                <a:gd name="connsiteX1716" fmla="*/ 836625 w 10048557"/>
                <a:gd name="connsiteY1716" fmla="*/ 1066816 h 4837661"/>
                <a:gd name="connsiteX1717" fmla="*/ 828297 w 10048557"/>
                <a:gd name="connsiteY1717" fmla="*/ 1071358 h 4837661"/>
                <a:gd name="connsiteX1718" fmla="*/ 816217 w 10048557"/>
                <a:gd name="connsiteY1718" fmla="*/ 1071358 h 4837661"/>
                <a:gd name="connsiteX1719" fmla="*/ 806558 w 10048557"/>
                <a:gd name="connsiteY1719" fmla="*/ 1065836 h 4837661"/>
                <a:gd name="connsiteX1720" fmla="*/ 796159 w 10048557"/>
                <a:gd name="connsiteY1720" fmla="*/ 1054502 h 4837661"/>
                <a:gd name="connsiteX1721" fmla="*/ 788309 w 10048557"/>
                <a:gd name="connsiteY1721" fmla="*/ 1052986 h 4837661"/>
                <a:gd name="connsiteX1722" fmla="*/ 776137 w 10048557"/>
                <a:gd name="connsiteY1722" fmla="*/ 1043897 h 4837661"/>
                <a:gd name="connsiteX1723" fmla="*/ 770827 w 10048557"/>
                <a:gd name="connsiteY1723" fmla="*/ 1031078 h 4837661"/>
                <a:gd name="connsiteX1724" fmla="*/ 756942 w 10048557"/>
                <a:gd name="connsiteY1724" fmla="*/ 1019084 h 4837661"/>
                <a:gd name="connsiteX1725" fmla="*/ 754214 w 10048557"/>
                <a:gd name="connsiteY1725" fmla="*/ 1007245 h 4837661"/>
                <a:gd name="connsiteX1726" fmla="*/ 767705 w 10048557"/>
                <a:gd name="connsiteY1726" fmla="*/ 1003174 h 4837661"/>
                <a:gd name="connsiteX1727" fmla="*/ 777778 w 10048557"/>
                <a:gd name="connsiteY1727" fmla="*/ 997586 h 4837661"/>
                <a:gd name="connsiteX1728" fmla="*/ 2860403 w 10048557"/>
                <a:gd name="connsiteY1728" fmla="*/ 985446 h 4837661"/>
                <a:gd name="connsiteX1729" fmla="*/ 2866443 w 10048557"/>
                <a:gd name="connsiteY1729" fmla="*/ 990150 h 4837661"/>
                <a:gd name="connsiteX1730" fmla="*/ 2861139 w 10048557"/>
                <a:gd name="connsiteY1730" fmla="*/ 999968 h 4837661"/>
                <a:gd name="connsiteX1731" fmla="*/ 2851251 w 10048557"/>
                <a:gd name="connsiteY1731" fmla="*/ 1008276 h 4837661"/>
                <a:gd name="connsiteX1732" fmla="*/ 2839048 w 10048557"/>
                <a:gd name="connsiteY1732" fmla="*/ 1022663 h 4837661"/>
                <a:gd name="connsiteX1733" fmla="*/ 2841335 w 10048557"/>
                <a:gd name="connsiteY1733" fmla="*/ 1036268 h 4837661"/>
                <a:gd name="connsiteX1734" fmla="*/ 2847339 w 10048557"/>
                <a:gd name="connsiteY1734" fmla="*/ 1044541 h 4837661"/>
                <a:gd name="connsiteX1735" fmla="*/ 2866097 w 10048557"/>
                <a:gd name="connsiteY1735" fmla="*/ 1049590 h 4837661"/>
                <a:gd name="connsiteX1736" fmla="*/ 2883577 w 10048557"/>
                <a:gd name="connsiteY1736" fmla="*/ 1055585 h 4837661"/>
                <a:gd name="connsiteX1737" fmla="*/ 2893652 w 10048557"/>
                <a:gd name="connsiteY1737" fmla="*/ 1064683 h 4837661"/>
                <a:gd name="connsiteX1738" fmla="*/ 2918066 w 10048557"/>
                <a:gd name="connsiteY1738" fmla="*/ 1088641 h 4837661"/>
                <a:gd name="connsiteX1739" fmla="*/ 2906910 w 10048557"/>
                <a:gd name="connsiteY1739" fmla="*/ 1092929 h 4837661"/>
                <a:gd name="connsiteX1740" fmla="*/ 2893430 w 10048557"/>
                <a:gd name="connsiteY1740" fmla="*/ 1099749 h 4837661"/>
                <a:gd name="connsiteX1741" fmla="*/ 2867276 w 10048557"/>
                <a:gd name="connsiteY1741" fmla="*/ 1102020 h 4837661"/>
                <a:gd name="connsiteX1742" fmla="*/ 2848456 w 10048557"/>
                <a:gd name="connsiteY1742" fmla="*/ 1108085 h 4837661"/>
                <a:gd name="connsiteX1743" fmla="*/ 2830658 w 10048557"/>
                <a:gd name="connsiteY1743" fmla="*/ 1108085 h 4837661"/>
                <a:gd name="connsiteX1744" fmla="*/ 2809046 w 10048557"/>
                <a:gd name="connsiteY1744" fmla="*/ 1112373 h 4837661"/>
                <a:gd name="connsiteX1745" fmla="*/ 2814101 w 10048557"/>
                <a:gd name="connsiteY1745" fmla="*/ 1129737 h 4837661"/>
                <a:gd name="connsiteX1746" fmla="*/ 2799672 w 10048557"/>
                <a:gd name="connsiteY1746" fmla="*/ 1137784 h 4837661"/>
                <a:gd name="connsiteX1747" fmla="*/ 2795628 w 10048557"/>
                <a:gd name="connsiteY1747" fmla="*/ 1124433 h 4837661"/>
                <a:gd name="connsiteX1748" fmla="*/ 2800461 w 10048557"/>
                <a:gd name="connsiteY1748" fmla="*/ 1110829 h 4837661"/>
                <a:gd name="connsiteX1749" fmla="*/ 2788258 w 10048557"/>
                <a:gd name="connsiteY1749" fmla="*/ 1108050 h 4837661"/>
                <a:gd name="connsiteX1750" fmla="*/ 2767914 w 10048557"/>
                <a:gd name="connsiteY1750" fmla="*/ 1103000 h 4837661"/>
                <a:gd name="connsiteX1751" fmla="*/ 2752722 w 10048557"/>
                <a:gd name="connsiteY1751" fmla="*/ 1103000 h 4837661"/>
                <a:gd name="connsiteX1752" fmla="*/ 2726507 w 10048557"/>
                <a:gd name="connsiteY1752" fmla="*/ 1104517 h 4837661"/>
                <a:gd name="connsiteX1753" fmla="*/ 2727501 w 10048557"/>
                <a:gd name="connsiteY1753" fmla="*/ 1093684 h 4837661"/>
                <a:gd name="connsiteX1754" fmla="*/ 2746585 w 10048557"/>
                <a:gd name="connsiteY1754" fmla="*/ 1089142 h 4837661"/>
                <a:gd name="connsiteX1755" fmla="*/ 2755223 w 10048557"/>
                <a:gd name="connsiteY1755" fmla="*/ 1074239 h 4837661"/>
                <a:gd name="connsiteX1756" fmla="*/ 2763009 w 10048557"/>
                <a:gd name="connsiteY1756" fmla="*/ 1056848 h 4837661"/>
                <a:gd name="connsiteX1757" fmla="*/ 2784206 w 10048557"/>
                <a:gd name="connsiteY1757" fmla="*/ 1053060 h 4837661"/>
                <a:gd name="connsiteX1758" fmla="*/ 2803760 w 10048557"/>
                <a:gd name="connsiteY1758" fmla="*/ 1037410 h 4837661"/>
                <a:gd name="connsiteX1759" fmla="*/ 2812842 w 10048557"/>
                <a:gd name="connsiteY1759" fmla="*/ 1022254 h 4837661"/>
                <a:gd name="connsiteX1760" fmla="*/ 2819271 w 10048557"/>
                <a:gd name="connsiteY1760" fmla="*/ 1010201 h 4837661"/>
                <a:gd name="connsiteX1761" fmla="*/ 2834330 w 10048557"/>
                <a:gd name="connsiteY1761" fmla="*/ 995531 h 4837661"/>
                <a:gd name="connsiteX1762" fmla="*/ 2847267 w 10048557"/>
                <a:gd name="connsiteY1762" fmla="*/ 990475 h 4837661"/>
                <a:gd name="connsiteX1763" fmla="*/ 8583641 w 10048557"/>
                <a:gd name="connsiteY1763" fmla="*/ 900751 h 4837661"/>
                <a:gd name="connsiteX1764" fmla="*/ 8600886 w 10048557"/>
                <a:gd name="connsiteY1764" fmla="*/ 918191 h 4837661"/>
                <a:gd name="connsiteX1765" fmla="*/ 8604961 w 10048557"/>
                <a:gd name="connsiteY1765" fmla="*/ 935323 h 4837661"/>
                <a:gd name="connsiteX1766" fmla="*/ 8612716 w 10048557"/>
                <a:gd name="connsiteY1766" fmla="*/ 953462 h 4837661"/>
                <a:gd name="connsiteX1767" fmla="*/ 8631020 w 10048557"/>
                <a:gd name="connsiteY1767" fmla="*/ 976360 h 4837661"/>
                <a:gd name="connsiteX1768" fmla="*/ 8650343 w 10048557"/>
                <a:gd name="connsiteY1768" fmla="*/ 984399 h 4837661"/>
                <a:gd name="connsiteX1769" fmla="*/ 8679962 w 10048557"/>
                <a:gd name="connsiteY1769" fmla="*/ 1003213 h 4837661"/>
                <a:gd name="connsiteX1770" fmla="*/ 8709804 w 10048557"/>
                <a:gd name="connsiteY1770" fmla="*/ 1020333 h 4837661"/>
                <a:gd name="connsiteX1771" fmla="*/ 8723993 w 10048557"/>
                <a:gd name="connsiteY1771" fmla="*/ 1031368 h 4837661"/>
                <a:gd name="connsiteX1772" fmla="*/ 8731073 w 10048557"/>
                <a:gd name="connsiteY1772" fmla="*/ 1044415 h 4837661"/>
                <a:gd name="connsiteX1773" fmla="*/ 8733110 w 10048557"/>
                <a:gd name="connsiteY1773" fmla="*/ 1058765 h 4837661"/>
                <a:gd name="connsiteX1774" fmla="*/ 8718568 w 10048557"/>
                <a:gd name="connsiteY1774" fmla="*/ 1054728 h 4837661"/>
                <a:gd name="connsiteX1775" fmla="*/ 8702381 w 10048557"/>
                <a:gd name="connsiteY1775" fmla="*/ 1059440 h 4837661"/>
                <a:gd name="connsiteX1776" fmla="*/ 8704459 w 10048557"/>
                <a:gd name="connsiteY1776" fmla="*/ 1073541 h 4837661"/>
                <a:gd name="connsiteX1777" fmla="*/ 8724457 w 10048557"/>
                <a:gd name="connsiteY1777" fmla="*/ 1089703 h 4837661"/>
                <a:gd name="connsiteX1778" fmla="*/ 8740734 w 10048557"/>
                <a:gd name="connsiteY1778" fmla="*/ 1111796 h 4837661"/>
                <a:gd name="connsiteX1779" fmla="*/ 8768619 w 10048557"/>
                <a:gd name="connsiteY1779" fmla="*/ 1138980 h 4837661"/>
                <a:gd name="connsiteX1780" fmla="*/ 8774761 w 10048557"/>
                <a:gd name="connsiteY1780" fmla="*/ 1156491 h 4837661"/>
                <a:gd name="connsiteX1781" fmla="*/ 8747088 w 10048557"/>
                <a:gd name="connsiteY1781" fmla="*/ 1156491 h 4837661"/>
                <a:gd name="connsiteX1782" fmla="*/ 8725264 w 10048557"/>
                <a:gd name="connsiteY1782" fmla="*/ 1138435 h 4837661"/>
                <a:gd name="connsiteX1783" fmla="*/ 8709027 w 10048557"/>
                <a:gd name="connsiteY1783" fmla="*/ 1119290 h 4837661"/>
                <a:gd name="connsiteX1784" fmla="*/ 8702966 w 10048557"/>
                <a:gd name="connsiteY1784" fmla="*/ 1102194 h 4837661"/>
                <a:gd name="connsiteX1785" fmla="*/ 8690763 w 10048557"/>
                <a:gd name="connsiteY1785" fmla="*/ 1079982 h 4837661"/>
                <a:gd name="connsiteX1786" fmla="*/ 8680588 w 10048557"/>
                <a:gd name="connsiteY1786" fmla="*/ 1054728 h 4837661"/>
                <a:gd name="connsiteX1787" fmla="*/ 8666691 w 10048557"/>
                <a:gd name="connsiteY1787" fmla="*/ 1031830 h 4837661"/>
                <a:gd name="connsiteX1788" fmla="*/ 8648467 w 10048557"/>
                <a:gd name="connsiteY1788" fmla="*/ 1009689 h 4837661"/>
                <a:gd name="connsiteX1789" fmla="*/ 8630244 w 10048557"/>
                <a:gd name="connsiteY1789" fmla="*/ 988520 h 4837661"/>
                <a:gd name="connsiteX1790" fmla="*/ 8609055 w 10048557"/>
                <a:gd name="connsiteY1790" fmla="*/ 972489 h 4837661"/>
                <a:gd name="connsiteX1791" fmla="*/ 8598244 w 10048557"/>
                <a:gd name="connsiteY1791" fmla="*/ 957002 h 4837661"/>
                <a:gd name="connsiteX1792" fmla="*/ 8584004 w 10048557"/>
                <a:gd name="connsiteY1792" fmla="*/ 940201 h 4837661"/>
                <a:gd name="connsiteX1793" fmla="*/ 8556926 w 10048557"/>
                <a:gd name="connsiteY1793" fmla="*/ 920760 h 4837661"/>
                <a:gd name="connsiteX1794" fmla="*/ 8566184 w 10048557"/>
                <a:gd name="connsiteY1794" fmla="*/ 904374 h 4837661"/>
                <a:gd name="connsiteX1795" fmla="*/ 4382168 w 10048557"/>
                <a:gd name="connsiteY1795" fmla="*/ 865781 h 4837661"/>
                <a:gd name="connsiteX1796" fmla="*/ 4384242 w 10048557"/>
                <a:gd name="connsiteY1796" fmla="*/ 875632 h 4837661"/>
                <a:gd name="connsiteX1797" fmla="*/ 4380416 w 10048557"/>
                <a:gd name="connsiteY1797" fmla="*/ 886931 h 4837661"/>
                <a:gd name="connsiteX1798" fmla="*/ 4372149 w 10048557"/>
                <a:gd name="connsiteY1798" fmla="*/ 883901 h 4837661"/>
                <a:gd name="connsiteX1799" fmla="*/ 4367882 w 10048557"/>
                <a:gd name="connsiteY1799" fmla="*/ 874451 h 4837661"/>
                <a:gd name="connsiteX1800" fmla="*/ 4371219 w 10048557"/>
                <a:gd name="connsiteY1800" fmla="*/ 866621 h 4837661"/>
                <a:gd name="connsiteX1801" fmla="*/ 4279249 w 10048557"/>
                <a:gd name="connsiteY1801" fmla="*/ 842903 h 4837661"/>
                <a:gd name="connsiteX1802" fmla="*/ 4305602 w 10048557"/>
                <a:gd name="connsiteY1802" fmla="*/ 843632 h 4837661"/>
                <a:gd name="connsiteX1803" fmla="*/ 4315690 w 10048557"/>
                <a:gd name="connsiteY1803" fmla="*/ 843930 h 4837661"/>
                <a:gd name="connsiteX1804" fmla="*/ 4333908 w 10048557"/>
                <a:gd name="connsiteY1804" fmla="*/ 848417 h 4837661"/>
                <a:gd name="connsiteX1805" fmla="*/ 4346334 w 10048557"/>
                <a:gd name="connsiteY1805" fmla="*/ 859748 h 4837661"/>
                <a:gd name="connsiteX1806" fmla="*/ 4338198 w 10048557"/>
                <a:gd name="connsiteY1806" fmla="*/ 872879 h 4837661"/>
                <a:gd name="connsiteX1807" fmla="*/ 4327010 w 10048557"/>
                <a:gd name="connsiteY1807" fmla="*/ 878937 h 4837661"/>
                <a:gd name="connsiteX1808" fmla="*/ 4317852 w 10048557"/>
                <a:gd name="connsiteY1808" fmla="*/ 890015 h 4837661"/>
                <a:gd name="connsiteX1809" fmla="*/ 4315566 w 10048557"/>
                <a:gd name="connsiteY1809" fmla="*/ 904350 h 4837661"/>
                <a:gd name="connsiteX1810" fmla="*/ 4317570 w 10048557"/>
                <a:gd name="connsiteY1810" fmla="*/ 932095 h 4837661"/>
                <a:gd name="connsiteX1811" fmla="*/ 4310705 w 10048557"/>
                <a:gd name="connsiteY1811" fmla="*/ 942704 h 4837661"/>
                <a:gd name="connsiteX1812" fmla="*/ 4298527 w 10048557"/>
                <a:gd name="connsiteY1812" fmla="*/ 950499 h 4837661"/>
                <a:gd name="connsiteX1813" fmla="*/ 4274912 w 10048557"/>
                <a:gd name="connsiteY1813" fmla="*/ 951253 h 4837661"/>
                <a:gd name="connsiteX1814" fmla="*/ 4259433 w 10048557"/>
                <a:gd name="connsiteY1814" fmla="*/ 958579 h 4837661"/>
                <a:gd name="connsiteX1815" fmla="*/ 4242656 w 10048557"/>
                <a:gd name="connsiteY1815" fmla="*/ 970696 h 4837661"/>
                <a:gd name="connsiteX1816" fmla="*/ 4227655 w 10048557"/>
                <a:gd name="connsiteY1816" fmla="*/ 979790 h 4837661"/>
                <a:gd name="connsiteX1817" fmla="*/ 4215792 w 10048557"/>
                <a:gd name="connsiteY1817" fmla="*/ 974517 h 4837661"/>
                <a:gd name="connsiteX1818" fmla="*/ 4211220 w 10048557"/>
                <a:gd name="connsiteY1818" fmla="*/ 957850 h 4837661"/>
                <a:gd name="connsiteX1819" fmla="*/ 4204839 w 10048557"/>
                <a:gd name="connsiteY1819" fmla="*/ 951285 h 4837661"/>
                <a:gd name="connsiteX1820" fmla="*/ 4205114 w 10048557"/>
                <a:gd name="connsiteY1820" fmla="*/ 941690 h 4837661"/>
                <a:gd name="connsiteX1821" fmla="*/ 4220371 w 10048557"/>
                <a:gd name="connsiteY1821" fmla="*/ 937932 h 4837661"/>
                <a:gd name="connsiteX1822" fmla="*/ 4224183 w 10048557"/>
                <a:gd name="connsiteY1822" fmla="*/ 922342 h 4837661"/>
                <a:gd name="connsiteX1823" fmla="*/ 4228697 w 10048557"/>
                <a:gd name="connsiteY1823" fmla="*/ 916309 h 4837661"/>
                <a:gd name="connsiteX1824" fmla="*/ 4234036 w 10048557"/>
                <a:gd name="connsiteY1824" fmla="*/ 905738 h 4837661"/>
                <a:gd name="connsiteX1825" fmla="*/ 4228762 w 10048557"/>
                <a:gd name="connsiteY1825" fmla="*/ 896175 h 4837661"/>
                <a:gd name="connsiteX1826" fmla="*/ 4216630 w 10048557"/>
                <a:gd name="connsiteY1826" fmla="*/ 890902 h 4837661"/>
                <a:gd name="connsiteX1827" fmla="*/ 4214272 w 10048557"/>
                <a:gd name="connsiteY1827" fmla="*/ 875053 h 4837661"/>
                <a:gd name="connsiteX1828" fmla="*/ 4234029 w 10048557"/>
                <a:gd name="connsiteY1828" fmla="*/ 868265 h 4837661"/>
                <a:gd name="connsiteX1829" fmla="*/ 4250602 w 10048557"/>
                <a:gd name="connsiteY1829" fmla="*/ 870540 h 4837661"/>
                <a:gd name="connsiteX1830" fmla="*/ 4264798 w 10048557"/>
                <a:gd name="connsiteY1830" fmla="*/ 859177 h 4837661"/>
                <a:gd name="connsiteX1831" fmla="*/ 785315 w 10048557"/>
                <a:gd name="connsiteY1831" fmla="*/ 809481 h 4837661"/>
                <a:gd name="connsiteX1832" fmla="*/ 795840 w 10048557"/>
                <a:gd name="connsiteY1832" fmla="*/ 820559 h 4837661"/>
                <a:gd name="connsiteX1833" fmla="*/ 789739 w 10048557"/>
                <a:gd name="connsiteY1833" fmla="*/ 833439 h 4837661"/>
                <a:gd name="connsiteX1834" fmla="*/ 781348 w 10048557"/>
                <a:gd name="connsiteY1834" fmla="*/ 840981 h 4837661"/>
                <a:gd name="connsiteX1835" fmla="*/ 785893 w 10048557"/>
                <a:gd name="connsiteY1835" fmla="*/ 852820 h 4837661"/>
                <a:gd name="connsiteX1836" fmla="*/ 778928 w 10048557"/>
                <a:gd name="connsiteY1836" fmla="*/ 858283 h 4837661"/>
                <a:gd name="connsiteX1837" fmla="*/ 771141 w 10048557"/>
                <a:gd name="connsiteY1837" fmla="*/ 850800 h 4837661"/>
                <a:gd name="connsiteX1838" fmla="*/ 766085 w 10048557"/>
                <a:gd name="connsiteY1838" fmla="*/ 842750 h 4837661"/>
                <a:gd name="connsiteX1839" fmla="*/ 751612 w 10048557"/>
                <a:gd name="connsiteY1839" fmla="*/ 835207 h 4837661"/>
                <a:gd name="connsiteX1840" fmla="*/ 759839 w 10048557"/>
                <a:gd name="connsiteY1840" fmla="*/ 824662 h 4837661"/>
                <a:gd name="connsiteX1841" fmla="*/ 771931 w 10048557"/>
                <a:gd name="connsiteY1841" fmla="*/ 813774 h 4837661"/>
                <a:gd name="connsiteX1842" fmla="*/ 789711 w 10048557"/>
                <a:gd name="connsiteY1842" fmla="*/ 773563 h 4837661"/>
                <a:gd name="connsiteX1843" fmla="*/ 799153 w 10048557"/>
                <a:gd name="connsiteY1843" fmla="*/ 778084 h 4837661"/>
                <a:gd name="connsiteX1844" fmla="*/ 800823 w 10048557"/>
                <a:gd name="connsiteY1844" fmla="*/ 785406 h 4837661"/>
                <a:gd name="connsiteX1845" fmla="*/ 792263 w 10048557"/>
                <a:gd name="connsiteY1845" fmla="*/ 792133 h 4837661"/>
                <a:gd name="connsiteX1846" fmla="*/ 784462 w 10048557"/>
                <a:gd name="connsiteY1846" fmla="*/ 782937 h 4837661"/>
                <a:gd name="connsiteX1847" fmla="*/ 768189 w 10048557"/>
                <a:gd name="connsiteY1847" fmla="*/ 753613 h 4837661"/>
                <a:gd name="connsiteX1848" fmla="*/ 775593 w 10048557"/>
                <a:gd name="connsiteY1848" fmla="*/ 760959 h 4837661"/>
                <a:gd name="connsiteX1849" fmla="*/ 766247 w 10048557"/>
                <a:gd name="connsiteY1849" fmla="*/ 769516 h 4837661"/>
                <a:gd name="connsiteX1850" fmla="*/ 765484 w 10048557"/>
                <a:gd name="connsiteY1850" fmla="*/ 781068 h 4837661"/>
                <a:gd name="connsiteX1851" fmla="*/ 762717 w 10048557"/>
                <a:gd name="connsiteY1851" fmla="*/ 795938 h 4837661"/>
                <a:gd name="connsiteX1852" fmla="*/ 752245 w 10048557"/>
                <a:gd name="connsiteY1852" fmla="*/ 784573 h 4837661"/>
                <a:gd name="connsiteX1853" fmla="*/ 747533 w 10048557"/>
                <a:gd name="connsiteY1853" fmla="*/ 771821 h 4837661"/>
                <a:gd name="connsiteX1854" fmla="*/ 754941 w 10048557"/>
                <a:gd name="connsiteY1854" fmla="*/ 761755 h 4837661"/>
                <a:gd name="connsiteX1855" fmla="*/ 4395660 w 10048557"/>
                <a:gd name="connsiteY1855" fmla="*/ 745976 h 4837661"/>
                <a:gd name="connsiteX1856" fmla="*/ 4406609 w 10048557"/>
                <a:gd name="connsiteY1856" fmla="*/ 747372 h 4837661"/>
                <a:gd name="connsiteX1857" fmla="*/ 4402279 w 10048557"/>
                <a:gd name="connsiteY1857" fmla="*/ 759456 h 4837661"/>
                <a:gd name="connsiteX1858" fmla="*/ 4396216 w 10048557"/>
                <a:gd name="connsiteY1858" fmla="*/ 767731 h 4837661"/>
                <a:gd name="connsiteX1859" fmla="*/ 4416551 w 10048557"/>
                <a:gd name="connsiteY1859" fmla="*/ 773025 h 4837661"/>
                <a:gd name="connsiteX1860" fmla="*/ 4434099 w 10048557"/>
                <a:gd name="connsiteY1860" fmla="*/ 779790 h 4837661"/>
                <a:gd name="connsiteX1861" fmla="*/ 4418869 w 10048557"/>
                <a:gd name="connsiteY1861" fmla="*/ 793422 h 4837661"/>
                <a:gd name="connsiteX1862" fmla="*/ 4403678 w 10048557"/>
                <a:gd name="connsiteY1862" fmla="*/ 806776 h 4837661"/>
                <a:gd name="connsiteX1863" fmla="*/ 4408256 w 10048557"/>
                <a:gd name="connsiteY1863" fmla="*/ 818898 h 4837661"/>
                <a:gd name="connsiteX1864" fmla="*/ 4419894 w 10048557"/>
                <a:gd name="connsiteY1864" fmla="*/ 822646 h 4837661"/>
                <a:gd name="connsiteX1865" fmla="*/ 4436418 w 10048557"/>
                <a:gd name="connsiteY1865" fmla="*/ 822646 h 4837661"/>
                <a:gd name="connsiteX1866" fmla="*/ 4463085 w 10048557"/>
                <a:gd name="connsiteY1866" fmla="*/ 843797 h 4837661"/>
                <a:gd name="connsiteX1867" fmla="*/ 4473516 w 10048557"/>
                <a:gd name="connsiteY1867" fmla="*/ 864759 h 4837661"/>
                <a:gd name="connsiteX1868" fmla="*/ 4485719 w 10048557"/>
                <a:gd name="connsiteY1868" fmla="*/ 880641 h 4837661"/>
                <a:gd name="connsiteX1869" fmla="*/ 4491821 w 10048557"/>
                <a:gd name="connsiteY1869" fmla="*/ 898032 h 4837661"/>
                <a:gd name="connsiteX1870" fmla="*/ 4491821 w 10048557"/>
                <a:gd name="connsiteY1870" fmla="*/ 918479 h 4837661"/>
                <a:gd name="connsiteX1871" fmla="*/ 4497827 w 10048557"/>
                <a:gd name="connsiteY1871" fmla="*/ 933544 h 4837661"/>
                <a:gd name="connsiteX1872" fmla="*/ 4515250 w 10048557"/>
                <a:gd name="connsiteY1872" fmla="*/ 936575 h 4837661"/>
                <a:gd name="connsiteX1873" fmla="*/ 4524082 w 10048557"/>
                <a:gd name="connsiteY1873" fmla="*/ 923534 h 4837661"/>
                <a:gd name="connsiteX1874" fmla="*/ 4536984 w 10048557"/>
                <a:gd name="connsiteY1874" fmla="*/ 925018 h 4837661"/>
                <a:gd name="connsiteX1875" fmla="*/ 4542329 w 10048557"/>
                <a:gd name="connsiteY1875" fmla="*/ 945189 h 4837661"/>
                <a:gd name="connsiteX1876" fmla="*/ 4541563 w 10048557"/>
                <a:gd name="connsiteY1876" fmla="*/ 953488 h 4837661"/>
                <a:gd name="connsiteX1877" fmla="*/ 4495030 w 10048557"/>
                <a:gd name="connsiteY1877" fmla="*/ 969395 h 4837661"/>
                <a:gd name="connsiteX1878" fmla="*/ 4511055 w 10048557"/>
                <a:gd name="connsiteY1878" fmla="*/ 979216 h 4837661"/>
                <a:gd name="connsiteX1879" fmla="*/ 4524024 w 10048557"/>
                <a:gd name="connsiteY1879" fmla="*/ 985278 h 4837661"/>
                <a:gd name="connsiteX1880" fmla="*/ 4494273 w 10048557"/>
                <a:gd name="connsiteY1880" fmla="*/ 989817 h 4837661"/>
                <a:gd name="connsiteX1881" fmla="*/ 4477999 w 10048557"/>
                <a:gd name="connsiteY1881" fmla="*/ 985529 h 4837661"/>
                <a:gd name="connsiteX1882" fmla="*/ 4456667 w 10048557"/>
                <a:gd name="connsiteY1882" fmla="*/ 994369 h 4837661"/>
                <a:gd name="connsiteX1883" fmla="*/ 4443448 w 10048557"/>
                <a:gd name="connsiteY1883" fmla="*/ 995878 h 4837661"/>
                <a:gd name="connsiteX1884" fmla="*/ 4418017 w 10048557"/>
                <a:gd name="connsiteY1884" fmla="*/ 999663 h 4837661"/>
                <a:gd name="connsiteX1885" fmla="*/ 4401752 w 10048557"/>
                <a:gd name="connsiteY1885" fmla="*/ 1001185 h 4837661"/>
                <a:gd name="connsiteX1886" fmla="*/ 4377844 w 10048557"/>
                <a:gd name="connsiteY1886" fmla="*/ 1007246 h 4837661"/>
                <a:gd name="connsiteX1887" fmla="*/ 4362077 w 10048557"/>
                <a:gd name="connsiteY1887" fmla="*/ 1014565 h 4837661"/>
                <a:gd name="connsiteX1888" fmla="*/ 4340238 w 10048557"/>
                <a:gd name="connsiteY1888" fmla="*/ 1017595 h 4837661"/>
                <a:gd name="connsiteX1889" fmla="*/ 4335429 w 10048557"/>
                <a:gd name="connsiteY1889" fmla="*/ 1010805 h 4837661"/>
                <a:gd name="connsiteX1890" fmla="*/ 4342470 w 10048557"/>
                <a:gd name="connsiteY1890" fmla="*/ 1001751 h 4837661"/>
                <a:gd name="connsiteX1891" fmla="*/ 4360736 w 10048557"/>
                <a:gd name="connsiteY1891" fmla="*/ 998720 h 4837661"/>
                <a:gd name="connsiteX1892" fmla="*/ 4375966 w 10048557"/>
                <a:gd name="connsiteY1892" fmla="*/ 991930 h 4837661"/>
                <a:gd name="connsiteX1893" fmla="*/ 4404702 w 10048557"/>
                <a:gd name="connsiteY1893" fmla="*/ 988145 h 4837661"/>
                <a:gd name="connsiteX1894" fmla="*/ 4416139 w 10048557"/>
                <a:gd name="connsiteY1894" fmla="*/ 980159 h 4837661"/>
                <a:gd name="connsiteX1895" fmla="*/ 4413342 w 10048557"/>
                <a:gd name="connsiteY1895" fmla="*/ 970816 h 4837661"/>
                <a:gd name="connsiteX1896" fmla="*/ 4390267 w 10048557"/>
                <a:gd name="connsiteY1896" fmla="*/ 966516 h 4837661"/>
                <a:gd name="connsiteX1897" fmla="*/ 4379146 w 10048557"/>
                <a:gd name="connsiteY1897" fmla="*/ 966516 h 4837661"/>
                <a:gd name="connsiteX1898" fmla="*/ 4364376 w 10048557"/>
                <a:gd name="connsiteY1898" fmla="*/ 957751 h 4837661"/>
                <a:gd name="connsiteX1899" fmla="*/ 4355458 w 10048557"/>
                <a:gd name="connsiteY1899" fmla="*/ 948722 h 4837661"/>
                <a:gd name="connsiteX1900" fmla="*/ 4364357 w 10048557"/>
                <a:gd name="connsiteY1900" fmla="*/ 945717 h 4837661"/>
                <a:gd name="connsiteX1901" fmla="*/ 4380085 w 10048557"/>
                <a:gd name="connsiteY1901" fmla="*/ 940448 h 4837661"/>
                <a:gd name="connsiteX1902" fmla="*/ 4382374 w 10048557"/>
                <a:gd name="connsiteY1902" fmla="*/ 928678 h 4837661"/>
                <a:gd name="connsiteX1903" fmla="*/ 4373505 w 10048557"/>
                <a:gd name="connsiteY1903" fmla="*/ 926653 h 4837661"/>
                <a:gd name="connsiteX1904" fmla="*/ 4371790 w 10048557"/>
                <a:gd name="connsiteY1904" fmla="*/ 915788 h 4837661"/>
                <a:gd name="connsiteX1905" fmla="*/ 4391273 w 10048557"/>
                <a:gd name="connsiteY1905" fmla="*/ 909828 h 4837661"/>
                <a:gd name="connsiteX1906" fmla="*/ 4400143 w 10048557"/>
                <a:gd name="connsiteY1906" fmla="*/ 909073 h 4837661"/>
                <a:gd name="connsiteX1907" fmla="*/ 4416637 w 10048557"/>
                <a:gd name="connsiteY1907" fmla="*/ 905276 h 4837661"/>
                <a:gd name="connsiteX1908" fmla="*/ 4419664 w 10048557"/>
                <a:gd name="connsiteY1908" fmla="*/ 883345 h 4837661"/>
                <a:gd name="connsiteX1909" fmla="*/ 4416609 w 10048557"/>
                <a:gd name="connsiteY1909" fmla="*/ 869198 h 4837661"/>
                <a:gd name="connsiteX1910" fmla="*/ 4416609 w 10048557"/>
                <a:gd name="connsiteY1910" fmla="*/ 854812 h 4837661"/>
                <a:gd name="connsiteX1911" fmla="*/ 4405737 w 10048557"/>
                <a:gd name="connsiteY1911" fmla="*/ 845029 h 4837661"/>
                <a:gd name="connsiteX1912" fmla="*/ 4393026 w 10048557"/>
                <a:gd name="connsiteY1912" fmla="*/ 844262 h 4837661"/>
                <a:gd name="connsiteX1913" fmla="*/ 4386953 w 10048557"/>
                <a:gd name="connsiteY1913" fmla="*/ 855630 h 4837661"/>
                <a:gd name="connsiteX1914" fmla="*/ 4373543 w 10048557"/>
                <a:gd name="connsiteY1914" fmla="*/ 849607 h 4837661"/>
                <a:gd name="connsiteX1915" fmla="*/ 4365401 w 10048557"/>
                <a:gd name="connsiteY1915" fmla="*/ 842338 h 4837661"/>
                <a:gd name="connsiteX1916" fmla="*/ 4366924 w 10048557"/>
                <a:gd name="connsiteY1916" fmla="*/ 832743 h 4837661"/>
                <a:gd name="connsiteX1917" fmla="*/ 4376053 w 10048557"/>
                <a:gd name="connsiteY1917" fmla="*/ 825236 h 4837661"/>
                <a:gd name="connsiteX1918" fmla="*/ 4366924 w 10048557"/>
                <a:gd name="connsiteY1918" fmla="*/ 813139 h 4837661"/>
                <a:gd name="connsiteX1919" fmla="*/ 4357039 w 10048557"/>
                <a:gd name="connsiteY1919" fmla="*/ 803330 h 4837661"/>
                <a:gd name="connsiteX1920" fmla="*/ 4355583 w 10048557"/>
                <a:gd name="connsiteY1920" fmla="*/ 791523 h 4837661"/>
                <a:gd name="connsiteX1921" fmla="*/ 4365181 w 10048557"/>
                <a:gd name="connsiteY1921" fmla="*/ 779489 h 4837661"/>
                <a:gd name="connsiteX1922" fmla="*/ 4364616 w 10048557"/>
                <a:gd name="connsiteY1922" fmla="*/ 768473 h 4837661"/>
                <a:gd name="connsiteX1923" fmla="*/ 4370918 w 10048557"/>
                <a:gd name="connsiteY1923" fmla="*/ 756388 h 4837661"/>
                <a:gd name="connsiteX1924" fmla="*/ 4383581 w 10048557"/>
                <a:gd name="connsiteY1924" fmla="*/ 756112 h 4837661"/>
                <a:gd name="connsiteX1925" fmla="*/ 307402 w 10048557"/>
                <a:gd name="connsiteY1925" fmla="*/ 740537 h 4837661"/>
                <a:gd name="connsiteX1926" fmla="*/ 315697 w 10048557"/>
                <a:gd name="connsiteY1926" fmla="*/ 740858 h 4837661"/>
                <a:gd name="connsiteX1927" fmla="*/ 314170 w 10048557"/>
                <a:gd name="connsiteY1927" fmla="*/ 751403 h 4837661"/>
                <a:gd name="connsiteX1928" fmla="*/ 301235 w 10048557"/>
                <a:gd name="connsiteY1928" fmla="*/ 766554 h 4837661"/>
                <a:gd name="connsiteX1929" fmla="*/ 285756 w 10048557"/>
                <a:gd name="connsiteY1929" fmla="*/ 767817 h 4837661"/>
                <a:gd name="connsiteX1930" fmla="*/ 272056 w 10048557"/>
                <a:gd name="connsiteY1930" fmla="*/ 769331 h 4837661"/>
                <a:gd name="connsiteX1931" fmla="*/ 261662 w 10048557"/>
                <a:gd name="connsiteY1931" fmla="*/ 770848 h 4837661"/>
                <a:gd name="connsiteX1932" fmla="*/ 246661 w 10048557"/>
                <a:gd name="connsiteY1932" fmla="*/ 772363 h 4837661"/>
                <a:gd name="connsiteX1933" fmla="*/ 238524 w 10048557"/>
                <a:gd name="connsiteY1933" fmla="*/ 783473 h 4837661"/>
                <a:gd name="connsiteX1934" fmla="*/ 224392 w 10048557"/>
                <a:gd name="connsiteY1934" fmla="*/ 778960 h 4837661"/>
                <a:gd name="connsiteX1935" fmla="*/ 229341 w 10048557"/>
                <a:gd name="connsiteY1935" fmla="*/ 768952 h 4837661"/>
                <a:gd name="connsiteX1936" fmla="*/ 246673 w 10048557"/>
                <a:gd name="connsiteY1936" fmla="*/ 759103 h 4837661"/>
                <a:gd name="connsiteX1937" fmla="*/ 267344 w 10048557"/>
                <a:gd name="connsiteY1937" fmla="*/ 756486 h 4837661"/>
                <a:gd name="connsiteX1938" fmla="*/ 298521 w 10048557"/>
                <a:gd name="connsiteY1938" fmla="*/ 746164 h 4837661"/>
                <a:gd name="connsiteX1939" fmla="*/ 5056006 w 10048557"/>
                <a:gd name="connsiteY1939" fmla="*/ 663944 h 4837661"/>
                <a:gd name="connsiteX1940" fmla="*/ 5065625 w 10048557"/>
                <a:gd name="connsiteY1940" fmla="*/ 682404 h 4837661"/>
                <a:gd name="connsiteX1941" fmla="*/ 5056512 w 10048557"/>
                <a:gd name="connsiteY1941" fmla="*/ 691496 h 4837661"/>
                <a:gd name="connsiteX1942" fmla="*/ 5043331 w 10048557"/>
                <a:gd name="connsiteY1942" fmla="*/ 686445 h 4837661"/>
                <a:gd name="connsiteX1943" fmla="*/ 5033906 w 10048557"/>
                <a:gd name="connsiteY1943" fmla="*/ 678446 h 4837661"/>
                <a:gd name="connsiteX1944" fmla="*/ 5042946 w 10048557"/>
                <a:gd name="connsiteY1944" fmla="*/ 665037 h 4837661"/>
                <a:gd name="connsiteX1945" fmla="*/ 4361411 w 10048557"/>
                <a:gd name="connsiteY1945" fmla="*/ 616037 h 4837661"/>
                <a:gd name="connsiteX1946" fmla="*/ 4370721 w 10048557"/>
                <a:gd name="connsiteY1946" fmla="*/ 617813 h 4837661"/>
                <a:gd name="connsiteX1947" fmla="*/ 4380040 w 10048557"/>
                <a:gd name="connsiteY1947" fmla="*/ 624271 h 4837661"/>
                <a:gd name="connsiteX1948" fmla="*/ 4374730 w 10048557"/>
                <a:gd name="connsiteY1948" fmla="*/ 632397 h 4837661"/>
                <a:gd name="connsiteX1949" fmla="*/ 4358694 w 10048557"/>
                <a:gd name="connsiteY1949" fmla="*/ 629244 h 4837661"/>
                <a:gd name="connsiteX1950" fmla="*/ 4370654 w 10048557"/>
                <a:gd name="connsiteY1950" fmla="*/ 590559 h 4837661"/>
                <a:gd name="connsiteX1951" fmla="*/ 4384784 w 10048557"/>
                <a:gd name="connsiteY1951" fmla="*/ 595971 h 4837661"/>
                <a:gd name="connsiteX1952" fmla="*/ 4389901 w 10048557"/>
                <a:gd name="connsiteY1952" fmla="*/ 613554 h 4837661"/>
                <a:gd name="connsiteX1953" fmla="*/ 4371084 w 10048557"/>
                <a:gd name="connsiteY1953" fmla="*/ 607526 h 4837661"/>
                <a:gd name="connsiteX1954" fmla="*/ 4355540 w 10048557"/>
                <a:gd name="connsiteY1954" fmla="*/ 606012 h 4837661"/>
                <a:gd name="connsiteX1955" fmla="*/ 4354731 w 10048557"/>
                <a:gd name="connsiteY1955" fmla="*/ 592580 h 4837661"/>
                <a:gd name="connsiteX1956" fmla="*/ 2360890 w 10048557"/>
                <a:gd name="connsiteY1956" fmla="*/ 507633 h 4837661"/>
                <a:gd name="connsiteX1957" fmla="*/ 2385590 w 10048557"/>
                <a:gd name="connsiteY1957" fmla="*/ 515902 h 4837661"/>
                <a:gd name="connsiteX1958" fmla="*/ 2397255 w 10048557"/>
                <a:gd name="connsiteY1958" fmla="*/ 528306 h 4837661"/>
                <a:gd name="connsiteX1959" fmla="*/ 2419312 w 10048557"/>
                <a:gd name="connsiteY1959" fmla="*/ 540079 h 4837661"/>
                <a:gd name="connsiteX1960" fmla="*/ 2430503 w 10048557"/>
                <a:gd name="connsiteY1960" fmla="*/ 557223 h 4837661"/>
                <a:gd name="connsiteX1961" fmla="*/ 2419094 w 10048557"/>
                <a:gd name="connsiteY1961" fmla="*/ 570857 h 4837661"/>
                <a:gd name="connsiteX1962" fmla="*/ 2396206 w 10048557"/>
                <a:gd name="connsiteY1962" fmla="*/ 563282 h 4837661"/>
                <a:gd name="connsiteX1963" fmla="*/ 2376118 w 10048557"/>
                <a:gd name="connsiteY1963" fmla="*/ 551193 h 4837661"/>
                <a:gd name="connsiteX1964" fmla="*/ 2354819 w 10048557"/>
                <a:gd name="connsiteY1964" fmla="*/ 551193 h 4837661"/>
                <a:gd name="connsiteX1965" fmla="*/ 2335239 w 10048557"/>
                <a:gd name="connsiteY1965" fmla="*/ 556497 h 4837661"/>
                <a:gd name="connsiteX1966" fmla="*/ 2320809 w 10048557"/>
                <a:gd name="connsiteY1966" fmla="*/ 562553 h 4837661"/>
                <a:gd name="connsiteX1967" fmla="*/ 2299421 w 10048557"/>
                <a:gd name="connsiteY1967" fmla="*/ 558798 h 4837661"/>
                <a:gd name="connsiteX1968" fmla="*/ 2296265 w 10048557"/>
                <a:gd name="connsiteY1968" fmla="*/ 547277 h 4837661"/>
                <a:gd name="connsiteX1969" fmla="*/ 2302036 w 10048557"/>
                <a:gd name="connsiteY1969" fmla="*/ 539479 h 4837661"/>
                <a:gd name="connsiteX1970" fmla="*/ 2322904 w 10048557"/>
                <a:gd name="connsiteY1970" fmla="*/ 523822 h 4837661"/>
                <a:gd name="connsiteX1971" fmla="*/ 2339677 w 10048557"/>
                <a:gd name="connsiteY1971" fmla="*/ 509491 h 4837661"/>
                <a:gd name="connsiteX1972" fmla="*/ 4111113 w 10048557"/>
                <a:gd name="connsiteY1972" fmla="*/ 482080 h 4837661"/>
                <a:gd name="connsiteX1973" fmla="*/ 4129103 w 10048557"/>
                <a:gd name="connsiteY1973" fmla="*/ 483251 h 4837661"/>
                <a:gd name="connsiteX1974" fmla="*/ 4143736 w 10048557"/>
                <a:gd name="connsiteY1974" fmla="*/ 489257 h 4837661"/>
                <a:gd name="connsiteX1975" fmla="*/ 4152577 w 10048557"/>
                <a:gd name="connsiteY1975" fmla="*/ 495285 h 4837661"/>
                <a:gd name="connsiteX1976" fmla="*/ 4163483 w 10048557"/>
                <a:gd name="connsiteY1976" fmla="*/ 503338 h 4837661"/>
                <a:gd name="connsiteX1977" fmla="*/ 4173139 w 10048557"/>
                <a:gd name="connsiteY1977" fmla="*/ 518173 h 4837661"/>
                <a:gd name="connsiteX1978" fmla="*/ 4166310 w 10048557"/>
                <a:gd name="connsiteY1978" fmla="*/ 525623 h 4837661"/>
                <a:gd name="connsiteX1979" fmla="*/ 4142656 w 10048557"/>
                <a:gd name="connsiteY1979" fmla="*/ 529409 h 4837661"/>
                <a:gd name="connsiteX1980" fmla="*/ 4125937 w 10048557"/>
                <a:gd name="connsiteY1980" fmla="*/ 540679 h 4837661"/>
                <a:gd name="connsiteX1981" fmla="*/ 4108900 w 10048557"/>
                <a:gd name="connsiteY1981" fmla="*/ 554569 h 4837661"/>
                <a:gd name="connsiteX1982" fmla="*/ 4077665 w 10048557"/>
                <a:gd name="connsiteY1982" fmla="*/ 555323 h 4837661"/>
                <a:gd name="connsiteX1983" fmla="*/ 4058649 w 10048557"/>
                <a:gd name="connsiteY1983" fmla="*/ 555323 h 4837661"/>
                <a:gd name="connsiteX1984" fmla="*/ 4037832 w 10048557"/>
                <a:gd name="connsiteY1984" fmla="*/ 575748 h 4837661"/>
                <a:gd name="connsiteX1985" fmla="*/ 4021336 w 10048557"/>
                <a:gd name="connsiteY1985" fmla="*/ 575748 h 4837661"/>
                <a:gd name="connsiteX1986" fmla="*/ 4002552 w 10048557"/>
                <a:gd name="connsiteY1986" fmla="*/ 562366 h 4837661"/>
                <a:gd name="connsiteX1987" fmla="*/ 3983038 w 10048557"/>
                <a:gd name="connsiteY1987" fmla="*/ 551286 h 4837661"/>
                <a:gd name="connsiteX1988" fmla="*/ 3966319 w 10048557"/>
                <a:gd name="connsiteY1988" fmla="*/ 538407 h 4837661"/>
                <a:gd name="connsiteX1989" fmla="*/ 3952618 w 10048557"/>
                <a:gd name="connsiteY1989" fmla="*/ 549486 h 4837661"/>
                <a:gd name="connsiteX1990" fmla="*/ 3945407 w 10048557"/>
                <a:gd name="connsiteY1990" fmla="*/ 539703 h 4837661"/>
                <a:gd name="connsiteX1991" fmla="*/ 3944433 w 10048557"/>
                <a:gd name="connsiteY1991" fmla="*/ 523320 h 4837661"/>
                <a:gd name="connsiteX1992" fmla="*/ 3957478 w 10048557"/>
                <a:gd name="connsiteY1992" fmla="*/ 514291 h 4837661"/>
                <a:gd name="connsiteX1993" fmla="*/ 3965059 w 10048557"/>
                <a:gd name="connsiteY1993" fmla="*/ 514291 h 4837661"/>
                <a:gd name="connsiteX1994" fmla="*/ 4000509 w 10048557"/>
                <a:gd name="connsiteY1994" fmla="*/ 500150 h 4837661"/>
                <a:gd name="connsiteX1995" fmla="*/ 4015629 w 10048557"/>
                <a:gd name="connsiteY1995" fmla="*/ 491057 h 4837661"/>
                <a:gd name="connsiteX1996" fmla="*/ 4035789 w 10048557"/>
                <a:gd name="connsiteY1996" fmla="*/ 488785 h 4837661"/>
                <a:gd name="connsiteX1997" fmla="*/ 4059813 w 10048557"/>
                <a:gd name="connsiteY1997" fmla="*/ 499864 h 4837661"/>
                <a:gd name="connsiteX1998" fmla="*/ 4073472 w 10048557"/>
                <a:gd name="connsiteY1998" fmla="*/ 499864 h 4837661"/>
                <a:gd name="connsiteX1999" fmla="*/ 4096957 w 10048557"/>
                <a:gd name="connsiteY1999" fmla="*/ 488503 h 4837661"/>
                <a:gd name="connsiteX2000" fmla="*/ 2169883 w 10048557"/>
                <a:gd name="connsiteY2000" fmla="*/ 368008 h 4837661"/>
                <a:gd name="connsiteX2001" fmla="*/ 2179449 w 10048557"/>
                <a:gd name="connsiteY2001" fmla="*/ 373281 h 4837661"/>
                <a:gd name="connsiteX2002" fmla="*/ 2194679 w 10048557"/>
                <a:gd name="connsiteY2002" fmla="*/ 376058 h 4837661"/>
                <a:gd name="connsiteX2003" fmla="*/ 2196966 w 10048557"/>
                <a:gd name="connsiteY2003" fmla="*/ 387168 h 4837661"/>
                <a:gd name="connsiteX2004" fmla="*/ 2175636 w 10048557"/>
                <a:gd name="connsiteY2004" fmla="*/ 394241 h 4837661"/>
                <a:gd name="connsiteX2005" fmla="*/ 2153008 w 10048557"/>
                <a:gd name="connsiteY2005" fmla="*/ 405351 h 4837661"/>
                <a:gd name="connsiteX2006" fmla="*/ 2135494 w 10048557"/>
                <a:gd name="connsiteY2006" fmla="*/ 409896 h 4837661"/>
                <a:gd name="connsiteX2007" fmla="*/ 2122623 w 10048557"/>
                <a:gd name="connsiteY2007" fmla="*/ 402320 h 4837661"/>
                <a:gd name="connsiteX2008" fmla="*/ 2112662 w 10048557"/>
                <a:gd name="connsiteY2008" fmla="*/ 389251 h 4837661"/>
                <a:gd name="connsiteX2009" fmla="*/ 2120534 w 10048557"/>
                <a:gd name="connsiteY2009" fmla="*/ 381674 h 4837661"/>
                <a:gd name="connsiteX2010" fmla="*/ 2133586 w 10048557"/>
                <a:gd name="connsiteY2010" fmla="*/ 376084 h 4837661"/>
                <a:gd name="connsiteX2011" fmla="*/ 2154308 w 10048557"/>
                <a:gd name="connsiteY2011" fmla="*/ 372804 h 4837661"/>
                <a:gd name="connsiteX2012" fmla="*/ 4372184 w 10048557"/>
                <a:gd name="connsiteY2012" fmla="*/ 353959 h 4837661"/>
                <a:gd name="connsiteX2013" fmla="*/ 4384240 w 10048557"/>
                <a:gd name="connsiteY2013" fmla="*/ 356137 h 4837661"/>
                <a:gd name="connsiteX2014" fmla="*/ 4384463 w 10048557"/>
                <a:gd name="connsiteY2014" fmla="*/ 369489 h 4837661"/>
                <a:gd name="connsiteX2015" fmla="*/ 4364375 w 10048557"/>
                <a:gd name="connsiteY2015" fmla="*/ 374004 h 4837661"/>
                <a:gd name="connsiteX2016" fmla="*/ 4343208 w 10048557"/>
                <a:gd name="connsiteY2016" fmla="*/ 371226 h 4837661"/>
                <a:gd name="connsiteX2017" fmla="*/ 4343175 w 10048557"/>
                <a:gd name="connsiteY2017" fmla="*/ 359358 h 4837661"/>
                <a:gd name="connsiteX2018" fmla="*/ 4354489 w 10048557"/>
                <a:gd name="connsiteY2018" fmla="*/ 357843 h 4837661"/>
                <a:gd name="connsiteX2019" fmla="*/ 4364169 w 10048557"/>
                <a:gd name="connsiteY2019" fmla="*/ 358281 h 4837661"/>
                <a:gd name="connsiteX2020" fmla="*/ 2292842 w 10048557"/>
                <a:gd name="connsiteY2020" fmla="*/ 312932 h 4837661"/>
                <a:gd name="connsiteX2021" fmla="*/ 2304895 w 10048557"/>
                <a:gd name="connsiteY2021" fmla="*/ 317290 h 4837661"/>
                <a:gd name="connsiteX2022" fmla="*/ 2314001 w 10048557"/>
                <a:gd name="connsiteY2022" fmla="*/ 327148 h 4837661"/>
                <a:gd name="connsiteX2023" fmla="*/ 2311724 w 10048557"/>
                <a:gd name="connsiteY2023" fmla="*/ 338875 h 4837661"/>
                <a:gd name="connsiteX2024" fmla="*/ 2297796 w 10048557"/>
                <a:gd name="connsiteY2024" fmla="*/ 353714 h 4837661"/>
                <a:gd name="connsiteX2025" fmla="*/ 2297796 w 10048557"/>
                <a:gd name="connsiteY2025" fmla="*/ 362120 h 4837661"/>
                <a:gd name="connsiteX2026" fmla="*/ 2301815 w 10048557"/>
                <a:gd name="connsiteY2026" fmla="*/ 370006 h 4837661"/>
                <a:gd name="connsiteX2027" fmla="*/ 2306502 w 10048557"/>
                <a:gd name="connsiteY2027" fmla="*/ 387544 h 4837661"/>
                <a:gd name="connsiteX2028" fmla="*/ 2313466 w 10048557"/>
                <a:gd name="connsiteY2028" fmla="*/ 400412 h 4837661"/>
                <a:gd name="connsiteX2029" fmla="*/ 2327125 w 10048557"/>
                <a:gd name="connsiteY2029" fmla="*/ 392837 h 4837661"/>
                <a:gd name="connsiteX2030" fmla="*/ 2328733 w 10048557"/>
                <a:gd name="connsiteY2030" fmla="*/ 382355 h 4837661"/>
                <a:gd name="connsiteX2031" fmla="*/ 2340919 w 10048557"/>
                <a:gd name="connsiteY2031" fmla="*/ 386922 h 4837661"/>
                <a:gd name="connsiteX2032" fmla="*/ 2354312 w 10048557"/>
                <a:gd name="connsiteY2032" fmla="*/ 390346 h 4837661"/>
                <a:gd name="connsiteX2033" fmla="*/ 2359668 w 10048557"/>
                <a:gd name="connsiteY2033" fmla="*/ 400931 h 4837661"/>
                <a:gd name="connsiteX2034" fmla="*/ 2354177 w 10048557"/>
                <a:gd name="connsiteY2034" fmla="*/ 415355 h 4837661"/>
                <a:gd name="connsiteX2035" fmla="*/ 2340652 w 10048557"/>
                <a:gd name="connsiteY2035" fmla="*/ 429468 h 4837661"/>
                <a:gd name="connsiteX2036" fmla="*/ 2337706 w 10048557"/>
                <a:gd name="connsiteY2036" fmla="*/ 438496 h 4837661"/>
                <a:gd name="connsiteX2037" fmla="*/ 2353642 w 10048557"/>
                <a:gd name="connsiteY2037" fmla="*/ 447525 h 4837661"/>
                <a:gd name="connsiteX2038" fmla="*/ 2361008 w 10048557"/>
                <a:gd name="connsiteY2038" fmla="*/ 450327 h 4837661"/>
                <a:gd name="connsiteX2039" fmla="*/ 2371454 w 10048557"/>
                <a:gd name="connsiteY2039" fmla="*/ 446072 h 4837661"/>
                <a:gd name="connsiteX2040" fmla="*/ 2380293 w 10048557"/>
                <a:gd name="connsiteY2040" fmla="*/ 437770 h 4837661"/>
                <a:gd name="connsiteX2041" fmla="*/ 2402389 w 10048557"/>
                <a:gd name="connsiteY2041" fmla="*/ 424176 h 4837661"/>
                <a:gd name="connsiteX2042" fmla="*/ 2415247 w 10048557"/>
                <a:gd name="connsiteY2042" fmla="*/ 419714 h 4837661"/>
                <a:gd name="connsiteX2043" fmla="*/ 2436808 w 10048557"/>
                <a:gd name="connsiteY2043" fmla="*/ 397195 h 4837661"/>
                <a:gd name="connsiteX2044" fmla="*/ 2451136 w 10048557"/>
                <a:gd name="connsiteY2044" fmla="*/ 383289 h 4837661"/>
                <a:gd name="connsiteX2045" fmla="*/ 2460243 w 10048557"/>
                <a:gd name="connsiteY2045" fmla="*/ 379554 h 4837661"/>
                <a:gd name="connsiteX2046" fmla="*/ 2492382 w 10048557"/>
                <a:gd name="connsiteY2046" fmla="*/ 379554 h 4837661"/>
                <a:gd name="connsiteX2047" fmla="*/ 2505104 w 10048557"/>
                <a:gd name="connsiteY2047" fmla="*/ 381629 h 4837661"/>
                <a:gd name="connsiteX2048" fmla="*/ 2523318 w 10048557"/>
                <a:gd name="connsiteY2048" fmla="*/ 383808 h 4837661"/>
                <a:gd name="connsiteX2049" fmla="*/ 2526396 w 10048557"/>
                <a:gd name="connsiteY2049" fmla="*/ 393148 h 4837661"/>
                <a:gd name="connsiteX2050" fmla="*/ 2521309 w 10048557"/>
                <a:gd name="connsiteY2050" fmla="*/ 404978 h 4837661"/>
                <a:gd name="connsiteX2051" fmla="*/ 2509658 w 10048557"/>
                <a:gd name="connsiteY2051" fmla="*/ 420129 h 4837661"/>
                <a:gd name="connsiteX2052" fmla="*/ 2501488 w 10048557"/>
                <a:gd name="connsiteY2052" fmla="*/ 430506 h 4837661"/>
                <a:gd name="connsiteX2053" fmla="*/ 2487695 w 10048557"/>
                <a:gd name="connsiteY2053" fmla="*/ 444619 h 4837661"/>
                <a:gd name="connsiteX2054" fmla="*/ 2475776 w 10048557"/>
                <a:gd name="connsiteY2054" fmla="*/ 453751 h 4837661"/>
                <a:gd name="connsiteX2055" fmla="*/ 2452876 w 10048557"/>
                <a:gd name="connsiteY2055" fmla="*/ 466515 h 4837661"/>
                <a:gd name="connsiteX2056" fmla="*/ 2435468 w 10048557"/>
                <a:gd name="connsiteY2056" fmla="*/ 470355 h 4837661"/>
                <a:gd name="connsiteX2057" fmla="*/ 2403194 w 10048557"/>
                <a:gd name="connsiteY2057" fmla="*/ 470355 h 4837661"/>
                <a:gd name="connsiteX2058" fmla="*/ 2383372 w 10048557"/>
                <a:gd name="connsiteY2058" fmla="*/ 473364 h 4837661"/>
                <a:gd name="connsiteX2059" fmla="*/ 2359267 w 10048557"/>
                <a:gd name="connsiteY2059" fmla="*/ 473883 h 4837661"/>
                <a:gd name="connsiteX2060" fmla="*/ 2338643 w 10048557"/>
                <a:gd name="connsiteY2060" fmla="*/ 476892 h 4837661"/>
                <a:gd name="connsiteX2061" fmla="*/ 2326054 w 10048557"/>
                <a:gd name="connsiteY2061" fmla="*/ 486751 h 4837661"/>
                <a:gd name="connsiteX2062" fmla="*/ 2312796 w 10048557"/>
                <a:gd name="connsiteY2062" fmla="*/ 492977 h 4837661"/>
                <a:gd name="connsiteX2063" fmla="*/ 2297260 w 10048557"/>
                <a:gd name="connsiteY2063" fmla="*/ 494949 h 4837661"/>
                <a:gd name="connsiteX2064" fmla="*/ 2279583 w 10048557"/>
                <a:gd name="connsiteY2064" fmla="*/ 492251 h 4837661"/>
                <a:gd name="connsiteX2065" fmla="*/ 2262442 w 10048557"/>
                <a:gd name="connsiteY2065" fmla="*/ 484053 h 4837661"/>
                <a:gd name="connsiteX2066" fmla="*/ 2247979 w 10048557"/>
                <a:gd name="connsiteY2066" fmla="*/ 487788 h 4837661"/>
                <a:gd name="connsiteX2067" fmla="*/ 2242623 w 10048557"/>
                <a:gd name="connsiteY2067" fmla="*/ 497128 h 4837661"/>
                <a:gd name="connsiteX2068" fmla="*/ 2253604 w 10048557"/>
                <a:gd name="connsiteY2068" fmla="*/ 505119 h 4837661"/>
                <a:gd name="connsiteX2069" fmla="*/ 2266994 w 10048557"/>
                <a:gd name="connsiteY2069" fmla="*/ 519854 h 4837661"/>
                <a:gd name="connsiteX2070" fmla="*/ 2271013 w 10048557"/>
                <a:gd name="connsiteY2070" fmla="*/ 529609 h 4837661"/>
                <a:gd name="connsiteX2071" fmla="*/ 2250255 w 10048557"/>
                <a:gd name="connsiteY2071" fmla="*/ 536458 h 4837661"/>
                <a:gd name="connsiteX2072" fmla="*/ 2231374 w 10048557"/>
                <a:gd name="connsiteY2072" fmla="*/ 542580 h 4837661"/>
                <a:gd name="connsiteX2073" fmla="*/ 2211687 w 10048557"/>
                <a:gd name="connsiteY2073" fmla="*/ 545590 h 4837661"/>
                <a:gd name="connsiteX2074" fmla="*/ 2187984 w 10048557"/>
                <a:gd name="connsiteY2074" fmla="*/ 554618 h 4837661"/>
                <a:gd name="connsiteX2075" fmla="*/ 2157584 w 10048557"/>
                <a:gd name="connsiteY2075" fmla="*/ 555345 h 4837661"/>
                <a:gd name="connsiteX2076" fmla="*/ 2146603 w 10048557"/>
                <a:gd name="connsiteY2076" fmla="*/ 549118 h 4837661"/>
                <a:gd name="connsiteX2077" fmla="*/ 2134951 w 10048557"/>
                <a:gd name="connsiteY2077" fmla="*/ 553684 h 4837661"/>
                <a:gd name="connsiteX2078" fmla="*/ 2129594 w 10048557"/>
                <a:gd name="connsiteY2078" fmla="*/ 570288 h 4837661"/>
                <a:gd name="connsiteX2079" fmla="*/ 2136424 w 10048557"/>
                <a:gd name="connsiteY2079" fmla="*/ 576929 h 4837661"/>
                <a:gd name="connsiteX2080" fmla="*/ 2129594 w 10048557"/>
                <a:gd name="connsiteY2080" fmla="*/ 584401 h 4837661"/>
                <a:gd name="connsiteX2081" fmla="*/ 2116068 w 10048557"/>
                <a:gd name="connsiteY2081" fmla="*/ 590212 h 4837661"/>
                <a:gd name="connsiteX2082" fmla="*/ 2092767 w 10048557"/>
                <a:gd name="connsiteY2082" fmla="*/ 599344 h 4837661"/>
                <a:gd name="connsiteX2083" fmla="*/ 2072947 w 10048557"/>
                <a:gd name="connsiteY2083" fmla="*/ 606920 h 4837661"/>
                <a:gd name="connsiteX2084" fmla="*/ 2057947 w 10048557"/>
                <a:gd name="connsiteY2084" fmla="*/ 612939 h 4837661"/>
                <a:gd name="connsiteX2085" fmla="*/ 2044287 w 10048557"/>
                <a:gd name="connsiteY2085" fmla="*/ 621240 h 4837661"/>
                <a:gd name="connsiteX2086" fmla="*/ 2024466 w 10048557"/>
                <a:gd name="connsiteY2086" fmla="*/ 631307 h 4837661"/>
                <a:gd name="connsiteX2087" fmla="*/ 2003441 w 10048557"/>
                <a:gd name="connsiteY2087" fmla="*/ 647495 h 4837661"/>
                <a:gd name="connsiteX2088" fmla="*/ 1988174 w 10048557"/>
                <a:gd name="connsiteY2088" fmla="*/ 654344 h 4837661"/>
                <a:gd name="connsiteX2089" fmla="*/ 1970229 w 10048557"/>
                <a:gd name="connsiteY2089" fmla="*/ 661089 h 4837661"/>
                <a:gd name="connsiteX2090" fmla="*/ 1961123 w 10048557"/>
                <a:gd name="connsiteY2090" fmla="*/ 667834 h 4837661"/>
                <a:gd name="connsiteX2091" fmla="*/ 1953758 w 10048557"/>
                <a:gd name="connsiteY2091" fmla="*/ 679145 h 4837661"/>
                <a:gd name="connsiteX2092" fmla="*/ 1941303 w 10048557"/>
                <a:gd name="connsiteY2092" fmla="*/ 690560 h 4837661"/>
                <a:gd name="connsiteX2093" fmla="*/ 1933402 w 10048557"/>
                <a:gd name="connsiteY2093" fmla="*/ 701353 h 4837661"/>
                <a:gd name="connsiteX2094" fmla="*/ 1925769 w 10048557"/>
                <a:gd name="connsiteY2094" fmla="*/ 715051 h 4837661"/>
                <a:gd name="connsiteX2095" fmla="*/ 1926304 w 10048557"/>
                <a:gd name="connsiteY2095" fmla="*/ 726155 h 4837661"/>
                <a:gd name="connsiteX2096" fmla="*/ 1935276 w 10048557"/>
                <a:gd name="connsiteY2096" fmla="*/ 733004 h 4837661"/>
                <a:gd name="connsiteX2097" fmla="*/ 1946393 w 10048557"/>
                <a:gd name="connsiteY2097" fmla="*/ 735287 h 4837661"/>
                <a:gd name="connsiteX2098" fmla="*/ 1952685 w 10048557"/>
                <a:gd name="connsiteY2098" fmla="*/ 746079 h 4837661"/>
                <a:gd name="connsiteX2099" fmla="*/ 1956971 w 10048557"/>
                <a:gd name="connsiteY2099" fmla="*/ 762787 h 4837661"/>
                <a:gd name="connsiteX2100" fmla="*/ 1962730 w 10048557"/>
                <a:gd name="connsiteY2100" fmla="*/ 773787 h 4837661"/>
                <a:gd name="connsiteX2101" fmla="*/ 1970097 w 10048557"/>
                <a:gd name="connsiteY2101" fmla="*/ 783333 h 4837661"/>
                <a:gd name="connsiteX2102" fmla="*/ 1989113 w 10048557"/>
                <a:gd name="connsiteY2102" fmla="*/ 789871 h 4837661"/>
                <a:gd name="connsiteX2103" fmla="*/ 2012817 w 10048557"/>
                <a:gd name="connsiteY2103" fmla="*/ 791116 h 4837661"/>
                <a:gd name="connsiteX2104" fmla="*/ 2022325 w 10048557"/>
                <a:gd name="connsiteY2104" fmla="*/ 791843 h 4837661"/>
                <a:gd name="connsiteX2105" fmla="*/ 2048303 w 10048557"/>
                <a:gd name="connsiteY2105" fmla="*/ 800975 h 4837661"/>
                <a:gd name="connsiteX2106" fmla="*/ 2066114 w 10048557"/>
                <a:gd name="connsiteY2106" fmla="*/ 811767 h 4837661"/>
                <a:gd name="connsiteX2107" fmla="*/ 2078305 w 10048557"/>
                <a:gd name="connsiteY2107" fmla="*/ 821314 h 4837661"/>
                <a:gd name="connsiteX2108" fmla="*/ 2095712 w 10048557"/>
                <a:gd name="connsiteY2108" fmla="*/ 833455 h 4837661"/>
                <a:gd name="connsiteX2109" fmla="*/ 2121559 w 10048557"/>
                <a:gd name="connsiteY2109" fmla="*/ 838644 h 4837661"/>
                <a:gd name="connsiteX2110" fmla="*/ 2148610 w 10048557"/>
                <a:gd name="connsiteY2110" fmla="*/ 845701 h 4837661"/>
                <a:gd name="connsiteX2111" fmla="*/ 2158788 w 10048557"/>
                <a:gd name="connsiteY2111" fmla="*/ 847257 h 4837661"/>
                <a:gd name="connsiteX2112" fmla="*/ 2163877 w 10048557"/>
                <a:gd name="connsiteY2112" fmla="*/ 853795 h 4837661"/>
                <a:gd name="connsiteX2113" fmla="*/ 2165217 w 10048557"/>
                <a:gd name="connsiteY2113" fmla="*/ 862823 h 4837661"/>
                <a:gd name="connsiteX2114" fmla="*/ 2160127 w 10048557"/>
                <a:gd name="connsiteY2114" fmla="*/ 873097 h 4837661"/>
                <a:gd name="connsiteX2115" fmla="*/ 2153300 w 10048557"/>
                <a:gd name="connsiteY2115" fmla="*/ 888974 h 4837661"/>
                <a:gd name="connsiteX2116" fmla="*/ 2150218 w 10048557"/>
                <a:gd name="connsiteY2116" fmla="*/ 901011 h 4837661"/>
                <a:gd name="connsiteX2117" fmla="*/ 2140308 w 10048557"/>
                <a:gd name="connsiteY2117" fmla="*/ 918238 h 4837661"/>
                <a:gd name="connsiteX2118" fmla="*/ 2135754 w 10048557"/>
                <a:gd name="connsiteY2118" fmla="*/ 937021 h 4837661"/>
                <a:gd name="connsiteX2119" fmla="*/ 2138030 w 10048557"/>
                <a:gd name="connsiteY2119" fmla="*/ 948955 h 4837661"/>
                <a:gd name="connsiteX2120" fmla="*/ 2146200 w 10048557"/>
                <a:gd name="connsiteY2120" fmla="*/ 961407 h 4837661"/>
                <a:gd name="connsiteX2121" fmla="*/ 2157180 w 10048557"/>
                <a:gd name="connsiteY2121" fmla="*/ 978841 h 4837661"/>
                <a:gd name="connsiteX2122" fmla="*/ 2172181 w 10048557"/>
                <a:gd name="connsiteY2122" fmla="*/ 978115 h 4837661"/>
                <a:gd name="connsiteX2123" fmla="*/ 2188922 w 10048557"/>
                <a:gd name="connsiteY2123" fmla="*/ 971992 h 4837661"/>
                <a:gd name="connsiteX2124" fmla="*/ 2207268 w 10048557"/>
                <a:gd name="connsiteY2124" fmla="*/ 964520 h 4837661"/>
                <a:gd name="connsiteX2125" fmla="*/ 2223207 w 10048557"/>
                <a:gd name="connsiteY2125" fmla="*/ 955388 h 4837661"/>
                <a:gd name="connsiteX2126" fmla="*/ 2230035 w 10048557"/>
                <a:gd name="connsiteY2126" fmla="*/ 943455 h 4837661"/>
                <a:gd name="connsiteX2127" fmla="*/ 2237668 w 10048557"/>
                <a:gd name="connsiteY2127" fmla="*/ 929757 h 4837661"/>
                <a:gd name="connsiteX2128" fmla="*/ 2239946 w 10048557"/>
                <a:gd name="connsiteY2128" fmla="*/ 922181 h 4837661"/>
                <a:gd name="connsiteX2129" fmla="*/ 2242220 w 10048557"/>
                <a:gd name="connsiteY2129" fmla="*/ 909625 h 4837661"/>
                <a:gd name="connsiteX2130" fmla="*/ 2245971 w 10048557"/>
                <a:gd name="connsiteY2130" fmla="*/ 893229 h 4837661"/>
                <a:gd name="connsiteX2131" fmla="*/ 2251328 w 10048557"/>
                <a:gd name="connsiteY2131" fmla="*/ 882332 h 4837661"/>
                <a:gd name="connsiteX2132" fmla="*/ 2259630 w 10048557"/>
                <a:gd name="connsiteY2132" fmla="*/ 871021 h 4837661"/>
                <a:gd name="connsiteX2133" fmla="*/ 2270075 w 10048557"/>
                <a:gd name="connsiteY2133" fmla="*/ 859710 h 4837661"/>
                <a:gd name="connsiteX2134" fmla="*/ 2289092 w 10048557"/>
                <a:gd name="connsiteY2134" fmla="*/ 852238 h 4837661"/>
                <a:gd name="connsiteX2135" fmla="*/ 2299672 w 10048557"/>
                <a:gd name="connsiteY2135" fmla="*/ 849955 h 4837661"/>
                <a:gd name="connsiteX2136" fmla="*/ 2322840 w 10048557"/>
                <a:gd name="connsiteY2136" fmla="*/ 839267 h 4837661"/>
                <a:gd name="connsiteX2137" fmla="*/ 2329402 w 10048557"/>
                <a:gd name="connsiteY2137" fmla="*/ 834701 h 4837661"/>
                <a:gd name="connsiteX2138" fmla="*/ 2340785 w 10048557"/>
                <a:gd name="connsiteY2138" fmla="*/ 825673 h 4837661"/>
                <a:gd name="connsiteX2139" fmla="*/ 2352973 w 10048557"/>
                <a:gd name="connsiteY2139" fmla="*/ 811767 h 4837661"/>
                <a:gd name="connsiteX2140" fmla="*/ 2358062 w 10048557"/>
                <a:gd name="connsiteY2140" fmla="*/ 803050 h 4837661"/>
                <a:gd name="connsiteX2141" fmla="*/ 2373998 w 10048557"/>
                <a:gd name="connsiteY2141" fmla="*/ 787173 h 4837661"/>
                <a:gd name="connsiteX2142" fmla="*/ 2384710 w 10048557"/>
                <a:gd name="connsiteY2142" fmla="*/ 771504 h 4837661"/>
                <a:gd name="connsiteX2143" fmla="*/ 2385515 w 10048557"/>
                <a:gd name="connsiteY2143" fmla="*/ 762267 h 4837661"/>
                <a:gd name="connsiteX2144" fmla="*/ 2384710 w 10048557"/>
                <a:gd name="connsiteY2144" fmla="*/ 750852 h 4837661"/>
                <a:gd name="connsiteX2145" fmla="*/ 2382436 w 10048557"/>
                <a:gd name="connsiteY2145" fmla="*/ 738919 h 4837661"/>
                <a:gd name="connsiteX2146" fmla="*/ 2382436 w 10048557"/>
                <a:gd name="connsiteY2146" fmla="*/ 726777 h 4837661"/>
                <a:gd name="connsiteX2147" fmla="*/ 2385515 w 10048557"/>
                <a:gd name="connsiteY2147" fmla="*/ 718475 h 4837661"/>
                <a:gd name="connsiteX2148" fmla="*/ 2392345 w 10048557"/>
                <a:gd name="connsiteY2148" fmla="*/ 707891 h 4837661"/>
                <a:gd name="connsiteX2149" fmla="*/ 2406005 w 10048557"/>
                <a:gd name="connsiteY2149" fmla="*/ 703636 h 4837661"/>
                <a:gd name="connsiteX2150" fmla="*/ 2418192 w 10048557"/>
                <a:gd name="connsiteY2150" fmla="*/ 693258 h 4837661"/>
                <a:gd name="connsiteX2151" fmla="*/ 2425826 w 10048557"/>
                <a:gd name="connsiteY2151" fmla="*/ 681947 h 4837661"/>
                <a:gd name="connsiteX2152" fmla="*/ 2441092 w 10048557"/>
                <a:gd name="connsiteY2152" fmla="*/ 659947 h 4837661"/>
                <a:gd name="connsiteX2153" fmla="*/ 2447654 w 10048557"/>
                <a:gd name="connsiteY2153" fmla="*/ 638051 h 4837661"/>
                <a:gd name="connsiteX2154" fmla="*/ 2455287 w 10048557"/>
                <a:gd name="connsiteY2154" fmla="*/ 623938 h 4837661"/>
                <a:gd name="connsiteX2155" fmla="*/ 2466270 w 10048557"/>
                <a:gd name="connsiteY2155" fmla="*/ 617401 h 4837661"/>
                <a:gd name="connsiteX2156" fmla="*/ 2480731 w 10048557"/>
                <a:gd name="connsiteY2156" fmla="*/ 610033 h 4837661"/>
                <a:gd name="connsiteX2157" fmla="*/ 2498676 w 10048557"/>
                <a:gd name="connsiteY2157" fmla="*/ 605467 h 4837661"/>
                <a:gd name="connsiteX2158" fmla="*/ 2516755 w 10048557"/>
                <a:gd name="connsiteY2158" fmla="*/ 605467 h 4837661"/>
                <a:gd name="connsiteX2159" fmla="*/ 2534298 w 10048557"/>
                <a:gd name="connsiteY2159" fmla="*/ 607024 h 4837661"/>
                <a:gd name="connsiteX2160" fmla="*/ 2546352 w 10048557"/>
                <a:gd name="connsiteY2160" fmla="*/ 615844 h 4837661"/>
                <a:gd name="connsiteX2161" fmla="*/ 2563895 w 10048557"/>
                <a:gd name="connsiteY2161" fmla="*/ 615118 h 4837661"/>
                <a:gd name="connsiteX2162" fmla="*/ 2580366 w 10048557"/>
                <a:gd name="connsiteY2162" fmla="*/ 619891 h 4837661"/>
                <a:gd name="connsiteX2163" fmla="*/ 2595635 w 10048557"/>
                <a:gd name="connsiteY2163" fmla="*/ 629750 h 4837661"/>
                <a:gd name="connsiteX2164" fmla="*/ 2609295 w 10048557"/>
                <a:gd name="connsiteY2164" fmla="*/ 636495 h 4837661"/>
                <a:gd name="connsiteX2165" fmla="*/ 2626836 w 10048557"/>
                <a:gd name="connsiteY2165" fmla="*/ 651749 h 4837661"/>
                <a:gd name="connsiteX2166" fmla="*/ 2634203 w 10048557"/>
                <a:gd name="connsiteY2166" fmla="*/ 661816 h 4837661"/>
                <a:gd name="connsiteX2167" fmla="*/ 2637015 w 10048557"/>
                <a:gd name="connsiteY2167" fmla="*/ 682570 h 4837661"/>
                <a:gd name="connsiteX2168" fmla="*/ 2627106 w 10048557"/>
                <a:gd name="connsiteY2168" fmla="*/ 697410 h 4837661"/>
                <a:gd name="connsiteX2169" fmla="*/ 2620007 w 10048557"/>
                <a:gd name="connsiteY2169" fmla="*/ 713287 h 4837661"/>
                <a:gd name="connsiteX2170" fmla="*/ 2631390 w 10048557"/>
                <a:gd name="connsiteY2170" fmla="*/ 723041 h 4837661"/>
                <a:gd name="connsiteX2171" fmla="*/ 2644113 w 10048557"/>
                <a:gd name="connsiteY2171" fmla="*/ 735702 h 4837661"/>
                <a:gd name="connsiteX2172" fmla="*/ 2654559 w 10048557"/>
                <a:gd name="connsiteY2172" fmla="*/ 737466 h 4837661"/>
                <a:gd name="connsiteX2173" fmla="*/ 2671166 w 10048557"/>
                <a:gd name="connsiteY2173" fmla="*/ 738192 h 4837661"/>
                <a:gd name="connsiteX2174" fmla="*/ 2693799 w 10048557"/>
                <a:gd name="connsiteY2174" fmla="*/ 729891 h 4837661"/>
                <a:gd name="connsiteX2175" fmla="*/ 2711878 w 10048557"/>
                <a:gd name="connsiteY2175" fmla="*/ 716815 h 4837661"/>
                <a:gd name="connsiteX2176" fmla="*/ 2730894 w 10048557"/>
                <a:gd name="connsiteY2176" fmla="*/ 702702 h 4837661"/>
                <a:gd name="connsiteX2177" fmla="*/ 2749107 w 10048557"/>
                <a:gd name="connsiteY2177" fmla="*/ 689834 h 4837661"/>
                <a:gd name="connsiteX2178" fmla="*/ 2762097 w 10048557"/>
                <a:gd name="connsiteY2178" fmla="*/ 675410 h 4837661"/>
                <a:gd name="connsiteX2179" fmla="*/ 2774820 w 10048557"/>
                <a:gd name="connsiteY2179" fmla="*/ 679976 h 4837661"/>
                <a:gd name="connsiteX2180" fmla="*/ 2778168 w 10048557"/>
                <a:gd name="connsiteY2180" fmla="*/ 691391 h 4837661"/>
                <a:gd name="connsiteX2181" fmla="*/ 2784998 w 10048557"/>
                <a:gd name="connsiteY2181" fmla="*/ 701975 h 4837661"/>
                <a:gd name="connsiteX2182" fmla="*/ 2784195 w 10048557"/>
                <a:gd name="connsiteY2182" fmla="*/ 718372 h 4837661"/>
                <a:gd name="connsiteX2183" fmla="*/ 2775088 w 10048557"/>
                <a:gd name="connsiteY2183" fmla="*/ 728126 h 4837661"/>
                <a:gd name="connsiteX2184" fmla="*/ 2780445 w 10048557"/>
                <a:gd name="connsiteY2184" fmla="*/ 739749 h 4837661"/>
                <a:gd name="connsiteX2185" fmla="*/ 2789952 w 10048557"/>
                <a:gd name="connsiteY2185" fmla="*/ 747013 h 4837661"/>
                <a:gd name="connsiteX2186" fmla="*/ 2793032 w 10048557"/>
                <a:gd name="connsiteY2186" fmla="*/ 763824 h 4837661"/>
                <a:gd name="connsiteX2187" fmla="*/ 2791693 w 10048557"/>
                <a:gd name="connsiteY2187" fmla="*/ 777418 h 4837661"/>
                <a:gd name="connsiteX2188" fmla="*/ 2778302 w 10048557"/>
                <a:gd name="connsiteY2188" fmla="*/ 786446 h 4837661"/>
                <a:gd name="connsiteX2189" fmla="*/ 2776694 w 10048557"/>
                <a:gd name="connsiteY2189" fmla="*/ 801909 h 4837661"/>
                <a:gd name="connsiteX2190" fmla="*/ 2787408 w 10048557"/>
                <a:gd name="connsiteY2190" fmla="*/ 812493 h 4837661"/>
                <a:gd name="connsiteX2191" fmla="*/ 2795041 w 10048557"/>
                <a:gd name="connsiteY2191" fmla="*/ 825776 h 4837661"/>
                <a:gd name="connsiteX2192" fmla="*/ 2801603 w 10048557"/>
                <a:gd name="connsiteY2192" fmla="*/ 844248 h 4837661"/>
                <a:gd name="connsiteX2193" fmla="*/ 2813791 w 10048557"/>
                <a:gd name="connsiteY2193" fmla="*/ 857634 h 4837661"/>
                <a:gd name="connsiteX2194" fmla="*/ 2803478 w 10048557"/>
                <a:gd name="connsiteY2194" fmla="*/ 863653 h 4837661"/>
                <a:gd name="connsiteX2195" fmla="*/ 2789283 w 10048557"/>
                <a:gd name="connsiteY2195" fmla="*/ 874965 h 4837661"/>
                <a:gd name="connsiteX2196" fmla="*/ 2789283 w 10048557"/>
                <a:gd name="connsiteY2196" fmla="*/ 886068 h 4837661"/>
                <a:gd name="connsiteX2197" fmla="*/ 2798925 w 10048557"/>
                <a:gd name="connsiteY2197" fmla="*/ 890634 h 4837661"/>
                <a:gd name="connsiteX2198" fmla="*/ 2811648 w 10048557"/>
                <a:gd name="connsiteY2198" fmla="*/ 888559 h 4837661"/>
                <a:gd name="connsiteX2199" fmla="*/ 2824504 w 10048557"/>
                <a:gd name="connsiteY2199" fmla="*/ 878804 h 4837661"/>
                <a:gd name="connsiteX2200" fmla="*/ 2838566 w 10048557"/>
                <a:gd name="connsiteY2200" fmla="*/ 878078 h 4837661"/>
                <a:gd name="connsiteX2201" fmla="*/ 2856109 w 10048557"/>
                <a:gd name="connsiteY2201" fmla="*/ 878078 h 4837661"/>
                <a:gd name="connsiteX2202" fmla="*/ 2866287 w 10048557"/>
                <a:gd name="connsiteY2202" fmla="*/ 880257 h 4837661"/>
                <a:gd name="connsiteX2203" fmla="*/ 2875394 w 10048557"/>
                <a:gd name="connsiteY2203" fmla="*/ 886380 h 4837661"/>
                <a:gd name="connsiteX2204" fmla="*/ 2891865 w 10048557"/>
                <a:gd name="connsiteY2204" fmla="*/ 898728 h 4837661"/>
                <a:gd name="connsiteX2205" fmla="*/ 2892670 w 10048557"/>
                <a:gd name="connsiteY2205" fmla="*/ 906096 h 4837661"/>
                <a:gd name="connsiteX2206" fmla="*/ 2890393 w 10048557"/>
                <a:gd name="connsiteY2206" fmla="*/ 919172 h 4837661"/>
                <a:gd name="connsiteX2207" fmla="*/ 2881688 w 10048557"/>
                <a:gd name="connsiteY2207" fmla="*/ 931832 h 4837661"/>
                <a:gd name="connsiteX2208" fmla="*/ 2871376 w 10048557"/>
                <a:gd name="connsiteY2208" fmla="*/ 943143 h 4837661"/>
                <a:gd name="connsiteX2209" fmla="*/ 2862269 w 10048557"/>
                <a:gd name="connsiteY2209" fmla="*/ 949162 h 4837661"/>
                <a:gd name="connsiteX2210" fmla="*/ 2849278 w 10048557"/>
                <a:gd name="connsiteY2210" fmla="*/ 957256 h 4837661"/>
                <a:gd name="connsiteX2211" fmla="*/ 2841377 w 10048557"/>
                <a:gd name="connsiteY2211" fmla="*/ 962549 h 4837661"/>
                <a:gd name="connsiteX2212" fmla="*/ 2825575 w 10048557"/>
                <a:gd name="connsiteY2212" fmla="*/ 970435 h 4837661"/>
                <a:gd name="connsiteX2213" fmla="*/ 2802943 w 10048557"/>
                <a:gd name="connsiteY2213" fmla="*/ 978011 h 4837661"/>
                <a:gd name="connsiteX2214" fmla="*/ 2785935 w 10048557"/>
                <a:gd name="connsiteY2214" fmla="*/ 985067 h 4837661"/>
                <a:gd name="connsiteX2215" fmla="*/ 2744018 w 10048557"/>
                <a:gd name="connsiteY2215" fmla="*/ 999388 h 4837661"/>
                <a:gd name="connsiteX2216" fmla="*/ 2710806 w 10048557"/>
                <a:gd name="connsiteY2216" fmla="*/ 999699 h 4837661"/>
                <a:gd name="connsiteX2217" fmla="*/ 2688442 w 10048557"/>
                <a:gd name="connsiteY2217" fmla="*/ 1004058 h 4837661"/>
                <a:gd name="connsiteX2218" fmla="*/ 2667819 w 10048557"/>
                <a:gd name="connsiteY2218" fmla="*/ 1006860 h 4837661"/>
                <a:gd name="connsiteX2219" fmla="*/ 2631792 w 10048557"/>
                <a:gd name="connsiteY2219" fmla="*/ 1003850 h 4837661"/>
                <a:gd name="connsiteX2220" fmla="*/ 2599785 w 10048557"/>
                <a:gd name="connsiteY2220" fmla="*/ 1001567 h 4837661"/>
                <a:gd name="connsiteX2221" fmla="*/ 2575679 w 10048557"/>
                <a:gd name="connsiteY2221" fmla="*/ 1004577 h 4837661"/>
                <a:gd name="connsiteX2222" fmla="*/ 2557602 w 10048557"/>
                <a:gd name="connsiteY2222" fmla="*/ 1008831 h 4837661"/>
                <a:gd name="connsiteX2223" fmla="*/ 2531218 w 10048557"/>
                <a:gd name="connsiteY2223" fmla="*/ 1016614 h 4837661"/>
                <a:gd name="connsiteX2224" fmla="*/ 2513006 w 10048557"/>
                <a:gd name="connsiteY2224" fmla="*/ 1025020 h 4837661"/>
                <a:gd name="connsiteX2225" fmla="*/ 2487828 w 10048557"/>
                <a:gd name="connsiteY2225" fmla="*/ 1040067 h 4837661"/>
                <a:gd name="connsiteX2226" fmla="*/ 2430647 w 10048557"/>
                <a:gd name="connsiteY2226" fmla="*/ 1064039 h 4837661"/>
                <a:gd name="connsiteX2227" fmla="*/ 2416987 w 10048557"/>
                <a:gd name="connsiteY2227" fmla="*/ 1070888 h 4837661"/>
                <a:gd name="connsiteX2228" fmla="*/ 2410156 w 10048557"/>
                <a:gd name="connsiteY2228" fmla="*/ 1081472 h 4837661"/>
                <a:gd name="connsiteX2229" fmla="*/ 2417657 w 10048557"/>
                <a:gd name="connsiteY2229" fmla="*/ 1093510 h 4837661"/>
                <a:gd name="connsiteX2230" fmla="*/ 2425960 w 10048557"/>
                <a:gd name="connsiteY2230" fmla="*/ 1090708 h 4837661"/>
                <a:gd name="connsiteX2231" fmla="*/ 2448860 w 10048557"/>
                <a:gd name="connsiteY2231" fmla="*/ 1086972 h 4837661"/>
                <a:gd name="connsiteX2232" fmla="*/ 2465063 w 10048557"/>
                <a:gd name="connsiteY2232" fmla="*/ 1075038 h 4837661"/>
                <a:gd name="connsiteX2233" fmla="*/ 2498810 w 10048557"/>
                <a:gd name="connsiteY2233" fmla="*/ 1063001 h 4837661"/>
                <a:gd name="connsiteX2234" fmla="*/ 2530014 w 10048557"/>
                <a:gd name="connsiteY2234" fmla="*/ 1056256 h 4837661"/>
                <a:gd name="connsiteX2235" fmla="*/ 2558672 w 10048557"/>
                <a:gd name="connsiteY2235" fmla="*/ 1054284 h 4837661"/>
                <a:gd name="connsiteX2236" fmla="*/ 2576214 w 10048557"/>
                <a:gd name="connsiteY2236" fmla="*/ 1058020 h 4837661"/>
                <a:gd name="connsiteX2237" fmla="*/ 2569519 w 10048557"/>
                <a:gd name="connsiteY2237" fmla="*/ 1075142 h 4837661"/>
                <a:gd name="connsiteX2238" fmla="*/ 2563225 w 10048557"/>
                <a:gd name="connsiteY2238" fmla="*/ 1083755 h 4837661"/>
                <a:gd name="connsiteX2239" fmla="*/ 2545280 w 10048557"/>
                <a:gd name="connsiteY2239" fmla="*/ 1102642 h 4837661"/>
                <a:gd name="connsiteX2240" fmla="*/ 2536977 w 10048557"/>
                <a:gd name="connsiteY2240" fmla="*/ 1110944 h 4837661"/>
                <a:gd name="connsiteX2241" fmla="*/ 2536173 w 10048557"/>
                <a:gd name="connsiteY2241" fmla="*/ 1126510 h 4837661"/>
                <a:gd name="connsiteX2242" fmla="*/ 2535505 w 10048557"/>
                <a:gd name="connsiteY2242" fmla="*/ 1140830 h 4837661"/>
                <a:gd name="connsiteX2243" fmla="*/ 2543540 w 10048557"/>
                <a:gd name="connsiteY2243" fmla="*/ 1154736 h 4837661"/>
                <a:gd name="connsiteX2244" fmla="*/ 2567777 w 10048557"/>
                <a:gd name="connsiteY2244" fmla="*/ 1164594 h 4837661"/>
                <a:gd name="connsiteX2245" fmla="*/ 2590141 w 10048557"/>
                <a:gd name="connsiteY2245" fmla="*/ 1175698 h 4837661"/>
                <a:gd name="connsiteX2246" fmla="*/ 2609828 w 10048557"/>
                <a:gd name="connsiteY2246" fmla="*/ 1175698 h 4837661"/>
                <a:gd name="connsiteX2247" fmla="*/ 2618667 w 10048557"/>
                <a:gd name="connsiteY2247" fmla="*/ 1173415 h 4837661"/>
                <a:gd name="connsiteX2248" fmla="*/ 2637951 w 10048557"/>
                <a:gd name="connsiteY2248" fmla="*/ 1164075 h 4837661"/>
                <a:gd name="connsiteX2249" fmla="*/ 2656033 w 10048557"/>
                <a:gd name="connsiteY2249" fmla="*/ 1163349 h 4837661"/>
                <a:gd name="connsiteX2250" fmla="*/ 2660853 w 10048557"/>
                <a:gd name="connsiteY2250" fmla="*/ 1173623 h 4837661"/>
                <a:gd name="connsiteX2251" fmla="*/ 2631926 w 10048557"/>
                <a:gd name="connsiteY2251" fmla="*/ 1185556 h 4837661"/>
                <a:gd name="connsiteX2252" fmla="*/ 2616928 w 10048557"/>
                <a:gd name="connsiteY2252" fmla="*/ 1193858 h 4837661"/>
                <a:gd name="connsiteX2253" fmla="*/ 2595231 w 10048557"/>
                <a:gd name="connsiteY2253" fmla="*/ 1203198 h 4837661"/>
                <a:gd name="connsiteX2254" fmla="*/ 2577153 w 10048557"/>
                <a:gd name="connsiteY2254" fmla="*/ 1209009 h 4837661"/>
                <a:gd name="connsiteX2255" fmla="*/ 2554389 w 10048557"/>
                <a:gd name="connsiteY2255" fmla="*/ 1210566 h 4837661"/>
                <a:gd name="connsiteX2256" fmla="*/ 2535103 w 10048557"/>
                <a:gd name="connsiteY2256" fmla="*/ 1218556 h 4837661"/>
                <a:gd name="connsiteX2257" fmla="*/ 2516487 w 10048557"/>
                <a:gd name="connsiteY2257" fmla="*/ 1228933 h 4837661"/>
                <a:gd name="connsiteX2258" fmla="*/ 2492382 w 10048557"/>
                <a:gd name="connsiteY2258" fmla="*/ 1239726 h 4837661"/>
                <a:gd name="connsiteX2259" fmla="*/ 2478991 w 10048557"/>
                <a:gd name="connsiteY2259" fmla="*/ 1239726 h 4837661"/>
                <a:gd name="connsiteX2260" fmla="*/ 2470822 w 10048557"/>
                <a:gd name="connsiteY2260" fmla="*/ 1230179 h 4837661"/>
                <a:gd name="connsiteX2261" fmla="*/ 2476848 w 10048557"/>
                <a:gd name="connsiteY2261" fmla="*/ 1221047 h 4837661"/>
                <a:gd name="connsiteX2262" fmla="*/ 2490240 w 10048557"/>
                <a:gd name="connsiteY2262" fmla="*/ 1214820 h 4837661"/>
                <a:gd name="connsiteX2263" fmla="*/ 2505104 w 10048557"/>
                <a:gd name="connsiteY2263" fmla="*/ 1209009 h 4837661"/>
                <a:gd name="connsiteX2264" fmla="*/ 2527469 w 10048557"/>
                <a:gd name="connsiteY2264" fmla="*/ 1196349 h 4837661"/>
                <a:gd name="connsiteX2265" fmla="*/ 2546622 w 10048557"/>
                <a:gd name="connsiteY2265" fmla="*/ 1192094 h 4837661"/>
                <a:gd name="connsiteX2266" fmla="*/ 2545816 w 10048557"/>
                <a:gd name="connsiteY2266" fmla="*/ 1179434 h 4837661"/>
                <a:gd name="connsiteX2267" fmla="*/ 2532826 w 10048557"/>
                <a:gd name="connsiteY2267" fmla="*/ 1175179 h 4837661"/>
                <a:gd name="connsiteX2268" fmla="*/ 2512604 w 10048557"/>
                <a:gd name="connsiteY2268" fmla="*/ 1175179 h 4837661"/>
                <a:gd name="connsiteX2269" fmla="*/ 2495329 w 10048557"/>
                <a:gd name="connsiteY2269" fmla="*/ 1180990 h 4837661"/>
                <a:gd name="connsiteX2270" fmla="*/ 2476045 w 10048557"/>
                <a:gd name="connsiteY2270" fmla="*/ 1187528 h 4837661"/>
                <a:gd name="connsiteX2271" fmla="*/ 2455957 w 10048557"/>
                <a:gd name="connsiteY2271" fmla="*/ 1196660 h 4837661"/>
                <a:gd name="connsiteX2272" fmla="*/ 2436273 w 10048557"/>
                <a:gd name="connsiteY2272" fmla="*/ 1206726 h 4837661"/>
                <a:gd name="connsiteX2273" fmla="*/ 2406005 w 10048557"/>
                <a:gd name="connsiteY2273" fmla="*/ 1214094 h 4837661"/>
                <a:gd name="connsiteX2274" fmla="*/ 2382167 w 10048557"/>
                <a:gd name="connsiteY2274" fmla="*/ 1228933 h 4837661"/>
                <a:gd name="connsiteX2275" fmla="*/ 2354177 w 10048557"/>
                <a:gd name="connsiteY2275" fmla="*/ 1243254 h 4837661"/>
                <a:gd name="connsiteX2276" fmla="*/ 2341187 w 10048557"/>
                <a:gd name="connsiteY2276" fmla="*/ 1251556 h 4837661"/>
                <a:gd name="connsiteX2277" fmla="*/ 2324314 w 10048557"/>
                <a:gd name="connsiteY2277" fmla="*/ 1260792 h 4837661"/>
                <a:gd name="connsiteX2278" fmla="*/ 2309046 w 10048557"/>
                <a:gd name="connsiteY2278" fmla="*/ 1272829 h 4837661"/>
                <a:gd name="connsiteX2279" fmla="*/ 2302216 w 10048557"/>
                <a:gd name="connsiteY2279" fmla="*/ 1303650 h 4837661"/>
                <a:gd name="connsiteX2280" fmla="*/ 2290029 w 10048557"/>
                <a:gd name="connsiteY2280" fmla="*/ 1310499 h 4837661"/>
                <a:gd name="connsiteX2281" fmla="*/ 2273289 w 10048557"/>
                <a:gd name="connsiteY2281" fmla="*/ 1317452 h 4837661"/>
                <a:gd name="connsiteX2282" fmla="*/ 2253470 w 10048557"/>
                <a:gd name="connsiteY2282" fmla="*/ 1325857 h 4837661"/>
                <a:gd name="connsiteX2283" fmla="*/ 2223071 w 10048557"/>
                <a:gd name="connsiteY2283" fmla="*/ 1329593 h 4837661"/>
                <a:gd name="connsiteX2284" fmla="*/ 2201644 w 10048557"/>
                <a:gd name="connsiteY2284" fmla="*/ 1334159 h 4837661"/>
                <a:gd name="connsiteX2285" fmla="*/ 2176599 w 10048557"/>
                <a:gd name="connsiteY2285" fmla="*/ 1354291 h 4837661"/>
                <a:gd name="connsiteX2286" fmla="*/ 2167225 w 10048557"/>
                <a:gd name="connsiteY2286" fmla="*/ 1363112 h 4837661"/>
                <a:gd name="connsiteX2287" fmla="*/ 2158387 w 10048557"/>
                <a:gd name="connsiteY2287" fmla="*/ 1380649 h 4837661"/>
                <a:gd name="connsiteX2288" fmla="*/ 2145933 w 10048557"/>
                <a:gd name="connsiteY2288" fmla="*/ 1390196 h 4837661"/>
                <a:gd name="connsiteX2289" fmla="*/ 2110845 w 10048557"/>
                <a:gd name="connsiteY2289" fmla="*/ 1395489 h 4837661"/>
                <a:gd name="connsiteX2290" fmla="*/ 2095846 w 10048557"/>
                <a:gd name="connsiteY2290" fmla="*/ 1409706 h 4837661"/>
                <a:gd name="connsiteX2291" fmla="*/ 2080445 w 10048557"/>
                <a:gd name="connsiteY2291" fmla="*/ 1426102 h 4837661"/>
                <a:gd name="connsiteX2292" fmla="*/ 2091024 w 10048557"/>
                <a:gd name="connsiteY2292" fmla="*/ 1451007 h 4837661"/>
                <a:gd name="connsiteX2293" fmla="*/ 2081917 w 10048557"/>
                <a:gd name="connsiteY2293" fmla="*/ 1456611 h 4837661"/>
                <a:gd name="connsiteX2294" fmla="*/ 2075624 w 10048557"/>
                <a:gd name="connsiteY2294" fmla="*/ 1441979 h 4837661"/>
                <a:gd name="connsiteX2295" fmla="*/ 2073348 w 10048557"/>
                <a:gd name="connsiteY2295" fmla="*/ 1429630 h 4837661"/>
                <a:gd name="connsiteX2296" fmla="*/ 2060893 w 10048557"/>
                <a:gd name="connsiteY2296" fmla="*/ 1429630 h 4837661"/>
                <a:gd name="connsiteX2297" fmla="*/ 2049375 w 10048557"/>
                <a:gd name="connsiteY2297" fmla="*/ 1447583 h 4837661"/>
                <a:gd name="connsiteX2298" fmla="*/ 2046429 w 10048557"/>
                <a:gd name="connsiteY2298" fmla="*/ 1466469 h 4837661"/>
                <a:gd name="connsiteX2299" fmla="*/ 2046429 w 10048557"/>
                <a:gd name="connsiteY2299" fmla="*/ 1483073 h 4837661"/>
                <a:gd name="connsiteX2300" fmla="*/ 2049375 w 10048557"/>
                <a:gd name="connsiteY2300" fmla="*/ 1499469 h 4837661"/>
                <a:gd name="connsiteX2301" fmla="*/ 2046295 w 10048557"/>
                <a:gd name="connsiteY2301" fmla="*/ 1516177 h 4837661"/>
                <a:gd name="connsiteX2302" fmla="*/ 2044019 w 10048557"/>
                <a:gd name="connsiteY2302" fmla="*/ 1532573 h 4837661"/>
                <a:gd name="connsiteX2303" fmla="*/ 2029154 w 10048557"/>
                <a:gd name="connsiteY2303" fmla="*/ 1552497 h 4837661"/>
                <a:gd name="connsiteX2304" fmla="*/ 2016164 w 10048557"/>
                <a:gd name="connsiteY2304" fmla="*/ 1561525 h 4837661"/>
                <a:gd name="connsiteX2305" fmla="*/ 2000094 w 10048557"/>
                <a:gd name="connsiteY2305" fmla="*/ 1571384 h 4837661"/>
                <a:gd name="connsiteX2306" fmla="*/ 1988978 w 10048557"/>
                <a:gd name="connsiteY2306" fmla="*/ 1583733 h 4837661"/>
                <a:gd name="connsiteX2307" fmla="*/ 1971704 w 10048557"/>
                <a:gd name="connsiteY2307" fmla="*/ 1593591 h 4837661"/>
                <a:gd name="connsiteX2308" fmla="*/ 1952151 w 10048557"/>
                <a:gd name="connsiteY2308" fmla="*/ 1600129 h 4837661"/>
                <a:gd name="connsiteX2309" fmla="*/ 1935544 w 10048557"/>
                <a:gd name="connsiteY2309" fmla="*/ 1606770 h 4837661"/>
                <a:gd name="connsiteX2310" fmla="*/ 1918537 w 10048557"/>
                <a:gd name="connsiteY2310" fmla="*/ 1616629 h 4837661"/>
                <a:gd name="connsiteX2311" fmla="*/ 1904073 w 10048557"/>
                <a:gd name="connsiteY2311" fmla="*/ 1630949 h 4837661"/>
                <a:gd name="connsiteX2312" fmla="*/ 1865103 w 10048557"/>
                <a:gd name="connsiteY2312" fmla="*/ 1658553 h 4837661"/>
                <a:gd name="connsiteX2313" fmla="*/ 1851443 w 10048557"/>
                <a:gd name="connsiteY2313" fmla="*/ 1671421 h 4837661"/>
                <a:gd name="connsiteX2314" fmla="*/ 1838453 w 10048557"/>
                <a:gd name="connsiteY2314" fmla="*/ 1682732 h 4837661"/>
                <a:gd name="connsiteX2315" fmla="*/ 1829079 w 10048557"/>
                <a:gd name="connsiteY2315" fmla="*/ 1698609 h 4837661"/>
                <a:gd name="connsiteX2316" fmla="*/ 1820374 w 10048557"/>
                <a:gd name="connsiteY2316" fmla="*/ 1714486 h 4837661"/>
                <a:gd name="connsiteX2317" fmla="*/ 1818901 w 10048557"/>
                <a:gd name="connsiteY2317" fmla="*/ 1733373 h 4837661"/>
                <a:gd name="connsiteX2318" fmla="*/ 1821177 w 10048557"/>
                <a:gd name="connsiteY2318" fmla="*/ 1762948 h 4837661"/>
                <a:gd name="connsiteX2319" fmla="*/ 1823454 w 10048557"/>
                <a:gd name="connsiteY2319" fmla="*/ 1783391 h 4837661"/>
                <a:gd name="connsiteX2320" fmla="*/ 1828007 w 10048557"/>
                <a:gd name="connsiteY2320" fmla="*/ 1796156 h 4837661"/>
                <a:gd name="connsiteX2321" fmla="*/ 1832159 w 10048557"/>
                <a:gd name="connsiteY2321" fmla="*/ 1828221 h 4837661"/>
                <a:gd name="connsiteX2322" fmla="*/ 1828544 w 10048557"/>
                <a:gd name="connsiteY2322" fmla="*/ 1850221 h 4837661"/>
                <a:gd name="connsiteX2323" fmla="*/ 1828544 w 10048557"/>
                <a:gd name="connsiteY2323" fmla="*/ 1873362 h 4837661"/>
                <a:gd name="connsiteX2324" fmla="*/ 1821714 w 10048557"/>
                <a:gd name="connsiteY2324" fmla="*/ 1892560 h 4837661"/>
                <a:gd name="connsiteX2325" fmla="*/ 1814346 w 10048557"/>
                <a:gd name="connsiteY2325" fmla="*/ 1907400 h 4837661"/>
                <a:gd name="connsiteX2326" fmla="*/ 1801492 w 10048557"/>
                <a:gd name="connsiteY2326" fmla="*/ 1913523 h 4837661"/>
                <a:gd name="connsiteX2327" fmla="*/ 1785690 w 10048557"/>
                <a:gd name="connsiteY2327" fmla="*/ 1899617 h 4837661"/>
                <a:gd name="connsiteX2328" fmla="*/ 1778858 w 10048557"/>
                <a:gd name="connsiteY2328" fmla="*/ 1880730 h 4837661"/>
                <a:gd name="connsiteX2329" fmla="*/ 1776448 w 10048557"/>
                <a:gd name="connsiteY2329" fmla="*/ 1854268 h 4837661"/>
                <a:gd name="connsiteX2330" fmla="*/ 1769485 w 10048557"/>
                <a:gd name="connsiteY2330" fmla="*/ 1842957 h 4837661"/>
                <a:gd name="connsiteX2331" fmla="*/ 1761047 w 10048557"/>
                <a:gd name="connsiteY2331" fmla="*/ 1834344 h 4837661"/>
                <a:gd name="connsiteX2332" fmla="*/ 1761047 w 10048557"/>
                <a:gd name="connsiteY2332" fmla="*/ 1819193 h 4837661"/>
                <a:gd name="connsiteX2333" fmla="*/ 1766136 w 10048557"/>
                <a:gd name="connsiteY2333" fmla="*/ 1805391 h 4837661"/>
                <a:gd name="connsiteX2334" fmla="*/ 1773770 w 10048557"/>
                <a:gd name="connsiteY2334" fmla="*/ 1792731 h 4837661"/>
                <a:gd name="connsiteX2335" fmla="*/ 1771494 w 10048557"/>
                <a:gd name="connsiteY2335" fmla="*/ 1778618 h 4837661"/>
                <a:gd name="connsiteX2336" fmla="*/ 1763458 w 10048557"/>
                <a:gd name="connsiteY2336" fmla="*/ 1765335 h 4837661"/>
                <a:gd name="connsiteX2337" fmla="*/ 1751807 w 10048557"/>
                <a:gd name="connsiteY2337" fmla="*/ 1754335 h 4837661"/>
                <a:gd name="connsiteX2338" fmla="*/ 1740692 w 10048557"/>
                <a:gd name="connsiteY2338" fmla="*/ 1739392 h 4837661"/>
                <a:gd name="connsiteX2339" fmla="*/ 1724221 w 10048557"/>
                <a:gd name="connsiteY2339" fmla="*/ 1735656 h 4837661"/>
                <a:gd name="connsiteX2340" fmla="*/ 1711229 w 10048557"/>
                <a:gd name="connsiteY2340" fmla="*/ 1738769 h 4837661"/>
                <a:gd name="connsiteX2341" fmla="*/ 1700918 w 10048557"/>
                <a:gd name="connsiteY2341" fmla="*/ 1746241 h 4837661"/>
                <a:gd name="connsiteX2342" fmla="*/ 1687928 w 10048557"/>
                <a:gd name="connsiteY2342" fmla="*/ 1743024 h 4837661"/>
                <a:gd name="connsiteX2343" fmla="*/ 1673598 w 10048557"/>
                <a:gd name="connsiteY2343" fmla="*/ 1735033 h 4837661"/>
                <a:gd name="connsiteX2344" fmla="*/ 1656992 w 10048557"/>
                <a:gd name="connsiteY2344" fmla="*/ 1729015 h 4837661"/>
                <a:gd name="connsiteX2345" fmla="*/ 1646814 w 10048557"/>
                <a:gd name="connsiteY2345" fmla="*/ 1718845 h 4837661"/>
                <a:gd name="connsiteX2346" fmla="*/ 1630879 w 10048557"/>
                <a:gd name="connsiteY2346" fmla="*/ 1714279 h 4837661"/>
                <a:gd name="connsiteX2347" fmla="*/ 1608915 w 10048557"/>
                <a:gd name="connsiteY2347" fmla="*/ 1718845 h 4837661"/>
                <a:gd name="connsiteX2348" fmla="*/ 1590301 w 10048557"/>
                <a:gd name="connsiteY2348" fmla="*/ 1725382 h 4837661"/>
                <a:gd name="connsiteX2349" fmla="*/ 1568339 w 10048557"/>
                <a:gd name="connsiteY2349" fmla="*/ 1738250 h 4837661"/>
                <a:gd name="connsiteX2350" fmla="*/ 1554276 w 10048557"/>
                <a:gd name="connsiteY2350" fmla="*/ 1762637 h 4837661"/>
                <a:gd name="connsiteX2351" fmla="*/ 1540616 w 10048557"/>
                <a:gd name="connsiteY2351" fmla="*/ 1770212 h 4837661"/>
                <a:gd name="connsiteX2352" fmla="*/ 1528430 w 10048557"/>
                <a:gd name="connsiteY2352" fmla="*/ 1770212 h 4837661"/>
                <a:gd name="connsiteX2353" fmla="*/ 1512760 w 10048557"/>
                <a:gd name="connsiteY2353" fmla="*/ 1765024 h 4837661"/>
                <a:gd name="connsiteX2354" fmla="*/ 1493208 w 10048557"/>
                <a:gd name="connsiteY2354" fmla="*/ 1753920 h 4837661"/>
                <a:gd name="connsiteX2355" fmla="*/ 1472184 w 10048557"/>
                <a:gd name="connsiteY2355" fmla="*/ 1738977 h 4837661"/>
                <a:gd name="connsiteX2356" fmla="*/ 1455712 w 10048557"/>
                <a:gd name="connsiteY2356" fmla="*/ 1732958 h 4837661"/>
                <a:gd name="connsiteX2357" fmla="*/ 1438169 w 10048557"/>
                <a:gd name="connsiteY2357" fmla="*/ 1732958 h 4837661"/>
                <a:gd name="connsiteX2358" fmla="*/ 1419955 w 10048557"/>
                <a:gd name="connsiteY2358" fmla="*/ 1736694 h 4837661"/>
                <a:gd name="connsiteX2359" fmla="*/ 1403483 w 10048557"/>
                <a:gd name="connsiteY2359" fmla="*/ 1748731 h 4837661"/>
                <a:gd name="connsiteX2360" fmla="*/ 1386609 w 10048557"/>
                <a:gd name="connsiteY2360" fmla="*/ 1756514 h 4837661"/>
                <a:gd name="connsiteX2361" fmla="*/ 1364512 w 10048557"/>
                <a:gd name="connsiteY2361" fmla="*/ 1770939 h 4837661"/>
                <a:gd name="connsiteX2362" fmla="*/ 1313223 w 10048557"/>
                <a:gd name="connsiteY2362" fmla="*/ 1795222 h 4837661"/>
                <a:gd name="connsiteX2363" fmla="*/ 1290321 w 10048557"/>
                <a:gd name="connsiteY2363" fmla="*/ 1813174 h 4837661"/>
                <a:gd name="connsiteX2364" fmla="*/ 1273046 w 10048557"/>
                <a:gd name="connsiteY2364" fmla="*/ 1827495 h 4837661"/>
                <a:gd name="connsiteX2365" fmla="*/ 1264743 w 10048557"/>
                <a:gd name="connsiteY2365" fmla="*/ 1847731 h 4837661"/>
                <a:gd name="connsiteX2366" fmla="*/ 1259655 w 10048557"/>
                <a:gd name="connsiteY2366" fmla="*/ 1867136 h 4837661"/>
                <a:gd name="connsiteX2367" fmla="*/ 1258850 w 10048557"/>
                <a:gd name="connsiteY2367" fmla="*/ 1888513 h 4837661"/>
                <a:gd name="connsiteX2368" fmla="*/ 1256575 w 10048557"/>
                <a:gd name="connsiteY2368" fmla="*/ 1911136 h 4837661"/>
                <a:gd name="connsiteX2369" fmla="*/ 1243583 w 10048557"/>
                <a:gd name="connsiteY2369" fmla="*/ 1937494 h 4837661"/>
                <a:gd name="connsiteX2370" fmla="*/ 1227646 w 10048557"/>
                <a:gd name="connsiteY2370" fmla="*/ 1976616 h 4837661"/>
                <a:gd name="connsiteX2371" fmla="*/ 1222558 w 10048557"/>
                <a:gd name="connsiteY2371" fmla="*/ 2009097 h 4837661"/>
                <a:gd name="connsiteX2372" fmla="*/ 1224835 w 10048557"/>
                <a:gd name="connsiteY2372" fmla="*/ 2038050 h 4837661"/>
                <a:gd name="connsiteX2373" fmla="*/ 1231531 w 10048557"/>
                <a:gd name="connsiteY2373" fmla="*/ 2068144 h 4837661"/>
                <a:gd name="connsiteX2374" fmla="*/ 1242646 w 10048557"/>
                <a:gd name="connsiteY2374" fmla="*/ 2106644 h 4837661"/>
                <a:gd name="connsiteX2375" fmla="*/ 1250012 w 10048557"/>
                <a:gd name="connsiteY2375" fmla="*/ 2127606 h 4837661"/>
                <a:gd name="connsiteX2376" fmla="*/ 1265144 w 10048557"/>
                <a:gd name="connsiteY2376" fmla="*/ 2144936 h 4837661"/>
                <a:gd name="connsiteX2377" fmla="*/ 1286438 w 10048557"/>
                <a:gd name="connsiteY2377" fmla="*/ 2163304 h 4837661"/>
                <a:gd name="connsiteX2378" fmla="*/ 1311347 w 10048557"/>
                <a:gd name="connsiteY2378" fmla="*/ 2168285 h 4837661"/>
                <a:gd name="connsiteX2379" fmla="*/ 1339069 w 10048557"/>
                <a:gd name="connsiteY2379" fmla="*/ 2170256 h 4837661"/>
                <a:gd name="connsiteX2380" fmla="*/ 1357281 w 10048557"/>
                <a:gd name="connsiteY2380" fmla="*/ 2170256 h 4837661"/>
                <a:gd name="connsiteX2381" fmla="*/ 1380985 w 10048557"/>
                <a:gd name="connsiteY2381" fmla="*/ 2161955 h 4837661"/>
                <a:gd name="connsiteX2382" fmla="*/ 1400001 w 10048557"/>
                <a:gd name="connsiteY2382" fmla="*/ 2155832 h 4837661"/>
                <a:gd name="connsiteX2383" fmla="*/ 1426115 w 10048557"/>
                <a:gd name="connsiteY2383" fmla="*/ 2138917 h 4837661"/>
                <a:gd name="connsiteX2384" fmla="*/ 1439775 w 10048557"/>
                <a:gd name="connsiteY2384" fmla="*/ 2129889 h 4837661"/>
                <a:gd name="connsiteX2385" fmla="*/ 1450756 w 10048557"/>
                <a:gd name="connsiteY2385" fmla="*/ 2113078 h 4837661"/>
                <a:gd name="connsiteX2386" fmla="*/ 1457586 w 10048557"/>
                <a:gd name="connsiteY2386" fmla="*/ 2093361 h 4837661"/>
                <a:gd name="connsiteX2387" fmla="*/ 1458390 w 10048557"/>
                <a:gd name="connsiteY2387" fmla="*/ 2080078 h 4837661"/>
                <a:gd name="connsiteX2388" fmla="*/ 1462943 w 10048557"/>
                <a:gd name="connsiteY2388" fmla="*/ 2072502 h 4837661"/>
                <a:gd name="connsiteX2389" fmla="*/ 1476871 w 10048557"/>
                <a:gd name="connsiteY2389" fmla="*/ 2065342 h 4837661"/>
                <a:gd name="connsiteX2390" fmla="*/ 1487049 w 10048557"/>
                <a:gd name="connsiteY2390" fmla="*/ 2060361 h 4837661"/>
                <a:gd name="connsiteX2391" fmla="*/ 1504458 w 10048557"/>
                <a:gd name="connsiteY2391" fmla="*/ 2056521 h 4837661"/>
                <a:gd name="connsiteX2392" fmla="*/ 1522001 w 10048557"/>
                <a:gd name="connsiteY2392" fmla="*/ 2054238 h 4837661"/>
                <a:gd name="connsiteX2393" fmla="*/ 1537001 w 10048557"/>
                <a:gd name="connsiteY2393" fmla="*/ 2054238 h 4837661"/>
                <a:gd name="connsiteX2394" fmla="*/ 1546910 w 10048557"/>
                <a:gd name="connsiteY2394" fmla="*/ 2056521 h 4837661"/>
                <a:gd name="connsiteX2395" fmla="*/ 1557758 w 10048557"/>
                <a:gd name="connsiteY2395" fmla="*/ 2058078 h 4837661"/>
                <a:gd name="connsiteX2396" fmla="*/ 1565392 w 10048557"/>
                <a:gd name="connsiteY2396" fmla="*/ 2065342 h 4837661"/>
                <a:gd name="connsiteX2397" fmla="*/ 1564588 w 10048557"/>
                <a:gd name="connsiteY2397" fmla="*/ 2079559 h 4837661"/>
                <a:gd name="connsiteX2398" fmla="*/ 1554009 w 10048557"/>
                <a:gd name="connsiteY2398" fmla="*/ 2097408 h 4837661"/>
                <a:gd name="connsiteX2399" fmla="*/ 1540750 w 10048557"/>
                <a:gd name="connsiteY2399" fmla="*/ 2127191 h 4837661"/>
                <a:gd name="connsiteX2400" fmla="*/ 1534724 w 10048557"/>
                <a:gd name="connsiteY2400" fmla="*/ 2145870 h 4837661"/>
                <a:gd name="connsiteX2401" fmla="*/ 1519591 w 10048557"/>
                <a:gd name="connsiteY2401" fmla="*/ 2171709 h 4837661"/>
                <a:gd name="connsiteX2402" fmla="*/ 1504860 w 10048557"/>
                <a:gd name="connsiteY2402" fmla="*/ 2195888 h 4837661"/>
                <a:gd name="connsiteX2403" fmla="*/ 1493744 w 10048557"/>
                <a:gd name="connsiteY2403" fmla="*/ 2229303 h 4837661"/>
                <a:gd name="connsiteX2404" fmla="*/ 1490933 w 10048557"/>
                <a:gd name="connsiteY2404" fmla="*/ 2249124 h 4837661"/>
                <a:gd name="connsiteX2405" fmla="*/ 1495218 w 10048557"/>
                <a:gd name="connsiteY2405" fmla="*/ 2265520 h 4837661"/>
                <a:gd name="connsiteX2406" fmla="*/ 1527492 w 10048557"/>
                <a:gd name="connsiteY2406" fmla="*/ 2265520 h 4837661"/>
                <a:gd name="connsiteX2407" fmla="*/ 1557221 w 10048557"/>
                <a:gd name="connsiteY2407" fmla="*/ 2260227 h 4837661"/>
                <a:gd name="connsiteX2408" fmla="*/ 1573694 w 10048557"/>
                <a:gd name="connsiteY2408" fmla="*/ 2254935 h 4837661"/>
                <a:gd name="connsiteX2409" fmla="*/ 1596863 w 10048557"/>
                <a:gd name="connsiteY2409" fmla="*/ 2254935 h 4837661"/>
                <a:gd name="connsiteX2410" fmla="*/ 1621370 w 10048557"/>
                <a:gd name="connsiteY2410" fmla="*/ 2256388 h 4837661"/>
                <a:gd name="connsiteX2411" fmla="*/ 1644404 w 10048557"/>
                <a:gd name="connsiteY2411" fmla="*/ 2262095 h 4837661"/>
                <a:gd name="connsiteX2412" fmla="*/ 1650430 w 10048557"/>
                <a:gd name="connsiteY2412" fmla="*/ 2276727 h 4837661"/>
                <a:gd name="connsiteX2413" fmla="*/ 1655787 w 10048557"/>
                <a:gd name="connsiteY2413" fmla="*/ 2292189 h 4837661"/>
                <a:gd name="connsiteX2414" fmla="*/ 1651234 w 10048557"/>
                <a:gd name="connsiteY2414" fmla="*/ 2308482 h 4837661"/>
                <a:gd name="connsiteX2415" fmla="*/ 1647485 w 10048557"/>
                <a:gd name="connsiteY2415" fmla="*/ 2323633 h 4837661"/>
                <a:gd name="connsiteX2416" fmla="*/ 1645476 w 10048557"/>
                <a:gd name="connsiteY2416" fmla="*/ 2340029 h 4837661"/>
                <a:gd name="connsiteX2417" fmla="*/ 1642395 w 10048557"/>
                <a:gd name="connsiteY2417" fmla="*/ 2356425 h 4837661"/>
                <a:gd name="connsiteX2418" fmla="*/ 1638645 w 10048557"/>
                <a:gd name="connsiteY2418" fmla="*/ 2373132 h 4837661"/>
                <a:gd name="connsiteX2419" fmla="*/ 1637172 w 10048557"/>
                <a:gd name="connsiteY2419" fmla="*/ 2391292 h 4837661"/>
                <a:gd name="connsiteX2420" fmla="*/ 1633556 w 10048557"/>
                <a:gd name="connsiteY2420" fmla="*/ 2414226 h 4837661"/>
                <a:gd name="connsiteX2421" fmla="*/ 1632084 w 10048557"/>
                <a:gd name="connsiteY2421" fmla="*/ 2430934 h 4837661"/>
                <a:gd name="connsiteX2422" fmla="*/ 1635030 w 10048557"/>
                <a:gd name="connsiteY2422" fmla="*/ 2447537 h 4837661"/>
                <a:gd name="connsiteX2423" fmla="*/ 1642127 w 10048557"/>
                <a:gd name="connsiteY2423" fmla="*/ 2456462 h 4837661"/>
                <a:gd name="connsiteX2424" fmla="*/ 1653913 w 10048557"/>
                <a:gd name="connsiteY2424" fmla="*/ 2471094 h 4837661"/>
                <a:gd name="connsiteX2425" fmla="*/ 1662215 w 10048557"/>
                <a:gd name="connsiteY2425" fmla="*/ 2490707 h 4837661"/>
                <a:gd name="connsiteX2426" fmla="*/ 1678954 w 10048557"/>
                <a:gd name="connsiteY2426" fmla="*/ 2502018 h 4837661"/>
                <a:gd name="connsiteX2427" fmla="*/ 1694891 w 10048557"/>
                <a:gd name="connsiteY2427" fmla="*/ 2508140 h 4837661"/>
                <a:gd name="connsiteX2428" fmla="*/ 1709087 w 10048557"/>
                <a:gd name="connsiteY2428" fmla="*/ 2513122 h 4837661"/>
                <a:gd name="connsiteX2429" fmla="*/ 1714577 w 10048557"/>
                <a:gd name="connsiteY2429" fmla="*/ 2521735 h 4837661"/>
                <a:gd name="connsiteX2430" fmla="*/ 1725827 w 10048557"/>
                <a:gd name="connsiteY2430" fmla="*/ 2517169 h 4837661"/>
                <a:gd name="connsiteX2431" fmla="*/ 1737075 w 10048557"/>
                <a:gd name="connsiteY2431" fmla="*/ 2507622 h 4837661"/>
                <a:gd name="connsiteX2432" fmla="*/ 1751807 w 10048557"/>
                <a:gd name="connsiteY2432" fmla="*/ 2501810 h 4837661"/>
                <a:gd name="connsiteX2433" fmla="*/ 1769485 w 10048557"/>
                <a:gd name="connsiteY2433" fmla="*/ 2497971 h 4837661"/>
                <a:gd name="connsiteX2434" fmla="*/ 1769729 w 10048557"/>
                <a:gd name="connsiteY2434" fmla="*/ 2498322 h 4837661"/>
                <a:gd name="connsiteX2435" fmla="*/ 1789980 w 10048557"/>
                <a:gd name="connsiteY2435" fmla="*/ 2493825 h 4837661"/>
                <a:gd name="connsiteX2436" fmla="*/ 1809094 w 10048557"/>
                <a:gd name="connsiteY2436" fmla="*/ 2498536 h 4837661"/>
                <a:gd name="connsiteX2437" fmla="*/ 1830323 w 10048557"/>
                <a:gd name="connsiteY2437" fmla="*/ 2510369 h 4837661"/>
                <a:gd name="connsiteX2438" fmla="*/ 1849144 w 10048557"/>
                <a:gd name="connsiteY2438" fmla="*/ 2522749 h 4837661"/>
                <a:gd name="connsiteX2439" fmla="*/ 1864392 w 10048557"/>
                <a:gd name="connsiteY2439" fmla="*/ 2535568 h 4837661"/>
                <a:gd name="connsiteX2440" fmla="*/ 1877305 w 10048557"/>
                <a:gd name="connsiteY2440" fmla="*/ 2528665 h 4837661"/>
                <a:gd name="connsiteX2441" fmla="*/ 1882120 w 10048557"/>
                <a:gd name="connsiteY2441" fmla="*/ 2517819 h 4837661"/>
                <a:gd name="connsiteX2442" fmla="*/ 1898681 w 10048557"/>
                <a:gd name="connsiteY2442" fmla="*/ 2511793 h 4837661"/>
                <a:gd name="connsiteX2443" fmla="*/ 1907799 w 10048557"/>
                <a:gd name="connsiteY2443" fmla="*/ 2489114 h 4837661"/>
                <a:gd name="connsiteX2444" fmla="*/ 1917503 w 10048557"/>
                <a:gd name="connsiteY2444" fmla="*/ 2470159 h 4837661"/>
                <a:gd name="connsiteX2445" fmla="*/ 1930197 w 10048557"/>
                <a:gd name="connsiteY2445" fmla="*/ 2451095 h 4837661"/>
                <a:gd name="connsiteX2446" fmla="*/ 1940629 w 10048557"/>
                <a:gd name="connsiteY2446" fmla="*/ 2441016 h 4837661"/>
                <a:gd name="connsiteX2447" fmla="*/ 1957920 w 10048557"/>
                <a:gd name="connsiteY2447" fmla="*/ 2431484 h 4837661"/>
                <a:gd name="connsiteX2448" fmla="*/ 1982795 w 10048557"/>
                <a:gd name="connsiteY2448" fmla="*/ 2431484 h 4837661"/>
                <a:gd name="connsiteX2449" fmla="*/ 1998117 w 10048557"/>
                <a:gd name="connsiteY2449" fmla="*/ 2424801 h 4837661"/>
                <a:gd name="connsiteX2450" fmla="*/ 2008986 w 10048557"/>
                <a:gd name="connsiteY2450" fmla="*/ 2408804 h 4837661"/>
                <a:gd name="connsiteX2451" fmla="*/ 2020148 w 10048557"/>
                <a:gd name="connsiteY2451" fmla="*/ 2398177 h 4837661"/>
                <a:gd name="connsiteX2452" fmla="*/ 2028539 w 10048557"/>
                <a:gd name="connsiteY2452" fmla="*/ 2390836 h 4837661"/>
                <a:gd name="connsiteX2453" fmla="*/ 2047579 w 10048557"/>
                <a:gd name="connsiteY2453" fmla="*/ 2387111 h 4837661"/>
                <a:gd name="connsiteX2454" fmla="*/ 2056699 w 10048557"/>
                <a:gd name="connsiteY2454" fmla="*/ 2388755 h 4837661"/>
                <a:gd name="connsiteX2455" fmla="*/ 2055895 w 10048557"/>
                <a:gd name="connsiteY2455" fmla="*/ 2398506 h 4837661"/>
                <a:gd name="connsiteX2456" fmla="*/ 2045537 w 10048557"/>
                <a:gd name="connsiteY2456" fmla="*/ 2406065 h 4837661"/>
                <a:gd name="connsiteX2457" fmla="*/ 2035470 w 10048557"/>
                <a:gd name="connsiteY2457" fmla="*/ 2416474 h 4837661"/>
                <a:gd name="connsiteX2458" fmla="*/ 2031675 w 10048557"/>
                <a:gd name="connsiteY2458" fmla="*/ 2429293 h 4837661"/>
                <a:gd name="connsiteX2459" fmla="*/ 2032915 w 10048557"/>
                <a:gd name="connsiteY2459" fmla="*/ 2456793 h 4837661"/>
                <a:gd name="connsiteX2460" fmla="*/ 2028393 w 10048557"/>
                <a:gd name="connsiteY2460" fmla="*/ 2469611 h 4837661"/>
                <a:gd name="connsiteX2461" fmla="*/ 2024306 w 10048557"/>
                <a:gd name="connsiteY2461" fmla="*/ 2478924 h 4837661"/>
                <a:gd name="connsiteX2462" fmla="*/ 2025035 w 10048557"/>
                <a:gd name="connsiteY2462" fmla="*/ 2492510 h 4837661"/>
                <a:gd name="connsiteX2463" fmla="*/ 2029340 w 10048557"/>
                <a:gd name="connsiteY2463" fmla="*/ 2505438 h 4837661"/>
                <a:gd name="connsiteX2464" fmla="*/ 2043348 w 10048557"/>
                <a:gd name="connsiteY2464" fmla="*/ 2509930 h 4837661"/>
                <a:gd name="connsiteX2465" fmla="*/ 2057573 w 10048557"/>
                <a:gd name="connsiteY2465" fmla="*/ 2505110 h 4837661"/>
                <a:gd name="connsiteX2466" fmla="*/ 2064139 w 10048557"/>
                <a:gd name="connsiteY2466" fmla="*/ 2492729 h 4837661"/>
                <a:gd name="connsiteX2467" fmla="*/ 2071508 w 10048557"/>
                <a:gd name="connsiteY2467" fmla="*/ 2481663 h 4837661"/>
                <a:gd name="connsiteX2468" fmla="*/ 2070778 w 10048557"/>
                <a:gd name="connsiteY2468" fmla="*/ 2471803 h 4837661"/>
                <a:gd name="connsiteX2469" fmla="*/ 2062461 w 10048557"/>
                <a:gd name="connsiteY2469" fmla="*/ 2462819 h 4837661"/>
                <a:gd name="connsiteX2470" fmla="*/ 2057136 w 10048557"/>
                <a:gd name="connsiteY2470" fmla="*/ 2452191 h 4837661"/>
                <a:gd name="connsiteX2471" fmla="*/ 2058594 w 10048557"/>
                <a:gd name="connsiteY2471" fmla="*/ 2444193 h 4837661"/>
                <a:gd name="connsiteX2472" fmla="*/ 2068954 w 10048557"/>
                <a:gd name="connsiteY2472" fmla="*/ 2436633 h 4837661"/>
                <a:gd name="connsiteX2473" fmla="*/ 2083692 w 10048557"/>
                <a:gd name="connsiteY2473" fmla="*/ 2427101 h 4837661"/>
                <a:gd name="connsiteX2474" fmla="*/ 2094344 w 10048557"/>
                <a:gd name="connsiteY2474" fmla="*/ 2412749 h 4837661"/>
                <a:gd name="connsiteX2475" fmla="*/ 2099668 w 10048557"/>
                <a:gd name="connsiteY2475" fmla="*/ 2406942 h 4837661"/>
                <a:gd name="connsiteX2476" fmla="*/ 2108057 w 10048557"/>
                <a:gd name="connsiteY2476" fmla="*/ 2406175 h 4837661"/>
                <a:gd name="connsiteX2477" fmla="*/ 2118636 w 10048557"/>
                <a:gd name="connsiteY2477" fmla="*/ 2406832 h 4837661"/>
                <a:gd name="connsiteX2478" fmla="*/ 2132278 w 10048557"/>
                <a:gd name="connsiteY2478" fmla="*/ 2417679 h 4837661"/>
                <a:gd name="connsiteX2479" fmla="*/ 2145264 w 10048557"/>
                <a:gd name="connsiteY2479" fmla="*/ 2427540 h 4837661"/>
                <a:gd name="connsiteX2480" fmla="*/ 2155113 w 10048557"/>
                <a:gd name="connsiteY2480" fmla="*/ 2440358 h 4837661"/>
                <a:gd name="connsiteX2481" fmla="*/ 2161971 w 10048557"/>
                <a:gd name="connsiteY2481" fmla="*/ 2448795 h 4837661"/>
                <a:gd name="connsiteX2482" fmla="*/ 2174445 w 10048557"/>
                <a:gd name="connsiteY2482" fmla="*/ 2453068 h 4837661"/>
                <a:gd name="connsiteX2483" fmla="*/ 2199030 w 10048557"/>
                <a:gd name="connsiteY2483" fmla="*/ 2453068 h 4837661"/>
                <a:gd name="connsiteX2484" fmla="*/ 2210412 w 10048557"/>
                <a:gd name="connsiteY2484" fmla="*/ 2456026 h 4837661"/>
                <a:gd name="connsiteX2485" fmla="*/ 2228141 w 10048557"/>
                <a:gd name="connsiteY2485" fmla="*/ 2459203 h 4837661"/>
                <a:gd name="connsiteX2486" fmla="*/ 2241637 w 10048557"/>
                <a:gd name="connsiteY2486" fmla="*/ 2463586 h 4837661"/>
                <a:gd name="connsiteX2487" fmla="*/ 2253017 w 10048557"/>
                <a:gd name="connsiteY2487" fmla="*/ 2473117 h 4837661"/>
                <a:gd name="connsiteX2488" fmla="*/ 2274319 w 10048557"/>
                <a:gd name="connsiteY2488" fmla="*/ 2474651 h 4837661"/>
                <a:gd name="connsiteX2489" fmla="*/ 2285481 w 10048557"/>
                <a:gd name="connsiteY2489" fmla="*/ 2466544 h 4837661"/>
                <a:gd name="connsiteX2490" fmla="*/ 2298978 w 10048557"/>
                <a:gd name="connsiteY2490" fmla="*/ 2465996 h 4837661"/>
                <a:gd name="connsiteX2491" fmla="*/ 2314517 w 10048557"/>
                <a:gd name="connsiteY2491" fmla="*/ 2468297 h 4837661"/>
                <a:gd name="connsiteX2492" fmla="*/ 2326554 w 10048557"/>
                <a:gd name="connsiteY2492" fmla="*/ 2474651 h 4837661"/>
                <a:gd name="connsiteX2493" fmla="*/ 2345231 w 10048557"/>
                <a:gd name="connsiteY2493" fmla="*/ 2483745 h 4837661"/>
                <a:gd name="connsiteX2494" fmla="*/ 2363543 w 10048557"/>
                <a:gd name="connsiteY2494" fmla="*/ 2492072 h 4837661"/>
                <a:gd name="connsiteX2495" fmla="*/ 2399072 w 10048557"/>
                <a:gd name="connsiteY2495" fmla="*/ 2503466 h 4837661"/>
                <a:gd name="connsiteX2496" fmla="*/ 2421980 w 10048557"/>
                <a:gd name="connsiteY2496" fmla="*/ 2517819 h 4837661"/>
                <a:gd name="connsiteX2497" fmla="*/ 2429567 w 10048557"/>
                <a:gd name="connsiteY2497" fmla="*/ 2531405 h 4837661"/>
                <a:gd name="connsiteX2498" fmla="*/ 2440146 w 10048557"/>
                <a:gd name="connsiteY2498" fmla="*/ 2540389 h 4837661"/>
                <a:gd name="connsiteX2499" fmla="*/ 2449045 w 10048557"/>
                <a:gd name="connsiteY2499" fmla="*/ 2548496 h 4837661"/>
                <a:gd name="connsiteX2500" fmla="*/ 2457142 w 10048557"/>
                <a:gd name="connsiteY2500" fmla="*/ 2559781 h 4837661"/>
                <a:gd name="connsiteX2501" fmla="*/ 2460135 w 10048557"/>
                <a:gd name="connsiteY2501" fmla="*/ 2571066 h 4837661"/>
                <a:gd name="connsiteX2502" fmla="*/ 2466043 w 10048557"/>
                <a:gd name="connsiteY2502" fmla="*/ 2580927 h 4837661"/>
                <a:gd name="connsiteX2503" fmla="*/ 2479613 w 10048557"/>
                <a:gd name="connsiteY2503" fmla="*/ 2593855 h 4837661"/>
                <a:gd name="connsiteX2504" fmla="*/ 2495078 w 10048557"/>
                <a:gd name="connsiteY2504" fmla="*/ 2606235 h 4837661"/>
                <a:gd name="connsiteX2505" fmla="*/ 2517912 w 10048557"/>
                <a:gd name="connsiteY2505" fmla="*/ 2619712 h 4837661"/>
                <a:gd name="connsiteX2506" fmla="*/ 2535933 w 10048557"/>
                <a:gd name="connsiteY2506" fmla="*/ 2625738 h 4837661"/>
                <a:gd name="connsiteX2507" fmla="*/ 2554755 w 10048557"/>
                <a:gd name="connsiteY2507" fmla="*/ 2632859 h 4837661"/>
                <a:gd name="connsiteX2508" fmla="*/ 2570729 w 10048557"/>
                <a:gd name="connsiteY2508" fmla="*/ 2632859 h 4837661"/>
                <a:gd name="connsiteX2509" fmla="*/ 2580578 w 10048557"/>
                <a:gd name="connsiteY2509" fmla="*/ 2626066 h 4837661"/>
                <a:gd name="connsiteX2510" fmla="*/ 2592324 w 10048557"/>
                <a:gd name="connsiteY2510" fmla="*/ 2623765 h 4837661"/>
                <a:gd name="connsiteX2511" fmla="*/ 2607280 w 10048557"/>
                <a:gd name="connsiteY2511" fmla="*/ 2624532 h 4837661"/>
                <a:gd name="connsiteX2512" fmla="*/ 2623257 w 10048557"/>
                <a:gd name="connsiteY2512" fmla="*/ 2629024 h 4837661"/>
                <a:gd name="connsiteX2513" fmla="*/ 2632886 w 10048557"/>
                <a:gd name="connsiteY2513" fmla="*/ 2632092 h 4837661"/>
                <a:gd name="connsiteX2514" fmla="*/ 2643320 w 10048557"/>
                <a:gd name="connsiteY2514" fmla="*/ 2634064 h 4837661"/>
                <a:gd name="connsiteX2515" fmla="*/ 2651636 w 10048557"/>
                <a:gd name="connsiteY2515" fmla="*/ 2638885 h 4837661"/>
                <a:gd name="connsiteX2516" fmla="*/ 2665353 w 10048557"/>
                <a:gd name="connsiteY2516" fmla="*/ 2652361 h 4837661"/>
                <a:gd name="connsiteX2517" fmla="*/ 2680383 w 10048557"/>
                <a:gd name="connsiteY2517" fmla="*/ 2663756 h 4837661"/>
                <a:gd name="connsiteX2518" fmla="*/ 2692492 w 10048557"/>
                <a:gd name="connsiteY2518" fmla="*/ 2671315 h 4837661"/>
                <a:gd name="connsiteX2519" fmla="*/ 2702852 w 10048557"/>
                <a:gd name="connsiteY2519" fmla="*/ 2677560 h 4837661"/>
                <a:gd name="connsiteX2520" fmla="*/ 2715036 w 10048557"/>
                <a:gd name="connsiteY2520" fmla="*/ 2687531 h 4837661"/>
                <a:gd name="connsiteX2521" fmla="*/ 2717297 w 10048557"/>
                <a:gd name="connsiteY2521" fmla="*/ 2703855 h 4837661"/>
                <a:gd name="connsiteX2522" fmla="*/ 2723132 w 10048557"/>
                <a:gd name="connsiteY2522" fmla="*/ 2718537 h 4837661"/>
                <a:gd name="connsiteX2523" fmla="*/ 2731522 w 10048557"/>
                <a:gd name="connsiteY2523" fmla="*/ 2729603 h 4837661"/>
                <a:gd name="connsiteX2524" fmla="*/ 2732251 w 10048557"/>
                <a:gd name="connsiteY2524" fmla="*/ 2742750 h 4837661"/>
                <a:gd name="connsiteX2525" fmla="*/ 2732251 w 10048557"/>
                <a:gd name="connsiteY2525" fmla="*/ 2757760 h 4837661"/>
                <a:gd name="connsiteX2526" fmla="*/ 2736848 w 10048557"/>
                <a:gd name="connsiteY2526" fmla="*/ 2768935 h 4837661"/>
                <a:gd name="connsiteX2527" fmla="*/ 2745530 w 10048557"/>
                <a:gd name="connsiteY2527" fmla="*/ 2775399 h 4837661"/>
                <a:gd name="connsiteX2528" fmla="*/ 2754649 w 10048557"/>
                <a:gd name="connsiteY2528" fmla="*/ 2777700 h 4837661"/>
                <a:gd name="connsiteX2529" fmla="*/ 2754649 w 10048557"/>
                <a:gd name="connsiteY2529" fmla="*/ 2787451 h 4837661"/>
                <a:gd name="connsiteX2530" fmla="*/ 2744727 w 10048557"/>
                <a:gd name="connsiteY2530" fmla="*/ 2795011 h 4837661"/>
                <a:gd name="connsiteX2531" fmla="*/ 2737943 w 10048557"/>
                <a:gd name="connsiteY2531" fmla="*/ 2804105 h 4837661"/>
                <a:gd name="connsiteX2532" fmla="*/ 2733347 w 10048557"/>
                <a:gd name="connsiteY2532" fmla="*/ 2814185 h 4837661"/>
                <a:gd name="connsiteX2533" fmla="*/ 2728750 w 10048557"/>
                <a:gd name="connsiteY2533" fmla="*/ 2827003 h 4837661"/>
                <a:gd name="connsiteX2534" fmla="*/ 2719340 w 10048557"/>
                <a:gd name="connsiteY2534" fmla="*/ 2830838 h 4837661"/>
                <a:gd name="connsiteX2535" fmla="*/ 2708688 w 10048557"/>
                <a:gd name="connsiteY2535" fmla="*/ 2833139 h 4837661"/>
                <a:gd name="connsiteX2536" fmla="*/ 2681184 w 10048557"/>
                <a:gd name="connsiteY2536" fmla="*/ 2860091 h 4837661"/>
                <a:gd name="connsiteX2537" fmla="*/ 2675858 w 10048557"/>
                <a:gd name="connsiteY2537" fmla="*/ 2870719 h 4837661"/>
                <a:gd name="connsiteX2538" fmla="*/ 2672065 w 10048557"/>
                <a:gd name="connsiteY2538" fmla="*/ 2884962 h 4837661"/>
                <a:gd name="connsiteX2539" fmla="*/ 2683519 w 10048557"/>
                <a:gd name="connsiteY2539" fmla="*/ 2895480 h 4837661"/>
                <a:gd name="connsiteX2540" fmla="*/ 2700809 w 10048557"/>
                <a:gd name="connsiteY2540" fmla="*/ 2893617 h 4837661"/>
                <a:gd name="connsiteX2541" fmla="*/ 2712700 w 10048557"/>
                <a:gd name="connsiteY2541" fmla="*/ 2877402 h 4837661"/>
                <a:gd name="connsiteX2542" fmla="*/ 2731450 w 10048557"/>
                <a:gd name="connsiteY2542" fmla="*/ 2860310 h 4837661"/>
                <a:gd name="connsiteX2543" fmla="*/ 2744216 w 10048557"/>
                <a:gd name="connsiteY2543" fmla="*/ 2848477 h 4837661"/>
                <a:gd name="connsiteX2544" fmla="*/ 2756837 w 10048557"/>
                <a:gd name="connsiteY2544" fmla="*/ 2838946 h 4837661"/>
                <a:gd name="connsiteX2545" fmla="*/ 2771063 w 10048557"/>
                <a:gd name="connsiteY2545" fmla="*/ 2832043 h 4837661"/>
                <a:gd name="connsiteX2546" fmla="*/ 2787331 w 10048557"/>
                <a:gd name="connsiteY2546" fmla="*/ 2832810 h 4837661"/>
                <a:gd name="connsiteX2547" fmla="*/ 2796524 w 10048557"/>
                <a:gd name="connsiteY2547" fmla="*/ 2840151 h 4837661"/>
                <a:gd name="connsiteX2548" fmla="*/ 2804112 w 10048557"/>
                <a:gd name="connsiteY2548" fmla="*/ 2852203 h 4837661"/>
                <a:gd name="connsiteX2549" fmla="*/ 2804112 w 10048557"/>
                <a:gd name="connsiteY2549" fmla="*/ 2865898 h 4837661"/>
                <a:gd name="connsiteX2550" fmla="*/ 2783538 w 10048557"/>
                <a:gd name="connsiteY2550" fmla="*/ 2880141 h 4837661"/>
                <a:gd name="connsiteX2551" fmla="*/ 2778724 w 10048557"/>
                <a:gd name="connsiteY2551" fmla="*/ 2892741 h 4837661"/>
                <a:gd name="connsiteX2552" fmla="*/ 2768145 w 10048557"/>
                <a:gd name="connsiteY2552" fmla="*/ 2895808 h 4837661"/>
                <a:gd name="connsiteX2553" fmla="*/ 2754139 w 10048557"/>
                <a:gd name="connsiteY2553" fmla="*/ 2895041 h 4837661"/>
                <a:gd name="connsiteX2554" fmla="*/ 2748885 w 10048557"/>
                <a:gd name="connsiteY2554" fmla="*/ 2903478 h 4837661"/>
                <a:gd name="connsiteX2555" fmla="*/ 2766394 w 10048557"/>
                <a:gd name="connsiteY2555" fmla="*/ 2907970 h 4837661"/>
                <a:gd name="connsiteX2556" fmla="*/ 2779234 w 10048557"/>
                <a:gd name="connsiteY2556" fmla="*/ 2909723 h 4837661"/>
                <a:gd name="connsiteX2557" fmla="*/ 2790105 w 10048557"/>
                <a:gd name="connsiteY2557" fmla="*/ 2917502 h 4837661"/>
                <a:gd name="connsiteX2558" fmla="*/ 2801485 w 10048557"/>
                <a:gd name="connsiteY2558" fmla="*/ 2909723 h 4837661"/>
                <a:gd name="connsiteX2559" fmla="*/ 2815419 w 10048557"/>
                <a:gd name="connsiteY2559" fmla="*/ 2901177 h 4837661"/>
                <a:gd name="connsiteX2560" fmla="*/ 2825049 w 10048557"/>
                <a:gd name="connsiteY2560" fmla="*/ 2887372 h 4837661"/>
                <a:gd name="connsiteX2561" fmla="*/ 2835991 w 10048557"/>
                <a:gd name="connsiteY2561" fmla="*/ 2876416 h 4837661"/>
                <a:gd name="connsiteX2562" fmla="*/ 2842850 w 10048557"/>
                <a:gd name="connsiteY2562" fmla="*/ 2865788 h 4837661"/>
                <a:gd name="connsiteX2563" fmla="*/ 2861891 w 10048557"/>
                <a:gd name="connsiteY2563" fmla="*/ 2862830 h 4837661"/>
                <a:gd name="connsiteX2564" fmla="*/ 2882245 w 10048557"/>
                <a:gd name="connsiteY2564" fmla="*/ 2865898 h 4837661"/>
                <a:gd name="connsiteX2565" fmla="*/ 2902088 w 10048557"/>
                <a:gd name="connsiteY2565" fmla="*/ 2881017 h 4837661"/>
                <a:gd name="connsiteX2566" fmla="*/ 2914272 w 10048557"/>
                <a:gd name="connsiteY2566" fmla="*/ 2898328 h 4837661"/>
                <a:gd name="connsiteX2567" fmla="*/ 2925871 w 10048557"/>
                <a:gd name="connsiteY2567" fmla="*/ 2903587 h 4837661"/>
                <a:gd name="connsiteX2568" fmla="*/ 2934698 w 10048557"/>
                <a:gd name="connsiteY2568" fmla="*/ 2911585 h 4837661"/>
                <a:gd name="connsiteX2569" fmla="*/ 2932730 w 10048557"/>
                <a:gd name="connsiteY2569" fmla="*/ 2924404 h 4837661"/>
                <a:gd name="connsiteX2570" fmla="*/ 2927914 w 10048557"/>
                <a:gd name="connsiteY2570" fmla="*/ 2932950 h 4837661"/>
                <a:gd name="connsiteX2571" fmla="*/ 2927914 w 10048557"/>
                <a:gd name="connsiteY2571" fmla="*/ 2941277 h 4837661"/>
                <a:gd name="connsiteX2572" fmla="*/ 2942359 w 10048557"/>
                <a:gd name="connsiteY2572" fmla="*/ 2951795 h 4837661"/>
                <a:gd name="connsiteX2573" fmla="*/ 2954542 w 10048557"/>
                <a:gd name="connsiteY2573" fmla="*/ 2944235 h 4837661"/>
                <a:gd name="connsiteX2574" fmla="*/ 2970301 w 10048557"/>
                <a:gd name="connsiteY2574" fmla="*/ 2937442 h 4837661"/>
                <a:gd name="connsiteX2575" fmla="*/ 2987590 w 10048557"/>
                <a:gd name="connsiteY2575" fmla="*/ 2932950 h 4837661"/>
                <a:gd name="connsiteX2576" fmla="*/ 3000503 w 10048557"/>
                <a:gd name="connsiteY2576" fmla="*/ 2933607 h 4837661"/>
                <a:gd name="connsiteX2577" fmla="*/ 3027933 w 10048557"/>
                <a:gd name="connsiteY2577" fmla="*/ 2942701 h 4837661"/>
                <a:gd name="connsiteX2578" fmla="*/ 3053759 w 10048557"/>
                <a:gd name="connsiteY2578" fmla="*/ 2942701 h 4837661"/>
                <a:gd name="connsiteX2579" fmla="*/ 3085713 w 10048557"/>
                <a:gd name="connsiteY2579" fmla="*/ 2944235 h 4837661"/>
                <a:gd name="connsiteX2580" fmla="*/ 3108474 w 10048557"/>
                <a:gd name="connsiteY2580" fmla="*/ 2944235 h 4837661"/>
                <a:gd name="connsiteX2581" fmla="*/ 3116572 w 10048557"/>
                <a:gd name="connsiteY2581" fmla="*/ 2950809 h 4837661"/>
                <a:gd name="connsiteX2582" fmla="*/ 3122409 w 10048557"/>
                <a:gd name="connsiteY2582" fmla="*/ 2961765 h 4837661"/>
                <a:gd name="connsiteX2583" fmla="*/ 3128522 w 10048557"/>
                <a:gd name="connsiteY2583" fmla="*/ 2976994 h 4837661"/>
                <a:gd name="connsiteX2584" fmla="*/ 3147490 w 10048557"/>
                <a:gd name="connsiteY2584" fmla="*/ 2991347 h 4837661"/>
                <a:gd name="connsiteX2585" fmla="*/ 3168866 w 10048557"/>
                <a:gd name="connsiteY2585" fmla="*/ 3004165 h 4837661"/>
                <a:gd name="connsiteX2586" fmla="*/ 3189511 w 10048557"/>
                <a:gd name="connsiteY2586" fmla="*/ 3018518 h 4837661"/>
                <a:gd name="connsiteX2587" fmla="*/ 3222049 w 10048557"/>
                <a:gd name="connsiteY2587" fmla="*/ 3024544 h 4837661"/>
                <a:gd name="connsiteX2588" fmla="*/ 3247218 w 10048557"/>
                <a:gd name="connsiteY2588" fmla="*/ 3026078 h 4837661"/>
                <a:gd name="connsiteX2589" fmla="*/ 3259182 w 10048557"/>
                <a:gd name="connsiteY2589" fmla="*/ 3035938 h 4837661"/>
                <a:gd name="connsiteX2590" fmla="*/ 3268010 w 10048557"/>
                <a:gd name="connsiteY2590" fmla="*/ 3044484 h 4837661"/>
                <a:gd name="connsiteX2591" fmla="*/ 3268739 w 10048557"/>
                <a:gd name="connsiteY2591" fmla="*/ 3056536 h 4837661"/>
                <a:gd name="connsiteX2592" fmla="*/ 3274065 w 10048557"/>
                <a:gd name="connsiteY2592" fmla="*/ 3070012 h 4837661"/>
                <a:gd name="connsiteX2593" fmla="*/ 3277859 w 10048557"/>
                <a:gd name="connsiteY2593" fmla="*/ 3081188 h 4837661"/>
                <a:gd name="connsiteX2594" fmla="*/ 3281652 w 10048557"/>
                <a:gd name="connsiteY2594" fmla="*/ 3094773 h 4837661"/>
                <a:gd name="connsiteX2595" fmla="*/ 3278588 w 10048557"/>
                <a:gd name="connsiteY2595" fmla="*/ 3106606 h 4837661"/>
                <a:gd name="connsiteX2596" fmla="*/ 3277859 w 10048557"/>
                <a:gd name="connsiteY2596" fmla="*/ 3125999 h 4837661"/>
                <a:gd name="connsiteX2597" fmla="*/ 3268229 w 10048557"/>
                <a:gd name="connsiteY2597" fmla="*/ 3140022 h 4837661"/>
                <a:gd name="connsiteX2598" fmla="*/ 3265165 w 10048557"/>
                <a:gd name="connsiteY2598" fmla="*/ 3153937 h 4837661"/>
                <a:gd name="connsiteX2599" fmla="*/ 3257067 w 10048557"/>
                <a:gd name="connsiteY2599" fmla="*/ 3169495 h 4837661"/>
                <a:gd name="connsiteX2600" fmla="*/ 3232627 w 10048557"/>
                <a:gd name="connsiteY2600" fmla="*/ 3182204 h 4837661"/>
                <a:gd name="connsiteX2601" fmla="*/ 3221976 w 10048557"/>
                <a:gd name="connsiteY2601" fmla="*/ 3208608 h 4837661"/>
                <a:gd name="connsiteX2602" fmla="*/ 3212054 w 10048557"/>
                <a:gd name="connsiteY2602" fmla="*/ 3224495 h 4837661"/>
                <a:gd name="connsiteX2603" fmla="*/ 3203665 w 10048557"/>
                <a:gd name="connsiteY2603" fmla="*/ 3235889 h 4837661"/>
                <a:gd name="connsiteX2604" fmla="*/ 3190022 w 10048557"/>
                <a:gd name="connsiteY2604" fmla="*/ 3253748 h 4837661"/>
                <a:gd name="connsiteX2605" fmla="*/ 3181122 w 10048557"/>
                <a:gd name="connsiteY2605" fmla="*/ 3275551 h 4837661"/>
                <a:gd name="connsiteX2606" fmla="*/ 3158798 w 10048557"/>
                <a:gd name="connsiteY2606" fmla="*/ 3285083 h 4837661"/>
                <a:gd name="connsiteX2607" fmla="*/ 3143040 w 10048557"/>
                <a:gd name="connsiteY2607" fmla="*/ 3303051 h 4837661"/>
                <a:gd name="connsiteX2608" fmla="*/ 3138006 w 10048557"/>
                <a:gd name="connsiteY2608" fmla="*/ 3318171 h 4837661"/>
                <a:gd name="connsiteX2609" fmla="*/ 3136839 w 10048557"/>
                <a:gd name="connsiteY2609" fmla="*/ 3358599 h 4837661"/>
                <a:gd name="connsiteX2610" fmla="*/ 3142164 w 10048557"/>
                <a:gd name="connsiteY2610" fmla="*/ 3382922 h 4837661"/>
                <a:gd name="connsiteX2611" fmla="*/ 3142164 w 10048557"/>
                <a:gd name="connsiteY2611" fmla="*/ 3406259 h 4837661"/>
                <a:gd name="connsiteX2612" fmla="*/ 3143405 w 10048557"/>
                <a:gd name="connsiteY2612" fmla="*/ 3432992 h 4837661"/>
                <a:gd name="connsiteX2613" fmla="*/ 3139611 w 10048557"/>
                <a:gd name="connsiteY2613" fmla="*/ 3457753 h 4837661"/>
                <a:gd name="connsiteX2614" fmla="*/ 3136620 w 10048557"/>
                <a:gd name="connsiteY2614" fmla="*/ 3477255 h 4837661"/>
                <a:gd name="connsiteX2615" fmla="*/ 3134285 w 10048557"/>
                <a:gd name="connsiteY2615" fmla="*/ 3494127 h 4837661"/>
                <a:gd name="connsiteX2616" fmla="*/ 3132753 w 10048557"/>
                <a:gd name="connsiteY2616" fmla="*/ 3513520 h 4837661"/>
                <a:gd name="connsiteX2617" fmla="*/ 3125896 w 10048557"/>
                <a:gd name="connsiteY2617" fmla="*/ 3531926 h 4837661"/>
                <a:gd name="connsiteX2618" fmla="*/ 3124364 w 10048557"/>
                <a:gd name="connsiteY2618" fmla="*/ 3555154 h 4837661"/>
                <a:gd name="connsiteX2619" fmla="*/ 3120585 w 10048557"/>
                <a:gd name="connsiteY2619" fmla="*/ 3570054 h 4837661"/>
                <a:gd name="connsiteX2620" fmla="*/ 3115478 w 10048557"/>
                <a:gd name="connsiteY2620" fmla="*/ 3585174 h 4837661"/>
                <a:gd name="connsiteX2621" fmla="*/ 3104316 w 10048557"/>
                <a:gd name="connsiteY2621" fmla="*/ 3599307 h 4837661"/>
                <a:gd name="connsiteX2622" fmla="*/ 3094395 w 10048557"/>
                <a:gd name="connsiteY2622" fmla="*/ 3622753 h 4837661"/>
                <a:gd name="connsiteX2623" fmla="*/ 3087537 w 10048557"/>
                <a:gd name="connsiteY2623" fmla="*/ 3635353 h 4837661"/>
                <a:gd name="connsiteX2624" fmla="*/ 3079877 w 10048557"/>
                <a:gd name="connsiteY2624" fmla="*/ 3648281 h 4837661"/>
                <a:gd name="connsiteX2625" fmla="*/ 3060033 w 10048557"/>
                <a:gd name="connsiteY2625" fmla="*/ 3665154 h 4837661"/>
                <a:gd name="connsiteX2626" fmla="*/ 3046319 w 10048557"/>
                <a:gd name="connsiteY2626" fmla="*/ 3675782 h 4837661"/>
                <a:gd name="connsiteX2627" fmla="*/ 3033916 w 10048557"/>
                <a:gd name="connsiteY2627" fmla="*/ 3675015 h 4837661"/>
                <a:gd name="connsiteX2628" fmla="*/ 3022535 w 10048557"/>
                <a:gd name="connsiteY2628" fmla="*/ 3672823 h 4837661"/>
                <a:gd name="connsiteX2629" fmla="*/ 3011665 w 10048557"/>
                <a:gd name="connsiteY2629" fmla="*/ 3662196 h 4837661"/>
                <a:gd name="connsiteX2630" fmla="*/ 2992916 w 10048557"/>
                <a:gd name="connsiteY2630" fmla="*/ 3669756 h 4837661"/>
                <a:gd name="connsiteX2631" fmla="*/ 2981535 w 10048557"/>
                <a:gd name="connsiteY2631" fmla="*/ 3679507 h 4837661"/>
                <a:gd name="connsiteX2632" fmla="*/ 2967017 w 10048557"/>
                <a:gd name="connsiteY2632" fmla="*/ 3695393 h 4837661"/>
                <a:gd name="connsiteX2633" fmla="*/ 2955855 w 10048557"/>
                <a:gd name="connsiteY2633" fmla="*/ 3698461 h 4837661"/>
                <a:gd name="connsiteX2634" fmla="*/ 2933968 w 10048557"/>
                <a:gd name="connsiteY2634" fmla="*/ 3703501 h 4837661"/>
                <a:gd name="connsiteX2635" fmla="*/ 2912083 w 10048557"/>
                <a:gd name="connsiteY2635" fmla="*/ 3710294 h 4837661"/>
                <a:gd name="connsiteX2636" fmla="*/ 2897638 w 10048557"/>
                <a:gd name="connsiteY2636" fmla="*/ 3720154 h 4837661"/>
                <a:gd name="connsiteX2637" fmla="*/ 2891583 w 10048557"/>
                <a:gd name="connsiteY2637" fmla="*/ 3731439 h 4837661"/>
                <a:gd name="connsiteX2638" fmla="*/ 2886476 w 10048557"/>
                <a:gd name="connsiteY2638" fmla="*/ 3737465 h 4837661"/>
                <a:gd name="connsiteX2639" fmla="*/ 2875096 w 10048557"/>
                <a:gd name="connsiteY2639" fmla="*/ 3743491 h 4837661"/>
                <a:gd name="connsiteX2640" fmla="*/ 2866997 w 10048557"/>
                <a:gd name="connsiteY2640" fmla="*/ 3751051 h 4837661"/>
                <a:gd name="connsiteX2641" fmla="*/ 2858826 w 10048557"/>
                <a:gd name="connsiteY2641" fmla="*/ 3758611 h 4837661"/>
                <a:gd name="connsiteX2642" fmla="*/ 2855034 w 10048557"/>
                <a:gd name="connsiteY2642" fmla="*/ 3770772 h 4837661"/>
                <a:gd name="connsiteX2643" fmla="*/ 2860359 w 10048557"/>
                <a:gd name="connsiteY2643" fmla="*/ 3781180 h 4837661"/>
                <a:gd name="connsiteX2644" fmla="*/ 2869550 w 10048557"/>
                <a:gd name="connsiteY2644" fmla="*/ 3794876 h 4837661"/>
                <a:gd name="connsiteX2645" fmla="*/ 2870280 w 10048557"/>
                <a:gd name="connsiteY2645" fmla="*/ 3812296 h 4837661"/>
                <a:gd name="connsiteX2646" fmla="*/ 2866486 w 10048557"/>
                <a:gd name="connsiteY2646" fmla="*/ 3832455 h 4837661"/>
                <a:gd name="connsiteX2647" fmla="*/ 2861452 w 10048557"/>
                <a:gd name="connsiteY2647" fmla="*/ 3844836 h 4837661"/>
                <a:gd name="connsiteX2648" fmla="*/ 2859191 w 10048557"/>
                <a:gd name="connsiteY2648" fmla="*/ 3866529 h 4837661"/>
                <a:gd name="connsiteX2649" fmla="*/ 2843945 w 10048557"/>
                <a:gd name="connsiteY2649" fmla="*/ 3882854 h 4837661"/>
                <a:gd name="connsiteX2650" fmla="*/ 2837086 w 10048557"/>
                <a:gd name="connsiteY2650" fmla="*/ 3892715 h 4837661"/>
                <a:gd name="connsiteX2651" fmla="*/ 2834022 w 10048557"/>
                <a:gd name="connsiteY2651" fmla="*/ 3904109 h 4837661"/>
                <a:gd name="connsiteX2652" fmla="*/ 2834022 w 10048557"/>
                <a:gd name="connsiteY2652" fmla="*/ 3914408 h 4837661"/>
                <a:gd name="connsiteX2653" fmla="*/ 2834022 w 10048557"/>
                <a:gd name="connsiteY2653" fmla="*/ 3927775 h 4837661"/>
                <a:gd name="connsiteX2654" fmla="*/ 2830228 w 10048557"/>
                <a:gd name="connsiteY2654" fmla="*/ 3940374 h 4837661"/>
                <a:gd name="connsiteX2655" fmla="*/ 2813523 w 10048557"/>
                <a:gd name="connsiteY2655" fmla="*/ 3954727 h 4837661"/>
                <a:gd name="connsiteX2656" fmla="*/ 2803674 w 10048557"/>
                <a:gd name="connsiteY2656" fmla="*/ 3969518 h 4837661"/>
                <a:gd name="connsiteX2657" fmla="*/ 2794554 w 10048557"/>
                <a:gd name="connsiteY2657" fmla="*/ 3984309 h 4837661"/>
                <a:gd name="connsiteX2658" fmla="*/ 2788500 w 10048557"/>
                <a:gd name="connsiteY2658" fmla="*/ 3998442 h 4837661"/>
                <a:gd name="connsiteX2659" fmla="*/ 2782663 w 10048557"/>
                <a:gd name="connsiteY2659" fmla="*/ 4016082 h 4837661"/>
                <a:gd name="connsiteX2660" fmla="*/ 2777337 w 10048557"/>
                <a:gd name="connsiteY2660" fmla="*/ 4030434 h 4837661"/>
                <a:gd name="connsiteX2661" fmla="*/ 2770480 w 10048557"/>
                <a:gd name="connsiteY2661" fmla="*/ 4043253 h 4837661"/>
                <a:gd name="connsiteX2662" fmla="*/ 2764424 w 10048557"/>
                <a:gd name="connsiteY2662" fmla="*/ 4051580 h 4837661"/>
                <a:gd name="connsiteX2663" fmla="*/ 2755670 w 10048557"/>
                <a:gd name="connsiteY2663" fmla="*/ 4064179 h 4837661"/>
                <a:gd name="connsiteX2664" fmla="*/ 2744216 w 10048557"/>
                <a:gd name="connsiteY2664" fmla="*/ 4077765 h 4837661"/>
                <a:gd name="connsiteX2665" fmla="*/ 2736192 w 10048557"/>
                <a:gd name="connsiteY2665" fmla="*/ 4087297 h 4837661"/>
                <a:gd name="connsiteX2666" fmla="*/ 2717880 w 10048557"/>
                <a:gd name="connsiteY2666" fmla="*/ 4099349 h 4837661"/>
                <a:gd name="connsiteX2667" fmla="*/ 2704238 w 10048557"/>
                <a:gd name="connsiteY2667" fmla="*/ 4103184 h 4837661"/>
                <a:gd name="connsiteX2668" fmla="*/ 2677829 w 10048557"/>
                <a:gd name="connsiteY2668" fmla="*/ 4103950 h 4837661"/>
                <a:gd name="connsiteX2669" fmla="*/ 2668928 w 10048557"/>
                <a:gd name="connsiteY2669" fmla="*/ 4095624 h 4837661"/>
                <a:gd name="connsiteX2670" fmla="*/ 2649813 w 10048557"/>
                <a:gd name="connsiteY2670" fmla="*/ 4085215 h 4837661"/>
                <a:gd name="connsiteX2671" fmla="*/ 2630771 w 10048557"/>
                <a:gd name="connsiteY2671" fmla="*/ 4079409 h 4837661"/>
                <a:gd name="connsiteX2672" fmla="*/ 2610929 w 10048557"/>
                <a:gd name="connsiteY2672" fmla="*/ 4071082 h 4837661"/>
                <a:gd name="connsiteX2673" fmla="*/ 2595462 w 10048557"/>
                <a:gd name="connsiteY2673" fmla="*/ 4077217 h 4837661"/>
                <a:gd name="connsiteX2674" fmla="*/ 2590866 w 10048557"/>
                <a:gd name="connsiteY2674" fmla="*/ 4089817 h 4837661"/>
                <a:gd name="connsiteX2675" fmla="*/ 2599913 w 10048557"/>
                <a:gd name="connsiteY2675" fmla="*/ 4097925 h 4837661"/>
                <a:gd name="connsiteX2676" fmla="*/ 2615378 w 10048557"/>
                <a:gd name="connsiteY2676" fmla="*/ 4107237 h 4837661"/>
                <a:gd name="connsiteX2677" fmla="*/ 2623768 w 10048557"/>
                <a:gd name="connsiteY2677" fmla="*/ 4114030 h 4837661"/>
                <a:gd name="connsiteX2678" fmla="*/ 2637339 w 10048557"/>
                <a:gd name="connsiteY2678" fmla="*/ 4127616 h 4837661"/>
                <a:gd name="connsiteX2679" fmla="*/ 2652586 w 10048557"/>
                <a:gd name="connsiteY2679" fmla="*/ 4147228 h 4837661"/>
                <a:gd name="connsiteX2680" fmla="*/ 2661779 w 10048557"/>
                <a:gd name="connsiteY2680" fmla="*/ 4162128 h 4837661"/>
                <a:gd name="connsiteX2681" fmla="*/ 2665571 w 10048557"/>
                <a:gd name="connsiteY2681" fmla="*/ 4180863 h 4837661"/>
                <a:gd name="connsiteX2682" fmla="*/ 2666375 w 10048557"/>
                <a:gd name="connsiteY2682" fmla="*/ 4199817 h 4837661"/>
                <a:gd name="connsiteX2683" fmla="*/ 2659006 w 10048557"/>
                <a:gd name="connsiteY2683" fmla="*/ 4214170 h 4837661"/>
                <a:gd name="connsiteX2684" fmla="*/ 2650689 w 10048557"/>
                <a:gd name="connsiteY2684" fmla="*/ 4225455 h 4837661"/>
                <a:gd name="connsiteX2685" fmla="*/ 2638724 w 10048557"/>
                <a:gd name="connsiteY2685" fmla="*/ 4234549 h 4837661"/>
                <a:gd name="connsiteX2686" fmla="*/ 2618151 w 10048557"/>
                <a:gd name="connsiteY2686" fmla="*/ 4241341 h 4837661"/>
                <a:gd name="connsiteX2687" fmla="*/ 2590207 w 10048557"/>
                <a:gd name="connsiteY2687" fmla="*/ 4246381 h 4837661"/>
                <a:gd name="connsiteX2688" fmla="*/ 2574961 w 10048557"/>
                <a:gd name="connsiteY2688" fmla="*/ 4247148 h 4837661"/>
                <a:gd name="connsiteX2689" fmla="*/ 2561831 w 10048557"/>
                <a:gd name="connsiteY2689" fmla="*/ 4247696 h 4837661"/>
                <a:gd name="connsiteX2690" fmla="*/ 2539726 w 10048557"/>
                <a:gd name="connsiteY2690" fmla="*/ 4247696 h 4837661"/>
                <a:gd name="connsiteX2691" fmla="*/ 2527543 w 10048557"/>
                <a:gd name="connsiteY2691" fmla="*/ 4254489 h 4837661"/>
                <a:gd name="connsiteX2692" fmla="*/ 2525281 w 10048557"/>
                <a:gd name="connsiteY2692" fmla="*/ 4262377 h 4837661"/>
                <a:gd name="connsiteX2693" fmla="*/ 2526740 w 10048557"/>
                <a:gd name="connsiteY2693" fmla="*/ 4275415 h 4837661"/>
                <a:gd name="connsiteX2694" fmla="*/ 2532065 w 10048557"/>
                <a:gd name="connsiteY2694" fmla="*/ 4286043 h 4837661"/>
                <a:gd name="connsiteX2695" fmla="*/ 2538412 w 10048557"/>
                <a:gd name="connsiteY2695" fmla="*/ 4291302 h 4837661"/>
                <a:gd name="connsiteX2696" fmla="*/ 2540747 w 10048557"/>
                <a:gd name="connsiteY2696" fmla="*/ 4304230 h 4837661"/>
                <a:gd name="connsiteX2697" fmla="*/ 2536224 w 10048557"/>
                <a:gd name="connsiteY2697" fmla="*/ 4311790 h 4837661"/>
                <a:gd name="connsiteX2698" fmla="*/ 2527104 w 10048557"/>
                <a:gd name="connsiteY2698" fmla="*/ 4325376 h 4837661"/>
                <a:gd name="connsiteX2699" fmla="*/ 2526302 w 10048557"/>
                <a:gd name="connsiteY2699" fmla="*/ 4338194 h 4837661"/>
                <a:gd name="connsiteX2700" fmla="*/ 2511055 w 10048557"/>
                <a:gd name="connsiteY2700" fmla="*/ 4337537 h 4837661"/>
                <a:gd name="connsiteX2701" fmla="*/ 2499674 w 10048557"/>
                <a:gd name="connsiteY2701" fmla="*/ 4329210 h 4837661"/>
                <a:gd name="connsiteX2702" fmla="*/ 2481435 w 10048557"/>
                <a:gd name="connsiteY2702" fmla="*/ 4317816 h 4837661"/>
                <a:gd name="connsiteX2703" fmla="*/ 2460864 w 10048557"/>
                <a:gd name="connsiteY2703" fmla="*/ 4313324 h 4837661"/>
                <a:gd name="connsiteX2704" fmla="*/ 2445690 w 10048557"/>
                <a:gd name="connsiteY2704" fmla="*/ 4323842 h 4837661"/>
                <a:gd name="connsiteX2705" fmla="*/ 2455319 w 10048557"/>
                <a:gd name="connsiteY2705" fmla="*/ 4338961 h 4837661"/>
                <a:gd name="connsiteX2706" fmla="*/ 2469836 w 10048557"/>
                <a:gd name="connsiteY2706" fmla="*/ 4348055 h 4837661"/>
                <a:gd name="connsiteX2707" fmla="*/ 2468305 w 10048557"/>
                <a:gd name="connsiteY2707" fmla="*/ 4363394 h 4837661"/>
                <a:gd name="connsiteX2708" fmla="*/ 2471368 w 10048557"/>
                <a:gd name="connsiteY2708" fmla="*/ 4374788 h 4837661"/>
                <a:gd name="connsiteX2709" fmla="*/ 2481800 w 10048557"/>
                <a:gd name="connsiteY2709" fmla="*/ 4381252 h 4837661"/>
                <a:gd name="connsiteX2710" fmla="*/ 2491430 w 10048557"/>
                <a:gd name="connsiteY2710" fmla="*/ 4383553 h 4837661"/>
                <a:gd name="connsiteX2711" fmla="*/ 2505145 w 10048557"/>
                <a:gd name="connsiteY2711" fmla="*/ 4385525 h 4837661"/>
                <a:gd name="connsiteX2712" fmla="*/ 2502883 w 10048557"/>
                <a:gd name="connsiteY2712" fmla="*/ 4395934 h 4837661"/>
                <a:gd name="connsiteX2713" fmla="*/ 2492524 w 10048557"/>
                <a:gd name="connsiteY2713" fmla="*/ 4401960 h 4837661"/>
                <a:gd name="connsiteX2714" fmla="*/ 2479538 w 10048557"/>
                <a:gd name="connsiteY2714" fmla="*/ 4408314 h 4837661"/>
                <a:gd name="connsiteX2715" fmla="*/ 2480269 w 10048557"/>
                <a:gd name="connsiteY2715" fmla="*/ 4423762 h 4837661"/>
                <a:gd name="connsiteX2716" fmla="*/ 2483770 w 10048557"/>
                <a:gd name="connsiteY2716" fmla="*/ 4430555 h 4837661"/>
                <a:gd name="connsiteX2717" fmla="*/ 2486323 w 10048557"/>
                <a:gd name="connsiteY2717" fmla="*/ 4440306 h 4837661"/>
                <a:gd name="connsiteX2718" fmla="*/ 2470347 w 10048557"/>
                <a:gd name="connsiteY2718" fmla="*/ 4453454 h 4837661"/>
                <a:gd name="connsiteX2719" fmla="*/ 2462687 w 10048557"/>
                <a:gd name="connsiteY2719" fmla="*/ 4473723 h 4837661"/>
                <a:gd name="connsiteX2720" fmla="*/ 2454297 w 10048557"/>
                <a:gd name="connsiteY2720" fmla="*/ 4488514 h 4837661"/>
                <a:gd name="connsiteX2721" fmla="*/ 2451307 w 10048557"/>
                <a:gd name="connsiteY2721" fmla="*/ 4497607 h 4837661"/>
                <a:gd name="connsiteX2722" fmla="*/ 2456048 w 10048557"/>
                <a:gd name="connsiteY2722" fmla="*/ 4509002 h 4837661"/>
                <a:gd name="connsiteX2723" fmla="*/ 2460936 w 10048557"/>
                <a:gd name="connsiteY2723" fmla="*/ 4528394 h 4837661"/>
                <a:gd name="connsiteX2724" fmla="*/ 2472317 w 10048557"/>
                <a:gd name="connsiteY2724" fmla="*/ 4532229 h 4837661"/>
                <a:gd name="connsiteX2725" fmla="*/ 2481874 w 10048557"/>
                <a:gd name="connsiteY2725" fmla="*/ 4544281 h 4837661"/>
                <a:gd name="connsiteX2726" fmla="*/ 2502009 w 10048557"/>
                <a:gd name="connsiteY2726" fmla="*/ 4552827 h 4837661"/>
                <a:gd name="connsiteX2727" fmla="*/ 2513171 w 10048557"/>
                <a:gd name="connsiteY2727" fmla="*/ 4572000 h 4837661"/>
                <a:gd name="connsiteX2728" fmla="*/ 2513899 w 10048557"/>
                <a:gd name="connsiteY2728" fmla="*/ 4585914 h 4837661"/>
                <a:gd name="connsiteX2729" fmla="*/ 2507042 w 10048557"/>
                <a:gd name="connsiteY2729" fmla="*/ 4604759 h 4837661"/>
                <a:gd name="connsiteX2730" fmla="*/ 2500184 w 10048557"/>
                <a:gd name="connsiteY2730" fmla="*/ 4618126 h 4837661"/>
                <a:gd name="connsiteX2731" fmla="*/ 2493328 w 10048557"/>
                <a:gd name="connsiteY2731" fmla="*/ 4636094 h 4837661"/>
                <a:gd name="connsiteX2732" fmla="*/ 2479174 w 10048557"/>
                <a:gd name="connsiteY2732" fmla="*/ 4654500 h 4837661"/>
                <a:gd name="connsiteX2733" fmla="*/ 2473777 w 10048557"/>
                <a:gd name="connsiteY2733" fmla="*/ 4677180 h 4837661"/>
                <a:gd name="connsiteX2734" fmla="*/ 2480123 w 10048557"/>
                <a:gd name="connsiteY2734" fmla="*/ 4693504 h 4837661"/>
                <a:gd name="connsiteX2735" fmla="*/ 2491796 w 10048557"/>
                <a:gd name="connsiteY2735" fmla="*/ 4706871 h 4837661"/>
                <a:gd name="connsiteX2736" fmla="*/ 2497120 w 10048557"/>
                <a:gd name="connsiteY2736" fmla="*/ 4715746 h 4837661"/>
                <a:gd name="connsiteX2737" fmla="*/ 2491284 w 10048557"/>
                <a:gd name="connsiteY2737" fmla="*/ 4727250 h 4837661"/>
                <a:gd name="connsiteX2738" fmla="*/ 2474505 w 10048557"/>
                <a:gd name="connsiteY2738" fmla="*/ 4736124 h 4837661"/>
                <a:gd name="connsiteX2739" fmla="*/ 2467575 w 10048557"/>
                <a:gd name="connsiteY2739" fmla="*/ 4746642 h 4837661"/>
                <a:gd name="connsiteX2740" fmla="*/ 2461885 w 10048557"/>
                <a:gd name="connsiteY2740" fmla="*/ 4753654 h 4837661"/>
                <a:gd name="connsiteX2741" fmla="*/ 2451817 w 10048557"/>
                <a:gd name="connsiteY2741" fmla="*/ 4753106 h 4837661"/>
                <a:gd name="connsiteX2742" fmla="*/ 2425628 w 10048557"/>
                <a:gd name="connsiteY2742" fmla="*/ 4740507 h 4837661"/>
                <a:gd name="connsiteX2743" fmla="*/ 2411182 w 10048557"/>
                <a:gd name="connsiteY2743" fmla="*/ 4743355 h 4837661"/>
                <a:gd name="connsiteX2744" fmla="*/ 2392943 w 10048557"/>
                <a:gd name="connsiteY2744" fmla="*/ 4746094 h 4837661"/>
                <a:gd name="connsiteX2745" fmla="*/ 2390610 w 10048557"/>
                <a:gd name="connsiteY2745" fmla="*/ 4727140 h 4837661"/>
                <a:gd name="connsiteX2746" fmla="*/ 2377186 w 10048557"/>
                <a:gd name="connsiteY2746" fmla="*/ 4709062 h 4837661"/>
                <a:gd name="connsiteX2747" fmla="*/ 2358874 w 10048557"/>
                <a:gd name="connsiteY2747" fmla="*/ 4706762 h 4837661"/>
                <a:gd name="connsiteX2748" fmla="*/ 2345449 w 10048557"/>
                <a:gd name="connsiteY2748" fmla="*/ 4698435 h 4837661"/>
                <a:gd name="connsiteX2749" fmla="*/ 2345449 w 10048557"/>
                <a:gd name="connsiteY2749" fmla="*/ 4684192 h 4837661"/>
                <a:gd name="connsiteX2750" fmla="*/ 2339322 w 10048557"/>
                <a:gd name="connsiteY2750" fmla="*/ 4667538 h 4837661"/>
                <a:gd name="connsiteX2751" fmla="*/ 2325168 w 10048557"/>
                <a:gd name="connsiteY2751" fmla="*/ 4653624 h 4837661"/>
                <a:gd name="connsiteX2752" fmla="*/ 2304522 w 10048557"/>
                <a:gd name="connsiteY2752" fmla="*/ 4641243 h 4837661"/>
                <a:gd name="connsiteX2753" fmla="*/ 2302990 w 10048557"/>
                <a:gd name="connsiteY2753" fmla="*/ 4615606 h 4837661"/>
                <a:gd name="connsiteX2754" fmla="*/ 2302260 w 10048557"/>
                <a:gd name="connsiteY2754" fmla="*/ 4588325 h 4837661"/>
                <a:gd name="connsiteX2755" fmla="*/ 2287815 w 10048557"/>
                <a:gd name="connsiteY2755" fmla="*/ 4564112 h 4837661"/>
                <a:gd name="connsiteX2756" fmla="*/ 2261918 w 10048557"/>
                <a:gd name="connsiteY2756" fmla="*/ 4535625 h 4837661"/>
                <a:gd name="connsiteX2757" fmla="*/ 2239887 w 10048557"/>
                <a:gd name="connsiteY2757" fmla="*/ 4533544 h 4837661"/>
                <a:gd name="connsiteX2758" fmla="*/ 2236166 w 10048557"/>
                <a:gd name="connsiteY2758" fmla="*/ 4522587 h 4837661"/>
                <a:gd name="connsiteX2759" fmla="*/ 2250318 w 10048557"/>
                <a:gd name="connsiteY2759" fmla="*/ 4515028 h 4837661"/>
                <a:gd name="connsiteX2760" fmla="*/ 2264979 w 10048557"/>
                <a:gd name="connsiteY2760" fmla="*/ 4500894 h 4837661"/>
                <a:gd name="connsiteX2761" fmla="*/ 2271035 w 10048557"/>
                <a:gd name="connsiteY2761" fmla="*/ 4485775 h 4837661"/>
                <a:gd name="connsiteX2762" fmla="*/ 2279425 w 10048557"/>
                <a:gd name="connsiteY2762" fmla="*/ 4462986 h 4837661"/>
                <a:gd name="connsiteX2763" fmla="*/ 2275632 w 10048557"/>
                <a:gd name="connsiteY2763" fmla="*/ 4449400 h 4837661"/>
                <a:gd name="connsiteX2764" fmla="*/ 2259876 w 10048557"/>
                <a:gd name="connsiteY2764" fmla="*/ 4434500 h 4837661"/>
                <a:gd name="connsiteX2765" fmla="*/ 2243752 w 10048557"/>
                <a:gd name="connsiteY2765" fmla="*/ 4417408 h 4837661"/>
                <a:gd name="connsiteX2766" fmla="*/ 2241637 w 10048557"/>
                <a:gd name="connsiteY2766" fmla="*/ 4406013 h 4837661"/>
                <a:gd name="connsiteX2767" fmla="*/ 2248567 w 10048557"/>
                <a:gd name="connsiteY2767" fmla="*/ 4391113 h 4837661"/>
                <a:gd name="connsiteX2768" fmla="*/ 2244702 w 10048557"/>
                <a:gd name="connsiteY2768" fmla="*/ 4373254 h 4837661"/>
                <a:gd name="connsiteX2769" fmla="*/ 2230477 w 10048557"/>
                <a:gd name="connsiteY2769" fmla="*/ 4363175 h 4837661"/>
                <a:gd name="connsiteX2770" fmla="*/ 2212456 w 10048557"/>
                <a:gd name="connsiteY2770" fmla="*/ 4345206 h 4837661"/>
                <a:gd name="connsiteX2771" fmla="*/ 2195677 w 10048557"/>
                <a:gd name="connsiteY2771" fmla="*/ 4328772 h 4837661"/>
                <a:gd name="connsiteX2772" fmla="*/ 2186995 w 10048557"/>
                <a:gd name="connsiteY2772" fmla="*/ 4321431 h 4837661"/>
                <a:gd name="connsiteX2773" fmla="*/ 2184441 w 10048557"/>
                <a:gd name="connsiteY2773" fmla="*/ 4302806 h 4837661"/>
                <a:gd name="connsiteX2774" fmla="*/ 2173789 w 10048557"/>
                <a:gd name="connsiteY2774" fmla="*/ 4290425 h 4837661"/>
                <a:gd name="connsiteX2775" fmla="*/ 2181377 w 10048557"/>
                <a:gd name="connsiteY2775" fmla="*/ 4271471 h 4837661"/>
                <a:gd name="connsiteX2776" fmla="*/ 2185974 w 10048557"/>
                <a:gd name="connsiteY2776" fmla="*/ 4254160 h 4837661"/>
                <a:gd name="connsiteX2777" fmla="*/ 2166931 w 10048557"/>
                <a:gd name="connsiteY2777" fmla="*/ 4233672 h 4837661"/>
                <a:gd name="connsiteX2778" fmla="*/ 2159271 w 10048557"/>
                <a:gd name="connsiteY2778" fmla="*/ 4219319 h 4837661"/>
                <a:gd name="connsiteX2779" fmla="*/ 2167660 w 10048557"/>
                <a:gd name="connsiteY2779" fmla="*/ 4179439 h 4837661"/>
                <a:gd name="connsiteX2780" fmla="*/ 2168463 w 10048557"/>
                <a:gd name="connsiteY2780" fmla="*/ 4162785 h 4837661"/>
                <a:gd name="connsiteX2781" fmla="*/ 2169192 w 10048557"/>
                <a:gd name="connsiteY2781" fmla="*/ 4140654 h 4837661"/>
                <a:gd name="connsiteX2782" fmla="*/ 2171454 w 10048557"/>
                <a:gd name="connsiteY2782" fmla="*/ 4089050 h 4837661"/>
                <a:gd name="connsiteX2783" fmla="*/ 2167660 w 10048557"/>
                <a:gd name="connsiteY2783" fmla="*/ 4026161 h 4837661"/>
                <a:gd name="connsiteX2784" fmla="*/ 2152706 w 10048557"/>
                <a:gd name="connsiteY2784" fmla="*/ 3989348 h 4837661"/>
                <a:gd name="connsiteX2785" fmla="*/ 2145556 w 10048557"/>
                <a:gd name="connsiteY2785" fmla="*/ 3954946 h 4837661"/>
                <a:gd name="connsiteX2786" fmla="*/ 2141763 w 10048557"/>
                <a:gd name="connsiteY2786" fmla="*/ 3935334 h 4837661"/>
                <a:gd name="connsiteX2787" fmla="*/ 2138114 w 10048557"/>
                <a:gd name="connsiteY2787" fmla="*/ 3865324 h 4837661"/>
                <a:gd name="connsiteX2788" fmla="*/ 2138114 w 10048557"/>
                <a:gd name="connsiteY2788" fmla="*/ 3838043 h 4837661"/>
                <a:gd name="connsiteX2789" fmla="*/ 2145046 w 10048557"/>
                <a:gd name="connsiteY2789" fmla="*/ 3811529 h 4837661"/>
                <a:gd name="connsiteX2790" fmla="*/ 2145046 w 10048557"/>
                <a:gd name="connsiteY2790" fmla="*/ 3784577 h 4837661"/>
                <a:gd name="connsiteX2791" fmla="*/ 2142711 w 10048557"/>
                <a:gd name="connsiteY2791" fmla="*/ 3753242 h 4837661"/>
                <a:gd name="connsiteX2792" fmla="*/ 2132060 w 10048557"/>
                <a:gd name="connsiteY2792" fmla="*/ 3736589 h 4837661"/>
                <a:gd name="connsiteX2793" fmla="*/ 2132789 w 10048557"/>
                <a:gd name="connsiteY2793" fmla="*/ 3706349 h 4837661"/>
                <a:gd name="connsiteX2794" fmla="*/ 2138916 w 10048557"/>
                <a:gd name="connsiteY2794" fmla="*/ 3675015 h 4837661"/>
                <a:gd name="connsiteX2795" fmla="*/ 2141981 w 10048557"/>
                <a:gd name="connsiteY2795" fmla="*/ 3644995 h 4837661"/>
                <a:gd name="connsiteX2796" fmla="*/ 2139647 w 10048557"/>
                <a:gd name="connsiteY2796" fmla="*/ 3617056 h 4837661"/>
                <a:gd name="connsiteX2797" fmla="*/ 2130236 w 10048557"/>
                <a:gd name="connsiteY2797" fmla="*/ 3583968 h 4837661"/>
                <a:gd name="connsiteX2798" fmla="*/ 2128268 w 10048557"/>
                <a:gd name="connsiteY2798" fmla="*/ 3554715 h 4837661"/>
                <a:gd name="connsiteX2799" fmla="*/ 2127464 w 10048557"/>
                <a:gd name="connsiteY2799" fmla="*/ 3547156 h 4837661"/>
                <a:gd name="connsiteX2800" fmla="*/ 2107765 w 10048557"/>
                <a:gd name="connsiteY2800" fmla="*/ 3512643 h 4837661"/>
                <a:gd name="connsiteX2801" fmla="*/ 2094344 w 10048557"/>
                <a:gd name="connsiteY2801" fmla="*/ 3485472 h 4837661"/>
                <a:gd name="connsiteX2802" fmla="*/ 2076542 w 10048557"/>
                <a:gd name="connsiteY2802" fmla="*/ 3471886 h 4837661"/>
                <a:gd name="connsiteX2803" fmla="*/ 2054655 w 10048557"/>
                <a:gd name="connsiteY2803" fmla="*/ 3458958 h 4837661"/>
                <a:gd name="connsiteX2804" fmla="*/ 2036417 w 10048557"/>
                <a:gd name="connsiteY2804" fmla="*/ 3440113 h 4837661"/>
                <a:gd name="connsiteX2805" fmla="*/ 2002493 w 10048557"/>
                <a:gd name="connsiteY2805" fmla="*/ 3428609 h 4837661"/>
                <a:gd name="connsiteX2806" fmla="*/ 1986736 w 10048557"/>
                <a:gd name="connsiteY2806" fmla="*/ 3418749 h 4837661"/>
                <a:gd name="connsiteX2807" fmla="*/ 1945517 w 10048557"/>
                <a:gd name="connsiteY2807" fmla="*/ 3401219 h 4837661"/>
                <a:gd name="connsiteX2808" fmla="*/ 1926184 w 10048557"/>
                <a:gd name="connsiteY2808" fmla="*/ 3391139 h 4837661"/>
                <a:gd name="connsiteX2809" fmla="*/ 1917065 w 10048557"/>
                <a:gd name="connsiteY2809" fmla="*/ 3363639 h 4837661"/>
                <a:gd name="connsiteX2810" fmla="*/ 1906633 w 10048557"/>
                <a:gd name="connsiteY2810" fmla="*/ 3346547 h 4837661"/>
                <a:gd name="connsiteX2811" fmla="*/ 1897440 w 10048557"/>
                <a:gd name="connsiteY2811" fmla="*/ 3319704 h 4837661"/>
                <a:gd name="connsiteX2812" fmla="*/ 1887811 w 10048557"/>
                <a:gd name="connsiteY2812" fmla="*/ 3302503 h 4837661"/>
                <a:gd name="connsiteX2813" fmla="*/ 1875846 w 10048557"/>
                <a:gd name="connsiteY2813" fmla="*/ 3287603 h 4837661"/>
                <a:gd name="connsiteX2814" fmla="*/ 1858191 w 10048557"/>
                <a:gd name="connsiteY2814" fmla="*/ 3268758 h 4837661"/>
                <a:gd name="connsiteX2815" fmla="*/ 1850021 w 10048557"/>
                <a:gd name="connsiteY2815" fmla="*/ 3255830 h 4837661"/>
                <a:gd name="connsiteX2816" fmla="*/ 1842141 w 10048557"/>
                <a:gd name="connsiteY2816" fmla="*/ 3238957 h 4837661"/>
                <a:gd name="connsiteX2817" fmla="*/ 1830761 w 10048557"/>
                <a:gd name="connsiteY2817" fmla="*/ 3232164 h 4837661"/>
                <a:gd name="connsiteX2818" fmla="*/ 1826457 w 10048557"/>
                <a:gd name="connsiteY2818" fmla="*/ 3223071 h 4837661"/>
                <a:gd name="connsiteX2819" fmla="*/ 1819599 w 10048557"/>
                <a:gd name="connsiteY2819" fmla="*/ 3206746 h 4837661"/>
                <a:gd name="connsiteX2820" fmla="*/ 1815222 w 10048557"/>
                <a:gd name="connsiteY2820" fmla="*/ 3193818 h 4837661"/>
                <a:gd name="connsiteX2821" fmla="*/ 1803038 w 10048557"/>
                <a:gd name="connsiteY2821" fmla="*/ 3155799 h 4837661"/>
                <a:gd name="connsiteX2822" fmla="*/ 1793920 w 10048557"/>
                <a:gd name="connsiteY2822" fmla="*/ 3133558 h 4837661"/>
                <a:gd name="connsiteX2823" fmla="*/ 1784071 w 10048557"/>
                <a:gd name="connsiteY2823" fmla="*/ 3116138 h 4837661"/>
                <a:gd name="connsiteX2824" fmla="*/ 1775754 w 10048557"/>
                <a:gd name="connsiteY2824" fmla="*/ 3098718 h 4837661"/>
                <a:gd name="connsiteX2825" fmla="*/ 1769698 w 10048557"/>
                <a:gd name="connsiteY2825" fmla="*/ 3090500 h 4837661"/>
                <a:gd name="connsiteX2826" fmla="*/ 1755692 w 10048557"/>
                <a:gd name="connsiteY2826" fmla="*/ 3083708 h 4837661"/>
                <a:gd name="connsiteX2827" fmla="*/ 1747959 w 10048557"/>
                <a:gd name="connsiteY2827" fmla="*/ 3067492 h 4837661"/>
                <a:gd name="connsiteX2828" fmla="*/ 1734462 w 10048557"/>
                <a:gd name="connsiteY2828" fmla="*/ 3064534 h 4837661"/>
                <a:gd name="connsiteX2829" fmla="*/ 1725562 w 10048557"/>
                <a:gd name="connsiteY2829" fmla="*/ 3053687 h 4837661"/>
                <a:gd name="connsiteX2830" fmla="*/ 1715421 w 10048557"/>
                <a:gd name="connsiteY2830" fmla="*/ 3041307 h 4837661"/>
                <a:gd name="connsiteX2831" fmla="*/ 1711627 w 10048557"/>
                <a:gd name="connsiteY2831" fmla="*/ 3023996 h 4837661"/>
                <a:gd name="connsiteX2832" fmla="*/ 1708637 w 10048557"/>
                <a:gd name="connsiteY2832" fmla="*/ 3011944 h 4837661"/>
                <a:gd name="connsiteX2833" fmla="*/ 1705864 w 10048557"/>
                <a:gd name="connsiteY2833" fmla="*/ 3000879 h 4837661"/>
                <a:gd name="connsiteX2834" fmla="*/ 1714254 w 10048557"/>
                <a:gd name="connsiteY2834" fmla="*/ 2988717 h 4837661"/>
                <a:gd name="connsiteX2835" fmla="*/ 1725416 w 10048557"/>
                <a:gd name="connsiteY2835" fmla="*/ 2973050 h 4837661"/>
                <a:gd name="connsiteX2836" fmla="*/ 1729939 w 10048557"/>
                <a:gd name="connsiteY2836" fmla="*/ 2959464 h 4837661"/>
                <a:gd name="connsiteX2837" fmla="*/ 1735994 w 10048557"/>
                <a:gd name="connsiteY2837" fmla="*/ 2951685 h 4837661"/>
                <a:gd name="connsiteX2838" fmla="*/ 1749783 w 10048557"/>
                <a:gd name="connsiteY2838" fmla="*/ 2938538 h 4837661"/>
                <a:gd name="connsiteX2839" fmla="*/ 1753502 w 10048557"/>
                <a:gd name="connsiteY2839" fmla="*/ 2925719 h 4837661"/>
                <a:gd name="connsiteX2840" fmla="*/ 1745405 w 10048557"/>
                <a:gd name="connsiteY2840" fmla="*/ 2921227 h 4837661"/>
                <a:gd name="connsiteX2841" fmla="*/ 1731398 w 10048557"/>
                <a:gd name="connsiteY2841" fmla="*/ 2918378 h 4837661"/>
                <a:gd name="connsiteX2842" fmla="*/ 1722862 w 10048557"/>
                <a:gd name="connsiteY2842" fmla="*/ 2914105 h 4837661"/>
                <a:gd name="connsiteX2843" fmla="*/ 1718485 w 10048557"/>
                <a:gd name="connsiteY2843" fmla="*/ 2901286 h 4837661"/>
                <a:gd name="connsiteX2844" fmla="*/ 1715495 w 10048557"/>
                <a:gd name="connsiteY2844" fmla="*/ 2889892 h 4837661"/>
                <a:gd name="connsiteX2845" fmla="*/ 1723082 w 10048557"/>
                <a:gd name="connsiteY2845" fmla="*/ 2873019 h 4837661"/>
                <a:gd name="connsiteX2846" fmla="*/ 1732346 w 10048557"/>
                <a:gd name="connsiteY2846" fmla="*/ 2855928 h 4837661"/>
                <a:gd name="connsiteX2847" fmla="*/ 1739715 w 10048557"/>
                <a:gd name="connsiteY2847" fmla="*/ 2840808 h 4837661"/>
                <a:gd name="connsiteX2848" fmla="*/ 1758537 w 10048557"/>
                <a:gd name="connsiteY2848" fmla="*/ 2812322 h 4837661"/>
                <a:gd name="connsiteX2849" fmla="*/ 1766926 w 10048557"/>
                <a:gd name="connsiteY2849" fmla="*/ 2795230 h 4837661"/>
                <a:gd name="connsiteX2850" fmla="*/ 1769918 w 10048557"/>
                <a:gd name="connsiteY2850" fmla="*/ 2787890 h 4837661"/>
                <a:gd name="connsiteX2851" fmla="*/ 1786478 w 10048557"/>
                <a:gd name="connsiteY2851" fmla="*/ 2777919 h 4837661"/>
                <a:gd name="connsiteX2852" fmla="*/ 1798880 w 10048557"/>
                <a:gd name="connsiteY2852" fmla="*/ 2768278 h 4837661"/>
                <a:gd name="connsiteX2853" fmla="*/ 1803476 w 10048557"/>
                <a:gd name="connsiteY2853" fmla="*/ 2757979 h 4837661"/>
                <a:gd name="connsiteX2854" fmla="*/ 1805008 w 10048557"/>
                <a:gd name="connsiteY2854" fmla="*/ 2748119 h 4837661"/>
                <a:gd name="connsiteX2855" fmla="*/ 1816972 w 10048557"/>
                <a:gd name="connsiteY2855" fmla="*/ 2737820 h 4837661"/>
                <a:gd name="connsiteX2856" fmla="*/ 1830397 w 10048557"/>
                <a:gd name="connsiteY2856" fmla="*/ 2723686 h 4837661"/>
                <a:gd name="connsiteX2857" fmla="*/ 1831928 w 10048557"/>
                <a:gd name="connsiteY2857" fmla="*/ 2705499 h 4837661"/>
                <a:gd name="connsiteX2858" fmla="*/ 1844184 w 10048557"/>
                <a:gd name="connsiteY2858" fmla="*/ 2677451 h 4837661"/>
                <a:gd name="connsiteX2859" fmla="*/ 1844914 w 10048557"/>
                <a:gd name="connsiteY2859" fmla="*/ 2650937 h 4837661"/>
                <a:gd name="connsiteX2860" fmla="*/ 1838275 w 10048557"/>
                <a:gd name="connsiteY2860" fmla="*/ 2632750 h 4837661"/>
                <a:gd name="connsiteX2861" fmla="*/ 1835284 w 10048557"/>
                <a:gd name="connsiteY2861" fmla="*/ 2615329 h 4837661"/>
                <a:gd name="connsiteX2862" fmla="*/ 1835284 w 10048557"/>
                <a:gd name="connsiteY2862" fmla="*/ 2597251 h 4837661"/>
                <a:gd name="connsiteX2863" fmla="*/ 1833752 w 10048557"/>
                <a:gd name="connsiteY2863" fmla="*/ 2585200 h 4837661"/>
                <a:gd name="connsiteX2864" fmla="*/ 1825362 w 10048557"/>
                <a:gd name="connsiteY2864" fmla="*/ 2568546 h 4837661"/>
                <a:gd name="connsiteX2865" fmla="*/ 1814784 w 10048557"/>
                <a:gd name="connsiteY2865" fmla="*/ 2556494 h 4837661"/>
                <a:gd name="connsiteX2866" fmla="*/ 1821642 w 10048557"/>
                <a:gd name="connsiteY2866" fmla="*/ 2545209 h 4837661"/>
                <a:gd name="connsiteX2867" fmla="*/ 1826676 w 10048557"/>
                <a:gd name="connsiteY2867" fmla="*/ 2530638 h 4837661"/>
                <a:gd name="connsiteX2868" fmla="*/ 1812303 w 10048557"/>
                <a:gd name="connsiteY2868" fmla="*/ 2518476 h 4837661"/>
                <a:gd name="connsiteX2869" fmla="*/ 1799245 w 10048557"/>
                <a:gd name="connsiteY2869" fmla="*/ 2509273 h 4837661"/>
                <a:gd name="connsiteX2870" fmla="*/ 1784873 w 10048557"/>
                <a:gd name="connsiteY2870" fmla="*/ 2505000 h 4837661"/>
                <a:gd name="connsiteX2871" fmla="*/ 1776482 w 10048557"/>
                <a:gd name="connsiteY2871" fmla="*/ 2507958 h 4837661"/>
                <a:gd name="connsiteX2872" fmla="*/ 1775887 w 10048557"/>
                <a:gd name="connsiteY2872" fmla="*/ 2507170 h 4837661"/>
                <a:gd name="connsiteX2873" fmla="*/ 1776850 w 10048557"/>
                <a:gd name="connsiteY2873" fmla="*/ 2508556 h 4837661"/>
                <a:gd name="connsiteX2874" fmla="*/ 1765467 w 10048557"/>
                <a:gd name="connsiteY2874" fmla="*/ 2515301 h 4837661"/>
                <a:gd name="connsiteX2875" fmla="*/ 1754753 w 10048557"/>
                <a:gd name="connsiteY2875" fmla="*/ 2523706 h 4837661"/>
                <a:gd name="connsiteX2876" fmla="*/ 1740291 w 10048557"/>
                <a:gd name="connsiteY2876" fmla="*/ 2534291 h 4837661"/>
                <a:gd name="connsiteX2877" fmla="*/ 1745379 w 10048557"/>
                <a:gd name="connsiteY2877" fmla="*/ 2547055 h 4837661"/>
                <a:gd name="connsiteX2878" fmla="*/ 1739486 w 10048557"/>
                <a:gd name="connsiteY2878" fmla="*/ 2554423 h 4837661"/>
                <a:gd name="connsiteX2879" fmla="*/ 1722747 w 10048557"/>
                <a:gd name="connsiteY2879" fmla="*/ 2551414 h 4837661"/>
                <a:gd name="connsiteX2880" fmla="*/ 1704667 w 10048557"/>
                <a:gd name="connsiteY2880" fmla="*/ 2545084 h 4837661"/>
                <a:gd name="connsiteX2881" fmla="*/ 1696365 w 10048557"/>
                <a:gd name="connsiteY2881" fmla="*/ 2539999 h 4837661"/>
                <a:gd name="connsiteX2882" fmla="*/ 1680562 w 10048557"/>
                <a:gd name="connsiteY2882" fmla="*/ 2532735 h 4837661"/>
                <a:gd name="connsiteX2883" fmla="*/ 1665296 w 10048557"/>
                <a:gd name="connsiteY2883" fmla="*/ 2524329 h 4837661"/>
                <a:gd name="connsiteX2884" fmla="*/ 1646547 w 10048557"/>
                <a:gd name="connsiteY2884" fmla="*/ 2522876 h 4837661"/>
                <a:gd name="connsiteX2885" fmla="*/ 1631012 w 10048557"/>
                <a:gd name="connsiteY2885" fmla="*/ 2510527 h 4837661"/>
                <a:gd name="connsiteX2886" fmla="*/ 1619629 w 10048557"/>
                <a:gd name="connsiteY2886" fmla="*/ 2500876 h 4837661"/>
                <a:gd name="connsiteX2887" fmla="*/ 1610387 w 10048557"/>
                <a:gd name="connsiteY2887" fmla="*/ 2487282 h 4837661"/>
                <a:gd name="connsiteX2888" fmla="*/ 1593916 w 10048557"/>
                <a:gd name="connsiteY2888" fmla="*/ 2476386 h 4837661"/>
                <a:gd name="connsiteX2889" fmla="*/ 1576507 w 10048557"/>
                <a:gd name="connsiteY2889" fmla="*/ 2473377 h 4837661"/>
                <a:gd name="connsiteX2890" fmla="*/ 1564454 w 10048557"/>
                <a:gd name="connsiteY2890" fmla="*/ 2458537 h 4837661"/>
                <a:gd name="connsiteX2891" fmla="*/ 1562044 w 10048557"/>
                <a:gd name="connsiteY2891" fmla="*/ 2440896 h 4837661"/>
                <a:gd name="connsiteX2892" fmla="*/ 1560570 w 10048557"/>
                <a:gd name="connsiteY2892" fmla="*/ 2428028 h 4837661"/>
                <a:gd name="connsiteX2893" fmla="*/ 1551999 w 10048557"/>
                <a:gd name="connsiteY2893" fmla="*/ 2413603 h 4837661"/>
                <a:gd name="connsiteX2894" fmla="*/ 1540081 w 10048557"/>
                <a:gd name="connsiteY2894" fmla="*/ 2400217 h 4837661"/>
                <a:gd name="connsiteX2895" fmla="*/ 1530171 w 10048557"/>
                <a:gd name="connsiteY2895" fmla="*/ 2387453 h 4837661"/>
                <a:gd name="connsiteX2896" fmla="*/ 1525617 w 10048557"/>
                <a:gd name="connsiteY2896" fmla="*/ 2373340 h 4837661"/>
                <a:gd name="connsiteX2897" fmla="*/ 1521867 w 10048557"/>
                <a:gd name="connsiteY2897" fmla="*/ 2357981 h 4837661"/>
                <a:gd name="connsiteX2898" fmla="*/ 1517984 w 10048557"/>
                <a:gd name="connsiteY2898" fmla="*/ 2341378 h 4837661"/>
                <a:gd name="connsiteX2899" fmla="*/ 1505395 w 10048557"/>
                <a:gd name="connsiteY2899" fmla="*/ 2339821 h 4837661"/>
                <a:gd name="connsiteX2900" fmla="*/ 1494013 w 10048557"/>
                <a:gd name="connsiteY2900" fmla="*/ 2348123 h 4837661"/>
                <a:gd name="connsiteX2901" fmla="*/ 1473389 w 10048557"/>
                <a:gd name="connsiteY2901" fmla="*/ 2347604 h 4837661"/>
                <a:gd name="connsiteX2902" fmla="*/ 1456649 w 10048557"/>
                <a:gd name="connsiteY2902" fmla="*/ 2344595 h 4837661"/>
                <a:gd name="connsiteX2903" fmla="*/ 1440311 w 10048557"/>
                <a:gd name="connsiteY2903" fmla="*/ 2335774 h 4837661"/>
                <a:gd name="connsiteX2904" fmla="*/ 1422365 w 10048557"/>
                <a:gd name="connsiteY2904" fmla="*/ 2328199 h 4837661"/>
                <a:gd name="connsiteX2905" fmla="*/ 1409375 w 10048557"/>
                <a:gd name="connsiteY2905" fmla="*/ 2320416 h 4837661"/>
                <a:gd name="connsiteX2906" fmla="*/ 1392636 w 10048557"/>
                <a:gd name="connsiteY2906" fmla="*/ 2313567 h 4837661"/>
                <a:gd name="connsiteX2907" fmla="*/ 1376699 w 10048557"/>
                <a:gd name="connsiteY2907" fmla="*/ 2304746 h 4837661"/>
                <a:gd name="connsiteX2908" fmla="*/ 1363709 w 10048557"/>
                <a:gd name="connsiteY2908" fmla="*/ 2291359 h 4837661"/>
                <a:gd name="connsiteX2909" fmla="*/ 1352995 w 10048557"/>
                <a:gd name="connsiteY2909" fmla="*/ 2273925 h 4837661"/>
                <a:gd name="connsiteX2910" fmla="*/ 1339336 w 10048557"/>
                <a:gd name="connsiteY2910" fmla="*/ 2263756 h 4837661"/>
                <a:gd name="connsiteX2911" fmla="*/ 1316436 w 10048557"/>
                <a:gd name="connsiteY2911" fmla="*/ 2250369 h 4837661"/>
                <a:gd name="connsiteX2912" fmla="*/ 1298222 w 10048557"/>
                <a:gd name="connsiteY2912" fmla="*/ 2239680 h 4837661"/>
                <a:gd name="connsiteX2913" fmla="*/ 1279072 w 10048557"/>
                <a:gd name="connsiteY2913" fmla="*/ 2239680 h 4837661"/>
                <a:gd name="connsiteX2914" fmla="*/ 1264609 w 10048557"/>
                <a:gd name="connsiteY2914" fmla="*/ 2244973 h 4837661"/>
                <a:gd name="connsiteX2915" fmla="*/ 1243315 w 10048557"/>
                <a:gd name="connsiteY2915" fmla="*/ 2253275 h 4837661"/>
                <a:gd name="connsiteX2916" fmla="*/ 1233673 w 10048557"/>
                <a:gd name="connsiteY2916" fmla="*/ 2256076 h 4837661"/>
                <a:gd name="connsiteX2917" fmla="*/ 1224300 w 10048557"/>
                <a:gd name="connsiteY2917" fmla="*/ 2260642 h 4837661"/>
                <a:gd name="connsiteX2918" fmla="*/ 1211577 w 10048557"/>
                <a:gd name="connsiteY2918" fmla="*/ 2254831 h 4837661"/>
                <a:gd name="connsiteX2919" fmla="*/ 1197649 w 10048557"/>
                <a:gd name="connsiteY2919" fmla="*/ 2249331 h 4837661"/>
                <a:gd name="connsiteX2920" fmla="*/ 1184123 w 10048557"/>
                <a:gd name="connsiteY2920" fmla="*/ 2242690 h 4837661"/>
                <a:gd name="connsiteX2921" fmla="*/ 1165911 w 10048557"/>
                <a:gd name="connsiteY2921" fmla="*/ 2234388 h 4837661"/>
                <a:gd name="connsiteX2922" fmla="*/ 1139261 w 10048557"/>
                <a:gd name="connsiteY2922" fmla="*/ 2222350 h 4837661"/>
                <a:gd name="connsiteX2923" fmla="*/ 1121181 w 10048557"/>
                <a:gd name="connsiteY2923" fmla="*/ 2213530 h 4837661"/>
                <a:gd name="connsiteX2924" fmla="*/ 1103638 w 10048557"/>
                <a:gd name="connsiteY2924" fmla="*/ 2203671 h 4837661"/>
                <a:gd name="connsiteX2925" fmla="*/ 1083416 w 10048557"/>
                <a:gd name="connsiteY2925" fmla="*/ 2192360 h 4837661"/>
                <a:gd name="connsiteX2926" fmla="*/ 1061320 w 10048557"/>
                <a:gd name="connsiteY2926" fmla="*/ 2181775 h 4837661"/>
                <a:gd name="connsiteX2927" fmla="*/ 1044579 w 10048557"/>
                <a:gd name="connsiteY2927" fmla="*/ 2169738 h 4837661"/>
                <a:gd name="connsiteX2928" fmla="*/ 1016591 w 10048557"/>
                <a:gd name="connsiteY2928" fmla="*/ 2162162 h 4837661"/>
                <a:gd name="connsiteX2929" fmla="*/ 1004405 w 10048557"/>
                <a:gd name="connsiteY2929" fmla="*/ 2155521 h 4837661"/>
                <a:gd name="connsiteX2930" fmla="*/ 993288 w 10048557"/>
                <a:gd name="connsiteY2930" fmla="*/ 2140474 h 4837661"/>
                <a:gd name="connsiteX2931" fmla="*/ 976549 w 10048557"/>
                <a:gd name="connsiteY2931" fmla="*/ 2123040 h 4837661"/>
                <a:gd name="connsiteX2932" fmla="*/ 964762 w 10048557"/>
                <a:gd name="connsiteY2932" fmla="*/ 2114738 h 4837661"/>
                <a:gd name="connsiteX2933" fmla="*/ 956462 w 10048557"/>
                <a:gd name="connsiteY2933" fmla="*/ 2107266 h 4837661"/>
                <a:gd name="connsiteX2934" fmla="*/ 954184 w 10048557"/>
                <a:gd name="connsiteY2934" fmla="*/ 2095021 h 4837661"/>
                <a:gd name="connsiteX2935" fmla="*/ 960746 w 10048557"/>
                <a:gd name="connsiteY2935" fmla="*/ 2080078 h 4837661"/>
                <a:gd name="connsiteX2936" fmla="*/ 967442 w 10048557"/>
                <a:gd name="connsiteY2936" fmla="*/ 2063578 h 4837661"/>
                <a:gd name="connsiteX2937" fmla="*/ 968245 w 10048557"/>
                <a:gd name="connsiteY2937" fmla="*/ 2042616 h 4837661"/>
                <a:gd name="connsiteX2938" fmla="*/ 963289 w 10048557"/>
                <a:gd name="connsiteY2938" fmla="*/ 2019682 h 4837661"/>
                <a:gd name="connsiteX2939" fmla="*/ 956326 w 10048557"/>
                <a:gd name="connsiteY2939" fmla="*/ 1995711 h 4837661"/>
                <a:gd name="connsiteX2940" fmla="*/ 946685 w 10048557"/>
                <a:gd name="connsiteY2940" fmla="*/ 1981390 h 4837661"/>
                <a:gd name="connsiteX2941" fmla="*/ 937578 w 10048557"/>
                <a:gd name="connsiteY2941" fmla="*/ 1966239 h 4837661"/>
                <a:gd name="connsiteX2942" fmla="*/ 930213 w 10048557"/>
                <a:gd name="connsiteY2942" fmla="*/ 1947871 h 4837661"/>
                <a:gd name="connsiteX2943" fmla="*/ 914945 w 10048557"/>
                <a:gd name="connsiteY2943" fmla="*/ 1938013 h 4837661"/>
                <a:gd name="connsiteX2944" fmla="*/ 905036 w 10048557"/>
                <a:gd name="connsiteY2944" fmla="*/ 1920372 h 4837661"/>
                <a:gd name="connsiteX2945" fmla="*/ 887357 w 10048557"/>
                <a:gd name="connsiteY2945" fmla="*/ 1902004 h 4837661"/>
                <a:gd name="connsiteX2946" fmla="*/ 871286 w 10048557"/>
                <a:gd name="connsiteY2946" fmla="*/ 1892872 h 4837661"/>
                <a:gd name="connsiteX2947" fmla="*/ 875038 w 10048557"/>
                <a:gd name="connsiteY2947" fmla="*/ 1880108 h 4837661"/>
                <a:gd name="connsiteX2948" fmla="*/ 880929 w 10048557"/>
                <a:gd name="connsiteY2948" fmla="*/ 1873985 h 4837661"/>
                <a:gd name="connsiteX2949" fmla="*/ 878519 w 10048557"/>
                <a:gd name="connsiteY2949" fmla="*/ 1855202 h 4837661"/>
                <a:gd name="connsiteX2950" fmla="*/ 861914 w 10048557"/>
                <a:gd name="connsiteY2950" fmla="*/ 1840882 h 4837661"/>
                <a:gd name="connsiteX2951" fmla="*/ 852270 w 10048557"/>
                <a:gd name="connsiteY2951" fmla="*/ 1827495 h 4837661"/>
                <a:gd name="connsiteX2952" fmla="*/ 841558 w 10048557"/>
                <a:gd name="connsiteY2952" fmla="*/ 1810372 h 4837661"/>
                <a:gd name="connsiteX2953" fmla="*/ 832183 w 10048557"/>
                <a:gd name="connsiteY2953" fmla="*/ 1791486 h 4837661"/>
                <a:gd name="connsiteX2954" fmla="*/ 819996 w 10048557"/>
                <a:gd name="connsiteY2954" fmla="*/ 1770316 h 4837661"/>
                <a:gd name="connsiteX2955" fmla="*/ 814639 w 10048557"/>
                <a:gd name="connsiteY2955" fmla="*/ 1749354 h 4837661"/>
                <a:gd name="connsiteX2956" fmla="*/ 806335 w 10048557"/>
                <a:gd name="connsiteY2956" fmla="*/ 1731401 h 4837661"/>
                <a:gd name="connsiteX2957" fmla="*/ 809015 w 10048557"/>
                <a:gd name="connsiteY2957" fmla="*/ 1710335 h 4837661"/>
                <a:gd name="connsiteX2958" fmla="*/ 803790 w 10048557"/>
                <a:gd name="connsiteY2958" fmla="*/ 1692902 h 4837661"/>
                <a:gd name="connsiteX2959" fmla="*/ 781695 w 10048557"/>
                <a:gd name="connsiteY2959" fmla="*/ 1683147 h 4837661"/>
                <a:gd name="connsiteX2960" fmla="*/ 768571 w 10048557"/>
                <a:gd name="connsiteY2960" fmla="*/ 1680449 h 4837661"/>
                <a:gd name="connsiteX2961" fmla="*/ 757589 w 10048557"/>
                <a:gd name="connsiteY2961" fmla="*/ 1684185 h 4837661"/>
                <a:gd name="connsiteX2962" fmla="*/ 747679 w 10048557"/>
                <a:gd name="connsiteY2962" fmla="*/ 1694562 h 4837661"/>
                <a:gd name="connsiteX2963" fmla="*/ 741652 w 10048557"/>
                <a:gd name="connsiteY2963" fmla="*/ 1712722 h 4837661"/>
                <a:gd name="connsiteX2964" fmla="*/ 743125 w 10048557"/>
                <a:gd name="connsiteY2964" fmla="*/ 1729845 h 4837661"/>
                <a:gd name="connsiteX2965" fmla="*/ 756115 w 10048557"/>
                <a:gd name="connsiteY2965" fmla="*/ 1756307 h 4837661"/>
                <a:gd name="connsiteX2966" fmla="*/ 766025 w 10048557"/>
                <a:gd name="connsiteY2966" fmla="*/ 1792108 h 4837661"/>
                <a:gd name="connsiteX2967" fmla="*/ 780222 w 10048557"/>
                <a:gd name="connsiteY2967" fmla="*/ 1821165 h 4837661"/>
                <a:gd name="connsiteX2968" fmla="*/ 792409 w 10048557"/>
                <a:gd name="connsiteY2968" fmla="*/ 1846900 h 4837661"/>
                <a:gd name="connsiteX2969" fmla="*/ 793211 w 10048557"/>
                <a:gd name="connsiteY2969" fmla="*/ 1856759 h 4837661"/>
                <a:gd name="connsiteX2970" fmla="*/ 793882 w 10048557"/>
                <a:gd name="connsiteY2970" fmla="*/ 1874919 h 4837661"/>
                <a:gd name="connsiteX2971" fmla="*/ 796023 w 10048557"/>
                <a:gd name="connsiteY2971" fmla="*/ 1887476 h 4837661"/>
                <a:gd name="connsiteX2972" fmla="*/ 804325 w 10048557"/>
                <a:gd name="connsiteY2972" fmla="*/ 1896504 h 4837661"/>
                <a:gd name="connsiteX2973" fmla="*/ 807942 w 10048557"/>
                <a:gd name="connsiteY2973" fmla="*/ 1909890 h 4837661"/>
                <a:gd name="connsiteX2974" fmla="*/ 807942 w 10048557"/>
                <a:gd name="connsiteY2974" fmla="*/ 1925041 h 4837661"/>
                <a:gd name="connsiteX2975" fmla="*/ 810085 w 10048557"/>
                <a:gd name="connsiteY2975" fmla="*/ 1936456 h 4837661"/>
                <a:gd name="connsiteX2976" fmla="*/ 814639 w 10048557"/>
                <a:gd name="connsiteY2976" fmla="*/ 1946937 h 4837661"/>
                <a:gd name="connsiteX2977" fmla="*/ 825887 w 10048557"/>
                <a:gd name="connsiteY2977" fmla="*/ 1964579 h 4837661"/>
                <a:gd name="connsiteX2978" fmla="*/ 833388 w 10048557"/>
                <a:gd name="connsiteY2978" fmla="*/ 1977965 h 4837661"/>
                <a:gd name="connsiteX2979" fmla="*/ 835799 w 10048557"/>
                <a:gd name="connsiteY2979" fmla="*/ 1987928 h 4837661"/>
                <a:gd name="connsiteX2980" fmla="*/ 825620 w 10048557"/>
                <a:gd name="connsiteY2980" fmla="*/ 1983154 h 4837661"/>
                <a:gd name="connsiteX2981" fmla="*/ 813433 w 10048557"/>
                <a:gd name="connsiteY2981" fmla="*/ 1970494 h 4837661"/>
                <a:gd name="connsiteX2982" fmla="*/ 801246 w 10048557"/>
                <a:gd name="connsiteY2982" fmla="*/ 1956900 h 4837661"/>
                <a:gd name="connsiteX2983" fmla="*/ 786916 w 10048557"/>
                <a:gd name="connsiteY2983" fmla="*/ 1941126 h 4837661"/>
                <a:gd name="connsiteX2984" fmla="*/ 774731 w 10048557"/>
                <a:gd name="connsiteY2984" fmla="*/ 1928466 h 4837661"/>
                <a:gd name="connsiteX2985" fmla="*/ 774731 w 10048557"/>
                <a:gd name="connsiteY2985" fmla="*/ 1919230 h 4837661"/>
                <a:gd name="connsiteX2986" fmla="*/ 777543 w 10048557"/>
                <a:gd name="connsiteY2986" fmla="*/ 1911966 h 4837661"/>
                <a:gd name="connsiteX2987" fmla="*/ 783301 w 10048557"/>
                <a:gd name="connsiteY2987" fmla="*/ 1898579 h 4837661"/>
                <a:gd name="connsiteX2988" fmla="*/ 781024 w 10048557"/>
                <a:gd name="connsiteY2988" fmla="*/ 1883740 h 4837661"/>
                <a:gd name="connsiteX2989" fmla="*/ 764017 w 10048557"/>
                <a:gd name="connsiteY2989" fmla="*/ 1865061 h 4837661"/>
                <a:gd name="connsiteX2990" fmla="*/ 749554 w 10048557"/>
                <a:gd name="connsiteY2990" fmla="*/ 1856344 h 4837661"/>
                <a:gd name="connsiteX2991" fmla="*/ 743661 w 10048557"/>
                <a:gd name="connsiteY2991" fmla="*/ 1847731 h 4837661"/>
                <a:gd name="connsiteX2992" fmla="*/ 741652 w 10048557"/>
                <a:gd name="connsiteY2992" fmla="*/ 1838910 h 4837661"/>
                <a:gd name="connsiteX2993" fmla="*/ 729064 w 10048557"/>
                <a:gd name="connsiteY2993" fmla="*/ 1830089 h 4837661"/>
                <a:gd name="connsiteX2994" fmla="*/ 730537 w 10048557"/>
                <a:gd name="connsiteY2994" fmla="*/ 1816495 h 4837661"/>
                <a:gd name="connsiteX2995" fmla="*/ 741117 w 10048557"/>
                <a:gd name="connsiteY2995" fmla="*/ 1805184 h 4837661"/>
                <a:gd name="connsiteX2996" fmla="*/ 743125 w 10048557"/>
                <a:gd name="connsiteY2996" fmla="*/ 1790344 h 4837661"/>
                <a:gd name="connsiteX2997" fmla="*/ 733215 w 10048557"/>
                <a:gd name="connsiteY2997" fmla="*/ 1767618 h 4837661"/>
                <a:gd name="connsiteX2998" fmla="*/ 717947 w 10048557"/>
                <a:gd name="connsiteY2998" fmla="*/ 1737835 h 4837661"/>
                <a:gd name="connsiteX2999" fmla="*/ 702145 w 10048557"/>
                <a:gd name="connsiteY2999" fmla="*/ 1719675 h 4837661"/>
                <a:gd name="connsiteX3000" fmla="*/ 700136 w 10048557"/>
                <a:gd name="connsiteY3000" fmla="*/ 1706288 h 4837661"/>
                <a:gd name="connsiteX3001" fmla="*/ 703216 w 10048557"/>
                <a:gd name="connsiteY3001" fmla="*/ 1688128 h 4837661"/>
                <a:gd name="connsiteX3002" fmla="*/ 708574 w 10048557"/>
                <a:gd name="connsiteY3002" fmla="*/ 1667270 h 4837661"/>
                <a:gd name="connsiteX3003" fmla="*/ 704021 w 10048557"/>
                <a:gd name="connsiteY3003" fmla="*/ 1639562 h 4837661"/>
                <a:gd name="connsiteX3004" fmla="*/ 693976 w 10048557"/>
                <a:gd name="connsiteY3004" fmla="*/ 1615383 h 4837661"/>
                <a:gd name="connsiteX3005" fmla="*/ 679513 w 10048557"/>
                <a:gd name="connsiteY3005" fmla="*/ 1596082 h 4837661"/>
                <a:gd name="connsiteX3006" fmla="*/ 667326 w 10048557"/>
                <a:gd name="connsiteY3006" fmla="*/ 1590063 h 4837661"/>
                <a:gd name="connsiteX3007" fmla="*/ 654737 w 10048557"/>
                <a:gd name="connsiteY3007" fmla="*/ 1583318 h 4837661"/>
                <a:gd name="connsiteX3008" fmla="*/ 644024 w 10048557"/>
                <a:gd name="connsiteY3008" fmla="*/ 1578752 h 4837661"/>
                <a:gd name="connsiteX3009" fmla="*/ 637062 w 10048557"/>
                <a:gd name="connsiteY3009" fmla="*/ 1561421 h 4837661"/>
                <a:gd name="connsiteX3010" fmla="*/ 630497 w 10048557"/>
                <a:gd name="connsiteY3010" fmla="*/ 1530393 h 4837661"/>
                <a:gd name="connsiteX3011" fmla="*/ 623802 w 10048557"/>
                <a:gd name="connsiteY3011" fmla="*/ 1505177 h 4837661"/>
                <a:gd name="connsiteX3012" fmla="*/ 621124 w 10048557"/>
                <a:gd name="connsiteY3012" fmla="*/ 1486601 h 4837661"/>
                <a:gd name="connsiteX3013" fmla="*/ 612687 w 10048557"/>
                <a:gd name="connsiteY3013" fmla="*/ 1478507 h 4837661"/>
                <a:gd name="connsiteX3014" fmla="*/ 616303 w 10048557"/>
                <a:gd name="connsiteY3014" fmla="*/ 1471762 h 4837661"/>
                <a:gd name="connsiteX3015" fmla="*/ 625677 w 10048557"/>
                <a:gd name="connsiteY3015" fmla="*/ 1467300 h 4837661"/>
                <a:gd name="connsiteX3016" fmla="*/ 627686 w 10048557"/>
                <a:gd name="connsiteY3016" fmla="*/ 1459620 h 4837661"/>
                <a:gd name="connsiteX3017" fmla="*/ 618043 w 10048557"/>
                <a:gd name="connsiteY3017" fmla="*/ 1451837 h 4837661"/>
                <a:gd name="connsiteX3018" fmla="*/ 611213 w 10048557"/>
                <a:gd name="connsiteY3018" fmla="*/ 1440526 h 4837661"/>
                <a:gd name="connsiteX3019" fmla="*/ 607061 w 10048557"/>
                <a:gd name="connsiteY3019" fmla="*/ 1426413 h 4837661"/>
                <a:gd name="connsiteX3020" fmla="*/ 607061 w 10048557"/>
                <a:gd name="connsiteY3020" fmla="*/ 1412508 h 4837661"/>
                <a:gd name="connsiteX3021" fmla="*/ 613089 w 10048557"/>
                <a:gd name="connsiteY3021" fmla="*/ 1399017 h 4837661"/>
                <a:gd name="connsiteX3022" fmla="*/ 622194 w 10048557"/>
                <a:gd name="connsiteY3022" fmla="*/ 1392168 h 4837661"/>
                <a:gd name="connsiteX3023" fmla="*/ 625007 w 10048557"/>
                <a:gd name="connsiteY3023" fmla="*/ 1381583 h 4837661"/>
                <a:gd name="connsiteX3024" fmla="*/ 616972 w 10048557"/>
                <a:gd name="connsiteY3024" fmla="*/ 1373593 h 4837661"/>
                <a:gd name="connsiteX3025" fmla="*/ 614428 w 10048557"/>
                <a:gd name="connsiteY3025" fmla="*/ 1363527 h 4837661"/>
                <a:gd name="connsiteX3026" fmla="*/ 617911 w 10048557"/>
                <a:gd name="connsiteY3026" fmla="*/ 1353980 h 4837661"/>
                <a:gd name="connsiteX3027" fmla="*/ 633175 w 10048557"/>
                <a:gd name="connsiteY3027" fmla="*/ 1345159 h 4837661"/>
                <a:gd name="connsiteX3028" fmla="*/ 654469 w 10048557"/>
                <a:gd name="connsiteY3028" fmla="*/ 1320046 h 4837661"/>
                <a:gd name="connsiteX3029" fmla="*/ 661299 w 10048557"/>
                <a:gd name="connsiteY3029" fmla="*/ 1303339 h 4837661"/>
                <a:gd name="connsiteX3030" fmla="*/ 669336 w 10048557"/>
                <a:gd name="connsiteY3030" fmla="*/ 1278122 h 4837661"/>
                <a:gd name="connsiteX3031" fmla="*/ 678575 w 10048557"/>
                <a:gd name="connsiteY3031" fmla="*/ 1259443 h 4837661"/>
                <a:gd name="connsiteX3032" fmla="*/ 686878 w 10048557"/>
                <a:gd name="connsiteY3032" fmla="*/ 1245122 h 4837661"/>
                <a:gd name="connsiteX3033" fmla="*/ 697324 w 10048557"/>
                <a:gd name="connsiteY3033" fmla="*/ 1236094 h 4837661"/>
                <a:gd name="connsiteX3034" fmla="*/ 707904 w 10048557"/>
                <a:gd name="connsiteY3034" fmla="*/ 1224990 h 4837661"/>
                <a:gd name="connsiteX3035" fmla="*/ 717546 w 10048557"/>
                <a:gd name="connsiteY3035" fmla="*/ 1214094 h 4837661"/>
                <a:gd name="connsiteX3036" fmla="*/ 728126 w 10048557"/>
                <a:gd name="connsiteY3036" fmla="*/ 1205896 h 4837661"/>
                <a:gd name="connsiteX3037" fmla="*/ 733482 w 10048557"/>
                <a:gd name="connsiteY3037" fmla="*/ 1194585 h 4837661"/>
                <a:gd name="connsiteX3038" fmla="*/ 743394 w 10048557"/>
                <a:gd name="connsiteY3038" fmla="*/ 1185556 h 4837661"/>
                <a:gd name="connsiteX3039" fmla="*/ 755312 w 10048557"/>
                <a:gd name="connsiteY3039" fmla="*/ 1166566 h 4837661"/>
                <a:gd name="connsiteX3040" fmla="*/ 773123 w 10048557"/>
                <a:gd name="connsiteY3040" fmla="*/ 1131802 h 4837661"/>
                <a:gd name="connsiteX3041" fmla="*/ 783034 w 10048557"/>
                <a:gd name="connsiteY3041" fmla="*/ 1104302 h 4837661"/>
                <a:gd name="connsiteX3042" fmla="*/ 785980 w 10048557"/>
                <a:gd name="connsiteY3042" fmla="*/ 1094755 h 4837661"/>
                <a:gd name="connsiteX3043" fmla="*/ 795086 w 10048557"/>
                <a:gd name="connsiteY3043" fmla="*/ 1093199 h 4837661"/>
                <a:gd name="connsiteX3044" fmla="*/ 819325 w 10048557"/>
                <a:gd name="connsiteY3044" fmla="*/ 1094755 h 4837661"/>
                <a:gd name="connsiteX3045" fmla="*/ 828165 w 10048557"/>
                <a:gd name="connsiteY3045" fmla="*/ 1097038 h 4837661"/>
                <a:gd name="connsiteX3046" fmla="*/ 816781 w 10048557"/>
                <a:gd name="connsiteY3046" fmla="*/ 1110529 h 4837661"/>
                <a:gd name="connsiteX3047" fmla="*/ 819058 w 10048557"/>
                <a:gd name="connsiteY3047" fmla="*/ 1119661 h 4837661"/>
                <a:gd name="connsiteX3048" fmla="*/ 824281 w 10048557"/>
                <a:gd name="connsiteY3048" fmla="*/ 1124953 h 4837661"/>
                <a:gd name="connsiteX3049" fmla="*/ 834727 w 10048557"/>
                <a:gd name="connsiteY3049" fmla="*/ 1119661 h 4837661"/>
                <a:gd name="connsiteX3050" fmla="*/ 849995 w 10048557"/>
                <a:gd name="connsiteY3050" fmla="*/ 1106378 h 4837661"/>
                <a:gd name="connsiteX3051" fmla="*/ 857627 w 10048557"/>
                <a:gd name="connsiteY3051" fmla="*/ 1094963 h 4837661"/>
                <a:gd name="connsiteX3052" fmla="*/ 865126 w 10048557"/>
                <a:gd name="connsiteY3052" fmla="*/ 1084482 h 4837661"/>
                <a:gd name="connsiteX3053" fmla="*/ 869010 w 10048557"/>
                <a:gd name="connsiteY3053" fmla="*/ 1070161 h 4837661"/>
                <a:gd name="connsiteX3054" fmla="*/ 870484 w 10048557"/>
                <a:gd name="connsiteY3054" fmla="*/ 1050444 h 4837661"/>
                <a:gd name="connsiteX3055" fmla="*/ 861645 w 10048557"/>
                <a:gd name="connsiteY3055" fmla="*/ 1023256 h 4837661"/>
                <a:gd name="connsiteX3056" fmla="*/ 849458 w 10048557"/>
                <a:gd name="connsiteY3056" fmla="*/ 1008105 h 4837661"/>
                <a:gd name="connsiteX3057" fmla="*/ 833388 w 10048557"/>
                <a:gd name="connsiteY3057" fmla="*/ 993265 h 4837661"/>
                <a:gd name="connsiteX3058" fmla="*/ 811291 w 10048557"/>
                <a:gd name="connsiteY3058" fmla="*/ 973445 h 4837661"/>
                <a:gd name="connsiteX3059" fmla="*/ 795354 w 10048557"/>
                <a:gd name="connsiteY3059" fmla="*/ 960577 h 4837661"/>
                <a:gd name="connsiteX3060" fmla="*/ 790668 w 10048557"/>
                <a:gd name="connsiteY3060" fmla="*/ 951549 h 4837661"/>
                <a:gd name="connsiteX3061" fmla="*/ 795487 w 10048557"/>
                <a:gd name="connsiteY3061" fmla="*/ 942521 h 4837661"/>
                <a:gd name="connsiteX3062" fmla="*/ 810488 w 10048557"/>
                <a:gd name="connsiteY3062" fmla="*/ 930691 h 4837661"/>
                <a:gd name="connsiteX3063" fmla="*/ 811960 w 10048557"/>
                <a:gd name="connsiteY3063" fmla="*/ 915540 h 4837661"/>
                <a:gd name="connsiteX3064" fmla="*/ 802319 w 10048557"/>
                <a:gd name="connsiteY3064" fmla="*/ 907445 h 4837661"/>
                <a:gd name="connsiteX3065" fmla="*/ 800041 w 10048557"/>
                <a:gd name="connsiteY3065" fmla="*/ 899040 h 4837661"/>
                <a:gd name="connsiteX3066" fmla="*/ 800846 w 10048557"/>
                <a:gd name="connsiteY3066" fmla="*/ 888559 h 4837661"/>
                <a:gd name="connsiteX3067" fmla="*/ 809818 w 10048557"/>
                <a:gd name="connsiteY3067" fmla="*/ 875691 h 4837661"/>
                <a:gd name="connsiteX3068" fmla="*/ 815174 w 10048557"/>
                <a:gd name="connsiteY3068" fmla="*/ 858361 h 4837661"/>
                <a:gd name="connsiteX3069" fmla="*/ 822540 w 10048557"/>
                <a:gd name="connsiteY3069" fmla="*/ 845494 h 4837661"/>
                <a:gd name="connsiteX3070" fmla="*/ 827897 w 10048557"/>
                <a:gd name="connsiteY3070" fmla="*/ 830965 h 4837661"/>
                <a:gd name="connsiteX3071" fmla="*/ 821335 w 10048557"/>
                <a:gd name="connsiteY3071" fmla="*/ 817163 h 4837661"/>
                <a:gd name="connsiteX3072" fmla="*/ 817586 w 10048557"/>
                <a:gd name="connsiteY3072" fmla="*/ 806890 h 4837661"/>
                <a:gd name="connsiteX3073" fmla="*/ 817449 w 10048557"/>
                <a:gd name="connsiteY3073" fmla="*/ 795060 h 4837661"/>
                <a:gd name="connsiteX3074" fmla="*/ 827094 w 10048557"/>
                <a:gd name="connsiteY3074" fmla="*/ 783230 h 4837661"/>
                <a:gd name="connsiteX3075" fmla="*/ 826826 w 10048557"/>
                <a:gd name="connsiteY3075" fmla="*/ 766937 h 4837661"/>
                <a:gd name="connsiteX3076" fmla="*/ 814905 w 10048557"/>
                <a:gd name="connsiteY3076" fmla="*/ 743277 h 4837661"/>
                <a:gd name="connsiteX3077" fmla="*/ 791204 w 10048557"/>
                <a:gd name="connsiteY3077" fmla="*/ 726051 h 4837661"/>
                <a:gd name="connsiteX3078" fmla="*/ 769374 w 10048557"/>
                <a:gd name="connsiteY3078" fmla="*/ 726051 h 4837661"/>
                <a:gd name="connsiteX3079" fmla="*/ 749554 w 10048557"/>
                <a:gd name="connsiteY3079" fmla="*/ 712664 h 4837661"/>
                <a:gd name="connsiteX3080" fmla="*/ 745267 w 10048557"/>
                <a:gd name="connsiteY3080" fmla="*/ 698862 h 4837661"/>
                <a:gd name="connsiteX3081" fmla="*/ 725449 w 10048557"/>
                <a:gd name="connsiteY3081" fmla="*/ 689212 h 4837661"/>
                <a:gd name="connsiteX3082" fmla="*/ 717145 w 10048557"/>
                <a:gd name="connsiteY3082" fmla="*/ 680183 h 4837661"/>
                <a:gd name="connsiteX3083" fmla="*/ 693038 w 10048557"/>
                <a:gd name="connsiteY3083" fmla="*/ 677900 h 4837661"/>
                <a:gd name="connsiteX3084" fmla="*/ 672147 w 10048557"/>
                <a:gd name="connsiteY3084" fmla="*/ 672193 h 4837661"/>
                <a:gd name="connsiteX3085" fmla="*/ 650051 w 10048557"/>
                <a:gd name="connsiteY3085" fmla="*/ 668353 h 4837661"/>
                <a:gd name="connsiteX3086" fmla="*/ 639471 w 10048557"/>
                <a:gd name="connsiteY3086" fmla="*/ 662438 h 4837661"/>
                <a:gd name="connsiteX3087" fmla="*/ 621257 w 10048557"/>
                <a:gd name="connsiteY3087" fmla="*/ 659429 h 4837661"/>
                <a:gd name="connsiteX3088" fmla="*/ 605454 w 10048557"/>
                <a:gd name="connsiteY3088" fmla="*/ 653410 h 4837661"/>
                <a:gd name="connsiteX3089" fmla="*/ 588847 w 10048557"/>
                <a:gd name="connsiteY3089" fmla="*/ 649570 h 4837661"/>
                <a:gd name="connsiteX3090" fmla="*/ 563002 w 10048557"/>
                <a:gd name="connsiteY3090" fmla="*/ 643033 h 4837661"/>
                <a:gd name="connsiteX3091" fmla="*/ 547200 w 10048557"/>
                <a:gd name="connsiteY3091" fmla="*/ 638570 h 4837661"/>
                <a:gd name="connsiteX3092" fmla="*/ 528183 w 10048557"/>
                <a:gd name="connsiteY3092" fmla="*/ 648429 h 4837661"/>
                <a:gd name="connsiteX3093" fmla="*/ 509165 w 10048557"/>
                <a:gd name="connsiteY3093" fmla="*/ 662127 h 4837661"/>
                <a:gd name="connsiteX3094" fmla="*/ 464438 w 10048557"/>
                <a:gd name="connsiteY3094" fmla="*/ 672712 h 4837661"/>
                <a:gd name="connsiteX3095" fmla="*/ 444081 w 10048557"/>
                <a:gd name="connsiteY3095" fmla="*/ 678834 h 4837661"/>
                <a:gd name="connsiteX3096" fmla="*/ 431626 w 10048557"/>
                <a:gd name="connsiteY3096" fmla="*/ 673749 h 4837661"/>
                <a:gd name="connsiteX3097" fmla="*/ 421046 w 10048557"/>
                <a:gd name="connsiteY3097" fmla="*/ 670740 h 4837661"/>
                <a:gd name="connsiteX3098" fmla="*/ 402699 w 10048557"/>
                <a:gd name="connsiteY3098" fmla="*/ 674580 h 4837661"/>
                <a:gd name="connsiteX3099" fmla="*/ 381004 w 10048557"/>
                <a:gd name="connsiteY3099" fmla="*/ 685372 h 4837661"/>
                <a:gd name="connsiteX3100" fmla="*/ 357433 w 10048557"/>
                <a:gd name="connsiteY3100" fmla="*/ 696268 h 4837661"/>
                <a:gd name="connsiteX3101" fmla="*/ 324625 w 10048557"/>
                <a:gd name="connsiteY3101" fmla="*/ 715155 h 4837661"/>
                <a:gd name="connsiteX3102" fmla="*/ 288063 w 10048557"/>
                <a:gd name="connsiteY3102" fmla="*/ 729060 h 4837661"/>
                <a:gd name="connsiteX3103" fmla="*/ 260744 w 10048557"/>
                <a:gd name="connsiteY3103" fmla="*/ 734353 h 4837661"/>
                <a:gd name="connsiteX3104" fmla="*/ 230477 w 10048557"/>
                <a:gd name="connsiteY3104" fmla="*/ 743173 h 4837661"/>
                <a:gd name="connsiteX3105" fmla="*/ 145973 w 10048557"/>
                <a:gd name="connsiteY3105" fmla="*/ 781154 h 4837661"/>
                <a:gd name="connsiteX3106" fmla="*/ 76872 w 10048557"/>
                <a:gd name="connsiteY3106" fmla="*/ 807098 h 4837661"/>
                <a:gd name="connsiteX3107" fmla="*/ 33883 w 10048557"/>
                <a:gd name="connsiteY3107" fmla="*/ 821003 h 4837661"/>
                <a:gd name="connsiteX3108" fmla="*/ 12055 w 10048557"/>
                <a:gd name="connsiteY3108" fmla="*/ 821003 h 4837661"/>
                <a:gd name="connsiteX3109" fmla="*/ 0 w 10048557"/>
                <a:gd name="connsiteY3109" fmla="*/ 816437 h 4837661"/>
                <a:gd name="connsiteX3110" fmla="*/ 10312 w 10048557"/>
                <a:gd name="connsiteY3110" fmla="*/ 808550 h 4837661"/>
                <a:gd name="connsiteX3111" fmla="*/ 30401 w 10048557"/>
                <a:gd name="connsiteY3111" fmla="*/ 804711 h 4837661"/>
                <a:gd name="connsiteX3112" fmla="*/ 80754 w 10048557"/>
                <a:gd name="connsiteY3112" fmla="*/ 788107 h 4837661"/>
                <a:gd name="connsiteX3113" fmla="*/ 129502 w 10048557"/>
                <a:gd name="connsiteY3113" fmla="*/ 765070 h 4837661"/>
                <a:gd name="connsiteX3114" fmla="*/ 170883 w 10048557"/>
                <a:gd name="connsiteY3114" fmla="*/ 746702 h 4837661"/>
                <a:gd name="connsiteX3115" fmla="*/ 198068 w 10048557"/>
                <a:gd name="connsiteY3115" fmla="*/ 731551 h 4837661"/>
                <a:gd name="connsiteX3116" fmla="*/ 209184 w 10048557"/>
                <a:gd name="connsiteY3116" fmla="*/ 717438 h 4837661"/>
                <a:gd name="connsiteX3117" fmla="*/ 200880 w 10048557"/>
                <a:gd name="connsiteY3117" fmla="*/ 706127 h 4837661"/>
                <a:gd name="connsiteX3118" fmla="*/ 184140 w 10048557"/>
                <a:gd name="connsiteY3118" fmla="*/ 708410 h 4837661"/>
                <a:gd name="connsiteX3119" fmla="*/ 170347 w 10048557"/>
                <a:gd name="connsiteY3119" fmla="*/ 718164 h 4837661"/>
                <a:gd name="connsiteX3120" fmla="*/ 155213 w 10048557"/>
                <a:gd name="connsiteY3120" fmla="*/ 723041 h 4837661"/>
                <a:gd name="connsiteX3121" fmla="*/ 140484 w 10048557"/>
                <a:gd name="connsiteY3121" fmla="*/ 714947 h 4837661"/>
                <a:gd name="connsiteX3122" fmla="*/ 120529 w 10048557"/>
                <a:gd name="connsiteY3122" fmla="*/ 709032 h 4837661"/>
                <a:gd name="connsiteX3123" fmla="*/ 113296 w 10048557"/>
                <a:gd name="connsiteY3123" fmla="*/ 701872 h 4837661"/>
                <a:gd name="connsiteX3124" fmla="*/ 119860 w 10048557"/>
                <a:gd name="connsiteY3124" fmla="*/ 693881 h 4837661"/>
                <a:gd name="connsiteX3125" fmla="*/ 132582 w 10048557"/>
                <a:gd name="connsiteY3125" fmla="*/ 686306 h 4837661"/>
                <a:gd name="connsiteX3126" fmla="*/ 140216 w 10048557"/>
                <a:gd name="connsiteY3126" fmla="*/ 683193 h 4837661"/>
                <a:gd name="connsiteX3127" fmla="*/ 152401 w 10048557"/>
                <a:gd name="connsiteY3127" fmla="*/ 676447 h 4837661"/>
                <a:gd name="connsiteX3128" fmla="*/ 161508 w 10048557"/>
                <a:gd name="connsiteY3128" fmla="*/ 664306 h 4837661"/>
                <a:gd name="connsiteX3129" fmla="*/ 167803 w 10048557"/>
                <a:gd name="connsiteY3129" fmla="*/ 649466 h 4837661"/>
                <a:gd name="connsiteX3130" fmla="*/ 164857 w 10048557"/>
                <a:gd name="connsiteY3130" fmla="*/ 633589 h 4837661"/>
                <a:gd name="connsiteX3131" fmla="*/ 158830 w 10048557"/>
                <a:gd name="connsiteY3131" fmla="*/ 624250 h 4837661"/>
                <a:gd name="connsiteX3132" fmla="*/ 167534 w 10048557"/>
                <a:gd name="connsiteY3132" fmla="*/ 612005 h 4837661"/>
                <a:gd name="connsiteX3133" fmla="*/ 177042 w 10048557"/>
                <a:gd name="connsiteY3133" fmla="*/ 607957 h 4837661"/>
                <a:gd name="connsiteX3134" fmla="*/ 196730 w 10048557"/>
                <a:gd name="connsiteY3134" fmla="*/ 595297 h 4837661"/>
                <a:gd name="connsiteX3135" fmla="*/ 221103 w 10048557"/>
                <a:gd name="connsiteY3135" fmla="*/ 585542 h 4837661"/>
                <a:gd name="connsiteX3136" fmla="*/ 255654 w 10048557"/>
                <a:gd name="connsiteY3136" fmla="*/ 579420 h 4837661"/>
                <a:gd name="connsiteX3137" fmla="*/ 295563 w 10048557"/>
                <a:gd name="connsiteY3137" fmla="*/ 576411 h 4837661"/>
                <a:gd name="connsiteX3138" fmla="*/ 322214 w 10048557"/>
                <a:gd name="connsiteY3138" fmla="*/ 574128 h 4837661"/>
                <a:gd name="connsiteX3139" fmla="*/ 346586 w 10048557"/>
                <a:gd name="connsiteY3139" fmla="*/ 559807 h 4837661"/>
                <a:gd name="connsiteX3140" fmla="*/ 359444 w 10048557"/>
                <a:gd name="connsiteY3140" fmla="*/ 544656 h 4837661"/>
                <a:gd name="connsiteX3141" fmla="*/ 373237 w 10048557"/>
                <a:gd name="connsiteY3141" fmla="*/ 535628 h 4837661"/>
                <a:gd name="connsiteX3142" fmla="*/ 382611 w 10048557"/>
                <a:gd name="connsiteY3142" fmla="*/ 528467 h 4837661"/>
                <a:gd name="connsiteX3143" fmla="*/ 382611 w 10048557"/>
                <a:gd name="connsiteY3143" fmla="*/ 516741 h 4837661"/>
                <a:gd name="connsiteX3144" fmla="*/ 367343 w 10048557"/>
                <a:gd name="connsiteY3144" fmla="*/ 512279 h 4837661"/>
                <a:gd name="connsiteX3145" fmla="*/ 349801 w 10048557"/>
                <a:gd name="connsiteY3145" fmla="*/ 516015 h 4837661"/>
                <a:gd name="connsiteX3146" fmla="*/ 340158 w 10048557"/>
                <a:gd name="connsiteY3146" fmla="*/ 520373 h 4837661"/>
                <a:gd name="connsiteX3147" fmla="*/ 326365 w 10048557"/>
                <a:gd name="connsiteY3147" fmla="*/ 526911 h 4837661"/>
                <a:gd name="connsiteX3148" fmla="*/ 314178 w 10048557"/>
                <a:gd name="connsiteY3148" fmla="*/ 529921 h 4837661"/>
                <a:gd name="connsiteX3149" fmla="*/ 304803 w 10048557"/>
                <a:gd name="connsiteY3149" fmla="*/ 529194 h 4837661"/>
                <a:gd name="connsiteX3150" fmla="*/ 299045 w 10048557"/>
                <a:gd name="connsiteY3150" fmla="*/ 521930 h 4837661"/>
                <a:gd name="connsiteX3151" fmla="*/ 282707 w 10048557"/>
                <a:gd name="connsiteY3151" fmla="*/ 520684 h 4837661"/>
                <a:gd name="connsiteX3152" fmla="*/ 265565 w 10048557"/>
                <a:gd name="connsiteY3152" fmla="*/ 514147 h 4837661"/>
                <a:gd name="connsiteX3153" fmla="*/ 261279 w 10048557"/>
                <a:gd name="connsiteY3153" fmla="*/ 507402 h 4837661"/>
                <a:gd name="connsiteX3154" fmla="*/ 266502 w 10048557"/>
                <a:gd name="connsiteY3154" fmla="*/ 501902 h 4837661"/>
                <a:gd name="connsiteX3155" fmla="*/ 276814 w 10048557"/>
                <a:gd name="connsiteY3155" fmla="*/ 494534 h 4837661"/>
                <a:gd name="connsiteX3156" fmla="*/ 290607 w 10048557"/>
                <a:gd name="connsiteY3156" fmla="*/ 489241 h 4837661"/>
                <a:gd name="connsiteX3157" fmla="*/ 307751 w 10048557"/>
                <a:gd name="connsiteY3157" fmla="*/ 483223 h 4837661"/>
                <a:gd name="connsiteX3158" fmla="*/ 316721 w 10048557"/>
                <a:gd name="connsiteY3158" fmla="*/ 479694 h 4837661"/>
                <a:gd name="connsiteX3159" fmla="*/ 330248 w 10048557"/>
                <a:gd name="connsiteY3159" fmla="*/ 475128 h 4837661"/>
                <a:gd name="connsiteX3160" fmla="*/ 339890 w 10048557"/>
                <a:gd name="connsiteY3160" fmla="*/ 472119 h 4837661"/>
                <a:gd name="connsiteX3161" fmla="*/ 362792 w 10048557"/>
                <a:gd name="connsiteY3161" fmla="*/ 475128 h 4837661"/>
                <a:gd name="connsiteX3162" fmla="*/ 373506 w 10048557"/>
                <a:gd name="connsiteY3162" fmla="*/ 475128 h 4837661"/>
                <a:gd name="connsiteX3163" fmla="*/ 382878 w 10048557"/>
                <a:gd name="connsiteY3163" fmla="*/ 477411 h 4837661"/>
                <a:gd name="connsiteX3164" fmla="*/ 392655 w 10048557"/>
                <a:gd name="connsiteY3164" fmla="*/ 481977 h 4837661"/>
                <a:gd name="connsiteX3165" fmla="*/ 408592 w 10048557"/>
                <a:gd name="connsiteY3165" fmla="*/ 481977 h 4837661"/>
                <a:gd name="connsiteX3166" fmla="*/ 420778 w 10048557"/>
                <a:gd name="connsiteY3166" fmla="*/ 478242 h 4837661"/>
                <a:gd name="connsiteX3167" fmla="*/ 434169 w 10048557"/>
                <a:gd name="connsiteY3167" fmla="*/ 472430 h 4837661"/>
                <a:gd name="connsiteX3168" fmla="*/ 453991 w 10048557"/>
                <a:gd name="connsiteY3168" fmla="*/ 464855 h 4837661"/>
                <a:gd name="connsiteX3169" fmla="*/ 455999 w 10048557"/>
                <a:gd name="connsiteY3169" fmla="*/ 452091 h 4837661"/>
                <a:gd name="connsiteX3170" fmla="*/ 446357 w 10048557"/>
                <a:gd name="connsiteY3170" fmla="*/ 439949 h 4837661"/>
                <a:gd name="connsiteX3171" fmla="*/ 426404 w 10048557"/>
                <a:gd name="connsiteY3171" fmla="*/ 421063 h 4837661"/>
                <a:gd name="connsiteX3172" fmla="*/ 426270 w 10048557"/>
                <a:gd name="connsiteY3172" fmla="*/ 411827 h 4837661"/>
                <a:gd name="connsiteX3173" fmla="*/ 438053 w 10048557"/>
                <a:gd name="connsiteY3173" fmla="*/ 404459 h 4837661"/>
                <a:gd name="connsiteX3174" fmla="*/ 449305 w 10048557"/>
                <a:gd name="connsiteY3174" fmla="*/ 401865 h 4837661"/>
                <a:gd name="connsiteX3175" fmla="*/ 464839 w 10048557"/>
                <a:gd name="connsiteY3175" fmla="*/ 402383 h 4837661"/>
                <a:gd name="connsiteX3176" fmla="*/ 480507 w 10048557"/>
                <a:gd name="connsiteY3176" fmla="*/ 402799 h 4837661"/>
                <a:gd name="connsiteX3177" fmla="*/ 511978 w 10048557"/>
                <a:gd name="connsiteY3177" fmla="*/ 395223 h 4837661"/>
                <a:gd name="connsiteX3178" fmla="*/ 542915 w 10048557"/>
                <a:gd name="connsiteY3178" fmla="*/ 385676 h 4837661"/>
                <a:gd name="connsiteX3179" fmla="*/ 582288 w 10048557"/>
                <a:gd name="connsiteY3179" fmla="*/ 372289 h 4837661"/>
                <a:gd name="connsiteX3180" fmla="*/ 614160 w 10048557"/>
                <a:gd name="connsiteY3180" fmla="*/ 362431 h 4837661"/>
                <a:gd name="connsiteX3181" fmla="*/ 627820 w 10048557"/>
                <a:gd name="connsiteY3181" fmla="*/ 357865 h 4837661"/>
                <a:gd name="connsiteX3182" fmla="*/ 679513 w 10048557"/>
                <a:gd name="connsiteY3182" fmla="*/ 350393 h 4837661"/>
                <a:gd name="connsiteX3183" fmla="*/ 712458 w 10048557"/>
                <a:gd name="connsiteY3183" fmla="*/ 340743 h 4837661"/>
                <a:gd name="connsiteX3184" fmla="*/ 762007 w 10048557"/>
                <a:gd name="connsiteY3184" fmla="*/ 336280 h 4837661"/>
                <a:gd name="connsiteX3185" fmla="*/ 799371 w 10048557"/>
                <a:gd name="connsiteY3185" fmla="*/ 332441 h 4837661"/>
                <a:gd name="connsiteX3186" fmla="*/ 820397 w 10048557"/>
                <a:gd name="connsiteY3186" fmla="*/ 332441 h 4837661"/>
                <a:gd name="connsiteX3187" fmla="*/ 841558 w 10048557"/>
                <a:gd name="connsiteY3187" fmla="*/ 333167 h 4837661"/>
                <a:gd name="connsiteX3188" fmla="*/ 865930 w 10048557"/>
                <a:gd name="connsiteY3188" fmla="*/ 335450 h 4837661"/>
                <a:gd name="connsiteX3189" fmla="*/ 894856 w 10048557"/>
                <a:gd name="connsiteY3189" fmla="*/ 339290 h 4837661"/>
                <a:gd name="connsiteX3190" fmla="*/ 912936 w 10048557"/>
                <a:gd name="connsiteY3190" fmla="*/ 343026 h 4837661"/>
                <a:gd name="connsiteX3191" fmla="*/ 928874 w 10048557"/>
                <a:gd name="connsiteY3191" fmla="*/ 349874 h 4837661"/>
                <a:gd name="connsiteX3192" fmla="*/ 947488 w 10048557"/>
                <a:gd name="connsiteY3192" fmla="*/ 355167 h 4837661"/>
                <a:gd name="connsiteX3193" fmla="*/ 1024224 w 10048557"/>
                <a:gd name="connsiteY3193" fmla="*/ 363054 h 4837661"/>
                <a:gd name="connsiteX3194" fmla="*/ 1063463 w 10048557"/>
                <a:gd name="connsiteY3194" fmla="*/ 365752 h 4837661"/>
                <a:gd name="connsiteX3195" fmla="*/ 1088371 w 10048557"/>
                <a:gd name="connsiteY3195" fmla="*/ 376544 h 4837661"/>
                <a:gd name="connsiteX3196" fmla="*/ 1153858 w 10048557"/>
                <a:gd name="connsiteY3196" fmla="*/ 393459 h 4837661"/>
                <a:gd name="connsiteX3197" fmla="*/ 1198720 w 10048557"/>
                <a:gd name="connsiteY3197" fmla="*/ 397921 h 4837661"/>
                <a:gd name="connsiteX3198" fmla="*/ 1249342 w 10048557"/>
                <a:gd name="connsiteY3198" fmla="*/ 392733 h 4837661"/>
                <a:gd name="connsiteX3199" fmla="*/ 1265278 w 10048557"/>
                <a:gd name="connsiteY3199" fmla="*/ 390450 h 4837661"/>
                <a:gd name="connsiteX3200" fmla="*/ 1300901 w 10048557"/>
                <a:gd name="connsiteY3200" fmla="*/ 380902 h 4837661"/>
                <a:gd name="connsiteX3201" fmla="*/ 1328221 w 10048557"/>
                <a:gd name="connsiteY3201" fmla="*/ 372601 h 4837661"/>
                <a:gd name="connsiteX3202" fmla="*/ 1355406 w 10048557"/>
                <a:gd name="connsiteY3202" fmla="*/ 366582 h 4837661"/>
                <a:gd name="connsiteX3203" fmla="*/ 1378172 w 10048557"/>
                <a:gd name="connsiteY3203" fmla="*/ 365025 h 4837661"/>
                <a:gd name="connsiteX3204" fmla="*/ 1389555 w 10048557"/>
                <a:gd name="connsiteY3204" fmla="*/ 367309 h 4837661"/>
                <a:gd name="connsiteX3205" fmla="*/ 1406027 w 10048557"/>
                <a:gd name="connsiteY3205" fmla="*/ 369591 h 4837661"/>
                <a:gd name="connsiteX3206" fmla="*/ 1415938 w 10048557"/>
                <a:gd name="connsiteY3206" fmla="*/ 365752 h 4837661"/>
                <a:gd name="connsiteX3207" fmla="*/ 1430401 w 10048557"/>
                <a:gd name="connsiteY3207" fmla="*/ 360459 h 4837661"/>
                <a:gd name="connsiteX3208" fmla="*/ 1441248 w 10048557"/>
                <a:gd name="connsiteY3208" fmla="*/ 359526 h 4837661"/>
                <a:gd name="connsiteX3209" fmla="*/ 1452631 w 10048557"/>
                <a:gd name="connsiteY3209" fmla="*/ 366271 h 4837661"/>
                <a:gd name="connsiteX3210" fmla="*/ 1475533 w 10048557"/>
                <a:gd name="connsiteY3210" fmla="*/ 376855 h 4837661"/>
                <a:gd name="connsiteX3211" fmla="*/ 1492271 w 10048557"/>
                <a:gd name="connsiteY3211" fmla="*/ 379035 h 4837661"/>
                <a:gd name="connsiteX3212" fmla="*/ 1515841 w 10048557"/>
                <a:gd name="connsiteY3212" fmla="*/ 375299 h 4837661"/>
                <a:gd name="connsiteX3213" fmla="*/ 1528697 w 10048557"/>
                <a:gd name="connsiteY3213" fmla="*/ 370837 h 4837661"/>
                <a:gd name="connsiteX3214" fmla="*/ 1541956 w 10048557"/>
                <a:gd name="connsiteY3214" fmla="*/ 370006 h 4837661"/>
                <a:gd name="connsiteX3215" fmla="*/ 1559098 w 10048557"/>
                <a:gd name="connsiteY3215" fmla="*/ 370006 h 4837661"/>
                <a:gd name="connsiteX3216" fmla="*/ 1574900 w 10048557"/>
                <a:gd name="connsiteY3216" fmla="*/ 372289 h 4837661"/>
                <a:gd name="connsiteX3217" fmla="*/ 1595389 w 10048557"/>
                <a:gd name="connsiteY3217" fmla="*/ 376648 h 4837661"/>
                <a:gd name="connsiteX3218" fmla="*/ 1606907 w 10048557"/>
                <a:gd name="connsiteY3218" fmla="*/ 380384 h 4837661"/>
                <a:gd name="connsiteX3219" fmla="*/ 1624316 w 10048557"/>
                <a:gd name="connsiteY3219" fmla="*/ 387959 h 4837661"/>
                <a:gd name="connsiteX3220" fmla="*/ 1642663 w 10048557"/>
                <a:gd name="connsiteY3220" fmla="*/ 398544 h 4837661"/>
                <a:gd name="connsiteX3221" fmla="*/ 1655787 w 10048557"/>
                <a:gd name="connsiteY3221" fmla="*/ 403837 h 4837661"/>
                <a:gd name="connsiteX3222" fmla="*/ 1681366 w 10048557"/>
                <a:gd name="connsiteY3222" fmla="*/ 400101 h 4837661"/>
                <a:gd name="connsiteX3223" fmla="*/ 1697302 w 10048557"/>
                <a:gd name="connsiteY3223" fmla="*/ 400101 h 4837661"/>
                <a:gd name="connsiteX3224" fmla="*/ 1694088 w 10048557"/>
                <a:gd name="connsiteY3224" fmla="*/ 407883 h 4837661"/>
                <a:gd name="connsiteX3225" fmla="*/ 1682034 w 10048557"/>
                <a:gd name="connsiteY3225" fmla="*/ 412138 h 4837661"/>
                <a:gd name="connsiteX3226" fmla="*/ 1673196 w 10048557"/>
                <a:gd name="connsiteY3226" fmla="*/ 419506 h 4837661"/>
                <a:gd name="connsiteX3227" fmla="*/ 1674000 w 10048557"/>
                <a:gd name="connsiteY3227" fmla="*/ 427497 h 4837661"/>
                <a:gd name="connsiteX3228" fmla="*/ 1693016 w 10048557"/>
                <a:gd name="connsiteY3228" fmla="*/ 436629 h 4837661"/>
                <a:gd name="connsiteX3229" fmla="*/ 1716587 w 10048557"/>
                <a:gd name="connsiteY3229" fmla="*/ 436629 h 4837661"/>
                <a:gd name="connsiteX3230" fmla="*/ 1743370 w 10048557"/>
                <a:gd name="connsiteY3230" fmla="*/ 435694 h 4837661"/>
                <a:gd name="connsiteX3231" fmla="*/ 1752878 w 10048557"/>
                <a:gd name="connsiteY3231" fmla="*/ 435694 h 4837661"/>
                <a:gd name="connsiteX3232" fmla="*/ 1760780 w 10048557"/>
                <a:gd name="connsiteY3232" fmla="*/ 428638 h 4837661"/>
                <a:gd name="connsiteX3233" fmla="*/ 1776850 w 10048557"/>
                <a:gd name="connsiteY3233" fmla="*/ 427185 h 4837661"/>
                <a:gd name="connsiteX3234" fmla="*/ 1791581 w 10048557"/>
                <a:gd name="connsiteY3234" fmla="*/ 429157 h 4837661"/>
                <a:gd name="connsiteX3235" fmla="*/ 1797875 w 10048557"/>
                <a:gd name="connsiteY3235" fmla="*/ 434968 h 4837661"/>
                <a:gd name="connsiteX3236" fmla="*/ 1802429 w 10048557"/>
                <a:gd name="connsiteY3236" fmla="*/ 448874 h 4837661"/>
                <a:gd name="connsiteX3237" fmla="*/ 1803768 w 10048557"/>
                <a:gd name="connsiteY3237" fmla="*/ 466515 h 4837661"/>
                <a:gd name="connsiteX3238" fmla="*/ 1816625 w 10048557"/>
                <a:gd name="connsiteY3238" fmla="*/ 476892 h 4837661"/>
                <a:gd name="connsiteX3239" fmla="*/ 1830686 w 10048557"/>
                <a:gd name="connsiteY3239" fmla="*/ 468590 h 4837661"/>
                <a:gd name="connsiteX3240" fmla="*/ 1841802 w 10048557"/>
                <a:gd name="connsiteY3240" fmla="*/ 456760 h 4837661"/>
                <a:gd name="connsiteX3241" fmla="*/ 1846890 w 10048557"/>
                <a:gd name="connsiteY3241" fmla="*/ 449704 h 4837661"/>
                <a:gd name="connsiteX3242" fmla="*/ 1856667 w 10048557"/>
                <a:gd name="connsiteY3242" fmla="*/ 439846 h 4837661"/>
                <a:gd name="connsiteX3243" fmla="*/ 1863497 w 10048557"/>
                <a:gd name="connsiteY3243" fmla="*/ 433308 h 4837661"/>
                <a:gd name="connsiteX3244" fmla="*/ 1875816 w 10048557"/>
                <a:gd name="connsiteY3244" fmla="*/ 426563 h 4837661"/>
                <a:gd name="connsiteX3245" fmla="*/ 1891754 w 10048557"/>
                <a:gd name="connsiteY3245" fmla="*/ 424279 h 4837661"/>
                <a:gd name="connsiteX3246" fmla="*/ 1905278 w 10048557"/>
                <a:gd name="connsiteY3246" fmla="*/ 421996 h 4837661"/>
                <a:gd name="connsiteX3247" fmla="*/ 1923358 w 10048557"/>
                <a:gd name="connsiteY3247" fmla="*/ 416185 h 4837661"/>
                <a:gd name="connsiteX3248" fmla="*/ 1941571 w 10048557"/>
                <a:gd name="connsiteY3248" fmla="*/ 413902 h 4837661"/>
                <a:gd name="connsiteX3249" fmla="*/ 1958981 w 10048557"/>
                <a:gd name="connsiteY3249" fmla="*/ 417742 h 4837661"/>
                <a:gd name="connsiteX3250" fmla="*/ 1977864 w 10048557"/>
                <a:gd name="connsiteY3250" fmla="*/ 424487 h 4837661"/>
                <a:gd name="connsiteX3251" fmla="*/ 1990719 w 10048557"/>
                <a:gd name="connsiteY3251" fmla="*/ 429053 h 4837661"/>
                <a:gd name="connsiteX3252" fmla="*/ 2002905 w 10048557"/>
                <a:gd name="connsiteY3252" fmla="*/ 433515 h 4837661"/>
                <a:gd name="connsiteX3253" fmla="*/ 2023261 w 10048557"/>
                <a:gd name="connsiteY3253" fmla="*/ 434346 h 4837661"/>
                <a:gd name="connsiteX3254" fmla="*/ 2035448 w 10048557"/>
                <a:gd name="connsiteY3254" fmla="*/ 435072 h 4837661"/>
                <a:gd name="connsiteX3255" fmla="*/ 2054867 w 10048557"/>
                <a:gd name="connsiteY3255" fmla="*/ 428846 h 4837661"/>
                <a:gd name="connsiteX3256" fmla="*/ 2071874 w 10048557"/>
                <a:gd name="connsiteY3256" fmla="*/ 428846 h 4837661"/>
                <a:gd name="connsiteX3257" fmla="*/ 2079909 w 10048557"/>
                <a:gd name="connsiteY3257" fmla="*/ 430298 h 4837661"/>
                <a:gd name="connsiteX3258" fmla="*/ 2089819 w 10048557"/>
                <a:gd name="connsiteY3258" fmla="*/ 436629 h 4837661"/>
                <a:gd name="connsiteX3259" fmla="*/ 2093302 w 10048557"/>
                <a:gd name="connsiteY3259" fmla="*/ 444411 h 4837661"/>
                <a:gd name="connsiteX3260" fmla="*/ 2106023 w 10048557"/>
                <a:gd name="connsiteY3260" fmla="*/ 442855 h 4837661"/>
                <a:gd name="connsiteX3261" fmla="*/ 2116739 w 10048557"/>
                <a:gd name="connsiteY3261" fmla="*/ 447421 h 4837661"/>
                <a:gd name="connsiteX3262" fmla="*/ 2121291 w 10048557"/>
                <a:gd name="connsiteY3262" fmla="*/ 458732 h 4837661"/>
                <a:gd name="connsiteX3263" fmla="*/ 2129325 w 10048557"/>
                <a:gd name="connsiteY3263" fmla="*/ 458525 h 4837661"/>
                <a:gd name="connsiteX3264" fmla="*/ 2134416 w 10048557"/>
                <a:gd name="connsiteY3264" fmla="*/ 447836 h 4837661"/>
                <a:gd name="connsiteX3265" fmla="*/ 2151423 w 10048557"/>
                <a:gd name="connsiteY3265" fmla="*/ 438289 h 4837661"/>
                <a:gd name="connsiteX3266" fmla="*/ 2170974 w 10048557"/>
                <a:gd name="connsiteY3266" fmla="*/ 424176 h 4837661"/>
                <a:gd name="connsiteX3267" fmla="*/ 2187715 w 10048557"/>
                <a:gd name="connsiteY3267" fmla="*/ 415874 h 4837661"/>
                <a:gd name="connsiteX3268" fmla="*/ 2207534 w 10048557"/>
                <a:gd name="connsiteY3268" fmla="*/ 413591 h 4837661"/>
                <a:gd name="connsiteX3269" fmla="*/ 2224545 w 10048557"/>
                <a:gd name="connsiteY3269" fmla="*/ 407780 h 4837661"/>
                <a:gd name="connsiteX3270" fmla="*/ 2237936 w 10048557"/>
                <a:gd name="connsiteY3270" fmla="*/ 399478 h 4837661"/>
                <a:gd name="connsiteX3271" fmla="*/ 2246372 w 10048557"/>
                <a:gd name="connsiteY3271" fmla="*/ 385365 h 4837661"/>
                <a:gd name="connsiteX3272" fmla="*/ 2235929 w 10048557"/>
                <a:gd name="connsiteY3272" fmla="*/ 380591 h 4837661"/>
                <a:gd name="connsiteX3273" fmla="*/ 2220392 w 10048557"/>
                <a:gd name="connsiteY3273" fmla="*/ 364714 h 4837661"/>
                <a:gd name="connsiteX3274" fmla="*/ 2206732 w 10048557"/>
                <a:gd name="connsiteY3274" fmla="*/ 362535 h 4837661"/>
                <a:gd name="connsiteX3275" fmla="*/ 2209010 w 10048557"/>
                <a:gd name="connsiteY3275" fmla="*/ 352884 h 4837661"/>
                <a:gd name="connsiteX3276" fmla="*/ 2223207 w 10048557"/>
                <a:gd name="connsiteY3276" fmla="*/ 344893 h 4837661"/>
                <a:gd name="connsiteX3277" fmla="*/ 2241685 w 10048557"/>
                <a:gd name="connsiteY3277" fmla="*/ 340327 h 4837661"/>
                <a:gd name="connsiteX3278" fmla="*/ 2260300 w 10048557"/>
                <a:gd name="connsiteY3278" fmla="*/ 332960 h 4837661"/>
                <a:gd name="connsiteX3279" fmla="*/ 2276235 w 10048557"/>
                <a:gd name="connsiteY3279" fmla="*/ 320092 h 4837661"/>
                <a:gd name="connsiteX3280" fmla="*/ 2533296 w 10048557"/>
                <a:gd name="connsiteY3280" fmla="*/ 247503 h 4837661"/>
                <a:gd name="connsiteX3281" fmla="*/ 2547798 w 10048557"/>
                <a:gd name="connsiteY3281" fmla="*/ 261134 h 4837661"/>
                <a:gd name="connsiteX3282" fmla="*/ 2516066 w 10048557"/>
                <a:gd name="connsiteY3282" fmla="*/ 281306 h 4837661"/>
                <a:gd name="connsiteX3283" fmla="*/ 2508276 w 10048557"/>
                <a:gd name="connsiteY3283" fmla="*/ 299207 h 4837661"/>
                <a:gd name="connsiteX3284" fmla="*/ 2521007 w 10048557"/>
                <a:gd name="connsiteY3284" fmla="*/ 310070 h 4837661"/>
                <a:gd name="connsiteX3285" fmla="*/ 2533100 w 10048557"/>
                <a:gd name="connsiteY3285" fmla="*/ 304263 h 4837661"/>
                <a:gd name="connsiteX3286" fmla="*/ 2550699 w 10048557"/>
                <a:gd name="connsiteY3286" fmla="*/ 294698 h 4837661"/>
                <a:gd name="connsiteX3287" fmla="*/ 2558809 w 10048557"/>
                <a:gd name="connsiteY3287" fmla="*/ 277839 h 4837661"/>
                <a:gd name="connsiteX3288" fmla="*/ 2588325 w 10048557"/>
                <a:gd name="connsiteY3288" fmla="*/ 263610 h 4837661"/>
                <a:gd name="connsiteX3289" fmla="*/ 2605088 w 10048557"/>
                <a:gd name="connsiteY3289" fmla="*/ 257632 h 4837661"/>
                <a:gd name="connsiteX3290" fmla="*/ 2629373 w 10048557"/>
                <a:gd name="connsiteY3290" fmla="*/ 255993 h 4837661"/>
                <a:gd name="connsiteX3291" fmla="*/ 2644071 w 10048557"/>
                <a:gd name="connsiteY3291" fmla="*/ 260775 h 4837661"/>
                <a:gd name="connsiteX3292" fmla="*/ 2667715 w 10048557"/>
                <a:gd name="connsiteY3292" fmla="*/ 272151 h 4837661"/>
                <a:gd name="connsiteX3293" fmla="*/ 2684969 w 10048557"/>
                <a:gd name="connsiteY3293" fmla="*/ 284228 h 4837661"/>
                <a:gd name="connsiteX3294" fmla="*/ 2700749 w 10048557"/>
                <a:gd name="connsiteY3294" fmla="*/ 294835 h 4837661"/>
                <a:gd name="connsiteX3295" fmla="*/ 2712916 w 10048557"/>
                <a:gd name="connsiteY3295" fmla="*/ 300899 h 4837661"/>
                <a:gd name="connsiteX3296" fmla="*/ 2736535 w 10048557"/>
                <a:gd name="connsiteY3296" fmla="*/ 291589 h 4837661"/>
                <a:gd name="connsiteX3297" fmla="*/ 2756370 w 10048557"/>
                <a:gd name="connsiteY3297" fmla="*/ 285525 h 4837661"/>
                <a:gd name="connsiteX3298" fmla="*/ 2768314 w 10048557"/>
                <a:gd name="connsiteY3298" fmla="*/ 298148 h 4837661"/>
                <a:gd name="connsiteX3299" fmla="*/ 2775687 w 10048557"/>
                <a:gd name="connsiteY3299" fmla="*/ 308004 h 4837661"/>
                <a:gd name="connsiteX3300" fmla="*/ 2789378 w 10048557"/>
                <a:gd name="connsiteY3300" fmla="*/ 328364 h 4837661"/>
                <a:gd name="connsiteX3301" fmla="*/ 2804616 w 10048557"/>
                <a:gd name="connsiteY3301" fmla="*/ 339006 h 4837661"/>
                <a:gd name="connsiteX3302" fmla="*/ 2842122 w 10048557"/>
                <a:gd name="connsiteY3302" fmla="*/ 350296 h 4837661"/>
                <a:gd name="connsiteX3303" fmla="*/ 2861661 w 10048557"/>
                <a:gd name="connsiteY3303" fmla="*/ 358632 h 4837661"/>
                <a:gd name="connsiteX3304" fmla="*/ 2867733 w 10048557"/>
                <a:gd name="connsiteY3304" fmla="*/ 367975 h 4837661"/>
                <a:gd name="connsiteX3305" fmla="*/ 2867733 w 10048557"/>
                <a:gd name="connsiteY3305" fmla="*/ 381588 h 4837661"/>
                <a:gd name="connsiteX3306" fmla="*/ 2863923 w 10048557"/>
                <a:gd name="connsiteY3306" fmla="*/ 390163 h 4837661"/>
                <a:gd name="connsiteX3307" fmla="*/ 2869234 w 10048557"/>
                <a:gd name="connsiteY3307" fmla="*/ 405963 h 4837661"/>
                <a:gd name="connsiteX3308" fmla="*/ 2889312 w 10048557"/>
                <a:gd name="connsiteY3308" fmla="*/ 425657 h 4837661"/>
                <a:gd name="connsiteX3309" fmla="*/ 2903740 w 10048557"/>
                <a:gd name="connsiteY3309" fmla="*/ 440022 h 4837661"/>
                <a:gd name="connsiteX3310" fmla="*/ 2921043 w 10048557"/>
                <a:gd name="connsiteY3310" fmla="*/ 444565 h 4837661"/>
                <a:gd name="connsiteX3311" fmla="*/ 2938838 w 10048557"/>
                <a:gd name="connsiteY3311" fmla="*/ 458692 h 4837661"/>
                <a:gd name="connsiteX3312" fmla="*/ 2938076 w 10048557"/>
                <a:gd name="connsiteY3312" fmla="*/ 469999 h 4837661"/>
                <a:gd name="connsiteX3313" fmla="*/ 2915194 w 10048557"/>
                <a:gd name="connsiteY3313" fmla="*/ 495005 h 4837661"/>
                <a:gd name="connsiteX3314" fmla="*/ 2900962 w 10048557"/>
                <a:gd name="connsiteY3314" fmla="*/ 500301 h 4837661"/>
                <a:gd name="connsiteX3315" fmla="*/ 2887740 w 10048557"/>
                <a:gd name="connsiteY3315" fmla="*/ 499036 h 4837661"/>
                <a:gd name="connsiteX3316" fmla="*/ 2868913 w 10048557"/>
                <a:gd name="connsiteY3316" fmla="*/ 490957 h 4837661"/>
                <a:gd name="connsiteX3317" fmla="*/ 2849347 w 10048557"/>
                <a:gd name="connsiteY3317" fmla="*/ 482382 h 4837661"/>
                <a:gd name="connsiteX3318" fmla="*/ 2828039 w 10048557"/>
                <a:gd name="connsiteY3318" fmla="*/ 474047 h 4837661"/>
                <a:gd name="connsiteX3319" fmla="*/ 2809753 w 10048557"/>
                <a:gd name="connsiteY3319" fmla="*/ 486414 h 4837661"/>
                <a:gd name="connsiteX3320" fmla="*/ 2802134 w 10048557"/>
                <a:gd name="connsiteY3320" fmla="*/ 495501 h 4837661"/>
                <a:gd name="connsiteX3321" fmla="*/ 2811277 w 10048557"/>
                <a:gd name="connsiteY3321" fmla="*/ 511164 h 4837661"/>
                <a:gd name="connsiteX3322" fmla="*/ 2821650 w 10048557"/>
                <a:gd name="connsiteY3322" fmla="*/ 533096 h 4837661"/>
                <a:gd name="connsiteX3323" fmla="*/ 2822412 w 10048557"/>
                <a:gd name="connsiteY3323" fmla="*/ 554515 h 4837661"/>
                <a:gd name="connsiteX3324" fmla="*/ 2814276 w 10048557"/>
                <a:gd name="connsiteY3324" fmla="*/ 568368 h 4837661"/>
                <a:gd name="connsiteX3325" fmla="*/ 2808451 w 10048557"/>
                <a:gd name="connsiteY3325" fmla="*/ 573646 h 4837661"/>
                <a:gd name="connsiteX3326" fmla="*/ 2795744 w 10048557"/>
                <a:gd name="connsiteY3326" fmla="*/ 572126 h 4837661"/>
                <a:gd name="connsiteX3327" fmla="*/ 2785889 w 10048557"/>
                <a:gd name="connsiteY3327" fmla="*/ 566865 h 4837661"/>
                <a:gd name="connsiteX3328" fmla="*/ 2771533 w 10048557"/>
                <a:gd name="connsiteY3328" fmla="*/ 562817 h 4837661"/>
                <a:gd name="connsiteX3329" fmla="*/ 2754747 w 10048557"/>
                <a:gd name="connsiteY3329" fmla="*/ 556753 h 4837661"/>
                <a:gd name="connsiteX3330" fmla="*/ 2737960 w 10048557"/>
                <a:gd name="connsiteY3330" fmla="*/ 555250 h 4837661"/>
                <a:gd name="connsiteX3331" fmla="*/ 2731349 w 10048557"/>
                <a:gd name="connsiteY3331" fmla="*/ 564046 h 4837661"/>
                <a:gd name="connsiteX3332" fmla="*/ 2741966 w 10048557"/>
                <a:gd name="connsiteY3332" fmla="*/ 572826 h 4837661"/>
                <a:gd name="connsiteX3333" fmla="*/ 2755190 w 10048557"/>
                <a:gd name="connsiteY3333" fmla="*/ 588233 h 4837661"/>
                <a:gd name="connsiteX3334" fmla="*/ 2773206 w 10048557"/>
                <a:gd name="connsiteY3334" fmla="*/ 595270 h 4837661"/>
                <a:gd name="connsiteX3335" fmla="*/ 2783848 w 10048557"/>
                <a:gd name="connsiteY3335" fmla="*/ 602854 h 4837661"/>
                <a:gd name="connsiteX3336" fmla="*/ 2767848 w 10048557"/>
                <a:gd name="connsiteY3336" fmla="*/ 611941 h 4837661"/>
                <a:gd name="connsiteX3337" fmla="*/ 2757967 w 10048557"/>
                <a:gd name="connsiteY3337" fmla="*/ 616451 h 4837661"/>
                <a:gd name="connsiteX3338" fmla="*/ 2720634 w 10048557"/>
                <a:gd name="connsiteY3338" fmla="*/ 610387 h 4837661"/>
                <a:gd name="connsiteX3339" fmla="*/ 2703355 w 10048557"/>
                <a:gd name="connsiteY3339" fmla="*/ 596244 h 4837661"/>
                <a:gd name="connsiteX3340" fmla="*/ 2675900 w 10048557"/>
                <a:gd name="connsiteY3340" fmla="*/ 579607 h 4837661"/>
                <a:gd name="connsiteX3341" fmla="*/ 2664520 w 10048557"/>
                <a:gd name="connsiteY3341" fmla="*/ 577626 h 4837661"/>
                <a:gd name="connsiteX3342" fmla="*/ 2654074 w 10048557"/>
                <a:gd name="connsiteY3342" fmla="*/ 568573 h 4837661"/>
                <a:gd name="connsiteX3343" fmla="*/ 2651052 w 10048557"/>
                <a:gd name="connsiteY3343" fmla="*/ 557521 h 4837661"/>
                <a:gd name="connsiteX3344" fmla="*/ 2643013 w 10048557"/>
                <a:gd name="connsiteY3344" fmla="*/ 543942 h 4837661"/>
                <a:gd name="connsiteX3345" fmla="*/ 2640506 w 10048557"/>
                <a:gd name="connsiteY3345" fmla="*/ 536529 h 4837661"/>
                <a:gd name="connsiteX3346" fmla="*/ 2631387 w 10048557"/>
                <a:gd name="connsiteY3346" fmla="*/ 525922 h 4837661"/>
                <a:gd name="connsiteX3347" fmla="*/ 2606023 w 10048557"/>
                <a:gd name="connsiteY3347" fmla="*/ 524948 h 4837661"/>
                <a:gd name="connsiteX3348" fmla="*/ 2587048 w 10048557"/>
                <a:gd name="connsiteY3348" fmla="*/ 527972 h 4837661"/>
                <a:gd name="connsiteX3349" fmla="*/ 2562422 w 10048557"/>
                <a:gd name="connsiteY3349" fmla="*/ 536751 h 4837661"/>
                <a:gd name="connsiteX3350" fmla="*/ 2531944 w 10048557"/>
                <a:gd name="connsiteY3350" fmla="*/ 532207 h 4837661"/>
                <a:gd name="connsiteX3351" fmla="*/ 2516409 w 10048557"/>
                <a:gd name="connsiteY3351" fmla="*/ 521122 h 4837661"/>
                <a:gd name="connsiteX3352" fmla="*/ 2533197 w 10048557"/>
                <a:gd name="connsiteY3352" fmla="*/ 510019 h 4837661"/>
                <a:gd name="connsiteX3353" fmla="*/ 2557481 w 10048557"/>
                <a:gd name="connsiteY3353" fmla="*/ 506227 h 4837661"/>
                <a:gd name="connsiteX3354" fmla="*/ 2579576 w 10048557"/>
                <a:gd name="connsiteY3354" fmla="*/ 509985 h 4837661"/>
                <a:gd name="connsiteX3355" fmla="*/ 2599877 w 10048557"/>
                <a:gd name="connsiteY3355" fmla="*/ 515298 h 4837661"/>
                <a:gd name="connsiteX3356" fmla="*/ 2631069 w 10048557"/>
                <a:gd name="connsiteY3356" fmla="*/ 513026 h 4837661"/>
                <a:gd name="connsiteX3357" fmla="*/ 2643013 w 10048557"/>
                <a:gd name="connsiteY3357" fmla="*/ 506483 h 4837661"/>
                <a:gd name="connsiteX3358" fmla="*/ 2649822 w 10048557"/>
                <a:gd name="connsiteY3358" fmla="*/ 495210 h 4837661"/>
                <a:gd name="connsiteX3359" fmla="*/ 2666338 w 10048557"/>
                <a:gd name="connsiteY3359" fmla="*/ 477822 h 4837661"/>
                <a:gd name="connsiteX3360" fmla="*/ 2692737 w 10048557"/>
                <a:gd name="connsiteY3360" fmla="*/ 470272 h 4837661"/>
                <a:gd name="connsiteX3361" fmla="*/ 2718569 w 10048557"/>
                <a:gd name="connsiteY3361" fmla="*/ 474064 h 4837661"/>
                <a:gd name="connsiteX3362" fmla="*/ 2727121 w 10048557"/>
                <a:gd name="connsiteY3362" fmla="*/ 480606 h 4837661"/>
                <a:gd name="connsiteX3363" fmla="*/ 2745653 w 10048557"/>
                <a:gd name="connsiteY3363" fmla="*/ 479838 h 4837661"/>
                <a:gd name="connsiteX3364" fmla="*/ 2761359 w 10048557"/>
                <a:gd name="connsiteY3364" fmla="*/ 472578 h 4837661"/>
                <a:gd name="connsiteX3365" fmla="*/ 2772517 w 10048557"/>
                <a:gd name="connsiteY3365" fmla="*/ 467317 h 4837661"/>
                <a:gd name="connsiteX3366" fmla="*/ 2774508 w 10048557"/>
                <a:gd name="connsiteY3366" fmla="*/ 455002 h 4837661"/>
                <a:gd name="connsiteX3367" fmla="*/ 2753420 w 10048557"/>
                <a:gd name="connsiteY3367" fmla="*/ 445402 h 4837661"/>
                <a:gd name="connsiteX3368" fmla="*/ 2738158 w 10048557"/>
                <a:gd name="connsiteY3368" fmla="*/ 436316 h 4837661"/>
                <a:gd name="connsiteX3369" fmla="*/ 2729800 w 10048557"/>
                <a:gd name="connsiteY3369" fmla="*/ 418415 h 4837661"/>
                <a:gd name="connsiteX3370" fmla="*/ 2718102 w 10048557"/>
                <a:gd name="connsiteY3370" fmla="*/ 396722 h 4837661"/>
                <a:gd name="connsiteX3371" fmla="*/ 2704362 w 10048557"/>
                <a:gd name="connsiteY3371" fmla="*/ 376276 h 4837661"/>
                <a:gd name="connsiteX3372" fmla="*/ 2681774 w 10048557"/>
                <a:gd name="connsiteY3372" fmla="*/ 364439 h 4837661"/>
                <a:gd name="connsiteX3373" fmla="*/ 2669558 w 10048557"/>
                <a:gd name="connsiteY3373" fmla="*/ 354088 h 4837661"/>
                <a:gd name="connsiteX3374" fmla="*/ 2652059 w 10048557"/>
                <a:gd name="connsiteY3374" fmla="*/ 342729 h 4837661"/>
                <a:gd name="connsiteX3375" fmla="*/ 2637876 w 10048557"/>
                <a:gd name="connsiteY3375" fmla="*/ 338237 h 4837661"/>
                <a:gd name="connsiteX3376" fmla="*/ 2627454 w 10048557"/>
                <a:gd name="connsiteY3376" fmla="*/ 341277 h 4837661"/>
                <a:gd name="connsiteX3377" fmla="*/ 2600517 w 10048557"/>
                <a:gd name="connsiteY3377" fmla="*/ 355386 h 4837661"/>
                <a:gd name="connsiteX3378" fmla="*/ 2584516 w 10048557"/>
                <a:gd name="connsiteY3378" fmla="*/ 360681 h 4837661"/>
                <a:gd name="connsiteX3379" fmla="*/ 2567976 w 10048557"/>
                <a:gd name="connsiteY3379" fmla="*/ 353114 h 4837661"/>
                <a:gd name="connsiteX3380" fmla="*/ 2539540 w 10048557"/>
                <a:gd name="connsiteY3380" fmla="*/ 351594 h 4837661"/>
                <a:gd name="connsiteX3381" fmla="*/ 2512627 w 10048557"/>
                <a:gd name="connsiteY3381" fmla="*/ 345787 h 4837661"/>
                <a:gd name="connsiteX3382" fmla="*/ 2488466 w 10048557"/>
                <a:gd name="connsiteY3382" fmla="*/ 351082 h 4837661"/>
                <a:gd name="connsiteX3383" fmla="*/ 2466370 w 10048557"/>
                <a:gd name="connsiteY3383" fmla="*/ 354874 h 4837661"/>
                <a:gd name="connsiteX3384" fmla="*/ 2450641 w 10048557"/>
                <a:gd name="connsiteY3384" fmla="*/ 352602 h 4837661"/>
                <a:gd name="connsiteX3385" fmla="*/ 2436386 w 10048557"/>
                <a:gd name="connsiteY3385" fmla="*/ 347307 h 4837661"/>
                <a:gd name="connsiteX3386" fmla="*/ 2419943 w 10048557"/>
                <a:gd name="connsiteY3386" fmla="*/ 338972 h 4837661"/>
                <a:gd name="connsiteX3387" fmla="*/ 2407949 w 10048557"/>
                <a:gd name="connsiteY3387" fmla="*/ 327886 h 4837661"/>
                <a:gd name="connsiteX3388" fmla="*/ 2413848 w 10048557"/>
                <a:gd name="connsiteY3388" fmla="*/ 318065 h 4837661"/>
                <a:gd name="connsiteX3389" fmla="*/ 2426752 w 10048557"/>
                <a:gd name="connsiteY3389" fmla="*/ 302948 h 4837661"/>
                <a:gd name="connsiteX3390" fmla="*/ 2439581 w 10048557"/>
                <a:gd name="connsiteY3390" fmla="*/ 299156 h 4837661"/>
                <a:gd name="connsiteX3391" fmla="*/ 2453836 w 10048557"/>
                <a:gd name="connsiteY3391" fmla="*/ 281238 h 4837661"/>
                <a:gd name="connsiteX3392" fmla="*/ 2475021 w 10048557"/>
                <a:gd name="connsiteY3392" fmla="*/ 268393 h 4837661"/>
                <a:gd name="connsiteX3393" fmla="*/ 2486745 w 10048557"/>
                <a:gd name="connsiteY3393" fmla="*/ 260058 h 4837661"/>
                <a:gd name="connsiteX3394" fmla="*/ 2518131 w 10048557"/>
                <a:gd name="connsiteY3394" fmla="*/ 253482 h 4837661"/>
                <a:gd name="connsiteX3395" fmla="*/ 2533296 w 10048557"/>
                <a:gd name="connsiteY3395" fmla="*/ 247503 h 4837661"/>
                <a:gd name="connsiteX3396" fmla="*/ 2283239 w 10048557"/>
                <a:gd name="connsiteY3396" fmla="*/ 237182 h 4837661"/>
                <a:gd name="connsiteX3397" fmla="*/ 2292871 w 10048557"/>
                <a:gd name="connsiteY3397" fmla="*/ 240021 h 4837661"/>
                <a:gd name="connsiteX3398" fmla="*/ 2294650 w 10048557"/>
                <a:gd name="connsiteY3398" fmla="*/ 246348 h 4837661"/>
                <a:gd name="connsiteX3399" fmla="*/ 2275580 w 10048557"/>
                <a:gd name="connsiteY3399" fmla="*/ 266708 h 4837661"/>
                <a:gd name="connsiteX3400" fmla="*/ 2270240 w 10048557"/>
                <a:gd name="connsiteY3400" fmla="*/ 280066 h 4837661"/>
                <a:gd name="connsiteX3401" fmla="*/ 2257022 w 10048557"/>
                <a:gd name="connsiteY3401" fmla="*/ 296729 h 4837661"/>
                <a:gd name="connsiteX3402" fmla="*/ 2238773 w 10048557"/>
                <a:gd name="connsiteY3402" fmla="*/ 299728 h 4837661"/>
                <a:gd name="connsiteX3403" fmla="*/ 2223586 w 10048557"/>
                <a:gd name="connsiteY3403" fmla="*/ 304273 h 4837661"/>
                <a:gd name="connsiteX3404" fmla="*/ 2205051 w 10048557"/>
                <a:gd name="connsiteY3404" fmla="*/ 312576 h 4837661"/>
                <a:gd name="connsiteX3405" fmla="*/ 2187566 w 10048557"/>
                <a:gd name="connsiteY3405" fmla="*/ 314122 h 4837661"/>
                <a:gd name="connsiteX3406" fmla="*/ 2178701 w 10048557"/>
                <a:gd name="connsiteY3406" fmla="*/ 295500 h 4837661"/>
                <a:gd name="connsiteX3407" fmla="*/ 2160084 w 10048557"/>
                <a:gd name="connsiteY3407" fmla="*/ 286406 h 4837661"/>
                <a:gd name="connsiteX3408" fmla="*/ 2143875 w 10048557"/>
                <a:gd name="connsiteY3408" fmla="*/ 281134 h 4837661"/>
                <a:gd name="connsiteX3409" fmla="*/ 2147253 w 10048557"/>
                <a:gd name="connsiteY3409" fmla="*/ 272582 h 4837661"/>
                <a:gd name="connsiteX3410" fmla="*/ 2164222 w 10048557"/>
                <a:gd name="connsiteY3410" fmla="*/ 268824 h 4837661"/>
                <a:gd name="connsiteX3411" fmla="*/ 2182379 w 10048557"/>
                <a:gd name="connsiteY3411" fmla="*/ 275139 h 4837661"/>
                <a:gd name="connsiteX3412" fmla="*/ 2198330 w 10048557"/>
                <a:gd name="connsiteY3412" fmla="*/ 278331 h 4837661"/>
                <a:gd name="connsiteX3413" fmla="*/ 2212668 w 10048557"/>
                <a:gd name="connsiteY3413" fmla="*/ 265928 h 4837661"/>
                <a:gd name="connsiteX3414" fmla="*/ 2230099 w 10048557"/>
                <a:gd name="connsiteY3414" fmla="*/ 255206 h 4837661"/>
                <a:gd name="connsiteX3415" fmla="*/ 2240457 w 10048557"/>
                <a:gd name="connsiteY3415" fmla="*/ 248164 h 4837661"/>
                <a:gd name="connsiteX3416" fmla="*/ 2251582 w 10048557"/>
                <a:gd name="connsiteY3416" fmla="*/ 248164 h 4837661"/>
                <a:gd name="connsiteX3417" fmla="*/ 2270366 w 10048557"/>
                <a:gd name="connsiteY3417" fmla="*/ 243455 h 4837661"/>
                <a:gd name="connsiteX3418" fmla="*/ 2394478 w 10048557"/>
                <a:gd name="connsiteY3418" fmla="*/ 236714 h 4837661"/>
                <a:gd name="connsiteX3419" fmla="*/ 2416008 w 10048557"/>
                <a:gd name="connsiteY3419" fmla="*/ 241100 h 4837661"/>
                <a:gd name="connsiteX3420" fmla="*/ 2423350 w 10048557"/>
                <a:gd name="connsiteY3420" fmla="*/ 245614 h 4837661"/>
                <a:gd name="connsiteX3421" fmla="*/ 2422584 w 10048557"/>
                <a:gd name="connsiteY3421" fmla="*/ 261745 h 4837661"/>
                <a:gd name="connsiteX3422" fmla="*/ 2414195 w 10048557"/>
                <a:gd name="connsiteY3422" fmla="*/ 270077 h 4837661"/>
                <a:gd name="connsiteX3423" fmla="*/ 2394168 w 10048557"/>
                <a:gd name="connsiteY3423" fmla="*/ 277622 h 4837661"/>
                <a:gd name="connsiteX3424" fmla="*/ 2369760 w 10048557"/>
                <a:gd name="connsiteY3424" fmla="*/ 274591 h 4837661"/>
                <a:gd name="connsiteX3425" fmla="*/ 2336195 w 10048557"/>
                <a:gd name="connsiteY3425" fmla="*/ 277368 h 4837661"/>
                <a:gd name="connsiteX3426" fmla="*/ 2323733 w 10048557"/>
                <a:gd name="connsiteY3426" fmla="*/ 287976 h 4837661"/>
                <a:gd name="connsiteX3427" fmla="*/ 2309251 w 10048557"/>
                <a:gd name="connsiteY3427" fmla="*/ 285703 h 4837661"/>
                <a:gd name="connsiteX3428" fmla="*/ 2306058 w 10048557"/>
                <a:gd name="connsiteY3428" fmla="*/ 273611 h 4837661"/>
                <a:gd name="connsiteX3429" fmla="*/ 2315534 w 10048557"/>
                <a:gd name="connsiteY3429" fmla="*/ 259533 h 4837661"/>
                <a:gd name="connsiteX3430" fmla="*/ 2335534 w 10048557"/>
                <a:gd name="connsiteY3430" fmla="*/ 248930 h 4837661"/>
                <a:gd name="connsiteX3431" fmla="*/ 2350086 w 10048557"/>
                <a:gd name="connsiteY3431" fmla="*/ 244413 h 4837661"/>
                <a:gd name="connsiteX3432" fmla="*/ 2370830 w 10048557"/>
                <a:gd name="connsiteY3432" fmla="*/ 244133 h 4837661"/>
                <a:gd name="connsiteX3433" fmla="*/ 1755904 w 10048557"/>
                <a:gd name="connsiteY3433" fmla="*/ 226253 h 4837661"/>
                <a:gd name="connsiteX3434" fmla="*/ 1776392 w 10048557"/>
                <a:gd name="connsiteY3434" fmla="*/ 226269 h 4837661"/>
                <a:gd name="connsiteX3435" fmla="*/ 1792872 w 10048557"/>
                <a:gd name="connsiteY3435" fmla="*/ 231521 h 4837661"/>
                <a:gd name="connsiteX3436" fmla="*/ 1816443 w 10048557"/>
                <a:gd name="connsiteY3436" fmla="*/ 236789 h 4837661"/>
                <a:gd name="connsiteX3437" fmla="*/ 1845935 w 10048557"/>
                <a:gd name="connsiteY3437" fmla="*/ 245377 h 4837661"/>
                <a:gd name="connsiteX3438" fmla="*/ 1866444 w 10048557"/>
                <a:gd name="connsiteY3438" fmla="*/ 255945 h 4837661"/>
                <a:gd name="connsiteX3439" fmla="*/ 1878151 w 10048557"/>
                <a:gd name="connsiteY3439" fmla="*/ 266805 h 4837661"/>
                <a:gd name="connsiteX3440" fmla="*/ 1884207 w 10048557"/>
                <a:gd name="connsiteY3440" fmla="*/ 274346 h 4837661"/>
                <a:gd name="connsiteX3441" fmla="*/ 1911988 w 10048557"/>
                <a:gd name="connsiteY3441" fmla="*/ 281610 h 4837661"/>
                <a:gd name="connsiteX3442" fmla="*/ 1924190 w 10048557"/>
                <a:gd name="connsiteY3442" fmla="*/ 285904 h 4837661"/>
                <a:gd name="connsiteX3443" fmla="*/ 1939972 w 10048557"/>
                <a:gd name="connsiteY3443" fmla="*/ 287446 h 4837661"/>
                <a:gd name="connsiteX3444" fmla="*/ 1953435 w 10048557"/>
                <a:gd name="connsiteY3444" fmla="*/ 273842 h 4837661"/>
                <a:gd name="connsiteX3445" fmla="*/ 1973201 w 10048557"/>
                <a:gd name="connsiteY3445" fmla="*/ 273088 h 4837661"/>
                <a:gd name="connsiteX3446" fmla="*/ 1976264 w 10048557"/>
                <a:gd name="connsiteY3446" fmla="*/ 285676 h 4837661"/>
                <a:gd name="connsiteX3447" fmla="*/ 1974980 w 10048557"/>
                <a:gd name="connsiteY3447" fmla="*/ 299280 h 4837661"/>
                <a:gd name="connsiteX3448" fmla="*/ 1992023 w 10048557"/>
                <a:gd name="connsiteY3448" fmla="*/ 304589 h 4837661"/>
                <a:gd name="connsiteX3449" fmla="*/ 2010303 w 10048557"/>
                <a:gd name="connsiteY3449" fmla="*/ 290449 h 4837661"/>
                <a:gd name="connsiteX3450" fmla="*/ 2025568 w 10048557"/>
                <a:gd name="connsiteY3450" fmla="*/ 273818 h 4837661"/>
                <a:gd name="connsiteX3451" fmla="*/ 2046662 w 10048557"/>
                <a:gd name="connsiteY3451" fmla="*/ 263964 h 4837661"/>
                <a:gd name="connsiteX3452" fmla="*/ 2063660 w 10048557"/>
                <a:gd name="connsiteY3452" fmla="*/ 261943 h 4837661"/>
                <a:gd name="connsiteX3453" fmla="*/ 2067487 w 10048557"/>
                <a:gd name="connsiteY3453" fmla="*/ 271001 h 4837661"/>
                <a:gd name="connsiteX3454" fmla="*/ 2065190 w 10048557"/>
                <a:gd name="connsiteY3454" fmla="*/ 278550 h 4837661"/>
                <a:gd name="connsiteX3455" fmla="*/ 2052223 w 10048557"/>
                <a:gd name="connsiteY3455" fmla="*/ 305059 h 4837661"/>
                <a:gd name="connsiteX3456" fmla="*/ 2040786 w 10048557"/>
                <a:gd name="connsiteY3456" fmla="*/ 322227 h 4837661"/>
                <a:gd name="connsiteX3457" fmla="*/ 2040786 w 10048557"/>
                <a:gd name="connsiteY3457" fmla="*/ 330530 h 4837661"/>
                <a:gd name="connsiteX3458" fmla="*/ 2049138 w 10048557"/>
                <a:gd name="connsiteY3458" fmla="*/ 341796 h 4837661"/>
                <a:gd name="connsiteX3459" fmla="*/ 2069131 w 10048557"/>
                <a:gd name="connsiteY3459" fmla="*/ 349061 h 4837661"/>
                <a:gd name="connsiteX3460" fmla="*/ 2074218 w 10048557"/>
                <a:gd name="connsiteY3460" fmla="*/ 355091 h 4837661"/>
                <a:gd name="connsiteX3461" fmla="*/ 2065100 w 10048557"/>
                <a:gd name="connsiteY3461" fmla="*/ 366163 h 4837661"/>
                <a:gd name="connsiteX3462" fmla="*/ 2041484 w 10048557"/>
                <a:gd name="connsiteY3462" fmla="*/ 376771 h 4837661"/>
                <a:gd name="connsiteX3463" fmla="*/ 2008682 w 10048557"/>
                <a:gd name="connsiteY3463" fmla="*/ 387372 h 4837661"/>
                <a:gd name="connsiteX3464" fmla="*/ 1967776 w 10048557"/>
                <a:gd name="connsiteY3464" fmla="*/ 390408 h 4837661"/>
                <a:gd name="connsiteX3465" fmla="*/ 1937315 w 10048557"/>
                <a:gd name="connsiteY3465" fmla="*/ 383143 h 4837661"/>
                <a:gd name="connsiteX3466" fmla="*/ 1913677 w 10048557"/>
                <a:gd name="connsiteY3466" fmla="*/ 381885 h 4837661"/>
                <a:gd name="connsiteX3467" fmla="*/ 1895374 w 10048557"/>
                <a:gd name="connsiteY3467" fmla="*/ 390465 h 4837661"/>
                <a:gd name="connsiteX3468" fmla="*/ 1856966 w 10048557"/>
                <a:gd name="connsiteY3468" fmla="*/ 400821 h 4837661"/>
                <a:gd name="connsiteX3469" fmla="*/ 1821372 w 10048557"/>
                <a:gd name="connsiteY3469" fmla="*/ 401576 h 4837661"/>
                <a:gd name="connsiteX3470" fmla="*/ 1795213 w 10048557"/>
                <a:gd name="connsiteY3470" fmla="*/ 399304 h 4837661"/>
                <a:gd name="connsiteX3471" fmla="*/ 1755657 w 10048557"/>
                <a:gd name="connsiteY3471" fmla="*/ 388192 h 4837661"/>
                <a:gd name="connsiteX3472" fmla="*/ 1719861 w 10048557"/>
                <a:gd name="connsiteY3472" fmla="*/ 376861 h 4837661"/>
                <a:gd name="connsiteX3473" fmla="*/ 1695186 w 10048557"/>
                <a:gd name="connsiteY3473" fmla="*/ 368030 h 4837661"/>
                <a:gd name="connsiteX3474" fmla="*/ 1696695 w 10048557"/>
                <a:gd name="connsiteY3474" fmla="*/ 357518 h 4837661"/>
                <a:gd name="connsiteX3475" fmla="*/ 1727132 w 10048557"/>
                <a:gd name="connsiteY3475" fmla="*/ 357518 h 4837661"/>
                <a:gd name="connsiteX3476" fmla="*/ 1786860 w 10048557"/>
                <a:gd name="connsiteY3476" fmla="*/ 359759 h 4837661"/>
                <a:gd name="connsiteX3477" fmla="*/ 1810723 w 10048557"/>
                <a:gd name="connsiteY3477" fmla="*/ 355968 h 4837661"/>
                <a:gd name="connsiteX3478" fmla="*/ 1827519 w 10048557"/>
                <a:gd name="connsiteY3478" fmla="*/ 349945 h 4837661"/>
                <a:gd name="connsiteX3479" fmla="*/ 1813088 w 10048557"/>
                <a:gd name="connsiteY3479" fmla="*/ 334856 h 4837661"/>
                <a:gd name="connsiteX3480" fmla="*/ 1769592 w 10048557"/>
                <a:gd name="connsiteY3480" fmla="*/ 338639 h 4837661"/>
                <a:gd name="connsiteX3481" fmla="*/ 1732220 w 10048557"/>
                <a:gd name="connsiteY3481" fmla="*/ 340911 h 4837661"/>
                <a:gd name="connsiteX3482" fmla="*/ 1705024 w 10048557"/>
                <a:gd name="connsiteY3482" fmla="*/ 335611 h 4837661"/>
                <a:gd name="connsiteX3483" fmla="*/ 1707343 w 10048557"/>
                <a:gd name="connsiteY3483" fmla="*/ 322730 h 4837661"/>
                <a:gd name="connsiteX3484" fmla="*/ 1727942 w 10048557"/>
                <a:gd name="connsiteY3484" fmla="*/ 323493 h 4837661"/>
                <a:gd name="connsiteX3485" fmla="*/ 1748025 w 10048557"/>
                <a:gd name="connsiteY3485" fmla="*/ 324247 h 4837661"/>
                <a:gd name="connsiteX3486" fmla="*/ 1762951 w 10048557"/>
                <a:gd name="connsiteY3486" fmla="*/ 322008 h 4837661"/>
                <a:gd name="connsiteX3487" fmla="*/ 1767250 w 10048557"/>
                <a:gd name="connsiteY3487" fmla="*/ 314207 h 4837661"/>
                <a:gd name="connsiteX3488" fmla="*/ 1754351 w 10048557"/>
                <a:gd name="connsiteY3488" fmla="*/ 308907 h 4837661"/>
                <a:gd name="connsiteX3489" fmla="*/ 1730442 w 10048557"/>
                <a:gd name="connsiteY3489" fmla="*/ 293509 h 4837661"/>
                <a:gd name="connsiteX3490" fmla="*/ 1710112 w 10048557"/>
                <a:gd name="connsiteY3490" fmla="*/ 293509 h 4837661"/>
                <a:gd name="connsiteX3491" fmla="*/ 1677311 w 10048557"/>
                <a:gd name="connsiteY3491" fmla="*/ 302600 h 4837661"/>
                <a:gd name="connsiteX3492" fmla="*/ 1657251 w 10048557"/>
                <a:gd name="connsiteY3492" fmla="*/ 311439 h 4837661"/>
                <a:gd name="connsiteX3493" fmla="*/ 1622717 w 10048557"/>
                <a:gd name="connsiteY3493" fmla="*/ 323014 h 4837661"/>
                <a:gd name="connsiteX3494" fmla="*/ 1610806 w 10048557"/>
                <a:gd name="connsiteY3494" fmla="*/ 321504 h 4837661"/>
                <a:gd name="connsiteX3495" fmla="*/ 1598087 w 10048557"/>
                <a:gd name="connsiteY3495" fmla="*/ 312194 h 4837661"/>
                <a:gd name="connsiteX3496" fmla="*/ 1587933 w 10048557"/>
                <a:gd name="connsiteY3496" fmla="*/ 301837 h 4837661"/>
                <a:gd name="connsiteX3497" fmla="*/ 1589735 w 10048557"/>
                <a:gd name="connsiteY3497" fmla="*/ 293030 h 4837661"/>
                <a:gd name="connsiteX3498" fmla="*/ 1600900 w 10048557"/>
                <a:gd name="connsiteY3498" fmla="*/ 283185 h 4837661"/>
                <a:gd name="connsiteX3499" fmla="*/ 1632127 w 10048557"/>
                <a:gd name="connsiteY3499" fmla="*/ 271853 h 4837661"/>
                <a:gd name="connsiteX3500" fmla="*/ 1654730 w 10048557"/>
                <a:gd name="connsiteY3500" fmla="*/ 262763 h 4837661"/>
                <a:gd name="connsiteX3501" fmla="*/ 1696244 w 10048557"/>
                <a:gd name="connsiteY3501" fmla="*/ 244532 h 4837661"/>
                <a:gd name="connsiteX3502" fmla="*/ 1714773 w 10048557"/>
                <a:gd name="connsiteY3502" fmla="*/ 235726 h 4837661"/>
                <a:gd name="connsiteX3503" fmla="*/ 1744017 w 10048557"/>
                <a:gd name="connsiteY3503" fmla="*/ 229305 h 4837661"/>
                <a:gd name="connsiteX3504" fmla="*/ 6072226 w 10048557"/>
                <a:gd name="connsiteY3504" fmla="*/ 179322 h 4837661"/>
                <a:gd name="connsiteX3505" fmla="*/ 6087925 w 10048557"/>
                <a:gd name="connsiteY3505" fmla="*/ 185189 h 4837661"/>
                <a:gd name="connsiteX3506" fmla="*/ 6096068 w 10048557"/>
                <a:gd name="connsiteY3506" fmla="*/ 191022 h 4837661"/>
                <a:gd name="connsiteX3507" fmla="*/ 6109767 w 10048557"/>
                <a:gd name="connsiteY3507" fmla="*/ 193501 h 4837661"/>
                <a:gd name="connsiteX3508" fmla="*/ 6106210 w 10048557"/>
                <a:gd name="connsiteY3508" fmla="*/ 200890 h 4837661"/>
                <a:gd name="connsiteX3509" fmla="*/ 6091739 w 10048557"/>
                <a:gd name="connsiteY3509" fmla="*/ 200317 h 4837661"/>
                <a:gd name="connsiteX3510" fmla="*/ 6086697 w 10048557"/>
                <a:gd name="connsiteY3510" fmla="*/ 209120 h 4837661"/>
                <a:gd name="connsiteX3511" fmla="*/ 6074240 w 10048557"/>
                <a:gd name="connsiteY3511" fmla="*/ 208871 h 4837661"/>
                <a:gd name="connsiteX3512" fmla="*/ 6057769 w 10048557"/>
                <a:gd name="connsiteY3512" fmla="*/ 206849 h 4837661"/>
                <a:gd name="connsiteX3513" fmla="*/ 6048141 w 10048557"/>
                <a:gd name="connsiteY3513" fmla="*/ 217458 h 4837661"/>
                <a:gd name="connsiteX3514" fmla="*/ 6033927 w 10048557"/>
                <a:gd name="connsiteY3514" fmla="*/ 217450 h 4837661"/>
                <a:gd name="connsiteX3515" fmla="*/ 6008814 w 10048557"/>
                <a:gd name="connsiteY3515" fmla="*/ 220437 h 4837661"/>
                <a:gd name="connsiteX3516" fmla="*/ 5990800 w 10048557"/>
                <a:gd name="connsiteY3516" fmla="*/ 223491 h 4837661"/>
                <a:gd name="connsiteX3517" fmla="*/ 5974515 w 10048557"/>
                <a:gd name="connsiteY3517" fmla="*/ 232827 h 4837661"/>
                <a:gd name="connsiteX3518" fmla="*/ 5955744 w 10048557"/>
                <a:gd name="connsiteY3518" fmla="*/ 240300 h 4837661"/>
                <a:gd name="connsiteX3519" fmla="*/ 5938259 w 10048557"/>
                <a:gd name="connsiteY3519" fmla="*/ 237279 h 4837661"/>
                <a:gd name="connsiteX3520" fmla="*/ 5921003 w 10048557"/>
                <a:gd name="connsiteY3520" fmla="*/ 250635 h 4837661"/>
                <a:gd name="connsiteX3521" fmla="*/ 5915660 w 10048557"/>
                <a:gd name="connsiteY3521" fmla="*/ 268059 h 4837661"/>
                <a:gd name="connsiteX3522" fmla="*/ 5901161 w 10048557"/>
                <a:gd name="connsiteY3522" fmla="*/ 293056 h 4837661"/>
                <a:gd name="connsiteX3523" fmla="*/ 5894047 w 10048557"/>
                <a:gd name="connsiteY3523" fmla="*/ 307702 h 4837661"/>
                <a:gd name="connsiteX3524" fmla="*/ 5894747 w 10048557"/>
                <a:gd name="connsiteY3524" fmla="*/ 331059 h 4837661"/>
                <a:gd name="connsiteX3525" fmla="*/ 5915789 w 10048557"/>
                <a:gd name="connsiteY3525" fmla="*/ 339897 h 4837661"/>
                <a:gd name="connsiteX3526" fmla="*/ 5923188 w 10048557"/>
                <a:gd name="connsiteY3526" fmla="*/ 359060 h 4837661"/>
                <a:gd name="connsiteX3527" fmla="*/ 5897789 w 10048557"/>
                <a:gd name="connsiteY3527" fmla="*/ 357546 h 4837661"/>
                <a:gd name="connsiteX3528" fmla="*/ 5874433 w 10048557"/>
                <a:gd name="connsiteY3528" fmla="*/ 358303 h 4837661"/>
                <a:gd name="connsiteX3529" fmla="*/ 5858162 w 10048557"/>
                <a:gd name="connsiteY3529" fmla="*/ 349208 h 4837661"/>
                <a:gd name="connsiteX3530" fmla="*/ 5848306 w 10048557"/>
                <a:gd name="connsiteY3530" fmla="*/ 343941 h 4837661"/>
                <a:gd name="connsiteX3531" fmla="*/ 5834577 w 10048557"/>
                <a:gd name="connsiteY3531" fmla="*/ 332832 h 4837661"/>
                <a:gd name="connsiteX3532" fmla="*/ 5813221 w 10048557"/>
                <a:gd name="connsiteY3532" fmla="*/ 331317 h 4837661"/>
                <a:gd name="connsiteX3533" fmla="*/ 5801207 w 10048557"/>
                <a:gd name="connsiteY3533" fmla="*/ 329295 h 4837661"/>
                <a:gd name="connsiteX3534" fmla="*/ 5805107 w 10048557"/>
                <a:gd name="connsiteY3534" fmla="*/ 316447 h 4837661"/>
                <a:gd name="connsiteX3535" fmla="*/ 5811178 w 10048557"/>
                <a:gd name="connsiteY3535" fmla="*/ 310414 h 4837661"/>
                <a:gd name="connsiteX3536" fmla="*/ 5822106 w 10048557"/>
                <a:gd name="connsiteY3536" fmla="*/ 303857 h 4837661"/>
                <a:gd name="connsiteX3537" fmla="*/ 5820549 w 10048557"/>
                <a:gd name="connsiteY3537" fmla="*/ 294762 h 4837661"/>
                <a:gd name="connsiteX3538" fmla="*/ 5809293 w 10048557"/>
                <a:gd name="connsiteY3538" fmla="*/ 291792 h 4837661"/>
                <a:gd name="connsiteX3539" fmla="*/ 5812193 w 10048557"/>
                <a:gd name="connsiteY3539" fmla="*/ 284277 h 4837661"/>
                <a:gd name="connsiteX3540" fmla="*/ 5819464 w 10048557"/>
                <a:gd name="connsiteY3540" fmla="*/ 278220 h 4837661"/>
                <a:gd name="connsiteX3541" fmla="*/ 5835920 w 10048557"/>
                <a:gd name="connsiteY3541" fmla="*/ 281981 h 4837661"/>
                <a:gd name="connsiteX3542" fmla="*/ 5846291 w 10048557"/>
                <a:gd name="connsiteY3542" fmla="*/ 280716 h 4837661"/>
                <a:gd name="connsiteX3543" fmla="*/ 5845777 w 10048557"/>
                <a:gd name="connsiteY3543" fmla="*/ 264839 h 4837661"/>
                <a:gd name="connsiteX3544" fmla="*/ 5832320 w 10048557"/>
                <a:gd name="connsiteY3544" fmla="*/ 258049 h 4837661"/>
                <a:gd name="connsiteX3545" fmla="*/ 5840891 w 10048557"/>
                <a:gd name="connsiteY3545" fmla="*/ 248962 h 4837661"/>
                <a:gd name="connsiteX3546" fmla="*/ 5856634 w 10048557"/>
                <a:gd name="connsiteY3546" fmla="*/ 250177 h 4837661"/>
                <a:gd name="connsiteX3547" fmla="*/ 5864705 w 10048557"/>
                <a:gd name="connsiteY3547" fmla="*/ 244777 h 4837661"/>
                <a:gd name="connsiteX3548" fmla="*/ 5870262 w 10048557"/>
                <a:gd name="connsiteY3548" fmla="*/ 227826 h 4837661"/>
                <a:gd name="connsiteX3549" fmla="*/ 5881676 w 10048557"/>
                <a:gd name="connsiteY3549" fmla="*/ 218066 h 4837661"/>
                <a:gd name="connsiteX3550" fmla="*/ 5896904 w 10048557"/>
                <a:gd name="connsiteY3550" fmla="*/ 217308 h 4837661"/>
                <a:gd name="connsiteX3551" fmla="*/ 5912889 w 10048557"/>
                <a:gd name="connsiteY3551" fmla="*/ 204494 h 4837661"/>
                <a:gd name="connsiteX3552" fmla="*/ 5920517 w 10048557"/>
                <a:gd name="connsiteY3552" fmla="*/ 199226 h 4837661"/>
                <a:gd name="connsiteX3553" fmla="*/ 5941088 w 10048557"/>
                <a:gd name="connsiteY3553" fmla="*/ 196289 h 4837661"/>
                <a:gd name="connsiteX3554" fmla="*/ 5958630 w 10048557"/>
                <a:gd name="connsiteY3554" fmla="*/ 197046 h 4837661"/>
                <a:gd name="connsiteX3555" fmla="*/ 5997214 w 10048557"/>
                <a:gd name="connsiteY3555" fmla="*/ 198561 h 4837661"/>
                <a:gd name="connsiteX3556" fmla="*/ 6014728 w 10048557"/>
                <a:gd name="connsiteY3556" fmla="*/ 200075 h 4837661"/>
                <a:gd name="connsiteX3557" fmla="*/ 6023028 w 10048557"/>
                <a:gd name="connsiteY3557" fmla="*/ 192777 h 4837661"/>
                <a:gd name="connsiteX3558" fmla="*/ 6036470 w 10048557"/>
                <a:gd name="connsiteY3558" fmla="*/ 187510 h 4837661"/>
                <a:gd name="connsiteX3559" fmla="*/ 6054498 w 10048557"/>
                <a:gd name="connsiteY3559" fmla="*/ 185996 h 4837661"/>
                <a:gd name="connsiteX3560" fmla="*/ 6063398 w 10048557"/>
                <a:gd name="connsiteY3560" fmla="*/ 191995 h 4837661"/>
                <a:gd name="connsiteX3561" fmla="*/ 6065683 w 10048557"/>
                <a:gd name="connsiteY3561" fmla="*/ 182900 h 4837661"/>
                <a:gd name="connsiteX3562" fmla="*/ 2535789 w 10048557"/>
                <a:gd name="connsiteY3562" fmla="*/ 170878 h 4837661"/>
                <a:gd name="connsiteX3563" fmla="*/ 2543352 w 10048557"/>
                <a:gd name="connsiteY3563" fmla="*/ 182491 h 4837661"/>
                <a:gd name="connsiteX3564" fmla="*/ 2571585 w 10048557"/>
                <a:gd name="connsiteY3564" fmla="*/ 196129 h 4837661"/>
                <a:gd name="connsiteX3565" fmla="*/ 2584542 w 10048557"/>
                <a:gd name="connsiteY3565" fmla="*/ 203451 h 4837661"/>
                <a:gd name="connsiteX3566" fmla="*/ 2611691 w 10048557"/>
                <a:gd name="connsiteY3566" fmla="*/ 199693 h 4837661"/>
                <a:gd name="connsiteX3567" fmla="*/ 2631213 w 10048557"/>
                <a:gd name="connsiteY3567" fmla="*/ 196666 h 4837661"/>
                <a:gd name="connsiteX3568" fmla="*/ 2666781 w 10048557"/>
                <a:gd name="connsiteY3568" fmla="*/ 195908 h 4837661"/>
                <a:gd name="connsiteX3569" fmla="*/ 2696208 w 10048557"/>
                <a:gd name="connsiteY3569" fmla="*/ 192878 h 4837661"/>
                <a:gd name="connsiteX3570" fmla="*/ 2723664 w 10048557"/>
                <a:gd name="connsiteY3570" fmla="*/ 195908 h 4837661"/>
                <a:gd name="connsiteX3571" fmla="*/ 2743732 w 10048557"/>
                <a:gd name="connsiteY3571" fmla="*/ 200957 h 4837661"/>
                <a:gd name="connsiteX3572" fmla="*/ 2754789 w 10048557"/>
                <a:gd name="connsiteY3572" fmla="*/ 205884 h 4837661"/>
                <a:gd name="connsiteX3573" fmla="*/ 2737493 w 10048557"/>
                <a:gd name="connsiteY3573" fmla="*/ 213933 h 4837661"/>
                <a:gd name="connsiteX3574" fmla="*/ 2718176 w 10048557"/>
                <a:gd name="connsiteY3574" fmla="*/ 218479 h 4837661"/>
                <a:gd name="connsiteX3575" fmla="*/ 2696301 w 10048557"/>
                <a:gd name="connsiteY3575" fmla="*/ 229589 h 4837661"/>
                <a:gd name="connsiteX3576" fmla="*/ 2687186 w 10048557"/>
                <a:gd name="connsiteY3576" fmla="*/ 237135 h 4837661"/>
                <a:gd name="connsiteX3577" fmla="*/ 2667599 w 10048557"/>
                <a:gd name="connsiteY3577" fmla="*/ 237135 h 4837661"/>
                <a:gd name="connsiteX3578" fmla="*/ 2659525 w 10048557"/>
                <a:gd name="connsiteY3578" fmla="*/ 223307 h 4837661"/>
                <a:gd name="connsiteX3579" fmla="*/ 2626244 w 10048557"/>
                <a:gd name="connsiteY3579" fmla="*/ 226338 h 4837661"/>
                <a:gd name="connsiteX3580" fmla="*/ 2569136 w 10048557"/>
                <a:gd name="connsiteY3580" fmla="*/ 224697 h 4837661"/>
                <a:gd name="connsiteX3581" fmla="*/ 2558548 w 10048557"/>
                <a:gd name="connsiteY3581" fmla="*/ 217945 h 4837661"/>
                <a:gd name="connsiteX3582" fmla="*/ 2542536 w 10048557"/>
                <a:gd name="connsiteY3582" fmla="*/ 214157 h 4837661"/>
                <a:gd name="connsiteX3583" fmla="*/ 2502361 w 10048557"/>
                <a:gd name="connsiteY3583" fmla="*/ 214914 h 4837661"/>
                <a:gd name="connsiteX3584" fmla="*/ 2470313 w 10048557"/>
                <a:gd name="connsiteY3584" fmla="*/ 216430 h 4837661"/>
                <a:gd name="connsiteX3585" fmla="*/ 2465629 w 10048557"/>
                <a:gd name="connsiteY3585" fmla="*/ 205568 h 4837661"/>
                <a:gd name="connsiteX3586" fmla="*/ 2473955 w 10048557"/>
                <a:gd name="connsiteY3586" fmla="*/ 189439 h 4837661"/>
                <a:gd name="connsiteX3587" fmla="*/ 2487355 w 10048557"/>
                <a:gd name="connsiteY3587" fmla="*/ 181893 h 4837661"/>
                <a:gd name="connsiteX3588" fmla="*/ 2502254 w 10048557"/>
                <a:gd name="connsiteY3588" fmla="*/ 175488 h 4837661"/>
                <a:gd name="connsiteX3589" fmla="*/ 2517006 w 10048557"/>
                <a:gd name="connsiteY3589" fmla="*/ 171163 h 4837661"/>
                <a:gd name="connsiteX3590" fmla="*/ 6819131 w 10048557"/>
                <a:gd name="connsiteY3590" fmla="*/ 138334 h 4837661"/>
                <a:gd name="connsiteX3591" fmla="*/ 6856865 w 10048557"/>
                <a:gd name="connsiteY3591" fmla="*/ 145824 h 4837661"/>
                <a:gd name="connsiteX3592" fmla="*/ 6888780 w 10048557"/>
                <a:gd name="connsiteY3592" fmla="*/ 159085 h 4837661"/>
                <a:gd name="connsiteX3593" fmla="*/ 6910744 w 10048557"/>
                <a:gd name="connsiteY3593" fmla="*/ 177749 h 4837661"/>
                <a:gd name="connsiteX3594" fmla="*/ 6931207 w 10048557"/>
                <a:gd name="connsiteY3594" fmla="*/ 178486 h 4837661"/>
                <a:gd name="connsiteX3595" fmla="*/ 6949981 w 10048557"/>
                <a:gd name="connsiteY3595" fmla="*/ 177749 h 4837661"/>
                <a:gd name="connsiteX3596" fmla="*/ 6965562 w 10048557"/>
                <a:gd name="connsiteY3596" fmla="*/ 174680 h 4837661"/>
                <a:gd name="connsiteX3597" fmla="*/ 6977390 w 10048557"/>
                <a:gd name="connsiteY3597" fmla="*/ 167804 h 4837661"/>
                <a:gd name="connsiteX3598" fmla="*/ 7023760 w 10048557"/>
                <a:gd name="connsiteY3598" fmla="*/ 170137 h 4837661"/>
                <a:gd name="connsiteX3599" fmla="*/ 7038215 w 10048557"/>
                <a:gd name="connsiteY3599" fmla="*/ 174066 h 4837661"/>
                <a:gd name="connsiteX3600" fmla="*/ 7067126 w 10048557"/>
                <a:gd name="connsiteY3600" fmla="*/ 177136 h 4837661"/>
                <a:gd name="connsiteX3601" fmla="*/ 7082145 w 10048557"/>
                <a:gd name="connsiteY3601" fmla="*/ 188923 h 4837661"/>
                <a:gd name="connsiteX3602" fmla="*/ 7112182 w 10048557"/>
                <a:gd name="connsiteY3602" fmla="*/ 192976 h 4837661"/>
                <a:gd name="connsiteX3603" fmla="*/ 7109366 w 10048557"/>
                <a:gd name="connsiteY3603" fmla="*/ 212867 h 4837661"/>
                <a:gd name="connsiteX3604" fmla="*/ 7096037 w 10048557"/>
                <a:gd name="connsiteY3604" fmla="*/ 220849 h 4837661"/>
                <a:gd name="connsiteX3605" fmla="*/ 7082708 w 10048557"/>
                <a:gd name="connsiteY3605" fmla="*/ 228093 h 4837661"/>
                <a:gd name="connsiteX3606" fmla="*/ 7067689 w 10048557"/>
                <a:gd name="connsiteY3606" fmla="*/ 235584 h 4837661"/>
                <a:gd name="connsiteX3607" fmla="*/ 7043847 w 10048557"/>
                <a:gd name="connsiteY3607" fmla="*/ 245284 h 4837661"/>
                <a:gd name="connsiteX3608" fmla="*/ 7031081 w 10048557"/>
                <a:gd name="connsiteY3608" fmla="*/ 256335 h 4837661"/>
                <a:gd name="connsiteX3609" fmla="*/ 7028265 w 10048557"/>
                <a:gd name="connsiteY3609" fmla="*/ 262843 h 4837661"/>
                <a:gd name="connsiteX3610" fmla="*/ 7025261 w 10048557"/>
                <a:gd name="connsiteY3610" fmla="*/ 277946 h 4837661"/>
                <a:gd name="connsiteX3611" fmla="*/ 7056613 w 10048557"/>
                <a:gd name="connsiteY3611" fmla="*/ 277946 h 4837661"/>
                <a:gd name="connsiteX3612" fmla="*/ 7079892 w 10048557"/>
                <a:gd name="connsiteY3612" fmla="*/ 270579 h 4837661"/>
                <a:gd name="connsiteX3613" fmla="*/ 7113684 w 10048557"/>
                <a:gd name="connsiteY3613" fmla="*/ 261001 h 4837661"/>
                <a:gd name="connsiteX3614" fmla="*/ 7134147 w 10048557"/>
                <a:gd name="connsiteY3614" fmla="*/ 252897 h 4837661"/>
                <a:gd name="connsiteX3615" fmla="*/ 7144660 w 10048557"/>
                <a:gd name="connsiteY3615" fmla="*/ 249827 h 4837661"/>
                <a:gd name="connsiteX3616" fmla="*/ 7160805 w 10048557"/>
                <a:gd name="connsiteY3616" fmla="*/ 251915 h 4837661"/>
                <a:gd name="connsiteX3617" fmla="*/ 7173195 w 10048557"/>
                <a:gd name="connsiteY3617" fmla="*/ 261001 h 4837661"/>
                <a:gd name="connsiteX3618" fmla="*/ 7195347 w 10048557"/>
                <a:gd name="connsiteY3618" fmla="*/ 267018 h 4837661"/>
                <a:gd name="connsiteX3619" fmla="*/ 7209052 w 10048557"/>
                <a:gd name="connsiteY3619" fmla="*/ 274508 h 4837661"/>
                <a:gd name="connsiteX3620" fmla="*/ 7233833 w 10048557"/>
                <a:gd name="connsiteY3620" fmla="*/ 275367 h 4837661"/>
                <a:gd name="connsiteX3621" fmla="*/ 7246974 w 10048557"/>
                <a:gd name="connsiteY3621" fmla="*/ 269351 h 4837661"/>
                <a:gd name="connsiteX3622" fmla="*/ 7260866 w 10048557"/>
                <a:gd name="connsiteY3622" fmla="*/ 263211 h 4837661"/>
                <a:gd name="connsiteX3623" fmla="*/ 7279827 w 10048557"/>
                <a:gd name="connsiteY3623" fmla="*/ 259405 h 4837661"/>
                <a:gd name="connsiteX3624" fmla="*/ 7293156 w 10048557"/>
                <a:gd name="connsiteY3624" fmla="*/ 261738 h 4837661"/>
                <a:gd name="connsiteX3625" fmla="*/ 7314182 w 10048557"/>
                <a:gd name="connsiteY3625" fmla="*/ 268737 h 4837661"/>
                <a:gd name="connsiteX3626" fmla="*/ 7334270 w 10048557"/>
                <a:gd name="connsiteY3626" fmla="*/ 271561 h 4837661"/>
                <a:gd name="connsiteX3627" fmla="*/ 7347786 w 10048557"/>
                <a:gd name="connsiteY3627" fmla="*/ 280402 h 4837661"/>
                <a:gd name="connsiteX3628" fmla="*/ 7367498 w 10048557"/>
                <a:gd name="connsiteY3628" fmla="*/ 287155 h 4837661"/>
                <a:gd name="connsiteX3629" fmla="*/ 7378575 w 10048557"/>
                <a:gd name="connsiteY3629" fmla="*/ 282612 h 4837661"/>
                <a:gd name="connsiteX3630" fmla="*/ 7408236 w 10048557"/>
                <a:gd name="connsiteY3630" fmla="*/ 274262 h 4837661"/>
                <a:gd name="connsiteX3631" fmla="*/ 7437711 w 10048557"/>
                <a:gd name="connsiteY3631" fmla="*/ 266772 h 4837661"/>
                <a:gd name="connsiteX3632" fmla="*/ 7470376 w 10048557"/>
                <a:gd name="connsiteY3632" fmla="*/ 266035 h 4837661"/>
                <a:gd name="connsiteX3633" fmla="*/ 7499850 w 10048557"/>
                <a:gd name="connsiteY3633" fmla="*/ 264439 h 4837661"/>
                <a:gd name="connsiteX3634" fmla="*/ 7518623 w 10048557"/>
                <a:gd name="connsiteY3634" fmla="*/ 272298 h 4837661"/>
                <a:gd name="connsiteX3635" fmla="*/ 7548285 w 10048557"/>
                <a:gd name="connsiteY3635" fmla="*/ 279174 h 4837661"/>
                <a:gd name="connsiteX3636" fmla="*/ 7573253 w 10048557"/>
                <a:gd name="connsiteY3636" fmla="*/ 285190 h 4837661"/>
                <a:gd name="connsiteX3637" fmla="*/ 7583391 w 10048557"/>
                <a:gd name="connsiteY3637" fmla="*/ 298329 h 4837661"/>
                <a:gd name="connsiteX3638" fmla="*/ 7604042 w 10048557"/>
                <a:gd name="connsiteY3638" fmla="*/ 314537 h 4837661"/>
                <a:gd name="connsiteX3639" fmla="*/ 7617183 w 10048557"/>
                <a:gd name="connsiteY3639" fmla="*/ 322642 h 4837661"/>
                <a:gd name="connsiteX3640" fmla="*/ 7640087 w 10048557"/>
                <a:gd name="connsiteY3640" fmla="*/ 336271 h 4837661"/>
                <a:gd name="connsiteX3641" fmla="*/ 7657733 w 10048557"/>
                <a:gd name="connsiteY3641" fmla="*/ 343762 h 4837661"/>
                <a:gd name="connsiteX3642" fmla="*/ 7673127 w 10048557"/>
                <a:gd name="connsiteY3642" fmla="*/ 349042 h 4837661"/>
                <a:gd name="connsiteX3643" fmla="*/ 7687771 w 10048557"/>
                <a:gd name="connsiteY3643" fmla="*/ 342288 h 4837661"/>
                <a:gd name="connsiteX3644" fmla="*/ 7708233 w 10048557"/>
                <a:gd name="connsiteY3644" fmla="*/ 335903 h 4837661"/>
                <a:gd name="connsiteX3645" fmla="*/ 7720436 w 10048557"/>
                <a:gd name="connsiteY3645" fmla="*/ 326202 h 4837661"/>
                <a:gd name="connsiteX3646" fmla="*/ 7743339 w 10048557"/>
                <a:gd name="connsiteY3646" fmla="*/ 323133 h 4837661"/>
                <a:gd name="connsiteX3647" fmla="*/ 7748408 w 10048557"/>
                <a:gd name="connsiteY3647" fmla="*/ 330623 h 4837661"/>
                <a:gd name="connsiteX3648" fmla="*/ 7764365 w 10048557"/>
                <a:gd name="connsiteY3648" fmla="*/ 328413 h 4837661"/>
                <a:gd name="connsiteX3649" fmla="*/ 7791024 w 10048557"/>
                <a:gd name="connsiteY3649" fmla="*/ 329886 h 4837661"/>
                <a:gd name="connsiteX3650" fmla="*/ 7804165 w 10048557"/>
                <a:gd name="connsiteY3650" fmla="*/ 342043 h 4837661"/>
                <a:gd name="connsiteX3651" fmla="*/ 7824815 w 10048557"/>
                <a:gd name="connsiteY3651" fmla="*/ 338236 h 4837661"/>
                <a:gd name="connsiteX3652" fmla="*/ 7835892 w 10048557"/>
                <a:gd name="connsiteY3652" fmla="*/ 326939 h 4837661"/>
                <a:gd name="connsiteX3653" fmla="*/ 7853727 w 10048557"/>
                <a:gd name="connsiteY3653" fmla="*/ 323378 h 4837661"/>
                <a:gd name="connsiteX3654" fmla="*/ 7864427 w 10048557"/>
                <a:gd name="connsiteY3654" fmla="*/ 310608 h 4837661"/>
                <a:gd name="connsiteX3655" fmla="*/ 7849033 w 10048557"/>
                <a:gd name="connsiteY3655" fmla="*/ 300048 h 4837661"/>
                <a:gd name="connsiteX3656" fmla="*/ 7841524 w 10048557"/>
                <a:gd name="connsiteY3656" fmla="*/ 288629 h 4837661"/>
                <a:gd name="connsiteX3657" fmla="*/ 7876442 w 10048557"/>
                <a:gd name="connsiteY3657" fmla="*/ 283349 h 4837661"/>
                <a:gd name="connsiteX3658" fmla="*/ 7901223 w 10048557"/>
                <a:gd name="connsiteY3658" fmla="*/ 281016 h 4837661"/>
                <a:gd name="connsiteX3659" fmla="*/ 7925253 w 10048557"/>
                <a:gd name="connsiteY3659" fmla="*/ 281875 h 4837661"/>
                <a:gd name="connsiteX3660" fmla="*/ 7942712 w 10048557"/>
                <a:gd name="connsiteY3660" fmla="*/ 287032 h 4837661"/>
                <a:gd name="connsiteX3661" fmla="*/ 7998281 w 10048557"/>
                <a:gd name="connsiteY3661" fmla="*/ 297592 h 4837661"/>
                <a:gd name="connsiteX3662" fmla="*/ 8014801 w 10048557"/>
                <a:gd name="connsiteY3662" fmla="*/ 304346 h 4837661"/>
                <a:gd name="connsiteX3663" fmla="*/ 8030759 w 10048557"/>
                <a:gd name="connsiteY3663" fmla="*/ 304346 h 4837661"/>
                <a:gd name="connsiteX3664" fmla="*/ 8039019 w 10048557"/>
                <a:gd name="connsiteY3664" fmla="*/ 293786 h 4837661"/>
                <a:gd name="connsiteX3665" fmla="*/ 8054788 w 10048557"/>
                <a:gd name="connsiteY3665" fmla="*/ 298329 h 4837661"/>
                <a:gd name="connsiteX3666" fmla="*/ 8076941 w 10048557"/>
                <a:gd name="connsiteY3666" fmla="*/ 312696 h 4837661"/>
                <a:gd name="connsiteX3667" fmla="*/ 8108105 w 10048557"/>
                <a:gd name="connsiteY3667" fmla="*/ 322642 h 4837661"/>
                <a:gd name="connsiteX3668" fmla="*/ 8128755 w 10048557"/>
                <a:gd name="connsiteY3668" fmla="*/ 337254 h 4837661"/>
                <a:gd name="connsiteX3669" fmla="*/ 8156915 w 10048557"/>
                <a:gd name="connsiteY3669" fmla="*/ 334184 h 4837661"/>
                <a:gd name="connsiteX3670" fmla="*/ 8201220 w 10048557"/>
                <a:gd name="connsiteY3670" fmla="*/ 337254 h 4837661"/>
                <a:gd name="connsiteX3671" fmla="*/ 8238579 w 10048557"/>
                <a:gd name="connsiteY3671" fmla="*/ 337254 h 4837661"/>
                <a:gd name="connsiteX3672" fmla="*/ 8264486 w 10048557"/>
                <a:gd name="connsiteY3672" fmla="*/ 347814 h 4837661"/>
                <a:gd name="connsiteX3673" fmla="*/ 8320806 w 10048557"/>
                <a:gd name="connsiteY3673" fmla="*/ 347323 h 4837661"/>
                <a:gd name="connsiteX3674" fmla="*/ 8352721 w 10048557"/>
                <a:gd name="connsiteY3674" fmla="*/ 342779 h 4837661"/>
                <a:gd name="connsiteX3675" fmla="*/ 8365299 w 10048557"/>
                <a:gd name="connsiteY3675" fmla="*/ 342779 h 4837661"/>
                <a:gd name="connsiteX3676" fmla="*/ 8381443 w 10048557"/>
                <a:gd name="connsiteY3676" fmla="*/ 348182 h 4837661"/>
                <a:gd name="connsiteX3677" fmla="*/ 8393083 w 10048557"/>
                <a:gd name="connsiteY3677" fmla="*/ 359233 h 4837661"/>
                <a:gd name="connsiteX3678" fmla="*/ 8422557 w 10048557"/>
                <a:gd name="connsiteY3678" fmla="*/ 366478 h 4837661"/>
                <a:gd name="connsiteX3679" fmla="*/ 8442269 w 10048557"/>
                <a:gd name="connsiteY3679" fmla="*/ 374827 h 4837661"/>
                <a:gd name="connsiteX3680" fmla="*/ 8481881 w 10048557"/>
                <a:gd name="connsiteY3680" fmla="*/ 382563 h 4837661"/>
                <a:gd name="connsiteX3681" fmla="*/ 8544208 w 10048557"/>
                <a:gd name="connsiteY3681" fmla="*/ 373476 h 4837661"/>
                <a:gd name="connsiteX3682" fmla="*/ 8578187 w 10048557"/>
                <a:gd name="connsiteY3682" fmla="*/ 368933 h 4837661"/>
                <a:gd name="connsiteX3683" fmla="*/ 8608037 w 10048557"/>
                <a:gd name="connsiteY3683" fmla="*/ 370530 h 4837661"/>
                <a:gd name="connsiteX3684" fmla="*/ 8644269 w 10048557"/>
                <a:gd name="connsiteY3684" fmla="*/ 382317 h 4837661"/>
                <a:gd name="connsiteX3685" fmla="*/ 8667173 w 10048557"/>
                <a:gd name="connsiteY3685" fmla="*/ 388334 h 4837661"/>
                <a:gd name="connsiteX3686" fmla="*/ 8690264 w 10048557"/>
                <a:gd name="connsiteY3686" fmla="*/ 397421 h 4837661"/>
                <a:gd name="connsiteX3687" fmla="*/ 8706221 w 10048557"/>
                <a:gd name="connsiteY3687" fmla="*/ 402455 h 4837661"/>
                <a:gd name="connsiteX3688" fmla="*/ 8718049 w 10048557"/>
                <a:gd name="connsiteY3688" fmla="*/ 398649 h 4837661"/>
                <a:gd name="connsiteX3689" fmla="*/ 8709037 w 10048557"/>
                <a:gd name="connsiteY3689" fmla="*/ 382808 h 4837661"/>
                <a:gd name="connsiteX3690" fmla="*/ 8691954 w 10048557"/>
                <a:gd name="connsiteY3690" fmla="*/ 371880 h 4837661"/>
                <a:gd name="connsiteX3691" fmla="*/ 8688199 w 10048557"/>
                <a:gd name="connsiteY3691" fmla="*/ 362917 h 4837661"/>
                <a:gd name="connsiteX3692" fmla="*/ 8707348 w 10048557"/>
                <a:gd name="connsiteY3692" fmla="*/ 360584 h 4837661"/>
                <a:gd name="connsiteX3693" fmla="*/ 8730815 w 10048557"/>
                <a:gd name="connsiteY3693" fmla="*/ 358987 h 4837661"/>
                <a:gd name="connsiteX3694" fmla="*/ 8755595 w 10048557"/>
                <a:gd name="connsiteY3694" fmla="*/ 362057 h 4837661"/>
                <a:gd name="connsiteX3695" fmla="*/ 8773242 w 10048557"/>
                <a:gd name="connsiteY3695" fmla="*/ 372740 h 4837661"/>
                <a:gd name="connsiteX3696" fmla="*/ 8800463 w 10048557"/>
                <a:gd name="connsiteY3696" fmla="*/ 374213 h 4837661"/>
                <a:gd name="connsiteX3697" fmla="*/ 8835194 w 10048557"/>
                <a:gd name="connsiteY3697" fmla="*/ 375687 h 4837661"/>
                <a:gd name="connsiteX3698" fmla="*/ 8873116 w 10048557"/>
                <a:gd name="connsiteY3698" fmla="*/ 374213 h 4837661"/>
                <a:gd name="connsiteX3699" fmla="*/ 8890575 w 10048557"/>
                <a:gd name="connsiteY3699" fmla="*/ 383545 h 4837661"/>
                <a:gd name="connsiteX3700" fmla="*/ 8909349 w 10048557"/>
                <a:gd name="connsiteY3700" fmla="*/ 388089 h 4837661"/>
                <a:gd name="connsiteX3701" fmla="*/ 8953653 w 10048557"/>
                <a:gd name="connsiteY3701" fmla="*/ 390299 h 4837661"/>
                <a:gd name="connsiteX3702" fmla="*/ 8970925 w 10048557"/>
                <a:gd name="connsiteY3702" fmla="*/ 394105 h 4837661"/>
                <a:gd name="connsiteX3703" fmla="*/ 9000399 w 10048557"/>
                <a:gd name="connsiteY3703" fmla="*/ 410068 h 4837661"/>
                <a:gd name="connsiteX3704" fmla="*/ 9024053 w 10048557"/>
                <a:gd name="connsiteY3704" fmla="*/ 422101 h 4837661"/>
                <a:gd name="connsiteX3705" fmla="*/ 9054654 w 10048557"/>
                <a:gd name="connsiteY3705" fmla="*/ 425539 h 4837661"/>
                <a:gd name="connsiteX3706" fmla="*/ 9075867 w 10048557"/>
                <a:gd name="connsiteY3706" fmla="*/ 430819 h 4837661"/>
                <a:gd name="connsiteX3707" fmla="*/ 9095579 w 10048557"/>
                <a:gd name="connsiteY3707" fmla="*/ 436099 h 4837661"/>
                <a:gd name="connsiteX3708" fmla="*/ 9123551 w 10048557"/>
                <a:gd name="connsiteY3708" fmla="*/ 436099 h 4837661"/>
                <a:gd name="connsiteX3709" fmla="*/ 9139884 w 10048557"/>
                <a:gd name="connsiteY3709" fmla="*/ 441871 h 4837661"/>
                <a:gd name="connsiteX3710" fmla="*/ 9173489 w 10048557"/>
                <a:gd name="connsiteY3710" fmla="*/ 456114 h 4837661"/>
                <a:gd name="connsiteX3711" fmla="*/ 9182500 w 10048557"/>
                <a:gd name="connsiteY3711" fmla="*/ 468148 h 4837661"/>
                <a:gd name="connsiteX3712" fmla="*/ 9202775 w 10048557"/>
                <a:gd name="connsiteY3712" fmla="*/ 478462 h 4837661"/>
                <a:gd name="connsiteX3713" fmla="*/ 9220797 w 10048557"/>
                <a:gd name="connsiteY3713" fmla="*/ 468148 h 4837661"/>
                <a:gd name="connsiteX3714" fmla="*/ 9231310 w 10048557"/>
                <a:gd name="connsiteY3714" fmla="*/ 462008 h 4837661"/>
                <a:gd name="connsiteX3715" fmla="*/ 9248019 w 10048557"/>
                <a:gd name="connsiteY3715" fmla="*/ 461271 h 4837661"/>
                <a:gd name="connsiteX3716" fmla="*/ 9261347 w 10048557"/>
                <a:gd name="connsiteY3716" fmla="*/ 461271 h 4837661"/>
                <a:gd name="connsiteX3717" fmla="*/ 9282186 w 10048557"/>
                <a:gd name="connsiteY3717" fmla="*/ 474410 h 4837661"/>
                <a:gd name="connsiteX3718" fmla="*/ 9305653 w 10048557"/>
                <a:gd name="connsiteY3718" fmla="*/ 493319 h 4837661"/>
                <a:gd name="connsiteX3719" fmla="*/ 9324613 w 10048557"/>
                <a:gd name="connsiteY3719" fmla="*/ 507931 h 4837661"/>
                <a:gd name="connsiteX3720" fmla="*/ 9338318 w 10048557"/>
                <a:gd name="connsiteY3720" fmla="*/ 516281 h 4837661"/>
                <a:gd name="connsiteX3721" fmla="*/ 9331935 w 10048557"/>
                <a:gd name="connsiteY3721" fmla="*/ 522298 h 4837661"/>
                <a:gd name="connsiteX3722" fmla="*/ 9305089 w 10048557"/>
                <a:gd name="connsiteY3722" fmla="*/ 533594 h 4837661"/>
                <a:gd name="connsiteX3723" fmla="*/ 9276366 w 10048557"/>
                <a:gd name="connsiteY3723" fmla="*/ 524508 h 4837661"/>
                <a:gd name="connsiteX3724" fmla="*/ 9243325 w 10048557"/>
                <a:gd name="connsiteY3724" fmla="*/ 510633 h 4837661"/>
                <a:gd name="connsiteX3725" fmla="*/ 9230559 w 10048557"/>
                <a:gd name="connsiteY3725" fmla="*/ 497371 h 4837661"/>
                <a:gd name="connsiteX3726" fmla="*/ 9214414 w 10048557"/>
                <a:gd name="connsiteY3726" fmla="*/ 500196 h 4837661"/>
                <a:gd name="connsiteX3727" fmla="*/ 9189258 w 10048557"/>
                <a:gd name="connsiteY3727" fmla="*/ 497494 h 4837661"/>
                <a:gd name="connsiteX3728" fmla="*/ 9166730 w 10048557"/>
                <a:gd name="connsiteY3728" fmla="*/ 491478 h 4837661"/>
                <a:gd name="connsiteX3729" fmla="*/ 9144765 w 10048557"/>
                <a:gd name="connsiteY3729" fmla="*/ 490741 h 4837661"/>
                <a:gd name="connsiteX3730" fmla="*/ 9124866 w 10048557"/>
                <a:gd name="connsiteY3730" fmla="*/ 480058 h 4837661"/>
                <a:gd name="connsiteX3731" fmla="*/ 9106468 w 10048557"/>
                <a:gd name="connsiteY3731" fmla="*/ 488408 h 4837661"/>
                <a:gd name="connsiteX3732" fmla="*/ 9123551 w 10048557"/>
                <a:gd name="connsiteY3732" fmla="*/ 505475 h 4837661"/>
                <a:gd name="connsiteX3733" fmla="*/ 9141574 w 10048557"/>
                <a:gd name="connsiteY3733" fmla="*/ 513580 h 4837661"/>
                <a:gd name="connsiteX3734" fmla="*/ 9139321 w 10048557"/>
                <a:gd name="connsiteY3734" fmla="*/ 523894 h 4837661"/>
                <a:gd name="connsiteX3735" fmla="*/ 9121111 w 10048557"/>
                <a:gd name="connsiteY3735" fmla="*/ 523157 h 4837661"/>
                <a:gd name="connsiteX3736" fmla="*/ 9104591 w 10048557"/>
                <a:gd name="connsiteY3736" fmla="*/ 519842 h 4837661"/>
                <a:gd name="connsiteX3737" fmla="*/ 9082250 w 10048557"/>
                <a:gd name="connsiteY3737" fmla="*/ 509651 h 4837661"/>
                <a:gd name="connsiteX3738" fmla="*/ 9066856 w 10048557"/>
                <a:gd name="connsiteY3738" fmla="*/ 519351 h 4837661"/>
                <a:gd name="connsiteX3739" fmla="*/ 9079810 w 10048557"/>
                <a:gd name="connsiteY3739" fmla="*/ 536050 h 4837661"/>
                <a:gd name="connsiteX3740" fmla="*/ 9108721 w 10048557"/>
                <a:gd name="connsiteY3740" fmla="*/ 552013 h 4837661"/>
                <a:gd name="connsiteX3741" fmla="*/ 9139509 w 10048557"/>
                <a:gd name="connsiteY3741" fmla="*/ 555205 h 4837661"/>
                <a:gd name="connsiteX3742" fmla="*/ 9169171 w 10048557"/>
                <a:gd name="connsiteY3742" fmla="*/ 566625 h 4837661"/>
                <a:gd name="connsiteX3743" fmla="*/ 9193388 w 10048557"/>
                <a:gd name="connsiteY3743" fmla="*/ 582342 h 4837661"/>
                <a:gd name="connsiteX3744" fmla="*/ 9233751 w 10048557"/>
                <a:gd name="connsiteY3744" fmla="*/ 591306 h 4837661"/>
                <a:gd name="connsiteX3745" fmla="*/ 9220797 w 10048557"/>
                <a:gd name="connsiteY3745" fmla="*/ 608005 h 4837661"/>
                <a:gd name="connsiteX3746" fmla="*/ 9187756 w 10048557"/>
                <a:gd name="connsiteY3746" fmla="*/ 606777 h 4837661"/>
                <a:gd name="connsiteX3747" fmla="*/ 9167481 w 10048557"/>
                <a:gd name="connsiteY3747" fmla="*/ 604444 h 4837661"/>
                <a:gd name="connsiteX3748" fmla="*/ 9159409 w 10048557"/>
                <a:gd name="connsiteY3748" fmla="*/ 604444 h 4837661"/>
                <a:gd name="connsiteX3749" fmla="*/ 9137819 w 10048557"/>
                <a:gd name="connsiteY3749" fmla="*/ 616846 h 4837661"/>
                <a:gd name="connsiteX3750" fmla="*/ 9124303 w 10048557"/>
                <a:gd name="connsiteY3750" fmla="*/ 630353 h 4837661"/>
                <a:gd name="connsiteX3751" fmla="*/ 9120735 w 10048557"/>
                <a:gd name="connsiteY3751" fmla="*/ 648526 h 4837661"/>
                <a:gd name="connsiteX3752" fmla="*/ 9099897 w 10048557"/>
                <a:gd name="connsiteY3752" fmla="*/ 661173 h 4837661"/>
                <a:gd name="connsiteX3753" fmla="*/ 9083001 w 10048557"/>
                <a:gd name="connsiteY3753" fmla="*/ 673698 h 4837661"/>
                <a:gd name="connsiteX3754" fmla="*/ 9069297 w 10048557"/>
                <a:gd name="connsiteY3754" fmla="*/ 673698 h 4837661"/>
                <a:gd name="connsiteX3755" fmla="*/ 9057282 w 10048557"/>
                <a:gd name="connsiteY3755" fmla="*/ 667190 h 4837661"/>
                <a:gd name="connsiteX3756" fmla="*/ 9047707 w 10048557"/>
                <a:gd name="connsiteY3756" fmla="*/ 661173 h 4837661"/>
                <a:gd name="connsiteX3757" fmla="*/ 9041137 w 10048557"/>
                <a:gd name="connsiteY3757" fmla="*/ 646070 h 4837661"/>
                <a:gd name="connsiteX3758" fmla="*/ 9030436 w 10048557"/>
                <a:gd name="connsiteY3758" fmla="*/ 646070 h 4837661"/>
                <a:gd name="connsiteX3759" fmla="*/ 9021613 w 10048557"/>
                <a:gd name="connsiteY3759" fmla="*/ 658594 h 4837661"/>
                <a:gd name="connsiteX3760" fmla="*/ 9012038 w 10048557"/>
                <a:gd name="connsiteY3760" fmla="*/ 670014 h 4837661"/>
                <a:gd name="connsiteX3761" fmla="*/ 9002276 w 10048557"/>
                <a:gd name="connsiteY3761" fmla="*/ 677504 h 4837661"/>
                <a:gd name="connsiteX3762" fmla="*/ 8992326 w 10048557"/>
                <a:gd name="connsiteY3762" fmla="*/ 679837 h 4837661"/>
                <a:gd name="connsiteX3763" fmla="*/ 8976745 w 10048557"/>
                <a:gd name="connsiteY3763" fmla="*/ 684135 h 4837661"/>
                <a:gd name="connsiteX3764" fmla="*/ 8950087 w 10048557"/>
                <a:gd name="connsiteY3764" fmla="*/ 686345 h 4837661"/>
                <a:gd name="connsiteX3765" fmla="*/ 8930750 w 10048557"/>
                <a:gd name="connsiteY3765" fmla="*/ 698992 h 4837661"/>
                <a:gd name="connsiteX3766" fmla="*/ 8933754 w 10048557"/>
                <a:gd name="connsiteY3766" fmla="*/ 709675 h 4837661"/>
                <a:gd name="connsiteX3767" fmla="*/ 8939198 w 10048557"/>
                <a:gd name="connsiteY3767" fmla="*/ 720235 h 4837661"/>
                <a:gd name="connsiteX3768" fmla="*/ 8949711 w 10048557"/>
                <a:gd name="connsiteY3768" fmla="*/ 729567 h 4837661"/>
                <a:gd name="connsiteX3769" fmla="*/ 8943891 w 10048557"/>
                <a:gd name="connsiteY3769" fmla="*/ 746635 h 4837661"/>
                <a:gd name="connsiteX3770" fmla="*/ 8953841 w 10048557"/>
                <a:gd name="connsiteY3770" fmla="*/ 760264 h 4837661"/>
                <a:gd name="connsiteX3771" fmla="*/ 8972051 w 10048557"/>
                <a:gd name="connsiteY3771" fmla="*/ 755967 h 4837661"/>
                <a:gd name="connsiteX3772" fmla="*/ 8989135 w 10048557"/>
                <a:gd name="connsiteY3772" fmla="*/ 760510 h 4837661"/>
                <a:gd name="connsiteX3773" fmla="*/ 8996832 w 10048557"/>
                <a:gd name="connsiteY3773" fmla="*/ 777209 h 4837661"/>
                <a:gd name="connsiteX3774" fmla="*/ 9017107 w 10048557"/>
                <a:gd name="connsiteY3774" fmla="*/ 786173 h 4837661"/>
                <a:gd name="connsiteX3775" fmla="*/ 9032501 w 10048557"/>
                <a:gd name="connsiteY3775" fmla="*/ 796119 h 4837661"/>
                <a:gd name="connsiteX3776" fmla="*/ 9035693 w 10048557"/>
                <a:gd name="connsiteY3776" fmla="*/ 808644 h 4837661"/>
                <a:gd name="connsiteX3777" fmla="*/ 9043014 w 10048557"/>
                <a:gd name="connsiteY3777" fmla="*/ 835166 h 4837661"/>
                <a:gd name="connsiteX3778" fmla="*/ 9051650 w 10048557"/>
                <a:gd name="connsiteY3778" fmla="*/ 841428 h 4837661"/>
                <a:gd name="connsiteX3779" fmla="*/ 9059723 w 10048557"/>
                <a:gd name="connsiteY3779" fmla="*/ 853462 h 4837661"/>
                <a:gd name="connsiteX3780" fmla="*/ 9065730 w 10048557"/>
                <a:gd name="connsiteY3780" fmla="*/ 869179 h 4837661"/>
                <a:gd name="connsiteX3781" fmla="*/ 9051275 w 10048557"/>
                <a:gd name="connsiteY3781" fmla="*/ 872740 h 4837661"/>
                <a:gd name="connsiteX3782" fmla="*/ 9042451 w 10048557"/>
                <a:gd name="connsiteY3782" fmla="*/ 879739 h 4837661"/>
                <a:gd name="connsiteX3783" fmla="*/ 9043202 w 10048557"/>
                <a:gd name="connsiteY3783" fmla="*/ 891035 h 4837661"/>
                <a:gd name="connsiteX3784" fmla="*/ 9049209 w 10048557"/>
                <a:gd name="connsiteY3784" fmla="*/ 903192 h 4837661"/>
                <a:gd name="connsiteX3785" fmla="*/ 9056155 w 10048557"/>
                <a:gd name="connsiteY3785" fmla="*/ 915962 h 4837661"/>
                <a:gd name="connsiteX3786" fmla="*/ 9047520 w 10048557"/>
                <a:gd name="connsiteY3786" fmla="*/ 920259 h 4837661"/>
                <a:gd name="connsiteX3787" fmla="*/ 9049773 w 10048557"/>
                <a:gd name="connsiteY3787" fmla="*/ 941502 h 4837661"/>
                <a:gd name="connsiteX3788" fmla="*/ 9060849 w 10048557"/>
                <a:gd name="connsiteY3788" fmla="*/ 956237 h 4837661"/>
                <a:gd name="connsiteX3789" fmla="*/ 9064416 w 10048557"/>
                <a:gd name="connsiteY3789" fmla="*/ 970358 h 4837661"/>
                <a:gd name="connsiteX3790" fmla="*/ 9055780 w 10048557"/>
                <a:gd name="connsiteY3790" fmla="*/ 969621 h 4837661"/>
                <a:gd name="connsiteX3791" fmla="*/ 9046769 w 10048557"/>
                <a:gd name="connsiteY3791" fmla="*/ 978216 h 4837661"/>
                <a:gd name="connsiteX3792" fmla="*/ 9035880 w 10048557"/>
                <a:gd name="connsiteY3792" fmla="*/ 987057 h 4837661"/>
                <a:gd name="connsiteX3793" fmla="*/ 9023302 w 10048557"/>
                <a:gd name="connsiteY3793" fmla="*/ 976374 h 4837661"/>
                <a:gd name="connsiteX3794" fmla="*/ 9004529 w 10048557"/>
                <a:gd name="connsiteY3794" fmla="*/ 966797 h 4837661"/>
                <a:gd name="connsiteX3795" fmla="*/ 8997020 w 10048557"/>
                <a:gd name="connsiteY3795" fmla="*/ 946168 h 4837661"/>
                <a:gd name="connsiteX3796" fmla="*/ 8985568 w 10048557"/>
                <a:gd name="connsiteY3796" fmla="*/ 936345 h 4837661"/>
                <a:gd name="connsiteX3797" fmla="*/ 8976557 w 10048557"/>
                <a:gd name="connsiteY3797" fmla="*/ 920382 h 4837661"/>
                <a:gd name="connsiteX3798" fmla="*/ 8967358 w 10048557"/>
                <a:gd name="connsiteY3798" fmla="*/ 918909 h 4837661"/>
                <a:gd name="connsiteX3799" fmla="*/ 8949899 w 10048557"/>
                <a:gd name="connsiteY3799" fmla="*/ 920382 h 4837661"/>
                <a:gd name="connsiteX3800" fmla="*/ 8949148 w 10048557"/>
                <a:gd name="connsiteY3800" fmla="*/ 898771 h 4837661"/>
                <a:gd name="connsiteX3801" fmla="*/ 8938447 w 10048557"/>
                <a:gd name="connsiteY3801" fmla="*/ 896438 h 4837661"/>
                <a:gd name="connsiteX3802" fmla="*/ 8925681 w 10048557"/>
                <a:gd name="connsiteY3802" fmla="*/ 887352 h 4837661"/>
                <a:gd name="connsiteX3803" fmla="*/ 8906157 w 10048557"/>
                <a:gd name="connsiteY3803" fmla="*/ 869179 h 4837661"/>
                <a:gd name="connsiteX3804" fmla="*/ 8895831 w 10048557"/>
                <a:gd name="connsiteY3804" fmla="*/ 863899 h 4837661"/>
                <a:gd name="connsiteX3805" fmla="*/ 8888885 w 10048557"/>
                <a:gd name="connsiteY3805" fmla="*/ 844007 h 4837661"/>
                <a:gd name="connsiteX3806" fmla="*/ 8879687 w 10048557"/>
                <a:gd name="connsiteY3806" fmla="*/ 833938 h 4837661"/>
                <a:gd name="connsiteX3807" fmla="*/ 8865607 w 10048557"/>
                <a:gd name="connsiteY3807" fmla="*/ 820554 h 4837661"/>
                <a:gd name="connsiteX3808" fmla="*/ 8862603 w 10048557"/>
                <a:gd name="connsiteY3808" fmla="*/ 800539 h 4837661"/>
                <a:gd name="connsiteX3809" fmla="*/ 8841389 w 10048557"/>
                <a:gd name="connsiteY3809" fmla="*/ 779665 h 4837661"/>
                <a:gd name="connsiteX3810" fmla="*/ 8843829 w 10048557"/>
                <a:gd name="connsiteY3810" fmla="*/ 765544 h 4837661"/>
                <a:gd name="connsiteX3811" fmla="*/ 8856032 w 10048557"/>
                <a:gd name="connsiteY3811" fmla="*/ 751178 h 4837661"/>
                <a:gd name="connsiteX3812" fmla="*/ 8868235 w 10048557"/>
                <a:gd name="connsiteY3812" fmla="*/ 729444 h 4837661"/>
                <a:gd name="connsiteX3813" fmla="*/ 8862791 w 10048557"/>
                <a:gd name="connsiteY3813" fmla="*/ 704027 h 4837661"/>
                <a:gd name="connsiteX3814" fmla="*/ 8868610 w 10048557"/>
                <a:gd name="connsiteY3814" fmla="*/ 682293 h 4837661"/>
                <a:gd name="connsiteX3815" fmla="*/ 8885131 w 10048557"/>
                <a:gd name="connsiteY3815" fmla="*/ 664120 h 4837661"/>
                <a:gd name="connsiteX3816" fmla="*/ 8882127 w 10048557"/>
                <a:gd name="connsiteY3816" fmla="*/ 651964 h 4837661"/>
                <a:gd name="connsiteX3817" fmla="*/ 8868986 w 10048557"/>
                <a:gd name="connsiteY3817" fmla="*/ 636369 h 4837661"/>
                <a:gd name="connsiteX3818" fmla="*/ 8861289 w 10048557"/>
                <a:gd name="connsiteY3818" fmla="*/ 614881 h 4837661"/>
                <a:gd name="connsiteX3819" fmla="*/ 8852841 w 10048557"/>
                <a:gd name="connsiteY3819" fmla="*/ 597445 h 4837661"/>
                <a:gd name="connsiteX3820" fmla="*/ 8838949 w 10048557"/>
                <a:gd name="connsiteY3820" fmla="*/ 595849 h 4837661"/>
                <a:gd name="connsiteX3821" fmla="*/ 8825244 w 10048557"/>
                <a:gd name="connsiteY3821" fmla="*/ 601620 h 4837661"/>
                <a:gd name="connsiteX3822" fmla="*/ 8815482 w 10048557"/>
                <a:gd name="connsiteY3822" fmla="*/ 610338 h 4837661"/>
                <a:gd name="connsiteX3823" fmla="*/ 8815482 w 10048557"/>
                <a:gd name="connsiteY3823" fmla="*/ 625441 h 4837661"/>
                <a:gd name="connsiteX3824" fmla="*/ 8816233 w 10048557"/>
                <a:gd name="connsiteY3824" fmla="*/ 642386 h 4837661"/>
                <a:gd name="connsiteX3825" fmla="*/ 8801777 w 10048557"/>
                <a:gd name="connsiteY3825" fmla="*/ 650736 h 4837661"/>
                <a:gd name="connsiteX3826" fmla="*/ 8783004 w 10048557"/>
                <a:gd name="connsiteY3826" fmla="*/ 648649 h 4837661"/>
                <a:gd name="connsiteX3827" fmla="*/ 8779249 w 10048557"/>
                <a:gd name="connsiteY3827" fmla="*/ 636615 h 4837661"/>
                <a:gd name="connsiteX3828" fmla="*/ 8767798 w 10048557"/>
                <a:gd name="connsiteY3828" fmla="*/ 622249 h 4837661"/>
                <a:gd name="connsiteX3829" fmla="*/ 8743768 w 10048557"/>
                <a:gd name="connsiteY3829" fmla="*/ 627774 h 4837661"/>
                <a:gd name="connsiteX3830" fmla="*/ 8735320 w 10048557"/>
                <a:gd name="connsiteY3830" fmla="*/ 618688 h 4837661"/>
                <a:gd name="connsiteX3831" fmla="*/ 8712417 w 10048557"/>
                <a:gd name="connsiteY3831" fmla="*/ 615495 h 4837661"/>
                <a:gd name="connsiteX3832" fmla="*/ 8691203 w 10048557"/>
                <a:gd name="connsiteY3832" fmla="*/ 622249 h 4837661"/>
                <a:gd name="connsiteX3833" fmla="*/ 8682379 w 10048557"/>
                <a:gd name="connsiteY3833" fmla="*/ 642632 h 4837661"/>
                <a:gd name="connsiteX3834" fmla="*/ 8673368 w 10048557"/>
                <a:gd name="connsiteY3834" fmla="*/ 663138 h 4837661"/>
                <a:gd name="connsiteX3835" fmla="*/ 8689325 w 10048557"/>
                <a:gd name="connsiteY3835" fmla="*/ 674434 h 4837661"/>
                <a:gd name="connsiteX3836" fmla="*/ 8697961 w 10048557"/>
                <a:gd name="connsiteY3836" fmla="*/ 706237 h 4837661"/>
                <a:gd name="connsiteX3837" fmla="*/ 8677686 w 10048557"/>
                <a:gd name="connsiteY3837" fmla="*/ 708570 h 4837661"/>
                <a:gd name="connsiteX3838" fmla="*/ 8653469 w 10048557"/>
                <a:gd name="connsiteY3838" fmla="*/ 719130 h 4837661"/>
                <a:gd name="connsiteX3839" fmla="*/ 8631691 w 10048557"/>
                <a:gd name="connsiteY3839" fmla="*/ 718393 h 4837661"/>
                <a:gd name="connsiteX3840" fmla="*/ 8622493 w 10048557"/>
                <a:gd name="connsiteY3840" fmla="*/ 712253 h 4837661"/>
                <a:gd name="connsiteX3841" fmla="*/ 8603531 w 10048557"/>
                <a:gd name="connsiteY3841" fmla="*/ 704027 h 4837661"/>
                <a:gd name="connsiteX3842" fmla="*/ 8593582 w 10048557"/>
                <a:gd name="connsiteY3842" fmla="*/ 694204 h 4837661"/>
                <a:gd name="connsiteX3843" fmla="*/ 8583632 w 10048557"/>
                <a:gd name="connsiteY3843" fmla="*/ 689660 h 4837661"/>
                <a:gd name="connsiteX3844" fmla="*/ 8563169 w 10048557"/>
                <a:gd name="connsiteY3844" fmla="*/ 694204 h 4837661"/>
                <a:gd name="connsiteX3845" fmla="*/ 8549465 w 10048557"/>
                <a:gd name="connsiteY3845" fmla="*/ 698010 h 4837661"/>
                <a:gd name="connsiteX3846" fmla="*/ 8523745 w 10048557"/>
                <a:gd name="connsiteY3846" fmla="*/ 706360 h 4837661"/>
                <a:gd name="connsiteX3847" fmla="*/ 8498964 w 10048557"/>
                <a:gd name="connsiteY3847" fmla="*/ 707097 h 4837661"/>
                <a:gd name="connsiteX3848" fmla="*/ 8478501 w 10048557"/>
                <a:gd name="connsiteY3848" fmla="*/ 705500 h 4837661"/>
                <a:gd name="connsiteX3849" fmla="*/ 8459165 w 10048557"/>
                <a:gd name="connsiteY3849" fmla="*/ 700957 h 4837661"/>
                <a:gd name="connsiteX3850" fmla="*/ 8440392 w 10048557"/>
                <a:gd name="connsiteY3850" fmla="*/ 700957 h 4837661"/>
                <a:gd name="connsiteX3851" fmla="*/ 8417301 w 10048557"/>
                <a:gd name="connsiteY3851" fmla="*/ 704518 h 4837661"/>
                <a:gd name="connsiteX3852" fmla="*/ 8400780 w 10048557"/>
                <a:gd name="connsiteY3852" fmla="*/ 710289 h 4837661"/>
                <a:gd name="connsiteX3853" fmla="*/ 8387827 w 10048557"/>
                <a:gd name="connsiteY3853" fmla="*/ 720726 h 4837661"/>
                <a:gd name="connsiteX3854" fmla="*/ 8368490 w 10048557"/>
                <a:gd name="connsiteY3854" fmla="*/ 734601 h 4837661"/>
                <a:gd name="connsiteX3855" fmla="*/ 8354973 w 10048557"/>
                <a:gd name="connsiteY3855" fmla="*/ 750932 h 4837661"/>
                <a:gd name="connsiteX3856" fmla="*/ 8348966 w 10048557"/>
                <a:gd name="connsiteY3856" fmla="*/ 765299 h 4837661"/>
                <a:gd name="connsiteX3857" fmla="*/ 8352533 w 10048557"/>
                <a:gd name="connsiteY3857" fmla="*/ 786910 h 4837661"/>
                <a:gd name="connsiteX3858" fmla="*/ 8338641 w 10048557"/>
                <a:gd name="connsiteY3858" fmla="*/ 830132 h 4837661"/>
                <a:gd name="connsiteX3859" fmla="*/ 8329441 w 10048557"/>
                <a:gd name="connsiteY3859" fmla="*/ 840692 h 4837661"/>
                <a:gd name="connsiteX3860" fmla="*/ 8314423 w 10048557"/>
                <a:gd name="connsiteY3860" fmla="*/ 851374 h 4837661"/>
                <a:gd name="connsiteX3861" fmla="*/ 8325687 w 10048557"/>
                <a:gd name="connsiteY3861" fmla="*/ 865741 h 4837661"/>
                <a:gd name="connsiteX3862" fmla="*/ 8348215 w 10048557"/>
                <a:gd name="connsiteY3862" fmla="*/ 865741 h 4837661"/>
                <a:gd name="connsiteX3863" fmla="*/ 8362670 w 10048557"/>
                <a:gd name="connsiteY3863" fmla="*/ 875564 h 4837661"/>
                <a:gd name="connsiteX3864" fmla="*/ 8373371 w 10048557"/>
                <a:gd name="connsiteY3864" fmla="*/ 883914 h 4837661"/>
                <a:gd name="connsiteX3865" fmla="*/ 8400968 w 10048557"/>
                <a:gd name="connsiteY3865" fmla="*/ 887720 h 4837661"/>
                <a:gd name="connsiteX3866" fmla="*/ 8415987 w 10048557"/>
                <a:gd name="connsiteY3866" fmla="*/ 892263 h 4837661"/>
                <a:gd name="connsiteX3867" fmla="*/ 8434009 w 10048557"/>
                <a:gd name="connsiteY3867" fmla="*/ 889194 h 4837661"/>
                <a:gd name="connsiteX3868" fmla="*/ 8452407 w 10048557"/>
                <a:gd name="connsiteY3868" fmla="*/ 880844 h 4837661"/>
                <a:gd name="connsiteX3869" fmla="*/ 8467613 w 10048557"/>
                <a:gd name="connsiteY3869" fmla="*/ 878511 h 4837661"/>
                <a:gd name="connsiteX3870" fmla="*/ 8485823 w 10048557"/>
                <a:gd name="connsiteY3870" fmla="*/ 887720 h 4837661"/>
                <a:gd name="connsiteX3871" fmla="*/ 8499527 w 10048557"/>
                <a:gd name="connsiteY3871" fmla="*/ 907366 h 4837661"/>
                <a:gd name="connsiteX3872" fmla="*/ 8519803 w 10048557"/>
                <a:gd name="connsiteY3872" fmla="*/ 914857 h 4837661"/>
                <a:gd name="connsiteX3873" fmla="*/ 8544771 w 10048557"/>
                <a:gd name="connsiteY3873" fmla="*/ 935854 h 4837661"/>
                <a:gd name="connsiteX3874" fmla="*/ 8556411 w 10048557"/>
                <a:gd name="connsiteY3874" fmla="*/ 950097 h 4837661"/>
                <a:gd name="connsiteX3875" fmla="*/ 8560916 w 10048557"/>
                <a:gd name="connsiteY3875" fmla="*/ 968147 h 4837661"/>
                <a:gd name="connsiteX3876" fmla="*/ 8569177 w 10048557"/>
                <a:gd name="connsiteY3876" fmla="*/ 979321 h 4837661"/>
                <a:gd name="connsiteX3877" fmla="*/ 8583632 w 10048557"/>
                <a:gd name="connsiteY3877" fmla="*/ 1004248 h 4837661"/>
                <a:gd name="connsiteX3878" fmla="*/ 8593769 w 10048557"/>
                <a:gd name="connsiteY3878" fmla="*/ 1003265 h 4837661"/>
                <a:gd name="connsiteX3879" fmla="*/ 8607474 w 10048557"/>
                <a:gd name="connsiteY3879" fmla="*/ 1012475 h 4837661"/>
                <a:gd name="connsiteX3880" fmla="*/ 8612731 w 10048557"/>
                <a:gd name="connsiteY3880" fmla="*/ 1039734 h 4837661"/>
                <a:gd name="connsiteX3881" fmla="*/ 8620803 w 10048557"/>
                <a:gd name="connsiteY3881" fmla="*/ 1054714 h 4837661"/>
                <a:gd name="connsiteX3882" fmla="*/ 8630565 w 10048557"/>
                <a:gd name="connsiteY3882" fmla="*/ 1071536 h 4837661"/>
                <a:gd name="connsiteX3883" fmla="*/ 8629251 w 10048557"/>
                <a:gd name="connsiteY3883" fmla="*/ 1092042 h 4837661"/>
                <a:gd name="connsiteX3884" fmla="*/ 8619301 w 10048557"/>
                <a:gd name="connsiteY3884" fmla="*/ 1107145 h 4837661"/>
                <a:gd name="connsiteX3885" fmla="*/ 8619301 w 10048557"/>
                <a:gd name="connsiteY3885" fmla="*/ 1128020 h 4837661"/>
                <a:gd name="connsiteX3886" fmla="*/ 8631504 w 10048557"/>
                <a:gd name="connsiteY3886" fmla="*/ 1146193 h 4837661"/>
                <a:gd name="connsiteX3887" fmla="*/ 8621742 w 10048557"/>
                <a:gd name="connsiteY3887" fmla="*/ 1170505 h 4837661"/>
                <a:gd name="connsiteX3888" fmla="*/ 8612167 w 10048557"/>
                <a:gd name="connsiteY3888" fmla="*/ 1186959 h 4837661"/>
                <a:gd name="connsiteX3889" fmla="*/ 8607849 w 10048557"/>
                <a:gd name="connsiteY3889" fmla="*/ 1205500 h 4837661"/>
                <a:gd name="connsiteX3890" fmla="*/ 8599214 w 10048557"/>
                <a:gd name="connsiteY3890" fmla="*/ 1223182 h 4837661"/>
                <a:gd name="connsiteX3891" fmla="*/ 8592267 w 10048557"/>
                <a:gd name="connsiteY3891" fmla="*/ 1243074 h 4837661"/>
                <a:gd name="connsiteX3892" fmla="*/ 8581379 w 10048557"/>
                <a:gd name="connsiteY3892" fmla="*/ 1265176 h 4837661"/>
                <a:gd name="connsiteX3893" fmla="*/ 8571241 w 10048557"/>
                <a:gd name="connsiteY3893" fmla="*/ 1278560 h 4837661"/>
                <a:gd name="connsiteX3894" fmla="*/ 8548338 w 10048557"/>
                <a:gd name="connsiteY3894" fmla="*/ 1279911 h 4837661"/>
                <a:gd name="connsiteX3895" fmla="*/ 8539890 w 10048557"/>
                <a:gd name="connsiteY3895" fmla="*/ 1276595 h 4837661"/>
                <a:gd name="connsiteX3896" fmla="*/ 8521305 w 10048557"/>
                <a:gd name="connsiteY3896" fmla="*/ 1265299 h 4837661"/>
                <a:gd name="connsiteX3897" fmla="*/ 8507412 w 10048557"/>
                <a:gd name="connsiteY3897" fmla="*/ 1256949 h 4837661"/>
                <a:gd name="connsiteX3898" fmla="*/ 8502719 w 10048557"/>
                <a:gd name="connsiteY3898" fmla="*/ 1273157 h 4837661"/>
                <a:gd name="connsiteX3899" fmla="*/ 8497838 w 10048557"/>
                <a:gd name="connsiteY3899" fmla="*/ 1296856 h 4837661"/>
                <a:gd name="connsiteX3900" fmla="*/ 8492581 w 10048557"/>
                <a:gd name="connsiteY3900" fmla="*/ 1308275 h 4837661"/>
                <a:gd name="connsiteX3901" fmla="*/ 8473245 w 10048557"/>
                <a:gd name="connsiteY3901" fmla="*/ 1313555 h 4837661"/>
                <a:gd name="connsiteX3902" fmla="*/ 8466674 w 10048557"/>
                <a:gd name="connsiteY3902" fmla="*/ 1337990 h 4837661"/>
                <a:gd name="connsiteX3903" fmla="*/ 8483946 w 10048557"/>
                <a:gd name="connsiteY3903" fmla="*/ 1336885 h 4837661"/>
                <a:gd name="connsiteX3904" fmla="*/ 8490329 w 10048557"/>
                <a:gd name="connsiteY3904" fmla="*/ 1355672 h 4837661"/>
                <a:gd name="connsiteX3905" fmla="*/ 8487513 w 10048557"/>
                <a:gd name="connsiteY3905" fmla="*/ 1369793 h 4837661"/>
                <a:gd name="connsiteX3906" fmla="*/ 8462169 w 10048557"/>
                <a:gd name="connsiteY3906" fmla="*/ 1382563 h 4837661"/>
                <a:gd name="connsiteX3907" fmla="*/ 8440955 w 10048557"/>
                <a:gd name="connsiteY3907" fmla="*/ 1393246 h 4837661"/>
                <a:gd name="connsiteX3908" fmla="*/ 8440955 w 10048557"/>
                <a:gd name="connsiteY3908" fmla="*/ 1409331 h 4837661"/>
                <a:gd name="connsiteX3909" fmla="*/ 8455973 w 10048557"/>
                <a:gd name="connsiteY3909" fmla="*/ 1418172 h 4837661"/>
                <a:gd name="connsiteX3910" fmla="*/ 8472682 w 10048557"/>
                <a:gd name="connsiteY3910" fmla="*/ 1433030 h 4837661"/>
                <a:gd name="connsiteX3911" fmla="*/ 8488263 w 10048557"/>
                <a:gd name="connsiteY3911" fmla="*/ 1442730 h 4837661"/>
                <a:gd name="connsiteX3912" fmla="*/ 8521305 w 10048557"/>
                <a:gd name="connsiteY3912" fmla="*/ 1463604 h 4837661"/>
                <a:gd name="connsiteX3913" fmla="*/ 8530691 w 10048557"/>
                <a:gd name="connsiteY3913" fmla="*/ 1464341 h 4837661"/>
                <a:gd name="connsiteX3914" fmla="*/ 8549840 w 10048557"/>
                <a:gd name="connsiteY3914" fmla="*/ 1484601 h 4837661"/>
                <a:gd name="connsiteX3915" fmla="*/ 8563545 w 10048557"/>
                <a:gd name="connsiteY3915" fmla="*/ 1507931 h 4837661"/>
                <a:gd name="connsiteX3916" fmla="*/ 8576123 w 10048557"/>
                <a:gd name="connsiteY3916" fmla="*/ 1526595 h 4837661"/>
                <a:gd name="connsiteX3917" fmla="*/ 8579689 w 10048557"/>
                <a:gd name="connsiteY3917" fmla="*/ 1550294 h 4837661"/>
                <a:gd name="connsiteX3918" fmla="*/ 8567862 w 10048557"/>
                <a:gd name="connsiteY3918" fmla="*/ 1557538 h 4837661"/>
                <a:gd name="connsiteX3919" fmla="*/ 8552656 w 10048557"/>
                <a:gd name="connsiteY3919" fmla="*/ 1564415 h 4837661"/>
                <a:gd name="connsiteX3920" fmla="*/ 8530316 w 10048557"/>
                <a:gd name="connsiteY3920" fmla="*/ 1575220 h 4837661"/>
                <a:gd name="connsiteX3921" fmla="*/ 8511355 w 10048557"/>
                <a:gd name="connsiteY3921" fmla="*/ 1589095 h 4837661"/>
                <a:gd name="connsiteX3922" fmla="*/ 8499152 w 10048557"/>
                <a:gd name="connsiteY3922" fmla="*/ 1583079 h 4837661"/>
                <a:gd name="connsiteX3923" fmla="*/ 8488076 w 10048557"/>
                <a:gd name="connsiteY3923" fmla="*/ 1568958 h 4837661"/>
                <a:gd name="connsiteX3924" fmla="*/ 8485823 w 10048557"/>
                <a:gd name="connsiteY3924" fmla="*/ 1550171 h 4837661"/>
                <a:gd name="connsiteX3925" fmla="*/ 8480567 w 10048557"/>
                <a:gd name="connsiteY3925" fmla="*/ 1531875 h 4837661"/>
                <a:gd name="connsiteX3926" fmla="*/ 8476624 w 10048557"/>
                <a:gd name="connsiteY3926" fmla="*/ 1517509 h 4837661"/>
                <a:gd name="connsiteX3927" fmla="*/ 8472119 w 10048557"/>
                <a:gd name="connsiteY3927" fmla="*/ 1498599 h 4837661"/>
                <a:gd name="connsiteX3928" fmla="*/ 8460855 w 10048557"/>
                <a:gd name="connsiteY3928" fmla="*/ 1487425 h 4837661"/>
                <a:gd name="connsiteX3929" fmla="*/ 8447150 w 10048557"/>
                <a:gd name="connsiteY3929" fmla="*/ 1465569 h 4837661"/>
                <a:gd name="connsiteX3930" fmla="*/ 8417488 w 10048557"/>
                <a:gd name="connsiteY3930" fmla="*/ 1454886 h 4837661"/>
                <a:gd name="connsiteX3931" fmla="*/ 8397401 w 10048557"/>
                <a:gd name="connsiteY3931" fmla="*/ 1455746 h 4837661"/>
                <a:gd name="connsiteX3932" fmla="*/ 8385198 w 10048557"/>
                <a:gd name="connsiteY3932" fmla="*/ 1445308 h 4837661"/>
                <a:gd name="connsiteX3933" fmla="*/ 8385949 w 10048557"/>
                <a:gd name="connsiteY3933" fmla="*/ 1427258 h 4837661"/>
                <a:gd name="connsiteX3934" fmla="*/ 8397776 w 10048557"/>
                <a:gd name="connsiteY3934" fmla="*/ 1420505 h 4837661"/>
                <a:gd name="connsiteX3935" fmla="*/ 8385574 w 10048557"/>
                <a:gd name="connsiteY3935" fmla="*/ 1404542 h 4837661"/>
                <a:gd name="connsiteX3936" fmla="*/ 8363797 w 10048557"/>
                <a:gd name="connsiteY3936" fmla="*/ 1394965 h 4837661"/>
                <a:gd name="connsiteX3937" fmla="*/ 8349529 w 10048557"/>
                <a:gd name="connsiteY3937" fmla="*/ 1388457 h 4837661"/>
                <a:gd name="connsiteX3938" fmla="*/ 8338453 w 10048557"/>
                <a:gd name="connsiteY3938" fmla="*/ 1384650 h 4837661"/>
                <a:gd name="connsiteX3939" fmla="*/ 8314799 w 10048557"/>
                <a:gd name="connsiteY3939" fmla="*/ 1390790 h 4837661"/>
                <a:gd name="connsiteX3940" fmla="*/ 8300531 w 10048557"/>
                <a:gd name="connsiteY3940" fmla="*/ 1401595 h 4837661"/>
                <a:gd name="connsiteX3941" fmla="*/ 8287202 w 10048557"/>
                <a:gd name="connsiteY3941" fmla="*/ 1413138 h 4837661"/>
                <a:gd name="connsiteX3942" fmla="*/ 8277252 w 10048557"/>
                <a:gd name="connsiteY3942" fmla="*/ 1415471 h 4837661"/>
                <a:gd name="connsiteX3943" fmla="*/ 8269555 w 10048557"/>
                <a:gd name="connsiteY3943" fmla="*/ 1407980 h 4837661"/>
                <a:gd name="connsiteX3944" fmla="*/ 8261295 w 10048557"/>
                <a:gd name="connsiteY3944" fmla="*/ 1394596 h 4837661"/>
                <a:gd name="connsiteX3945" fmla="*/ 8258479 w 10048557"/>
                <a:gd name="connsiteY3945" fmla="*/ 1372371 h 4837661"/>
                <a:gd name="connsiteX3946" fmla="*/ 8257165 w 10048557"/>
                <a:gd name="connsiteY3946" fmla="*/ 1359233 h 4837661"/>
                <a:gd name="connsiteX3947" fmla="*/ 8247778 w 10048557"/>
                <a:gd name="connsiteY3947" fmla="*/ 1346217 h 4837661"/>
                <a:gd name="connsiteX3948" fmla="*/ 8232008 w 10048557"/>
                <a:gd name="connsiteY3948" fmla="*/ 1342411 h 4837661"/>
                <a:gd name="connsiteX3949" fmla="*/ 8217741 w 10048557"/>
                <a:gd name="connsiteY3949" fmla="*/ 1346217 h 4837661"/>
                <a:gd name="connsiteX3950" fmla="*/ 8205163 w 10048557"/>
                <a:gd name="connsiteY3950" fmla="*/ 1368074 h 4837661"/>
                <a:gd name="connsiteX3951" fmla="*/ 8198967 w 10048557"/>
                <a:gd name="connsiteY3951" fmla="*/ 1384528 h 4837661"/>
                <a:gd name="connsiteX3952" fmla="*/ 8175688 w 10048557"/>
                <a:gd name="connsiteY3952" fmla="*/ 1407489 h 4837661"/>
                <a:gd name="connsiteX3953" fmla="*/ 8155789 w 10048557"/>
                <a:gd name="connsiteY3953" fmla="*/ 1406016 h 4837661"/>
                <a:gd name="connsiteX3954" fmla="*/ 8144713 w 10048557"/>
                <a:gd name="connsiteY3954" fmla="*/ 1410559 h 4837661"/>
                <a:gd name="connsiteX3955" fmla="*/ 8145463 w 10048557"/>
                <a:gd name="connsiteY3955" fmla="*/ 1425908 h 4837661"/>
                <a:gd name="connsiteX3956" fmla="*/ 8144337 w 10048557"/>
                <a:gd name="connsiteY3956" fmla="*/ 1446782 h 4837661"/>
                <a:gd name="connsiteX3957" fmla="*/ 8186765 w 10048557"/>
                <a:gd name="connsiteY3957" fmla="*/ 1461148 h 4837661"/>
                <a:gd name="connsiteX3958" fmla="*/ 8206664 w 10048557"/>
                <a:gd name="connsiteY3958" fmla="*/ 1466183 h 4837661"/>
                <a:gd name="connsiteX3959" fmla="*/ 8214925 w 10048557"/>
                <a:gd name="connsiteY3959" fmla="*/ 1476497 h 4837661"/>
                <a:gd name="connsiteX3960" fmla="*/ 8235575 w 10048557"/>
                <a:gd name="connsiteY3960" fmla="*/ 1487303 h 4837661"/>
                <a:gd name="connsiteX3961" fmla="*/ 8247027 w 10048557"/>
                <a:gd name="connsiteY3961" fmla="*/ 1478339 h 4837661"/>
                <a:gd name="connsiteX3962" fmla="*/ 8263735 w 10048557"/>
                <a:gd name="connsiteY3962" fmla="*/ 1463973 h 4837661"/>
                <a:gd name="connsiteX3963" fmla="*/ 8297715 w 10048557"/>
                <a:gd name="connsiteY3963" fmla="*/ 1474041 h 4837661"/>
                <a:gd name="connsiteX3964" fmla="*/ 8309729 w 10048557"/>
                <a:gd name="connsiteY3964" fmla="*/ 1477479 h 4837661"/>
                <a:gd name="connsiteX3965" fmla="*/ 8327001 w 10048557"/>
                <a:gd name="connsiteY3965" fmla="*/ 1489144 h 4837661"/>
                <a:gd name="connsiteX3966" fmla="*/ 8316676 w 10048557"/>
                <a:gd name="connsiteY3966" fmla="*/ 1500441 h 4837661"/>
                <a:gd name="connsiteX3967" fmla="*/ 8296025 w 10048557"/>
                <a:gd name="connsiteY3967" fmla="*/ 1509528 h 4837661"/>
                <a:gd name="connsiteX3968" fmla="*/ 8278566 w 10048557"/>
                <a:gd name="connsiteY3968" fmla="*/ 1520087 h 4837661"/>
                <a:gd name="connsiteX3969" fmla="*/ 8260919 w 10048557"/>
                <a:gd name="connsiteY3969" fmla="*/ 1531507 h 4837661"/>
                <a:gd name="connsiteX3970" fmla="*/ 8253410 w 10048557"/>
                <a:gd name="connsiteY3970" fmla="*/ 1547347 h 4837661"/>
                <a:gd name="connsiteX3971" fmla="*/ 8250969 w 10048557"/>
                <a:gd name="connsiteY3971" fmla="*/ 1573378 h 4837661"/>
                <a:gd name="connsiteX3972" fmla="*/ 8272371 w 10048557"/>
                <a:gd name="connsiteY3972" fmla="*/ 1589218 h 4837661"/>
                <a:gd name="connsiteX3973" fmla="*/ 8288140 w 10048557"/>
                <a:gd name="connsiteY3973" fmla="*/ 1595972 h 4837661"/>
                <a:gd name="connsiteX3974" fmla="*/ 8301845 w 10048557"/>
                <a:gd name="connsiteY3974" fmla="*/ 1615618 h 4837661"/>
                <a:gd name="connsiteX3975" fmla="*/ 8310856 w 10048557"/>
                <a:gd name="connsiteY3975" fmla="*/ 1645456 h 4837661"/>
                <a:gd name="connsiteX3976" fmla="*/ 8324936 w 10048557"/>
                <a:gd name="connsiteY3976" fmla="*/ 1662646 h 4837661"/>
                <a:gd name="connsiteX3977" fmla="*/ 8341457 w 10048557"/>
                <a:gd name="connsiteY3977" fmla="*/ 1675171 h 4837661"/>
                <a:gd name="connsiteX3978" fmla="*/ 8371869 w 10048557"/>
                <a:gd name="connsiteY3978" fmla="*/ 1686468 h 4837661"/>
                <a:gd name="connsiteX3979" fmla="*/ 8380693 w 10048557"/>
                <a:gd name="connsiteY3979" fmla="*/ 1699115 h 4837661"/>
                <a:gd name="connsiteX3980" fmla="*/ 8380880 w 10048557"/>
                <a:gd name="connsiteY3980" fmla="*/ 1719498 h 4837661"/>
                <a:gd name="connsiteX3981" fmla="*/ 8362858 w 10048557"/>
                <a:gd name="connsiteY3981" fmla="*/ 1722568 h 4837661"/>
                <a:gd name="connsiteX3982" fmla="*/ 8362295 w 10048557"/>
                <a:gd name="connsiteY3982" fmla="*/ 1737425 h 4837661"/>
                <a:gd name="connsiteX3983" fmla="*/ 8373934 w 10048557"/>
                <a:gd name="connsiteY3983" fmla="*/ 1749090 h 4837661"/>
                <a:gd name="connsiteX3984" fmla="*/ 8395711 w 10048557"/>
                <a:gd name="connsiteY3984" fmla="*/ 1745284 h 4837661"/>
                <a:gd name="connsiteX3985" fmla="*/ 8401907 w 10048557"/>
                <a:gd name="connsiteY3985" fmla="*/ 1763825 h 4837661"/>
                <a:gd name="connsiteX3986" fmla="*/ 8403033 w 10048557"/>
                <a:gd name="connsiteY3986" fmla="*/ 1787892 h 4837661"/>
                <a:gd name="connsiteX3987" fmla="*/ 8397776 w 10048557"/>
                <a:gd name="connsiteY3987" fmla="*/ 1802995 h 4837661"/>
                <a:gd name="connsiteX3988" fmla="*/ 8391957 w 10048557"/>
                <a:gd name="connsiteY3988" fmla="*/ 1827921 h 4837661"/>
                <a:gd name="connsiteX3989" fmla="*/ 8385198 w 10048557"/>
                <a:gd name="connsiteY3989" fmla="*/ 1846094 h 4837661"/>
                <a:gd name="connsiteX3990" fmla="*/ 8375999 w 10048557"/>
                <a:gd name="connsiteY3990" fmla="*/ 1865127 h 4837661"/>
                <a:gd name="connsiteX3991" fmla="*/ 8369804 w 10048557"/>
                <a:gd name="connsiteY3991" fmla="*/ 1891035 h 4837661"/>
                <a:gd name="connsiteX3992" fmla="*/ 8369429 w 10048557"/>
                <a:gd name="connsiteY3992" fmla="*/ 1914365 h 4837661"/>
                <a:gd name="connsiteX3993" fmla="*/ 8363421 w 10048557"/>
                <a:gd name="connsiteY3993" fmla="*/ 1933521 h 4837661"/>
                <a:gd name="connsiteX3994" fmla="*/ 8345211 w 10048557"/>
                <a:gd name="connsiteY3994" fmla="*/ 1947887 h 4837661"/>
                <a:gd name="connsiteX3995" fmla="*/ 8337702 w 10048557"/>
                <a:gd name="connsiteY3995" fmla="*/ 1962253 h 4837661"/>
                <a:gd name="connsiteX3996" fmla="*/ 8323059 w 10048557"/>
                <a:gd name="connsiteY3996" fmla="*/ 1981286 h 4837661"/>
                <a:gd name="connsiteX3997" fmla="*/ 8304849 w 10048557"/>
                <a:gd name="connsiteY3997" fmla="*/ 1996389 h 4837661"/>
                <a:gd name="connsiteX3998" fmla="*/ 8272371 w 10048557"/>
                <a:gd name="connsiteY3998" fmla="*/ 2010510 h 4837661"/>
                <a:gd name="connsiteX3999" fmla="*/ 8253973 w 10048557"/>
                <a:gd name="connsiteY3999" fmla="*/ 2006581 h 4837661"/>
                <a:gd name="connsiteX4000" fmla="*/ 8248904 w 10048557"/>
                <a:gd name="connsiteY4000" fmla="*/ 2012597 h 4837661"/>
                <a:gd name="connsiteX4001" fmla="*/ 8239705 w 10048557"/>
                <a:gd name="connsiteY4001" fmla="*/ 2026964 h 4837661"/>
                <a:gd name="connsiteX4002" fmla="*/ 8213986 w 10048557"/>
                <a:gd name="connsiteY4002" fmla="*/ 2028683 h 4837661"/>
                <a:gd name="connsiteX4003" fmla="*/ 8194274 w 10048557"/>
                <a:gd name="connsiteY4003" fmla="*/ 2031752 h 4837661"/>
                <a:gd name="connsiteX4004" fmla="*/ 8176064 w 10048557"/>
                <a:gd name="connsiteY4004" fmla="*/ 2031752 h 4837661"/>
                <a:gd name="connsiteX4005" fmla="*/ 8166114 w 10048557"/>
                <a:gd name="connsiteY4005" fmla="*/ 2032489 h 4837661"/>
                <a:gd name="connsiteX4006" fmla="*/ 8143586 w 10048557"/>
                <a:gd name="connsiteY4006" fmla="*/ 2040593 h 4837661"/>
                <a:gd name="connsiteX4007" fmla="*/ 8136265 w 10048557"/>
                <a:gd name="connsiteY4007" fmla="*/ 2046610 h 4837661"/>
                <a:gd name="connsiteX4008" fmla="*/ 8121621 w 10048557"/>
                <a:gd name="connsiteY4008" fmla="*/ 2056433 h 4837661"/>
                <a:gd name="connsiteX4009" fmla="*/ 8111859 w 10048557"/>
                <a:gd name="connsiteY4009" fmla="*/ 2072150 h 4837661"/>
                <a:gd name="connsiteX4010" fmla="*/ 8105664 w 10048557"/>
                <a:gd name="connsiteY4010" fmla="*/ 2091060 h 4837661"/>
                <a:gd name="connsiteX4011" fmla="*/ 8095151 w 10048557"/>
                <a:gd name="connsiteY4011" fmla="*/ 2094621 h 4837661"/>
                <a:gd name="connsiteX4012" fmla="*/ 8082948 w 10048557"/>
                <a:gd name="connsiteY4012" fmla="*/ 2080377 h 4837661"/>
                <a:gd name="connsiteX4013" fmla="*/ 8081447 w 10048557"/>
                <a:gd name="connsiteY4013" fmla="*/ 2067484 h 4837661"/>
                <a:gd name="connsiteX4014" fmla="*/ 8070933 w 10048557"/>
                <a:gd name="connsiteY4014" fmla="*/ 2055451 h 4837661"/>
                <a:gd name="connsiteX4015" fmla="*/ 8061922 w 10048557"/>
                <a:gd name="connsiteY4015" fmla="*/ 2049680 h 4837661"/>
                <a:gd name="connsiteX4016" fmla="*/ 8044651 w 10048557"/>
                <a:gd name="connsiteY4016" fmla="*/ 2041330 h 4837661"/>
                <a:gd name="connsiteX4017" fmla="*/ 8032823 w 10048557"/>
                <a:gd name="connsiteY4017" fmla="*/ 2045137 h 4837661"/>
                <a:gd name="connsiteX4018" fmla="*/ 8012736 w 10048557"/>
                <a:gd name="connsiteY4018" fmla="*/ 2050416 h 4837661"/>
                <a:gd name="connsiteX4019" fmla="*/ 7987392 w 10048557"/>
                <a:gd name="connsiteY4019" fmla="*/ 2054223 h 4837661"/>
                <a:gd name="connsiteX4020" fmla="*/ 7969745 w 10048557"/>
                <a:gd name="connsiteY4020" fmla="*/ 2066256 h 4837661"/>
                <a:gd name="connsiteX4021" fmla="*/ 7958294 w 10048557"/>
                <a:gd name="connsiteY4021" fmla="*/ 2085166 h 4837661"/>
                <a:gd name="connsiteX4022" fmla="*/ 7958294 w 10048557"/>
                <a:gd name="connsiteY4022" fmla="*/ 2109601 h 4837661"/>
                <a:gd name="connsiteX4023" fmla="*/ 7962236 w 10048557"/>
                <a:gd name="connsiteY4023" fmla="*/ 2137352 h 4837661"/>
                <a:gd name="connsiteX4024" fmla="*/ 7970309 w 10048557"/>
                <a:gd name="connsiteY4024" fmla="*/ 2164857 h 4837661"/>
                <a:gd name="connsiteX4025" fmla="*/ 7978381 w 10048557"/>
                <a:gd name="connsiteY4025" fmla="*/ 2185117 h 4837661"/>
                <a:gd name="connsiteX4026" fmla="*/ 8008231 w 10048557"/>
                <a:gd name="connsiteY4026" fmla="*/ 2209306 h 4837661"/>
                <a:gd name="connsiteX4027" fmla="*/ 8019307 w 10048557"/>
                <a:gd name="connsiteY4027" fmla="*/ 2217288 h 4837661"/>
                <a:gd name="connsiteX4028" fmla="*/ 8043525 w 10048557"/>
                <a:gd name="connsiteY4028" fmla="*/ 2230181 h 4837661"/>
                <a:gd name="connsiteX4029" fmla="*/ 8058731 w 10048557"/>
                <a:gd name="connsiteY4029" fmla="*/ 2243074 h 4837661"/>
                <a:gd name="connsiteX4030" fmla="*/ 8071121 w 10048557"/>
                <a:gd name="connsiteY4030" fmla="*/ 2268982 h 4837661"/>
                <a:gd name="connsiteX4031" fmla="*/ 8074125 w 10048557"/>
                <a:gd name="connsiteY4031" fmla="*/ 2294645 h 4837661"/>
                <a:gd name="connsiteX4032" fmla="*/ 8090082 w 10048557"/>
                <a:gd name="connsiteY4032" fmla="*/ 2323378 h 4837661"/>
                <a:gd name="connsiteX4033" fmla="*/ 8100220 w 10048557"/>
                <a:gd name="connsiteY4033" fmla="*/ 2354444 h 4837661"/>
                <a:gd name="connsiteX4034" fmla="*/ 8104162 w 10048557"/>
                <a:gd name="connsiteY4034" fmla="*/ 2374827 h 4837661"/>
                <a:gd name="connsiteX4035" fmla="*/ 8102660 w 10048557"/>
                <a:gd name="connsiteY4035" fmla="*/ 2401104 h 4837661"/>
                <a:gd name="connsiteX4036" fmla="*/ 8099469 w 10048557"/>
                <a:gd name="connsiteY4036" fmla="*/ 2431433 h 4837661"/>
                <a:gd name="connsiteX4037" fmla="*/ 8072811 w 10048557"/>
                <a:gd name="connsiteY4037" fmla="*/ 2445677 h 4837661"/>
                <a:gd name="connsiteX4038" fmla="*/ 8058731 w 10048557"/>
                <a:gd name="connsiteY4038" fmla="*/ 2456851 h 4837661"/>
                <a:gd name="connsiteX4039" fmla="*/ 8028693 w 10048557"/>
                <a:gd name="connsiteY4039" fmla="*/ 2464463 h 4837661"/>
                <a:gd name="connsiteX4040" fmla="*/ 8019870 w 10048557"/>
                <a:gd name="connsiteY4040" fmla="*/ 2477602 h 4837661"/>
                <a:gd name="connsiteX4041" fmla="*/ 8014426 w 10048557"/>
                <a:gd name="connsiteY4041" fmla="*/ 2500932 h 4837661"/>
                <a:gd name="connsiteX4042" fmla="*/ 7997154 w 10048557"/>
                <a:gd name="connsiteY4042" fmla="*/ 2506458 h 4837661"/>
                <a:gd name="connsiteX4043" fmla="*/ 7988894 w 10048557"/>
                <a:gd name="connsiteY4043" fmla="*/ 2521438 h 4837661"/>
                <a:gd name="connsiteX4044" fmla="*/ 7971435 w 10048557"/>
                <a:gd name="connsiteY4044" fmla="*/ 2513457 h 4837661"/>
                <a:gd name="connsiteX4045" fmla="*/ 7973688 w 10048557"/>
                <a:gd name="connsiteY4045" fmla="*/ 2487302 h 4837661"/>
                <a:gd name="connsiteX4046" fmla="*/ 7979132 w 10048557"/>
                <a:gd name="connsiteY4046" fmla="*/ 2478216 h 4837661"/>
                <a:gd name="connsiteX4047" fmla="*/ 7976316 w 10048557"/>
                <a:gd name="connsiteY4047" fmla="*/ 2461639 h 4837661"/>
                <a:gd name="connsiteX4048" fmla="*/ 7971623 w 10048557"/>
                <a:gd name="connsiteY4048" fmla="*/ 2450834 h 4837661"/>
                <a:gd name="connsiteX4049" fmla="*/ 7960359 w 10048557"/>
                <a:gd name="connsiteY4049" fmla="*/ 2449974 h 4837661"/>
                <a:gd name="connsiteX4050" fmla="*/ 7953037 w 10048557"/>
                <a:gd name="connsiteY4050" fmla="*/ 2455623 h 4837661"/>
                <a:gd name="connsiteX4051" fmla="*/ 7943838 w 10048557"/>
                <a:gd name="connsiteY4051" fmla="*/ 2463113 h 4837661"/>
                <a:gd name="connsiteX4052" fmla="*/ 7931635 w 10048557"/>
                <a:gd name="connsiteY4052" fmla="*/ 2463972 h 4837661"/>
                <a:gd name="connsiteX4053" fmla="*/ 7928632 w 10048557"/>
                <a:gd name="connsiteY4053" fmla="*/ 2454395 h 4837661"/>
                <a:gd name="connsiteX4054" fmla="*/ 7923375 w 10048557"/>
                <a:gd name="connsiteY4054" fmla="*/ 2443221 h 4837661"/>
                <a:gd name="connsiteX4055" fmla="*/ 7913050 w 10048557"/>
                <a:gd name="connsiteY4055" fmla="*/ 2439783 h 4837661"/>
                <a:gd name="connsiteX4056" fmla="*/ 7903288 w 10048557"/>
                <a:gd name="connsiteY4056" fmla="*/ 2428118 h 4837661"/>
                <a:gd name="connsiteX4057" fmla="*/ 7896529 w 10048557"/>
                <a:gd name="connsiteY4057" fmla="*/ 2408717 h 4837661"/>
                <a:gd name="connsiteX4058" fmla="*/ 7888081 w 10048557"/>
                <a:gd name="connsiteY4058" fmla="*/ 2400490 h 4837661"/>
                <a:gd name="connsiteX4059" fmla="*/ 7876255 w 10048557"/>
                <a:gd name="connsiteY4059" fmla="*/ 2395456 h 4837661"/>
                <a:gd name="connsiteX4060" fmla="*/ 7860860 w 10048557"/>
                <a:gd name="connsiteY4060" fmla="*/ 2386615 h 4837661"/>
                <a:gd name="connsiteX4061" fmla="*/ 7849784 w 10048557"/>
                <a:gd name="connsiteY4061" fmla="*/ 2382808 h 4837661"/>
                <a:gd name="connsiteX4062" fmla="*/ 7829321 w 10048557"/>
                <a:gd name="connsiteY4062" fmla="*/ 2365618 h 4837661"/>
                <a:gd name="connsiteX4063" fmla="*/ 7819935 w 10048557"/>
                <a:gd name="connsiteY4063" fmla="*/ 2357514 h 4837661"/>
                <a:gd name="connsiteX4064" fmla="*/ 7811674 w 10048557"/>
                <a:gd name="connsiteY4064" fmla="*/ 2343147 h 4837661"/>
                <a:gd name="connsiteX4065" fmla="*/ 7794778 w 10048557"/>
                <a:gd name="connsiteY4065" fmla="*/ 2343884 h 4837661"/>
                <a:gd name="connsiteX4066" fmla="*/ 7783327 w 10048557"/>
                <a:gd name="connsiteY4066" fmla="*/ 2351497 h 4837661"/>
                <a:gd name="connsiteX4067" fmla="*/ 7783890 w 10048557"/>
                <a:gd name="connsiteY4067" fmla="*/ 2365863 h 4837661"/>
                <a:gd name="connsiteX4068" fmla="*/ 7788395 w 10048557"/>
                <a:gd name="connsiteY4068" fmla="*/ 2384036 h 4837661"/>
                <a:gd name="connsiteX4069" fmla="*/ 7793840 w 10048557"/>
                <a:gd name="connsiteY4069" fmla="*/ 2397175 h 4837661"/>
                <a:gd name="connsiteX4070" fmla="*/ 7788395 w 10048557"/>
                <a:gd name="connsiteY4070" fmla="*/ 2416084 h 4837661"/>
                <a:gd name="connsiteX4071" fmla="*/ 7783890 w 10048557"/>
                <a:gd name="connsiteY4071" fmla="*/ 2434257 h 4837661"/>
                <a:gd name="connsiteX4072" fmla="*/ 7777319 w 10048557"/>
                <a:gd name="connsiteY4072" fmla="*/ 2461271 h 4837661"/>
                <a:gd name="connsiteX4073" fmla="*/ 7775629 w 10048557"/>
                <a:gd name="connsiteY4073" fmla="*/ 2478584 h 4837661"/>
                <a:gd name="connsiteX4074" fmla="*/ 7781074 w 10048557"/>
                <a:gd name="connsiteY4074" fmla="*/ 2494793 h 4837661"/>
                <a:gd name="connsiteX4075" fmla="*/ 7796468 w 10048557"/>
                <a:gd name="connsiteY4075" fmla="*/ 2509405 h 4837661"/>
                <a:gd name="connsiteX4076" fmla="*/ 7808671 w 10048557"/>
                <a:gd name="connsiteY4076" fmla="*/ 2519964 h 4837661"/>
                <a:gd name="connsiteX4077" fmla="*/ 7810173 w 10048557"/>
                <a:gd name="connsiteY4077" fmla="*/ 2532121 h 4837661"/>
                <a:gd name="connsiteX4078" fmla="*/ 7814115 w 10048557"/>
                <a:gd name="connsiteY4078" fmla="*/ 2550907 h 4837661"/>
                <a:gd name="connsiteX4079" fmla="*/ 7814866 w 10048557"/>
                <a:gd name="connsiteY4079" fmla="*/ 2569326 h 4837661"/>
                <a:gd name="connsiteX4080" fmla="*/ 7838145 w 10048557"/>
                <a:gd name="connsiteY4080" fmla="*/ 2584306 h 4837661"/>
                <a:gd name="connsiteX4081" fmla="*/ 7857293 w 10048557"/>
                <a:gd name="connsiteY4081" fmla="*/ 2597813 h 4837661"/>
                <a:gd name="connsiteX4082" fmla="*/ 7873251 w 10048557"/>
                <a:gd name="connsiteY4082" fmla="*/ 2612916 h 4837661"/>
                <a:gd name="connsiteX4083" fmla="*/ 7895779 w 10048557"/>
                <a:gd name="connsiteY4083" fmla="*/ 2625564 h 4837661"/>
                <a:gd name="connsiteX4084" fmla="*/ 7907793 w 10048557"/>
                <a:gd name="connsiteY4084" fmla="*/ 2641895 h 4837661"/>
                <a:gd name="connsiteX4085" fmla="*/ 7918494 w 10048557"/>
                <a:gd name="connsiteY4085" fmla="*/ 2660927 h 4837661"/>
                <a:gd name="connsiteX4086" fmla="*/ 7923563 w 10048557"/>
                <a:gd name="connsiteY4086" fmla="*/ 2680819 h 4837661"/>
                <a:gd name="connsiteX4087" fmla="*/ 7934264 w 10048557"/>
                <a:gd name="connsiteY4087" fmla="*/ 2699238 h 4837661"/>
                <a:gd name="connsiteX4088" fmla="*/ 7939521 w 10048557"/>
                <a:gd name="connsiteY4088" fmla="*/ 2720357 h 4837661"/>
                <a:gd name="connsiteX4089" fmla="*/ 7948156 w 10048557"/>
                <a:gd name="connsiteY4089" fmla="*/ 2744793 h 4837661"/>
                <a:gd name="connsiteX4090" fmla="*/ 7956979 w 10048557"/>
                <a:gd name="connsiteY4090" fmla="*/ 2763088 h 4837661"/>
                <a:gd name="connsiteX4091" fmla="*/ 7952849 w 10048557"/>
                <a:gd name="connsiteY4091" fmla="*/ 2772911 h 4837661"/>
                <a:gd name="connsiteX4092" fmla="*/ 7938582 w 10048557"/>
                <a:gd name="connsiteY4092" fmla="*/ 2773525 h 4837661"/>
                <a:gd name="connsiteX4093" fmla="*/ 7943087 w 10048557"/>
                <a:gd name="connsiteY4093" fmla="*/ 2785436 h 4837661"/>
                <a:gd name="connsiteX4094" fmla="*/ 7937080 w 10048557"/>
                <a:gd name="connsiteY4094" fmla="*/ 2790593 h 4837661"/>
                <a:gd name="connsiteX4095" fmla="*/ 7924877 w 10048557"/>
                <a:gd name="connsiteY4095" fmla="*/ 2775490 h 4837661"/>
                <a:gd name="connsiteX4096" fmla="*/ 7908169 w 10048557"/>
                <a:gd name="connsiteY4096" fmla="*/ 2764193 h 4837661"/>
                <a:gd name="connsiteX4097" fmla="*/ 7895403 w 10048557"/>
                <a:gd name="connsiteY4097" fmla="*/ 2757072 h 4837661"/>
                <a:gd name="connsiteX4098" fmla="*/ 7879446 w 10048557"/>
                <a:gd name="connsiteY4098" fmla="*/ 2743933 h 4837661"/>
                <a:gd name="connsiteX4099" fmla="*/ 7868745 w 10048557"/>
                <a:gd name="connsiteY4099" fmla="*/ 2740127 h 4837661"/>
                <a:gd name="connsiteX4100" fmla="*/ 7857857 w 10048557"/>
                <a:gd name="connsiteY4100" fmla="*/ 2719498 h 4837661"/>
                <a:gd name="connsiteX4101" fmla="*/ 7851849 w 10048557"/>
                <a:gd name="connsiteY4101" fmla="*/ 2707464 h 4837661"/>
                <a:gd name="connsiteX4102" fmla="*/ 7841148 w 10048557"/>
                <a:gd name="connsiteY4102" fmla="*/ 2689292 h 4837661"/>
                <a:gd name="connsiteX4103" fmla="*/ 7835704 w 10048557"/>
                <a:gd name="connsiteY4103" fmla="*/ 2662155 h 4837661"/>
                <a:gd name="connsiteX4104" fmla="*/ 7827069 w 10048557"/>
                <a:gd name="connsiteY4104" fmla="*/ 2626792 h 4837661"/>
                <a:gd name="connsiteX4105" fmla="*/ 7824440 w 10048557"/>
                <a:gd name="connsiteY4105" fmla="*/ 2606286 h 4837661"/>
                <a:gd name="connsiteX4106" fmla="*/ 7816180 w 10048557"/>
                <a:gd name="connsiteY4106" fmla="*/ 2591796 h 4837661"/>
                <a:gd name="connsiteX4107" fmla="*/ 7802663 w 10048557"/>
                <a:gd name="connsiteY4107" fmla="*/ 2571659 h 4837661"/>
                <a:gd name="connsiteX4108" fmla="*/ 7781261 w 10048557"/>
                <a:gd name="connsiteY4108" fmla="*/ 2559871 h 4837661"/>
                <a:gd name="connsiteX4109" fmla="*/ 7773189 w 10048557"/>
                <a:gd name="connsiteY4109" fmla="*/ 2545505 h 4837661"/>
                <a:gd name="connsiteX4110" fmla="*/ 7758734 w 10048557"/>
                <a:gd name="connsiteY4110" fmla="*/ 2538751 h 4837661"/>
                <a:gd name="connsiteX4111" fmla="*/ 7747282 w 10048557"/>
                <a:gd name="connsiteY4111" fmla="*/ 2533594 h 4837661"/>
                <a:gd name="connsiteX4112" fmla="*/ 7745029 w 10048557"/>
                <a:gd name="connsiteY4112" fmla="*/ 2513948 h 4837661"/>
                <a:gd name="connsiteX4113" fmla="*/ 7745780 w 10048557"/>
                <a:gd name="connsiteY4113" fmla="*/ 2500564 h 4837661"/>
                <a:gd name="connsiteX4114" fmla="*/ 7753665 w 10048557"/>
                <a:gd name="connsiteY4114" fmla="*/ 2492705 h 4837661"/>
                <a:gd name="connsiteX4115" fmla="*/ 7753665 w 10048557"/>
                <a:gd name="connsiteY4115" fmla="*/ 2481163 h 4837661"/>
                <a:gd name="connsiteX4116" fmla="*/ 7750849 w 10048557"/>
                <a:gd name="connsiteY4116" fmla="*/ 2455377 h 4837661"/>
                <a:gd name="connsiteX4117" fmla="*/ 7751600 w 10048557"/>
                <a:gd name="connsiteY4117" fmla="*/ 2431433 h 4837661"/>
                <a:gd name="connsiteX4118" fmla="*/ 7758171 w 10048557"/>
                <a:gd name="connsiteY4118" fmla="*/ 2394105 h 4837661"/>
                <a:gd name="connsiteX4119" fmla="*/ 7755918 w 10048557"/>
                <a:gd name="connsiteY4119" fmla="*/ 2373476 h 4837661"/>
                <a:gd name="connsiteX4120" fmla="*/ 7747657 w 10048557"/>
                <a:gd name="connsiteY4120" fmla="*/ 2350269 h 4837661"/>
                <a:gd name="connsiteX4121" fmla="*/ 7733953 w 10048557"/>
                <a:gd name="connsiteY4121" fmla="*/ 2330745 h 4837661"/>
                <a:gd name="connsiteX4122" fmla="*/ 7725317 w 10048557"/>
                <a:gd name="connsiteY4122" fmla="*/ 2310608 h 4837661"/>
                <a:gd name="connsiteX4123" fmla="*/ 7715743 w 10048557"/>
                <a:gd name="connsiteY4123" fmla="*/ 2289365 h 4837661"/>
                <a:gd name="connsiteX4124" fmla="*/ 7713490 w 10048557"/>
                <a:gd name="connsiteY4124" fmla="*/ 2264685 h 4837661"/>
                <a:gd name="connsiteX4125" fmla="*/ 7700724 w 10048557"/>
                <a:gd name="connsiteY4125" fmla="*/ 2239881 h 4837661"/>
                <a:gd name="connsiteX4126" fmla="*/ 7686269 w 10048557"/>
                <a:gd name="connsiteY4126" fmla="*/ 2213972 h 4837661"/>
                <a:gd name="connsiteX4127" fmla="*/ 7666181 w 10048557"/>
                <a:gd name="connsiteY4127" fmla="*/ 2223304 h 4837661"/>
                <a:gd name="connsiteX4128" fmla="*/ 7655481 w 10048557"/>
                <a:gd name="connsiteY4128" fmla="*/ 2240495 h 4837661"/>
                <a:gd name="connsiteX4129" fmla="*/ 7644029 w 10048557"/>
                <a:gd name="connsiteY4129" fmla="*/ 2257072 h 4837661"/>
                <a:gd name="connsiteX4130" fmla="*/ 7625819 w 10048557"/>
                <a:gd name="connsiteY4130" fmla="*/ 2257686 h 4837661"/>
                <a:gd name="connsiteX4131" fmla="*/ 7610425 w 10048557"/>
                <a:gd name="connsiteY4131" fmla="*/ 2246389 h 4837661"/>
                <a:gd name="connsiteX4132" fmla="*/ 7598973 w 10048557"/>
                <a:gd name="connsiteY4132" fmla="*/ 2237302 h 4837661"/>
                <a:gd name="connsiteX4133" fmla="*/ 7598222 w 10048557"/>
                <a:gd name="connsiteY4133" fmla="*/ 2220112 h 4837661"/>
                <a:gd name="connsiteX4134" fmla="*/ 7610237 w 10048557"/>
                <a:gd name="connsiteY4134" fmla="*/ 2212745 h 4837661"/>
                <a:gd name="connsiteX4135" fmla="*/ 7615493 w 10048557"/>
                <a:gd name="connsiteY4135" fmla="*/ 2200957 h 4837661"/>
                <a:gd name="connsiteX4136" fmla="*/ 7605168 w 10048557"/>
                <a:gd name="connsiteY4136" fmla="*/ 2182784 h 4837661"/>
                <a:gd name="connsiteX4137" fmla="*/ 7585269 w 10048557"/>
                <a:gd name="connsiteY4137" fmla="*/ 2147298 h 4837661"/>
                <a:gd name="connsiteX4138" fmla="*/ 7573066 w 10048557"/>
                <a:gd name="connsiteY4138" fmla="*/ 2120284 h 4837661"/>
                <a:gd name="connsiteX4139" fmla="*/ 7544155 w 10048557"/>
                <a:gd name="connsiteY4139" fmla="*/ 2100637 h 4837661"/>
                <a:gd name="connsiteX4140" fmla="*/ 7532703 w 10048557"/>
                <a:gd name="connsiteY4140" fmla="*/ 2091797 h 4837661"/>
                <a:gd name="connsiteX4141" fmla="*/ 7512053 w 10048557"/>
                <a:gd name="connsiteY4141" fmla="*/ 2090569 h 4837661"/>
                <a:gd name="connsiteX4142" fmla="*/ 7503793 w 10048557"/>
                <a:gd name="connsiteY4142" fmla="*/ 2082465 h 4837661"/>
                <a:gd name="connsiteX4143" fmla="*/ 7498536 w 10048557"/>
                <a:gd name="connsiteY4143" fmla="*/ 2066256 h 4837661"/>
                <a:gd name="connsiteX4144" fmla="*/ 7489713 w 10048557"/>
                <a:gd name="connsiteY4144" fmla="*/ 2042435 h 4837661"/>
                <a:gd name="connsiteX4145" fmla="*/ 7482203 w 10048557"/>
                <a:gd name="connsiteY4145" fmla="*/ 2024999 h 4837661"/>
                <a:gd name="connsiteX4146" fmla="*/ 7473004 w 10048557"/>
                <a:gd name="connsiteY4146" fmla="*/ 2014439 h 4837661"/>
                <a:gd name="connsiteX4147" fmla="*/ 7456859 w 10048557"/>
                <a:gd name="connsiteY4147" fmla="*/ 2011001 h 4837661"/>
                <a:gd name="connsiteX4148" fmla="*/ 7440339 w 10048557"/>
                <a:gd name="connsiteY4148" fmla="*/ 2011738 h 4837661"/>
                <a:gd name="connsiteX4149" fmla="*/ 7429450 w 10048557"/>
                <a:gd name="connsiteY4149" fmla="*/ 2024139 h 4837661"/>
                <a:gd name="connsiteX4150" fmla="*/ 7401478 w 10048557"/>
                <a:gd name="connsiteY4150" fmla="*/ 2031998 h 4837661"/>
                <a:gd name="connsiteX4151" fmla="*/ 7380640 w 10048557"/>
                <a:gd name="connsiteY4151" fmla="*/ 2031998 h 4837661"/>
                <a:gd name="connsiteX4152" fmla="*/ 7353981 w 10048557"/>
                <a:gd name="connsiteY4152" fmla="*/ 2039488 h 4837661"/>
                <a:gd name="connsiteX4153" fmla="*/ 7328074 w 10048557"/>
                <a:gd name="connsiteY4153" fmla="*/ 2054591 h 4837661"/>
                <a:gd name="connsiteX4154" fmla="*/ 7326760 w 10048557"/>
                <a:gd name="connsiteY4154" fmla="*/ 2068221 h 4837661"/>
                <a:gd name="connsiteX4155" fmla="*/ 7331266 w 10048557"/>
                <a:gd name="connsiteY4155" fmla="*/ 2083324 h 4837661"/>
                <a:gd name="connsiteX4156" fmla="*/ 7324695 w 10048557"/>
                <a:gd name="connsiteY4156" fmla="*/ 2099901 h 4837661"/>
                <a:gd name="connsiteX4157" fmla="*/ 7299539 w 10048557"/>
                <a:gd name="connsiteY4157" fmla="*/ 2107514 h 4837661"/>
                <a:gd name="connsiteX4158" fmla="*/ 7271379 w 10048557"/>
                <a:gd name="connsiteY4158" fmla="*/ 2124213 h 4837661"/>
                <a:gd name="connsiteX4159" fmla="*/ 7263682 w 10048557"/>
                <a:gd name="connsiteY4159" fmla="*/ 2143123 h 4837661"/>
                <a:gd name="connsiteX4160" fmla="*/ 7252981 w 10048557"/>
                <a:gd name="connsiteY4160" fmla="*/ 2163506 h 4837661"/>
                <a:gd name="connsiteX4161" fmla="*/ 7237963 w 10048557"/>
                <a:gd name="connsiteY4161" fmla="*/ 2171119 h 4837661"/>
                <a:gd name="connsiteX4162" fmla="*/ 7214308 w 10048557"/>
                <a:gd name="connsiteY4162" fmla="*/ 2177872 h 4837661"/>
                <a:gd name="connsiteX4163" fmla="*/ 7209803 w 10048557"/>
                <a:gd name="connsiteY4163" fmla="*/ 2191747 h 4837661"/>
                <a:gd name="connsiteX4164" fmla="*/ 7205110 w 10048557"/>
                <a:gd name="connsiteY4164" fmla="*/ 2213727 h 4837661"/>
                <a:gd name="connsiteX4165" fmla="*/ 7185398 w 10048557"/>
                <a:gd name="connsiteY4165" fmla="*/ 2228584 h 4837661"/>
                <a:gd name="connsiteX4166" fmla="*/ 7160992 w 10048557"/>
                <a:gd name="connsiteY4166" fmla="*/ 2246021 h 4837661"/>
                <a:gd name="connsiteX4167" fmla="*/ 7137338 w 10048557"/>
                <a:gd name="connsiteY4167" fmla="*/ 2262720 h 4837661"/>
                <a:gd name="connsiteX4168" fmla="*/ 7128890 w 10048557"/>
                <a:gd name="connsiteY4168" fmla="*/ 2273771 h 4837661"/>
                <a:gd name="connsiteX4169" fmla="*/ 7121381 w 10048557"/>
                <a:gd name="connsiteY4169" fmla="*/ 2304714 h 4837661"/>
                <a:gd name="connsiteX4170" fmla="*/ 7130392 w 10048557"/>
                <a:gd name="connsiteY4170" fmla="*/ 2325957 h 4837661"/>
                <a:gd name="connsiteX4171" fmla="*/ 7132832 w 10048557"/>
                <a:gd name="connsiteY4171" fmla="*/ 2345603 h 4837661"/>
                <a:gd name="connsiteX4172" fmla="*/ 7126637 w 10048557"/>
                <a:gd name="connsiteY4172" fmla="*/ 2368319 h 4837661"/>
                <a:gd name="connsiteX4173" fmla="*/ 7122883 w 10048557"/>
                <a:gd name="connsiteY4173" fmla="*/ 2383913 h 4837661"/>
                <a:gd name="connsiteX4174" fmla="*/ 7121381 w 10048557"/>
                <a:gd name="connsiteY4174" fmla="*/ 2396806 h 4837661"/>
                <a:gd name="connsiteX4175" fmla="*/ 7119316 w 10048557"/>
                <a:gd name="connsiteY4175" fmla="*/ 2427627 h 4837661"/>
                <a:gd name="connsiteX4176" fmla="*/ 7117814 w 10048557"/>
                <a:gd name="connsiteY4176" fmla="*/ 2451816 h 4837661"/>
                <a:gd name="connsiteX4177" fmla="*/ 7109178 w 10048557"/>
                <a:gd name="connsiteY4177" fmla="*/ 2467165 h 4837661"/>
                <a:gd name="connsiteX4178" fmla="*/ 7101293 w 10048557"/>
                <a:gd name="connsiteY4178" fmla="*/ 2481777 h 4837661"/>
                <a:gd name="connsiteX4179" fmla="*/ 7090217 w 10048557"/>
                <a:gd name="connsiteY4179" fmla="*/ 2496389 h 4837661"/>
                <a:gd name="connsiteX4180" fmla="*/ 7074072 w 10048557"/>
                <a:gd name="connsiteY4180" fmla="*/ 2511124 h 4837661"/>
                <a:gd name="connsiteX4181" fmla="*/ 7070317 w 10048557"/>
                <a:gd name="connsiteY4181" fmla="*/ 2523403 h 4837661"/>
                <a:gd name="connsiteX4182" fmla="*/ 7066563 w 10048557"/>
                <a:gd name="connsiteY4182" fmla="*/ 2536296 h 4837661"/>
                <a:gd name="connsiteX4183" fmla="*/ 7054548 w 10048557"/>
                <a:gd name="connsiteY4183" fmla="*/ 2536909 h 4837661"/>
                <a:gd name="connsiteX4184" fmla="*/ 7047602 w 10048557"/>
                <a:gd name="connsiteY4184" fmla="*/ 2527209 h 4837661"/>
                <a:gd name="connsiteX4185" fmla="*/ 7035775 w 10048557"/>
                <a:gd name="connsiteY4185" fmla="*/ 2520578 h 4837661"/>
                <a:gd name="connsiteX4186" fmla="*/ 7022633 w 10048557"/>
                <a:gd name="connsiteY4186" fmla="*/ 2513088 h 4837661"/>
                <a:gd name="connsiteX4187" fmla="*/ 7014936 w 10048557"/>
                <a:gd name="connsiteY4187" fmla="*/ 2499459 h 4837661"/>
                <a:gd name="connsiteX4188" fmla="*/ 7003860 w 10048557"/>
                <a:gd name="connsiteY4188" fmla="*/ 2470357 h 4837661"/>
                <a:gd name="connsiteX4189" fmla="*/ 7002358 w 10048557"/>
                <a:gd name="connsiteY4189" fmla="*/ 2456114 h 4837661"/>
                <a:gd name="connsiteX4190" fmla="*/ 6995412 w 10048557"/>
                <a:gd name="connsiteY4190" fmla="*/ 2442607 h 4837661"/>
                <a:gd name="connsiteX4191" fmla="*/ 6989405 w 10048557"/>
                <a:gd name="connsiteY4191" fmla="*/ 2431187 h 4837661"/>
                <a:gd name="connsiteX4192" fmla="*/ 6979267 w 10048557"/>
                <a:gd name="connsiteY4192" fmla="*/ 2404542 h 4837661"/>
                <a:gd name="connsiteX4193" fmla="*/ 6965938 w 10048557"/>
                <a:gd name="connsiteY4193" fmla="*/ 2376300 h 4837661"/>
                <a:gd name="connsiteX4194" fmla="*/ 6957678 w 10048557"/>
                <a:gd name="connsiteY4194" fmla="*/ 2357882 h 4837661"/>
                <a:gd name="connsiteX4195" fmla="*/ 6952984 w 10048557"/>
                <a:gd name="connsiteY4195" fmla="*/ 2343270 h 4837661"/>
                <a:gd name="connsiteX4196" fmla="*/ 6946226 w 10048557"/>
                <a:gd name="connsiteY4196" fmla="*/ 2325834 h 4837661"/>
                <a:gd name="connsiteX4197" fmla="*/ 6935150 w 10048557"/>
                <a:gd name="connsiteY4197" fmla="*/ 2310240 h 4837661"/>
                <a:gd name="connsiteX4198" fmla="*/ 6927640 w 10048557"/>
                <a:gd name="connsiteY4198" fmla="*/ 2299802 h 4837661"/>
                <a:gd name="connsiteX4199" fmla="*/ 6917127 w 10048557"/>
                <a:gd name="connsiteY4199" fmla="*/ 2277086 h 4837661"/>
                <a:gd name="connsiteX4200" fmla="*/ 6912622 w 10048557"/>
                <a:gd name="connsiteY4200" fmla="*/ 2262965 h 4837661"/>
                <a:gd name="connsiteX4201" fmla="*/ 6909618 w 10048557"/>
                <a:gd name="connsiteY4201" fmla="*/ 2242091 h 4837661"/>
                <a:gd name="connsiteX4202" fmla="*/ 6899105 w 10048557"/>
                <a:gd name="connsiteY4202" fmla="*/ 2228462 h 4837661"/>
                <a:gd name="connsiteX4203" fmla="*/ 6880895 w 10048557"/>
                <a:gd name="connsiteY4203" fmla="*/ 2209552 h 4837661"/>
                <a:gd name="connsiteX4204" fmla="*/ 6879393 w 10048557"/>
                <a:gd name="connsiteY4204" fmla="*/ 2192361 h 4837661"/>
                <a:gd name="connsiteX4205" fmla="*/ 6873949 w 10048557"/>
                <a:gd name="connsiteY4205" fmla="*/ 2157121 h 4837661"/>
                <a:gd name="connsiteX4206" fmla="*/ 6859869 w 10048557"/>
                <a:gd name="connsiteY4206" fmla="*/ 2125318 h 4837661"/>
                <a:gd name="connsiteX4207" fmla="*/ 6857616 w 10048557"/>
                <a:gd name="connsiteY4207" fmla="*/ 2112671 h 4837661"/>
                <a:gd name="connsiteX4208" fmla="*/ 6857616 w 10048557"/>
                <a:gd name="connsiteY4208" fmla="*/ 2094744 h 4837661"/>
                <a:gd name="connsiteX4209" fmla="*/ 6859681 w 10048557"/>
                <a:gd name="connsiteY4209" fmla="*/ 2077430 h 4837661"/>
                <a:gd name="connsiteX4210" fmla="*/ 6863436 w 10048557"/>
                <a:gd name="connsiteY4210" fmla="*/ 2065274 h 4837661"/>
                <a:gd name="connsiteX4211" fmla="*/ 6865689 w 10048557"/>
                <a:gd name="connsiteY4211" fmla="*/ 2044154 h 4837661"/>
                <a:gd name="connsiteX4212" fmla="*/ 6857428 w 10048557"/>
                <a:gd name="connsiteY4212" fmla="*/ 2031384 h 4837661"/>
                <a:gd name="connsiteX4213" fmla="*/ 6840157 w 10048557"/>
                <a:gd name="connsiteY4213" fmla="*/ 2029051 h 4837661"/>
                <a:gd name="connsiteX4214" fmla="*/ 6830958 w 10048557"/>
                <a:gd name="connsiteY4214" fmla="*/ 2034331 h 4837661"/>
                <a:gd name="connsiteX4215" fmla="*/ 6824012 w 10048557"/>
                <a:gd name="connsiteY4215" fmla="*/ 2048697 h 4837661"/>
                <a:gd name="connsiteX4216" fmla="*/ 6825514 w 10048557"/>
                <a:gd name="connsiteY4216" fmla="*/ 2059626 h 4837661"/>
                <a:gd name="connsiteX4217" fmla="*/ 6825514 w 10048557"/>
                <a:gd name="connsiteY4217" fmla="*/ 2070431 h 4837661"/>
                <a:gd name="connsiteX4218" fmla="*/ 6811434 w 10048557"/>
                <a:gd name="connsiteY4218" fmla="*/ 2078535 h 4837661"/>
                <a:gd name="connsiteX4219" fmla="*/ 6793036 w 10048557"/>
                <a:gd name="connsiteY4219" fmla="*/ 2078535 h 4837661"/>
                <a:gd name="connsiteX4220" fmla="*/ 6774075 w 10048557"/>
                <a:gd name="connsiteY4220" fmla="*/ 2074729 h 4837661"/>
                <a:gd name="connsiteX4221" fmla="*/ 6761309 w 10048557"/>
                <a:gd name="connsiteY4221" fmla="*/ 2063923 h 4837661"/>
                <a:gd name="connsiteX4222" fmla="*/ 6756428 w 10048557"/>
                <a:gd name="connsiteY4222" fmla="*/ 2046242 h 4837661"/>
                <a:gd name="connsiteX4223" fmla="*/ 6739720 w 10048557"/>
                <a:gd name="connsiteY4223" fmla="*/ 2040225 h 4837661"/>
                <a:gd name="connsiteX4224" fmla="*/ 6734463 w 10048557"/>
                <a:gd name="connsiteY4224" fmla="*/ 2028192 h 4837661"/>
                <a:gd name="connsiteX4225" fmla="*/ 6744038 w 10048557"/>
                <a:gd name="connsiteY4225" fmla="*/ 2025122 h 4837661"/>
                <a:gd name="connsiteX4226" fmla="*/ 6759056 w 10048557"/>
                <a:gd name="connsiteY4226" fmla="*/ 2028192 h 4837661"/>
                <a:gd name="connsiteX4227" fmla="*/ 6770133 w 10048557"/>
                <a:gd name="connsiteY4227" fmla="*/ 2023894 h 4837661"/>
                <a:gd name="connsiteX4228" fmla="*/ 6775389 w 10048557"/>
                <a:gd name="connsiteY4228" fmla="*/ 2010264 h 4837661"/>
                <a:gd name="connsiteX4229" fmla="*/ 6771634 w 10048557"/>
                <a:gd name="connsiteY4229" fmla="*/ 2000564 h 4837661"/>
                <a:gd name="connsiteX4230" fmla="*/ 6752110 w 10048557"/>
                <a:gd name="connsiteY4230" fmla="*/ 2007317 h 4837661"/>
                <a:gd name="connsiteX4231" fmla="*/ 6734463 w 10048557"/>
                <a:gd name="connsiteY4231" fmla="*/ 2008054 h 4837661"/>
                <a:gd name="connsiteX4232" fmla="*/ 6722448 w 10048557"/>
                <a:gd name="connsiteY4232" fmla="*/ 1996266 h 4837661"/>
                <a:gd name="connsiteX4233" fmla="*/ 6710246 w 10048557"/>
                <a:gd name="connsiteY4233" fmla="*/ 1979567 h 4837661"/>
                <a:gd name="connsiteX4234" fmla="*/ 6700671 w 10048557"/>
                <a:gd name="connsiteY4234" fmla="*/ 1969498 h 4837661"/>
                <a:gd name="connsiteX4235" fmla="*/ 6673826 w 10048557"/>
                <a:gd name="connsiteY4235" fmla="*/ 1962622 h 4837661"/>
                <a:gd name="connsiteX4236" fmla="*/ 6666504 w 10048557"/>
                <a:gd name="connsiteY4236" fmla="*/ 1945922 h 4837661"/>
                <a:gd name="connsiteX4237" fmla="*/ 6661247 w 10048557"/>
                <a:gd name="connsiteY4237" fmla="*/ 1931556 h 4837661"/>
                <a:gd name="connsiteX4238" fmla="*/ 6656554 w 10048557"/>
                <a:gd name="connsiteY4238" fmla="*/ 1924066 h 4837661"/>
                <a:gd name="connsiteX4239" fmla="*/ 6636654 w 10048557"/>
                <a:gd name="connsiteY4239" fmla="*/ 1919031 h 4837661"/>
                <a:gd name="connsiteX4240" fmla="*/ 6625015 w 10048557"/>
                <a:gd name="connsiteY4240" fmla="*/ 1907612 h 4837661"/>
                <a:gd name="connsiteX4241" fmla="*/ 6610560 w 10048557"/>
                <a:gd name="connsiteY4241" fmla="*/ 1906875 h 4837661"/>
                <a:gd name="connsiteX4242" fmla="*/ 6593100 w 10048557"/>
                <a:gd name="connsiteY4242" fmla="*/ 1917435 h 4837661"/>
                <a:gd name="connsiteX4243" fmla="*/ 6574703 w 10048557"/>
                <a:gd name="connsiteY4243" fmla="*/ 1925539 h 4837661"/>
                <a:gd name="connsiteX4244" fmla="*/ 6545604 w 10048557"/>
                <a:gd name="connsiteY4244" fmla="*/ 1927013 h 4837661"/>
                <a:gd name="connsiteX4245" fmla="*/ 6522888 w 10048557"/>
                <a:gd name="connsiteY4245" fmla="*/ 1917190 h 4837661"/>
                <a:gd name="connsiteX4246" fmla="*/ 6488345 w 10048557"/>
                <a:gd name="connsiteY4246" fmla="*/ 1917190 h 4837661"/>
                <a:gd name="connsiteX4247" fmla="*/ 6466568 w 10048557"/>
                <a:gd name="connsiteY4247" fmla="*/ 1924557 h 4837661"/>
                <a:gd name="connsiteX4248" fmla="*/ 6448358 w 10048557"/>
                <a:gd name="connsiteY4248" fmla="*/ 1926030 h 4837661"/>
                <a:gd name="connsiteX4249" fmla="*/ 6430711 w 10048557"/>
                <a:gd name="connsiteY4249" fmla="*/ 1918417 h 4837661"/>
                <a:gd name="connsiteX4250" fmla="*/ 6410249 w 10048557"/>
                <a:gd name="connsiteY4250" fmla="*/ 1915102 h 4837661"/>
                <a:gd name="connsiteX4251" fmla="*/ 6381150 w 10048557"/>
                <a:gd name="connsiteY4251" fmla="*/ 1915962 h 4837661"/>
                <a:gd name="connsiteX4252" fmla="*/ 6352990 w 10048557"/>
                <a:gd name="connsiteY4252" fmla="*/ 1910559 h 4837661"/>
                <a:gd name="connsiteX4253" fmla="*/ 6342665 w 10048557"/>
                <a:gd name="connsiteY4253" fmla="*/ 1898034 h 4837661"/>
                <a:gd name="connsiteX4254" fmla="*/ 6337221 w 10048557"/>
                <a:gd name="connsiteY4254" fmla="*/ 1885387 h 4837661"/>
                <a:gd name="connsiteX4255" fmla="*/ 6327458 w 10048557"/>
                <a:gd name="connsiteY4255" fmla="*/ 1870038 h 4837661"/>
                <a:gd name="connsiteX4256" fmla="*/ 6319949 w 10048557"/>
                <a:gd name="connsiteY4256" fmla="*/ 1865004 h 4837661"/>
                <a:gd name="connsiteX4257" fmla="*/ 6302865 w 10048557"/>
                <a:gd name="connsiteY4257" fmla="*/ 1850883 h 4837661"/>
                <a:gd name="connsiteX4258" fmla="*/ 6292165 w 10048557"/>
                <a:gd name="connsiteY4258" fmla="*/ 1852357 h 4837661"/>
                <a:gd name="connsiteX4259" fmla="*/ 6270951 w 10048557"/>
                <a:gd name="connsiteY4259" fmla="*/ 1861443 h 4837661"/>
                <a:gd name="connsiteX4260" fmla="*/ 6264005 w 10048557"/>
                <a:gd name="connsiteY4260" fmla="*/ 1867460 h 4837661"/>
                <a:gd name="connsiteX4261" fmla="*/ 6240726 w 10048557"/>
                <a:gd name="connsiteY4261" fmla="*/ 1868688 h 4837661"/>
                <a:gd name="connsiteX4262" fmla="*/ 6220826 w 10048557"/>
                <a:gd name="connsiteY4262" fmla="*/ 1860338 h 4837661"/>
                <a:gd name="connsiteX4263" fmla="*/ 6183280 w 10048557"/>
                <a:gd name="connsiteY4263" fmla="*/ 1844989 h 4837661"/>
                <a:gd name="connsiteX4264" fmla="*/ 6158123 w 10048557"/>
                <a:gd name="connsiteY4264" fmla="*/ 1831360 h 4837661"/>
                <a:gd name="connsiteX4265" fmla="*/ 6130151 w 10048557"/>
                <a:gd name="connsiteY4265" fmla="*/ 1820063 h 4837661"/>
                <a:gd name="connsiteX4266" fmla="*/ 6124144 w 10048557"/>
                <a:gd name="connsiteY4266" fmla="*/ 1807170 h 4837661"/>
                <a:gd name="connsiteX4267" fmla="*/ 6124144 w 10048557"/>
                <a:gd name="connsiteY4267" fmla="*/ 1789243 h 4837661"/>
                <a:gd name="connsiteX4268" fmla="*/ 6113255 w 10048557"/>
                <a:gd name="connsiteY4268" fmla="*/ 1767263 h 4837661"/>
                <a:gd name="connsiteX4269" fmla="*/ 6102742 w 10048557"/>
                <a:gd name="connsiteY4269" fmla="*/ 1754493 h 4837661"/>
                <a:gd name="connsiteX4270" fmla="*/ 6098800 w 10048557"/>
                <a:gd name="connsiteY4270" fmla="*/ 1745775 h 4837661"/>
                <a:gd name="connsiteX4271" fmla="*/ 6080777 w 10048557"/>
                <a:gd name="connsiteY4271" fmla="*/ 1736689 h 4837661"/>
                <a:gd name="connsiteX4272" fmla="*/ 6069326 w 10048557"/>
                <a:gd name="connsiteY4272" fmla="*/ 1729198 h 4837661"/>
                <a:gd name="connsiteX4273" fmla="*/ 6052993 w 10048557"/>
                <a:gd name="connsiteY4273" fmla="*/ 1727111 h 4837661"/>
                <a:gd name="connsiteX4274" fmla="*/ 6039664 w 10048557"/>
                <a:gd name="connsiteY4274" fmla="*/ 1727111 h 4837661"/>
                <a:gd name="connsiteX4275" fmla="*/ 6031404 w 10048557"/>
                <a:gd name="connsiteY4275" fmla="*/ 1736197 h 4837661"/>
                <a:gd name="connsiteX4276" fmla="*/ 6028588 w 10048557"/>
                <a:gd name="connsiteY4276" fmla="*/ 1749950 h 4837661"/>
                <a:gd name="connsiteX4277" fmla="*/ 6017324 w 10048557"/>
                <a:gd name="connsiteY4277" fmla="*/ 1767140 h 4837661"/>
                <a:gd name="connsiteX4278" fmla="*/ 6018638 w 10048557"/>
                <a:gd name="connsiteY4278" fmla="*/ 1778437 h 4837661"/>
                <a:gd name="connsiteX4279" fmla="*/ 6028025 w 10048557"/>
                <a:gd name="connsiteY4279" fmla="*/ 1790716 h 4837661"/>
                <a:gd name="connsiteX4280" fmla="*/ 6040978 w 10048557"/>
                <a:gd name="connsiteY4280" fmla="*/ 1805942 h 4837661"/>
                <a:gd name="connsiteX4281" fmla="*/ 6059751 w 10048557"/>
                <a:gd name="connsiteY4281" fmla="*/ 1830746 h 4837661"/>
                <a:gd name="connsiteX4282" fmla="*/ 6070077 w 10048557"/>
                <a:gd name="connsiteY4282" fmla="*/ 1845603 h 4837661"/>
                <a:gd name="connsiteX4283" fmla="*/ 6078149 w 10048557"/>
                <a:gd name="connsiteY4283" fmla="*/ 1859601 h 4837661"/>
                <a:gd name="connsiteX4284" fmla="*/ 6082092 w 10048557"/>
                <a:gd name="connsiteY4284" fmla="*/ 1886492 h 4837661"/>
                <a:gd name="connsiteX4285" fmla="*/ 6093168 w 10048557"/>
                <a:gd name="connsiteY4285" fmla="*/ 1909945 h 4837661"/>
                <a:gd name="connsiteX4286" fmla="*/ 6097486 w 10048557"/>
                <a:gd name="connsiteY4286" fmla="*/ 1922838 h 4837661"/>
                <a:gd name="connsiteX4287" fmla="*/ 6120952 w 10048557"/>
                <a:gd name="connsiteY4287" fmla="*/ 1919031 h 4837661"/>
                <a:gd name="connsiteX4288" fmla="*/ 6126209 w 10048557"/>
                <a:gd name="connsiteY4288" fmla="*/ 1907735 h 4837661"/>
                <a:gd name="connsiteX4289" fmla="*/ 6132216 w 10048557"/>
                <a:gd name="connsiteY4289" fmla="*/ 1900122 h 4837661"/>
                <a:gd name="connsiteX4290" fmla="*/ 6139726 w 10048557"/>
                <a:gd name="connsiteY4290" fmla="*/ 1902455 h 4837661"/>
                <a:gd name="connsiteX4291" fmla="*/ 6137473 w 10048557"/>
                <a:gd name="connsiteY4291" fmla="*/ 1911173 h 4837661"/>
                <a:gd name="connsiteX4292" fmla="*/ 6155871 w 10048557"/>
                <a:gd name="connsiteY4292" fmla="*/ 1915716 h 4837661"/>
                <a:gd name="connsiteX4293" fmla="*/ 6160752 w 10048557"/>
                <a:gd name="connsiteY4293" fmla="*/ 1927136 h 4837661"/>
                <a:gd name="connsiteX4294" fmla="*/ 6143292 w 10048557"/>
                <a:gd name="connsiteY4294" fmla="*/ 1940765 h 4837661"/>
                <a:gd name="connsiteX4295" fmla="*/ 6153242 w 10048557"/>
                <a:gd name="connsiteY4295" fmla="*/ 1951448 h 4837661"/>
                <a:gd name="connsiteX4296" fmla="*/ 6164131 w 10048557"/>
                <a:gd name="connsiteY4296" fmla="*/ 1956482 h 4837661"/>
                <a:gd name="connsiteX4297" fmla="*/ 6173142 w 10048557"/>
                <a:gd name="connsiteY4297" fmla="*/ 1964832 h 4837661"/>
                <a:gd name="connsiteX4298" fmla="*/ 6204306 w 10048557"/>
                <a:gd name="connsiteY4298" fmla="*/ 1962499 h 4837661"/>
                <a:gd name="connsiteX4299" fmla="*/ 6212003 w 10048557"/>
                <a:gd name="connsiteY4299" fmla="*/ 1956482 h 4837661"/>
                <a:gd name="connsiteX4300" fmla="*/ 6220826 w 10048557"/>
                <a:gd name="connsiteY4300" fmla="*/ 1955746 h 4837661"/>
                <a:gd name="connsiteX4301" fmla="*/ 6232466 w 10048557"/>
                <a:gd name="connsiteY4301" fmla="*/ 1955746 h 4837661"/>
                <a:gd name="connsiteX4302" fmla="*/ 6239036 w 10048557"/>
                <a:gd name="connsiteY4302" fmla="*/ 1946659 h 4837661"/>
                <a:gd name="connsiteX4303" fmla="*/ 6270012 w 10048557"/>
                <a:gd name="connsiteY4303" fmla="*/ 1918663 h 4837661"/>
                <a:gd name="connsiteX4304" fmla="*/ 6285782 w 10048557"/>
                <a:gd name="connsiteY4304" fmla="*/ 1897789 h 4837661"/>
                <a:gd name="connsiteX4305" fmla="*/ 6292352 w 10048557"/>
                <a:gd name="connsiteY4305" fmla="*/ 1887229 h 4837661"/>
                <a:gd name="connsiteX4306" fmla="*/ 6295919 w 10048557"/>
                <a:gd name="connsiteY4306" fmla="*/ 1879861 h 4837661"/>
                <a:gd name="connsiteX4307" fmla="*/ 6303804 w 10048557"/>
                <a:gd name="connsiteY4307" fmla="*/ 1883668 h 4837661"/>
                <a:gd name="connsiteX4308" fmla="*/ 6303804 w 10048557"/>
                <a:gd name="connsiteY4308" fmla="*/ 1893491 h 4837661"/>
                <a:gd name="connsiteX4309" fmla="*/ 6313378 w 10048557"/>
                <a:gd name="connsiteY4309" fmla="*/ 1903683 h 4837661"/>
                <a:gd name="connsiteX4310" fmla="*/ 6303429 w 10048557"/>
                <a:gd name="connsiteY4310" fmla="*/ 1913260 h 4837661"/>
                <a:gd name="connsiteX4311" fmla="*/ 6299674 w 10048557"/>
                <a:gd name="connsiteY4311" fmla="*/ 1924557 h 4837661"/>
                <a:gd name="connsiteX4312" fmla="*/ 6303992 w 10048557"/>
                <a:gd name="connsiteY4312" fmla="*/ 1935731 h 4837661"/>
                <a:gd name="connsiteX4313" fmla="*/ 6316758 w 10048557"/>
                <a:gd name="connsiteY4313" fmla="*/ 1953904 h 4837661"/>
                <a:gd name="connsiteX4314" fmla="*/ 6340412 w 10048557"/>
                <a:gd name="connsiteY4314" fmla="*/ 1963113 h 4837661"/>
                <a:gd name="connsiteX4315" fmla="*/ 6362377 w 10048557"/>
                <a:gd name="connsiteY4315" fmla="*/ 1972813 h 4837661"/>
                <a:gd name="connsiteX4316" fmla="*/ 6377771 w 10048557"/>
                <a:gd name="connsiteY4316" fmla="*/ 1980549 h 4837661"/>
                <a:gd name="connsiteX4317" fmla="*/ 6385468 w 10048557"/>
                <a:gd name="connsiteY4317" fmla="*/ 1999704 h 4837661"/>
                <a:gd name="connsiteX4318" fmla="*/ 6403115 w 10048557"/>
                <a:gd name="connsiteY4318" fmla="*/ 2013088 h 4837661"/>
                <a:gd name="connsiteX4319" fmla="*/ 6421513 w 10048557"/>
                <a:gd name="connsiteY4319" fmla="*/ 2029419 h 4837661"/>
                <a:gd name="connsiteX4320" fmla="*/ 6421513 w 10048557"/>
                <a:gd name="connsiteY4320" fmla="*/ 2039734 h 4837661"/>
                <a:gd name="connsiteX4321" fmla="*/ 6415130 w 10048557"/>
                <a:gd name="connsiteY4321" fmla="*/ 2048083 h 4837661"/>
                <a:gd name="connsiteX4322" fmla="*/ 6402927 w 10048557"/>
                <a:gd name="connsiteY4322" fmla="*/ 2057047 h 4837661"/>
                <a:gd name="connsiteX4323" fmla="*/ 6385092 w 10048557"/>
                <a:gd name="connsiteY4323" fmla="*/ 2073010 h 4837661"/>
                <a:gd name="connsiteX4324" fmla="*/ 6367633 w 10048557"/>
                <a:gd name="connsiteY4324" fmla="*/ 2088113 h 4837661"/>
                <a:gd name="connsiteX4325" fmla="*/ 6360875 w 10048557"/>
                <a:gd name="connsiteY4325" fmla="*/ 2108496 h 4837661"/>
                <a:gd name="connsiteX4326" fmla="*/ 6352239 w 10048557"/>
                <a:gd name="connsiteY4326" fmla="*/ 2129002 h 4837661"/>
                <a:gd name="connsiteX4327" fmla="*/ 6345293 w 10048557"/>
                <a:gd name="connsiteY4327" fmla="*/ 2142509 h 4837661"/>
                <a:gd name="connsiteX4328" fmla="*/ 6322953 w 10048557"/>
                <a:gd name="connsiteY4328" fmla="*/ 2160436 h 4837661"/>
                <a:gd name="connsiteX4329" fmla="*/ 6306620 w 10048557"/>
                <a:gd name="connsiteY4329" fmla="*/ 2182907 h 4837661"/>
                <a:gd name="connsiteX4330" fmla="*/ 6296295 w 10048557"/>
                <a:gd name="connsiteY4330" fmla="*/ 2196782 h 4837661"/>
                <a:gd name="connsiteX4331" fmla="*/ 6276020 w 10048557"/>
                <a:gd name="connsiteY4331" fmla="*/ 2209675 h 4837661"/>
                <a:gd name="connsiteX4332" fmla="*/ 6257997 w 10048557"/>
                <a:gd name="connsiteY4332" fmla="*/ 2213850 h 4837661"/>
                <a:gd name="connsiteX4333" fmla="*/ 6235094 w 10048557"/>
                <a:gd name="connsiteY4333" fmla="*/ 2218516 h 4837661"/>
                <a:gd name="connsiteX4334" fmla="*/ 6214631 w 10048557"/>
                <a:gd name="connsiteY4334" fmla="*/ 2228093 h 4837661"/>
                <a:gd name="connsiteX4335" fmla="*/ 6198486 w 10048557"/>
                <a:gd name="connsiteY4335" fmla="*/ 2241477 h 4837661"/>
                <a:gd name="connsiteX4336" fmla="*/ 6191728 w 10048557"/>
                <a:gd name="connsiteY4336" fmla="*/ 2256826 h 4837661"/>
                <a:gd name="connsiteX4337" fmla="*/ 6176521 w 10048557"/>
                <a:gd name="connsiteY4337" fmla="*/ 2272666 h 4837661"/>
                <a:gd name="connsiteX4338" fmla="*/ 6157748 w 10048557"/>
                <a:gd name="connsiteY4338" fmla="*/ 2281752 h 4837661"/>
                <a:gd name="connsiteX4339" fmla="*/ 6136346 w 10048557"/>
                <a:gd name="connsiteY4339" fmla="*/ 2299188 h 4837661"/>
                <a:gd name="connsiteX4340" fmla="*/ 6112129 w 10048557"/>
                <a:gd name="connsiteY4340" fmla="*/ 2304346 h 4837661"/>
                <a:gd name="connsiteX4341" fmla="*/ 6077398 w 10048557"/>
                <a:gd name="connsiteY4341" fmla="*/ 2319694 h 4837661"/>
                <a:gd name="connsiteX4342" fmla="*/ 6068763 w 10048557"/>
                <a:gd name="connsiteY4342" fmla="*/ 2325465 h 4837661"/>
                <a:gd name="connsiteX4343" fmla="*/ 6047924 w 10048557"/>
                <a:gd name="connsiteY4343" fmla="*/ 2335780 h 4837661"/>
                <a:gd name="connsiteX4344" fmla="*/ 6022017 w 10048557"/>
                <a:gd name="connsiteY4344" fmla="*/ 2350269 h 4837661"/>
                <a:gd name="connsiteX4345" fmla="*/ 5986911 w 10048557"/>
                <a:gd name="connsiteY4345" fmla="*/ 2365127 h 4837661"/>
                <a:gd name="connsiteX4346" fmla="*/ 5952556 w 10048557"/>
                <a:gd name="connsiteY4346" fmla="*/ 2371880 h 4837661"/>
                <a:gd name="connsiteX4347" fmla="*/ 5923270 w 10048557"/>
                <a:gd name="connsiteY4347" fmla="*/ 2370407 h 4837661"/>
                <a:gd name="connsiteX4348" fmla="*/ 5909565 w 10048557"/>
                <a:gd name="connsiteY4348" fmla="*/ 2352234 h 4837661"/>
                <a:gd name="connsiteX4349" fmla="*/ 5901493 w 10048557"/>
                <a:gd name="connsiteY4349" fmla="*/ 2337622 h 4837661"/>
                <a:gd name="connsiteX4350" fmla="*/ 5889102 w 10048557"/>
                <a:gd name="connsiteY4350" fmla="*/ 2325711 h 4837661"/>
                <a:gd name="connsiteX4351" fmla="*/ 5889102 w 10048557"/>
                <a:gd name="connsiteY4351" fmla="*/ 2309257 h 4837661"/>
                <a:gd name="connsiteX4352" fmla="*/ 5882907 w 10048557"/>
                <a:gd name="connsiteY4352" fmla="*/ 2288137 h 4837661"/>
                <a:gd name="connsiteX4353" fmla="*/ 5872582 w 10048557"/>
                <a:gd name="connsiteY4353" fmla="*/ 2277209 h 4837661"/>
                <a:gd name="connsiteX4354" fmla="*/ 5868639 w 10048557"/>
                <a:gd name="connsiteY4354" fmla="*/ 2263088 h 4837661"/>
                <a:gd name="connsiteX4355" fmla="*/ 5882344 w 10048557"/>
                <a:gd name="connsiteY4355" fmla="*/ 2236688 h 4837661"/>
                <a:gd name="connsiteX4356" fmla="*/ 5872582 w 10048557"/>
                <a:gd name="connsiteY4356" fmla="*/ 2220480 h 4837661"/>
                <a:gd name="connsiteX4357" fmla="*/ 5862820 w 10048557"/>
                <a:gd name="connsiteY4357" fmla="*/ 2206851 h 4837661"/>
                <a:gd name="connsiteX4358" fmla="*/ 5854559 w 10048557"/>
                <a:gd name="connsiteY4358" fmla="*/ 2199360 h 4837661"/>
                <a:gd name="connsiteX4359" fmla="*/ 5840104 w 10048557"/>
                <a:gd name="connsiteY4359" fmla="*/ 2191747 h 4837661"/>
                <a:gd name="connsiteX4360" fmla="*/ 5832782 w 10048557"/>
                <a:gd name="connsiteY4360" fmla="*/ 2167926 h 4837661"/>
                <a:gd name="connsiteX4361" fmla="*/ 5830154 w 10048557"/>
                <a:gd name="connsiteY4361" fmla="*/ 2150490 h 4837661"/>
                <a:gd name="connsiteX4362" fmla="*/ 5814948 w 10048557"/>
                <a:gd name="connsiteY4362" fmla="*/ 2130844 h 4837661"/>
                <a:gd name="connsiteX4363" fmla="*/ 5799929 w 10048557"/>
                <a:gd name="connsiteY4363" fmla="*/ 2125318 h 4837661"/>
                <a:gd name="connsiteX4364" fmla="*/ 5779278 w 10048557"/>
                <a:gd name="connsiteY4364" fmla="*/ 2119179 h 4837661"/>
                <a:gd name="connsiteX4365" fmla="*/ 5779278 w 10048557"/>
                <a:gd name="connsiteY4365" fmla="*/ 2103830 h 4837661"/>
                <a:gd name="connsiteX4366" fmla="*/ 5765574 w 10048557"/>
                <a:gd name="connsiteY4366" fmla="*/ 2088850 h 4837661"/>
                <a:gd name="connsiteX4367" fmla="*/ 5766137 w 10048557"/>
                <a:gd name="connsiteY4367" fmla="*/ 2080254 h 4837661"/>
                <a:gd name="connsiteX4368" fmla="*/ 5753935 w 10048557"/>
                <a:gd name="connsiteY4368" fmla="*/ 2059135 h 4837661"/>
                <a:gd name="connsiteX4369" fmla="*/ 5747176 w 10048557"/>
                <a:gd name="connsiteY4369" fmla="*/ 2046242 h 4837661"/>
                <a:gd name="connsiteX4370" fmla="*/ 5744923 w 10048557"/>
                <a:gd name="connsiteY4370" fmla="*/ 2022912 h 4837661"/>
                <a:gd name="connsiteX4371" fmla="*/ 5749241 w 10048557"/>
                <a:gd name="connsiteY4371" fmla="*/ 1997862 h 4837661"/>
                <a:gd name="connsiteX4372" fmla="*/ 5729342 w 10048557"/>
                <a:gd name="connsiteY4372" fmla="*/ 1979690 h 4837661"/>
                <a:gd name="connsiteX4373" fmla="*/ 5708128 w 10048557"/>
                <a:gd name="connsiteY4373" fmla="*/ 1965323 h 4837661"/>
                <a:gd name="connsiteX4374" fmla="*/ 5701182 w 10048557"/>
                <a:gd name="connsiteY4374" fmla="*/ 1960043 h 4837661"/>
                <a:gd name="connsiteX4375" fmla="*/ 5697239 w 10048557"/>
                <a:gd name="connsiteY4375" fmla="*/ 1949852 h 4837661"/>
                <a:gd name="connsiteX4376" fmla="*/ 5688979 w 10048557"/>
                <a:gd name="connsiteY4376" fmla="*/ 1925785 h 4837661"/>
                <a:gd name="connsiteX4377" fmla="*/ 5678841 w 10048557"/>
                <a:gd name="connsiteY4377" fmla="*/ 1915962 h 4837661"/>
                <a:gd name="connsiteX4378" fmla="*/ 5657815 w 10048557"/>
                <a:gd name="connsiteY4378" fmla="*/ 1903192 h 4837661"/>
                <a:gd name="connsiteX4379" fmla="*/ 5648429 w 10048557"/>
                <a:gd name="connsiteY4379" fmla="*/ 1883791 h 4837661"/>
                <a:gd name="connsiteX4380" fmla="*/ 5639417 w 10048557"/>
                <a:gd name="connsiteY4380" fmla="*/ 1871266 h 4837661"/>
                <a:gd name="connsiteX4381" fmla="*/ 5631908 w 10048557"/>
                <a:gd name="connsiteY4381" fmla="*/ 1850760 h 4837661"/>
                <a:gd name="connsiteX4382" fmla="*/ 5617077 w 10048557"/>
                <a:gd name="connsiteY4382" fmla="*/ 1837376 h 4837661"/>
                <a:gd name="connsiteX4383" fmla="*/ 5610131 w 10048557"/>
                <a:gd name="connsiteY4383" fmla="*/ 1802749 h 4837661"/>
                <a:gd name="connsiteX4384" fmla="*/ 5603373 w 10048557"/>
                <a:gd name="connsiteY4384" fmla="*/ 1786173 h 4837661"/>
                <a:gd name="connsiteX4385" fmla="*/ 5594737 w 10048557"/>
                <a:gd name="connsiteY4385" fmla="*/ 1775245 h 4837661"/>
                <a:gd name="connsiteX4386" fmla="*/ 5584036 w 10048557"/>
                <a:gd name="connsiteY4386" fmla="*/ 1783472 h 4837661"/>
                <a:gd name="connsiteX4387" fmla="*/ 5584036 w 10048557"/>
                <a:gd name="connsiteY4387" fmla="*/ 1815274 h 4837661"/>
                <a:gd name="connsiteX4388" fmla="*/ 5575776 w 10048557"/>
                <a:gd name="connsiteY4388" fmla="*/ 1824360 h 4837661"/>
                <a:gd name="connsiteX4389" fmla="*/ 5561321 w 10048557"/>
                <a:gd name="connsiteY4389" fmla="*/ 1804837 h 4837661"/>
                <a:gd name="connsiteX4390" fmla="*/ 5546865 w 10048557"/>
                <a:gd name="connsiteY4390" fmla="*/ 1797101 h 4837661"/>
                <a:gd name="connsiteX4391" fmla="*/ 5546865 w 10048557"/>
                <a:gd name="connsiteY4391" fmla="*/ 1787278 h 4837661"/>
                <a:gd name="connsiteX4392" fmla="*/ 5547616 w 10048557"/>
                <a:gd name="connsiteY4392" fmla="*/ 1776964 h 4837661"/>
                <a:gd name="connsiteX4393" fmla="*/ 5538417 w 10048557"/>
                <a:gd name="connsiteY4393" fmla="*/ 1769719 h 4837661"/>
                <a:gd name="connsiteX4394" fmla="*/ 5528655 w 10048557"/>
                <a:gd name="connsiteY4394" fmla="*/ 1764439 h 4837661"/>
                <a:gd name="connsiteX4395" fmla="*/ 5517932 w 10048557"/>
                <a:gd name="connsiteY4395" fmla="*/ 1751960 h 4837661"/>
                <a:gd name="connsiteX4396" fmla="*/ 5515975 w 10048557"/>
                <a:gd name="connsiteY4396" fmla="*/ 1756178 h 4837661"/>
                <a:gd name="connsiteX4397" fmla="*/ 5508379 w 10048557"/>
                <a:gd name="connsiteY4397" fmla="*/ 1766218 h 4837661"/>
                <a:gd name="connsiteX4398" fmla="*/ 5509434 w 10048557"/>
                <a:gd name="connsiteY4398" fmla="*/ 1777226 h 4837661"/>
                <a:gd name="connsiteX4399" fmla="*/ 5517030 w 10048557"/>
                <a:gd name="connsiteY4399" fmla="*/ 1791983 h 4837661"/>
                <a:gd name="connsiteX4400" fmla="*/ 5526947 w 10048557"/>
                <a:gd name="connsiteY4400" fmla="*/ 1804805 h 4837661"/>
                <a:gd name="connsiteX4401" fmla="*/ 5543616 w 10048557"/>
                <a:gd name="connsiteY4401" fmla="*/ 1831900 h 4837661"/>
                <a:gd name="connsiteX4402" fmla="*/ 5572102 w 10048557"/>
                <a:gd name="connsiteY4402" fmla="*/ 1874963 h 4837661"/>
                <a:gd name="connsiteX4403" fmla="*/ 5584234 w 10048557"/>
                <a:gd name="connsiteY4403" fmla="*/ 1893228 h 4837661"/>
                <a:gd name="connsiteX4404" fmla="*/ 5597211 w 10048557"/>
                <a:gd name="connsiteY4404" fmla="*/ 1916694 h 4837661"/>
                <a:gd name="connsiteX4405" fmla="*/ 5598688 w 10048557"/>
                <a:gd name="connsiteY4405" fmla="*/ 1926250 h 4837661"/>
                <a:gd name="connsiteX4406" fmla="*/ 5606284 w 10048557"/>
                <a:gd name="connsiteY4406" fmla="*/ 1948145 h 4837661"/>
                <a:gd name="connsiteX4407" fmla="*/ 5614724 w 10048557"/>
                <a:gd name="connsiteY4407" fmla="*/ 1968587 h 4837661"/>
                <a:gd name="connsiteX4408" fmla="*/ 5617783 w 10048557"/>
                <a:gd name="connsiteY4408" fmla="*/ 1989755 h 4837661"/>
                <a:gd name="connsiteX4409" fmla="*/ 5620843 w 10048557"/>
                <a:gd name="connsiteY4409" fmla="*/ 2006932 h 4837661"/>
                <a:gd name="connsiteX4410" fmla="*/ 5649750 w 10048557"/>
                <a:gd name="connsiteY4410" fmla="*/ 2021084 h 4837661"/>
                <a:gd name="connsiteX4411" fmla="*/ 5661777 w 10048557"/>
                <a:gd name="connsiteY4411" fmla="*/ 2041890 h 4837661"/>
                <a:gd name="connsiteX4412" fmla="*/ 5666419 w 10048557"/>
                <a:gd name="connsiteY4412" fmla="*/ 2053502 h 4837661"/>
                <a:gd name="connsiteX4413" fmla="*/ 5677075 w 10048557"/>
                <a:gd name="connsiteY4413" fmla="*/ 2071646 h 4837661"/>
                <a:gd name="connsiteX4414" fmla="*/ 5678552 w 10048557"/>
                <a:gd name="connsiteY4414" fmla="*/ 2097411 h 4837661"/>
                <a:gd name="connsiteX4415" fmla="*/ 5678552 w 10048557"/>
                <a:gd name="connsiteY4415" fmla="*/ 2113499 h 4837661"/>
                <a:gd name="connsiteX4416" fmla="*/ 5682139 w 10048557"/>
                <a:gd name="connsiteY4416" fmla="*/ 2129103 h 4837661"/>
                <a:gd name="connsiteX4417" fmla="*/ 5692794 w 10048557"/>
                <a:gd name="connsiteY4417" fmla="*/ 2141199 h 4837661"/>
                <a:gd name="connsiteX4418" fmla="*/ 5700707 w 10048557"/>
                <a:gd name="connsiteY4418" fmla="*/ 2150755 h 4837661"/>
                <a:gd name="connsiteX4419" fmla="*/ 5715899 w 10048557"/>
                <a:gd name="connsiteY4419" fmla="*/ 2168900 h 4837661"/>
                <a:gd name="connsiteX4420" fmla="*/ 5722018 w 10048557"/>
                <a:gd name="connsiteY4420" fmla="*/ 2180270 h 4837661"/>
                <a:gd name="connsiteX4421" fmla="*/ 5729403 w 10048557"/>
                <a:gd name="connsiteY4421" fmla="*/ 2196479 h 4837661"/>
                <a:gd name="connsiteX4422" fmla="*/ 5748499 w 10048557"/>
                <a:gd name="connsiteY4422" fmla="*/ 2208333 h 4837661"/>
                <a:gd name="connsiteX4423" fmla="*/ 5748710 w 10048557"/>
                <a:gd name="connsiteY4423" fmla="*/ 2218131 h 4837661"/>
                <a:gd name="connsiteX4424" fmla="*/ 5749554 w 10048557"/>
                <a:gd name="connsiteY4424" fmla="*/ 2229985 h 4837661"/>
                <a:gd name="connsiteX4425" fmla="*/ 5757044 w 10048557"/>
                <a:gd name="connsiteY4425" fmla="*/ 2237485 h 4837661"/>
                <a:gd name="connsiteX4426" fmla="*/ 5754829 w 10048557"/>
                <a:gd name="connsiteY4426" fmla="*/ 2250549 h 4837661"/>
                <a:gd name="connsiteX4427" fmla="*/ 5765379 w 10048557"/>
                <a:gd name="connsiteY4427" fmla="*/ 2263613 h 4837661"/>
                <a:gd name="connsiteX4428" fmla="*/ 5782153 w 10048557"/>
                <a:gd name="connsiteY4428" fmla="*/ 2277644 h 4837661"/>
                <a:gd name="connsiteX4429" fmla="*/ 5794602 w 10048557"/>
                <a:gd name="connsiteY4429" fmla="*/ 2278854 h 4837661"/>
                <a:gd name="connsiteX4430" fmla="*/ 5806524 w 10048557"/>
                <a:gd name="connsiteY4430" fmla="*/ 2288410 h 4837661"/>
                <a:gd name="connsiteX4431" fmla="*/ 5812326 w 10048557"/>
                <a:gd name="connsiteY4431" fmla="*/ 2297482 h 4837661"/>
                <a:gd name="connsiteX4432" fmla="*/ 5825303 w 10048557"/>
                <a:gd name="connsiteY4432" fmla="*/ 2315384 h 4837661"/>
                <a:gd name="connsiteX4433" fmla="*/ 5833743 w 10048557"/>
                <a:gd name="connsiteY4433" fmla="*/ 2316110 h 4837661"/>
                <a:gd name="connsiteX4434" fmla="*/ 5842816 w 10048557"/>
                <a:gd name="connsiteY4434" fmla="*/ 2317199 h 4837661"/>
                <a:gd name="connsiteX4435" fmla="*/ 5845665 w 10048557"/>
                <a:gd name="connsiteY4435" fmla="*/ 2337399 h 4837661"/>
                <a:gd name="connsiteX4436" fmla="*/ 5861595 w 10048557"/>
                <a:gd name="connsiteY4436" fmla="*/ 2348649 h 4837661"/>
                <a:gd name="connsiteX4437" fmla="*/ 5863916 w 10048557"/>
                <a:gd name="connsiteY4437" fmla="*/ 2357963 h 4837661"/>
                <a:gd name="connsiteX4438" fmla="*/ 5869930 w 10048557"/>
                <a:gd name="connsiteY4438" fmla="*/ 2370059 h 4837661"/>
                <a:gd name="connsiteX4439" fmla="*/ 5887970 w 10048557"/>
                <a:gd name="connsiteY4439" fmla="*/ 2375139 h 4837661"/>
                <a:gd name="connsiteX4440" fmla="*/ 5891030 w 10048557"/>
                <a:gd name="connsiteY4440" fmla="*/ 2391227 h 4837661"/>
                <a:gd name="connsiteX4441" fmla="*/ 5894089 w 10048557"/>
                <a:gd name="connsiteY4441" fmla="*/ 2402840 h 4837661"/>
                <a:gd name="connsiteX4442" fmla="*/ 5900419 w 10048557"/>
                <a:gd name="connsiteY4442" fmla="*/ 2417234 h 4837661"/>
                <a:gd name="connsiteX4443" fmla="*/ 5899681 w 10048557"/>
                <a:gd name="connsiteY4443" fmla="*/ 2428484 h 4837661"/>
                <a:gd name="connsiteX4444" fmla="*/ 5905800 w 10048557"/>
                <a:gd name="connsiteY4444" fmla="*/ 2441547 h 4837661"/>
                <a:gd name="connsiteX4445" fmla="*/ 5921730 w 10048557"/>
                <a:gd name="connsiteY4445" fmla="*/ 2449894 h 4837661"/>
                <a:gd name="connsiteX4446" fmla="*/ 5936184 w 10048557"/>
                <a:gd name="connsiteY4446" fmla="*/ 2455942 h 4837661"/>
                <a:gd name="connsiteX4447" fmla="*/ 5960555 w 10048557"/>
                <a:gd name="connsiteY4447" fmla="*/ 2463562 h 4837661"/>
                <a:gd name="connsiteX4448" fmla="*/ 5969206 w 10048557"/>
                <a:gd name="connsiteY4448" fmla="*/ 2462837 h 4837661"/>
                <a:gd name="connsiteX4449" fmla="*/ 5979545 w 10048557"/>
                <a:gd name="connsiteY4449" fmla="*/ 2459208 h 4837661"/>
                <a:gd name="connsiteX4450" fmla="*/ 5988618 w 10048557"/>
                <a:gd name="connsiteY4450" fmla="*/ 2456305 h 4837661"/>
                <a:gd name="connsiteX4451" fmla="*/ 6013832 w 10048557"/>
                <a:gd name="connsiteY4451" fmla="*/ 2451708 h 4837661"/>
                <a:gd name="connsiteX4452" fmla="*/ 6040313 w 10048557"/>
                <a:gd name="connsiteY4452" fmla="*/ 2447958 h 4837661"/>
                <a:gd name="connsiteX4453" fmla="*/ 6064578 w 10048557"/>
                <a:gd name="connsiteY4453" fmla="*/ 2441185 h 4837661"/>
                <a:gd name="connsiteX4454" fmla="*/ 6090531 w 10048557"/>
                <a:gd name="connsiteY4454" fmla="*/ 2430782 h 4837661"/>
                <a:gd name="connsiteX4455" fmla="*/ 6121970 w 10048557"/>
                <a:gd name="connsiteY4455" fmla="*/ 2423403 h 4837661"/>
                <a:gd name="connsiteX4456" fmla="*/ 6139484 w 10048557"/>
                <a:gd name="connsiteY4456" fmla="*/ 2413121 h 4837661"/>
                <a:gd name="connsiteX4457" fmla="*/ 6151194 w 10048557"/>
                <a:gd name="connsiteY4457" fmla="*/ 2410097 h 4837661"/>
                <a:gd name="connsiteX4458" fmla="*/ 6152144 w 10048557"/>
                <a:gd name="connsiteY4458" fmla="*/ 2418928 h 4837661"/>
                <a:gd name="connsiteX4459" fmla="*/ 6153410 w 10048557"/>
                <a:gd name="connsiteY4459" fmla="*/ 2433322 h 4837661"/>
                <a:gd name="connsiteX4460" fmla="*/ 6158790 w 10048557"/>
                <a:gd name="connsiteY4460" fmla="*/ 2449894 h 4837661"/>
                <a:gd name="connsiteX4461" fmla="*/ 6158790 w 10048557"/>
                <a:gd name="connsiteY4461" fmla="*/ 2465619 h 4837661"/>
                <a:gd name="connsiteX4462" fmla="*/ 6152671 w 10048557"/>
                <a:gd name="connsiteY4462" fmla="*/ 2483763 h 4837661"/>
                <a:gd name="connsiteX4463" fmla="*/ 6149928 w 10048557"/>
                <a:gd name="connsiteY4463" fmla="*/ 2494408 h 4837661"/>
                <a:gd name="connsiteX4464" fmla="*/ 6138745 w 10048557"/>
                <a:gd name="connsiteY4464" fmla="*/ 2513036 h 4837661"/>
                <a:gd name="connsiteX4465" fmla="*/ 6131887 w 10048557"/>
                <a:gd name="connsiteY4465" fmla="*/ 2529970 h 4837661"/>
                <a:gd name="connsiteX4466" fmla="*/ 6123975 w 10048557"/>
                <a:gd name="connsiteY4466" fmla="*/ 2543034 h 4837661"/>
                <a:gd name="connsiteX4467" fmla="*/ 6117328 w 10048557"/>
                <a:gd name="connsiteY4467" fmla="*/ 2560816 h 4837661"/>
                <a:gd name="connsiteX4468" fmla="*/ 6106673 w 10048557"/>
                <a:gd name="connsiteY4468" fmla="*/ 2582710 h 4837661"/>
                <a:gd name="connsiteX4469" fmla="*/ 6101081 w 10048557"/>
                <a:gd name="connsiteY4469" fmla="*/ 2596862 h 4837661"/>
                <a:gd name="connsiteX4470" fmla="*/ 6079665 w 10048557"/>
                <a:gd name="connsiteY4470" fmla="*/ 2622143 h 4837661"/>
                <a:gd name="connsiteX4471" fmla="*/ 6070486 w 10048557"/>
                <a:gd name="connsiteY4471" fmla="*/ 2646336 h 4837661"/>
                <a:gd name="connsiteX4472" fmla="*/ 6060569 w 10048557"/>
                <a:gd name="connsiteY4472" fmla="*/ 2656738 h 4837661"/>
                <a:gd name="connsiteX4473" fmla="*/ 6046960 w 10048557"/>
                <a:gd name="connsiteY4473" fmla="*/ 2689035 h 4837661"/>
                <a:gd name="connsiteX4474" fmla="*/ 6036198 w 10048557"/>
                <a:gd name="connsiteY4474" fmla="*/ 2708873 h 4837661"/>
                <a:gd name="connsiteX4475" fmla="*/ 6028602 w 10048557"/>
                <a:gd name="connsiteY4475" fmla="*/ 2718792 h 4837661"/>
                <a:gd name="connsiteX4476" fmla="*/ 6015942 w 10048557"/>
                <a:gd name="connsiteY4476" fmla="*/ 2727622 h 4837661"/>
                <a:gd name="connsiteX4477" fmla="*/ 6005287 w 10048557"/>
                <a:gd name="connsiteY4477" fmla="*/ 2729557 h 4837661"/>
                <a:gd name="connsiteX4478" fmla="*/ 5994631 w 10048557"/>
                <a:gd name="connsiteY4478" fmla="*/ 2739355 h 4837661"/>
                <a:gd name="connsiteX4479" fmla="*/ 5990095 w 10048557"/>
                <a:gd name="connsiteY4479" fmla="*/ 2747702 h 4837661"/>
                <a:gd name="connsiteX4480" fmla="*/ 5974059 w 10048557"/>
                <a:gd name="connsiteY4480" fmla="*/ 2766572 h 4837661"/>
                <a:gd name="connsiteX4481" fmla="*/ 5951165 w 10048557"/>
                <a:gd name="connsiteY4481" fmla="*/ 2780724 h 4837661"/>
                <a:gd name="connsiteX4482" fmla="*/ 5939771 w 10048557"/>
                <a:gd name="connsiteY4482" fmla="*/ 2788103 h 4837661"/>
                <a:gd name="connsiteX4483" fmla="*/ 5925528 w 10048557"/>
                <a:gd name="connsiteY4483" fmla="*/ 2796933 h 4837661"/>
                <a:gd name="connsiteX4484" fmla="*/ 5918671 w 10048557"/>
                <a:gd name="connsiteY4484" fmla="*/ 2805158 h 4837661"/>
                <a:gd name="connsiteX4485" fmla="*/ 5914240 w 10048557"/>
                <a:gd name="connsiteY4485" fmla="*/ 2811932 h 4837661"/>
                <a:gd name="connsiteX4486" fmla="*/ 5902951 w 10048557"/>
                <a:gd name="connsiteY4486" fmla="*/ 2828262 h 4837661"/>
                <a:gd name="connsiteX4487" fmla="*/ 5894617 w 10048557"/>
                <a:gd name="connsiteY4487" fmla="*/ 2835883 h 4837661"/>
                <a:gd name="connsiteX4488" fmla="*/ 5885544 w 10048557"/>
                <a:gd name="connsiteY4488" fmla="*/ 2846406 h 4837661"/>
                <a:gd name="connsiteX4489" fmla="*/ 5877948 w 10048557"/>
                <a:gd name="connsiteY4489" fmla="*/ 2852454 h 4837661"/>
                <a:gd name="connsiteX4490" fmla="*/ 5868031 w 10048557"/>
                <a:gd name="connsiteY4490" fmla="*/ 2872171 h 4837661"/>
                <a:gd name="connsiteX4491" fmla="*/ 5853472 w 10048557"/>
                <a:gd name="connsiteY4491" fmla="*/ 2892977 h 4837661"/>
                <a:gd name="connsiteX4492" fmla="*/ 5829945 w 10048557"/>
                <a:gd name="connsiteY4492" fmla="*/ 2914024 h 4837661"/>
                <a:gd name="connsiteX4493" fmla="*/ 5818445 w 10048557"/>
                <a:gd name="connsiteY4493" fmla="*/ 2923217 h 4837661"/>
                <a:gd name="connsiteX4494" fmla="*/ 5807051 w 10048557"/>
                <a:gd name="connsiteY4494" fmla="*/ 2932047 h 4837661"/>
                <a:gd name="connsiteX4495" fmla="*/ 5801460 w 10048557"/>
                <a:gd name="connsiteY4495" fmla="*/ 2945837 h 4837661"/>
                <a:gd name="connsiteX4496" fmla="*/ 5791543 w 10048557"/>
                <a:gd name="connsiteY4496" fmla="*/ 2952732 h 4837661"/>
                <a:gd name="connsiteX4497" fmla="*/ 5781626 w 10048557"/>
                <a:gd name="connsiteY4497" fmla="*/ 2965554 h 4837661"/>
                <a:gd name="connsiteX4498" fmla="*/ 5776351 w 10048557"/>
                <a:gd name="connsiteY4498" fmla="*/ 2974626 h 4837661"/>
                <a:gd name="connsiteX4499" fmla="*/ 5773502 w 10048557"/>
                <a:gd name="connsiteY4499" fmla="*/ 2981400 h 4837661"/>
                <a:gd name="connsiteX4500" fmla="*/ 5765168 w 10048557"/>
                <a:gd name="connsiteY4500" fmla="*/ 2994826 h 4837661"/>
                <a:gd name="connsiteX4501" fmla="*/ 5762847 w 10048557"/>
                <a:gd name="connsiteY4501" fmla="*/ 3012729 h 4837661"/>
                <a:gd name="connsiteX4502" fmla="*/ 5758521 w 10048557"/>
                <a:gd name="connsiteY4502" fmla="*/ 3027365 h 4837661"/>
                <a:gd name="connsiteX4503" fmla="*/ 5756306 w 10048557"/>
                <a:gd name="connsiteY4503" fmla="*/ 3038735 h 4837661"/>
                <a:gd name="connsiteX4504" fmla="*/ 5753985 w 10048557"/>
                <a:gd name="connsiteY4504" fmla="*/ 3053130 h 4837661"/>
                <a:gd name="connsiteX4505" fmla="*/ 5753457 w 10048557"/>
                <a:gd name="connsiteY4505" fmla="*/ 3065952 h 4837661"/>
                <a:gd name="connsiteX4506" fmla="*/ 5752719 w 10048557"/>
                <a:gd name="connsiteY4506" fmla="*/ 3080346 h 4837661"/>
                <a:gd name="connsiteX4507" fmla="*/ 5752719 w 10048557"/>
                <a:gd name="connsiteY4507" fmla="*/ 3094741 h 4837661"/>
                <a:gd name="connsiteX4508" fmla="*/ 5753457 w 10048557"/>
                <a:gd name="connsiteY4508" fmla="*/ 3103813 h 4837661"/>
                <a:gd name="connsiteX4509" fmla="*/ 5753457 w 10048557"/>
                <a:gd name="connsiteY4509" fmla="*/ 3120868 h 4837661"/>
                <a:gd name="connsiteX4510" fmla="*/ 5762425 w 10048557"/>
                <a:gd name="connsiteY4510" fmla="*/ 3141069 h 4837661"/>
                <a:gd name="connsiteX4511" fmla="*/ 5779199 w 10048557"/>
                <a:gd name="connsiteY4511" fmla="*/ 3184857 h 4837661"/>
                <a:gd name="connsiteX4512" fmla="*/ 5787217 w 10048557"/>
                <a:gd name="connsiteY4512" fmla="*/ 3196228 h 4837661"/>
                <a:gd name="connsiteX4513" fmla="*/ 5793336 w 10048557"/>
                <a:gd name="connsiteY4513" fmla="*/ 3205179 h 4837661"/>
                <a:gd name="connsiteX4514" fmla="*/ 5801671 w 10048557"/>
                <a:gd name="connsiteY4514" fmla="*/ 3218001 h 4837661"/>
                <a:gd name="connsiteX4515" fmla="*/ 5809056 w 10048557"/>
                <a:gd name="connsiteY4515" fmla="*/ 3233726 h 4837661"/>
                <a:gd name="connsiteX4516" fmla="*/ 5810533 w 10048557"/>
                <a:gd name="connsiteY4516" fmla="*/ 3241467 h 4837661"/>
                <a:gd name="connsiteX4517" fmla="*/ 5802409 w 10048557"/>
                <a:gd name="connsiteY4517" fmla="*/ 3274853 h 4837661"/>
                <a:gd name="connsiteX4518" fmla="*/ 5798822 w 10048557"/>
                <a:gd name="connsiteY4518" fmla="*/ 3291666 h 4837661"/>
                <a:gd name="connsiteX4519" fmla="*/ 5806946 w 10048557"/>
                <a:gd name="connsiteY4519" fmla="*/ 3298924 h 4837661"/>
                <a:gd name="connsiteX4520" fmla="*/ 5808423 w 10048557"/>
                <a:gd name="connsiteY4520" fmla="*/ 3317915 h 4837661"/>
                <a:gd name="connsiteX4521" fmla="*/ 5804625 w 10048557"/>
                <a:gd name="connsiteY4521" fmla="*/ 3336785 h 4837661"/>
                <a:gd name="connsiteX4522" fmla="*/ 5815386 w 10048557"/>
                <a:gd name="connsiteY4522" fmla="*/ 3345131 h 4837661"/>
                <a:gd name="connsiteX4523" fmla="*/ 5817601 w 10048557"/>
                <a:gd name="connsiteY4523" fmla="*/ 3355171 h 4837661"/>
                <a:gd name="connsiteX4524" fmla="*/ 5804941 w 10048557"/>
                <a:gd name="connsiteY4524" fmla="*/ 3366784 h 4837661"/>
                <a:gd name="connsiteX4525" fmla="*/ 5799877 w 10048557"/>
                <a:gd name="connsiteY4525" fmla="*/ 3378396 h 4837661"/>
                <a:gd name="connsiteX4526" fmla="*/ 5795552 w 10048557"/>
                <a:gd name="connsiteY4526" fmla="*/ 3400169 h 4837661"/>
                <a:gd name="connsiteX4527" fmla="*/ 5781731 w 10048557"/>
                <a:gd name="connsiteY4527" fmla="*/ 3416015 h 4837661"/>
                <a:gd name="connsiteX4528" fmla="*/ 5761475 w 10048557"/>
                <a:gd name="connsiteY4528" fmla="*/ 3432950 h 4837661"/>
                <a:gd name="connsiteX4529" fmla="*/ 5754090 w 10048557"/>
                <a:gd name="connsiteY4529" fmla="*/ 3438151 h 4837661"/>
                <a:gd name="connsiteX4530" fmla="*/ 5727504 w 10048557"/>
                <a:gd name="connsiteY4530" fmla="*/ 3453271 h 4837661"/>
                <a:gd name="connsiteX4531" fmla="*/ 5695432 w 10048557"/>
                <a:gd name="connsiteY4531" fmla="*/ 3467666 h 4837661"/>
                <a:gd name="connsiteX4532" fmla="*/ 5683299 w 10048557"/>
                <a:gd name="connsiteY4532" fmla="*/ 3476738 h 4837661"/>
                <a:gd name="connsiteX4533" fmla="*/ 5674965 w 10048557"/>
                <a:gd name="connsiteY4533" fmla="*/ 3485084 h 4837661"/>
                <a:gd name="connsiteX4534" fmla="*/ 5663782 w 10048557"/>
                <a:gd name="connsiteY4534" fmla="*/ 3497906 h 4837661"/>
                <a:gd name="connsiteX4535" fmla="*/ 5654392 w 10048557"/>
                <a:gd name="connsiteY4535" fmla="*/ 3514720 h 4837661"/>
                <a:gd name="connsiteX4536" fmla="*/ 5638883 w 10048557"/>
                <a:gd name="connsiteY4536" fmla="*/ 3526574 h 4837661"/>
                <a:gd name="connsiteX4537" fmla="*/ 5629705 w 10048557"/>
                <a:gd name="connsiteY4537" fmla="*/ 3536493 h 4837661"/>
                <a:gd name="connsiteX4538" fmla="*/ 5615568 w 10048557"/>
                <a:gd name="connsiteY4538" fmla="*/ 3548347 h 4837661"/>
                <a:gd name="connsiteX4539" fmla="*/ 5606917 w 10048557"/>
                <a:gd name="connsiteY4539" fmla="*/ 3560685 h 4837661"/>
                <a:gd name="connsiteX4540" fmla="*/ 5600059 w 10048557"/>
                <a:gd name="connsiteY4540" fmla="*/ 3579555 h 4837661"/>
                <a:gd name="connsiteX4541" fmla="*/ 5594784 w 10048557"/>
                <a:gd name="connsiteY4541" fmla="*/ 3592498 h 4837661"/>
                <a:gd name="connsiteX4542" fmla="*/ 5593307 w 10048557"/>
                <a:gd name="connsiteY4542" fmla="*/ 3603264 h 4837661"/>
                <a:gd name="connsiteX4543" fmla="*/ 5603224 w 10048557"/>
                <a:gd name="connsiteY4543" fmla="*/ 3619231 h 4837661"/>
                <a:gd name="connsiteX4544" fmla="*/ 5616201 w 10048557"/>
                <a:gd name="connsiteY4544" fmla="*/ 3638101 h 4837661"/>
                <a:gd name="connsiteX4545" fmla="*/ 5625801 w 10048557"/>
                <a:gd name="connsiteY4545" fmla="*/ 3652253 h 4837661"/>
                <a:gd name="connsiteX4546" fmla="*/ 5625801 w 10048557"/>
                <a:gd name="connsiteY4546" fmla="*/ 3664349 h 4837661"/>
                <a:gd name="connsiteX4547" fmla="*/ 5625063 w 10048557"/>
                <a:gd name="connsiteY4547" fmla="*/ 3678018 h 4837661"/>
                <a:gd name="connsiteX4548" fmla="*/ 5621265 w 10048557"/>
                <a:gd name="connsiteY4548" fmla="*/ 3698461 h 4837661"/>
                <a:gd name="connsiteX4549" fmla="*/ 5615462 w 10048557"/>
                <a:gd name="connsiteY4549" fmla="*/ 3709831 h 4837661"/>
                <a:gd name="connsiteX4550" fmla="*/ 5605545 w 10048557"/>
                <a:gd name="connsiteY4550" fmla="*/ 3717452 h 4837661"/>
                <a:gd name="connsiteX4551" fmla="*/ 5599004 w 10048557"/>
                <a:gd name="connsiteY4551" fmla="*/ 3727249 h 4837661"/>
                <a:gd name="connsiteX4552" fmla="*/ 5579381 w 10048557"/>
                <a:gd name="connsiteY4552" fmla="*/ 3744184 h 4837661"/>
                <a:gd name="connsiteX4553" fmla="*/ 5545093 w 10048557"/>
                <a:gd name="connsiteY4553" fmla="*/ 3756280 h 4837661"/>
                <a:gd name="connsiteX4554" fmla="*/ 5534227 w 10048557"/>
                <a:gd name="connsiteY4554" fmla="*/ 3766562 h 4837661"/>
                <a:gd name="connsiteX4555" fmla="*/ 5525154 w 10048557"/>
                <a:gd name="connsiteY4555" fmla="*/ 3779384 h 4837661"/>
                <a:gd name="connsiteX4556" fmla="*/ 5519457 w 10048557"/>
                <a:gd name="connsiteY4556" fmla="*/ 3809987 h 4837661"/>
                <a:gd name="connsiteX4557" fmla="*/ 5520934 w 10048557"/>
                <a:gd name="connsiteY4557" fmla="*/ 3827406 h 4837661"/>
                <a:gd name="connsiteX4558" fmla="*/ 5526736 w 10048557"/>
                <a:gd name="connsiteY4558" fmla="*/ 3838413 h 4837661"/>
                <a:gd name="connsiteX4559" fmla="*/ 5529796 w 10048557"/>
                <a:gd name="connsiteY4559" fmla="*/ 3846518 h 4837661"/>
                <a:gd name="connsiteX4560" fmla="*/ 5523255 w 10048557"/>
                <a:gd name="connsiteY4560" fmla="*/ 3856557 h 4837661"/>
                <a:gd name="connsiteX4561" fmla="*/ 5510384 w 10048557"/>
                <a:gd name="connsiteY4561" fmla="*/ 3861880 h 4837661"/>
                <a:gd name="connsiteX4562" fmla="*/ 5501416 w 10048557"/>
                <a:gd name="connsiteY4562" fmla="*/ 3875911 h 4837661"/>
                <a:gd name="connsiteX4563" fmla="*/ 5482110 w 10048557"/>
                <a:gd name="connsiteY4563" fmla="*/ 3887887 h 4837661"/>
                <a:gd name="connsiteX4564" fmla="*/ 5478312 w 10048557"/>
                <a:gd name="connsiteY4564" fmla="*/ 3900708 h 4837661"/>
                <a:gd name="connsiteX4565" fmla="*/ 5473775 w 10048557"/>
                <a:gd name="connsiteY4565" fmla="*/ 3914377 h 4837661"/>
                <a:gd name="connsiteX4566" fmla="*/ 5462065 w 10048557"/>
                <a:gd name="connsiteY4566" fmla="*/ 3932521 h 4837661"/>
                <a:gd name="connsiteX4567" fmla="*/ 5440437 w 10048557"/>
                <a:gd name="connsiteY4567" fmla="*/ 3949335 h 4837661"/>
                <a:gd name="connsiteX4568" fmla="*/ 5413851 w 10048557"/>
                <a:gd name="connsiteY4568" fmla="*/ 3965302 h 4837661"/>
                <a:gd name="connsiteX4569" fmla="*/ 5413112 w 10048557"/>
                <a:gd name="connsiteY4569" fmla="*/ 3977398 h 4837661"/>
                <a:gd name="connsiteX4570" fmla="*/ 5409314 w 10048557"/>
                <a:gd name="connsiteY4570" fmla="*/ 3989978 h 4837661"/>
                <a:gd name="connsiteX4571" fmla="*/ 5389480 w 10048557"/>
                <a:gd name="connsiteY4571" fmla="*/ 4002800 h 4837661"/>
                <a:gd name="connsiteX4572" fmla="*/ 5371756 w 10048557"/>
                <a:gd name="connsiteY4572" fmla="*/ 4012114 h 4837661"/>
                <a:gd name="connsiteX4573" fmla="*/ 5359096 w 10048557"/>
                <a:gd name="connsiteY4573" fmla="*/ 4035581 h 4837661"/>
                <a:gd name="connsiteX4574" fmla="*/ 5348229 w 10048557"/>
                <a:gd name="connsiteY4574" fmla="*/ 4037032 h 4837661"/>
                <a:gd name="connsiteX4575" fmla="*/ 5341688 w 10048557"/>
                <a:gd name="connsiteY4575" fmla="*/ 4044290 h 4837661"/>
                <a:gd name="connsiteX4576" fmla="*/ 5319533 w 10048557"/>
                <a:gd name="connsiteY4576" fmla="*/ 4057475 h 4837661"/>
                <a:gd name="connsiteX4577" fmla="*/ 5299699 w 10048557"/>
                <a:gd name="connsiteY4577" fmla="*/ 4067031 h 4837661"/>
                <a:gd name="connsiteX4578" fmla="*/ 5279127 w 10048557"/>
                <a:gd name="connsiteY4578" fmla="*/ 4079853 h 4837661"/>
                <a:gd name="connsiteX4579" fmla="*/ 5260136 w 10048557"/>
                <a:gd name="connsiteY4579" fmla="*/ 4086748 h 4837661"/>
                <a:gd name="connsiteX4580" fmla="*/ 5249692 w 10048557"/>
                <a:gd name="connsiteY4580" fmla="*/ 4082393 h 4837661"/>
                <a:gd name="connsiteX4581" fmla="*/ 5223950 w 10048557"/>
                <a:gd name="connsiteY4581" fmla="*/ 4073563 h 4837661"/>
                <a:gd name="connsiteX4582" fmla="*/ 5206753 w 10048557"/>
                <a:gd name="connsiteY4582" fmla="*/ 4071385 h 4837661"/>
                <a:gd name="connsiteX4583" fmla="*/ 5192300 w 10048557"/>
                <a:gd name="connsiteY4583" fmla="*/ 4069087 h 4837661"/>
                <a:gd name="connsiteX4584" fmla="*/ 5181644 w 10048557"/>
                <a:gd name="connsiteY4584" fmla="*/ 4072595 h 4837661"/>
                <a:gd name="connsiteX4585" fmla="*/ 5167190 w 10048557"/>
                <a:gd name="connsiteY4585" fmla="*/ 4080216 h 4837661"/>
                <a:gd name="connsiteX4586" fmla="*/ 5151893 w 10048557"/>
                <a:gd name="connsiteY4586" fmla="*/ 4081788 h 4837661"/>
                <a:gd name="connsiteX4587" fmla="*/ 5133852 w 10048557"/>
                <a:gd name="connsiteY4587" fmla="*/ 4084812 h 4837661"/>
                <a:gd name="connsiteX4588" fmla="*/ 5115390 w 10048557"/>
                <a:gd name="connsiteY4588" fmla="*/ 4093038 h 4837661"/>
                <a:gd name="connsiteX4589" fmla="*/ 5104945 w 10048557"/>
                <a:gd name="connsiteY4589" fmla="*/ 4094610 h 4837661"/>
                <a:gd name="connsiteX4590" fmla="*/ 5094290 w 10048557"/>
                <a:gd name="connsiteY4590" fmla="*/ 4089046 h 4837661"/>
                <a:gd name="connsiteX4591" fmla="*/ 5082474 w 10048557"/>
                <a:gd name="connsiteY4591" fmla="*/ 4080700 h 4837661"/>
                <a:gd name="connsiteX4592" fmla="*/ 5071712 w 10048557"/>
                <a:gd name="connsiteY4592" fmla="*/ 4070902 h 4837661"/>
                <a:gd name="connsiteX4593" fmla="*/ 5064960 w 10048557"/>
                <a:gd name="connsiteY4593" fmla="*/ 4061104 h 4837661"/>
                <a:gd name="connsiteX4594" fmla="*/ 5055043 w 10048557"/>
                <a:gd name="connsiteY4594" fmla="*/ 4048161 h 4837661"/>
                <a:gd name="connsiteX4595" fmla="*/ 5050401 w 10048557"/>
                <a:gd name="connsiteY4595" fmla="*/ 4037637 h 4837661"/>
                <a:gd name="connsiteX4596" fmla="*/ 5052722 w 10048557"/>
                <a:gd name="connsiteY4596" fmla="*/ 4019493 h 4837661"/>
                <a:gd name="connsiteX4597" fmla="*/ 5060740 w 10048557"/>
                <a:gd name="connsiteY4597" fmla="*/ 4013445 h 4837661"/>
                <a:gd name="connsiteX4598" fmla="*/ 5064538 w 10048557"/>
                <a:gd name="connsiteY4598" fmla="*/ 3993849 h 4837661"/>
                <a:gd name="connsiteX4599" fmla="*/ 5055887 w 10048557"/>
                <a:gd name="connsiteY4599" fmla="*/ 3978850 h 4837661"/>
                <a:gd name="connsiteX4600" fmla="*/ 5039113 w 10048557"/>
                <a:gd name="connsiteY4600" fmla="*/ 3963730 h 4837661"/>
                <a:gd name="connsiteX4601" fmla="*/ 5028457 w 10048557"/>
                <a:gd name="connsiteY4601" fmla="*/ 3954657 h 4837661"/>
                <a:gd name="connsiteX4602" fmla="*/ 5022866 w 10048557"/>
                <a:gd name="connsiteY4602" fmla="*/ 3932280 h 4837661"/>
                <a:gd name="connsiteX4603" fmla="*/ 5017063 w 10048557"/>
                <a:gd name="connsiteY4603" fmla="*/ 3916313 h 4837661"/>
                <a:gd name="connsiteX4604" fmla="*/ 5004825 w 10048557"/>
                <a:gd name="connsiteY4604" fmla="*/ 3902886 h 4837661"/>
                <a:gd name="connsiteX4605" fmla="*/ 4991638 w 10048557"/>
                <a:gd name="connsiteY4605" fmla="*/ 3896112 h 4837661"/>
                <a:gd name="connsiteX4606" fmla="*/ 4984780 w 10048557"/>
                <a:gd name="connsiteY4606" fmla="*/ 3871678 h 4837661"/>
                <a:gd name="connsiteX4607" fmla="*/ 4970326 w 10048557"/>
                <a:gd name="connsiteY4607" fmla="*/ 3859582 h 4837661"/>
                <a:gd name="connsiteX4608" fmla="*/ 4956611 w 10048557"/>
                <a:gd name="connsiteY4608" fmla="*/ 3848937 h 4837661"/>
                <a:gd name="connsiteX4609" fmla="*/ 4955873 w 10048557"/>
                <a:gd name="connsiteY4609" fmla="*/ 3833091 h 4837661"/>
                <a:gd name="connsiteX4610" fmla="*/ 4958827 w 10048557"/>
                <a:gd name="connsiteY4610" fmla="*/ 3818696 h 4837661"/>
                <a:gd name="connsiteX4611" fmla="*/ 4958827 w 10048557"/>
                <a:gd name="connsiteY4611" fmla="*/ 3798738 h 4837661"/>
                <a:gd name="connsiteX4612" fmla="*/ 4951231 w 10048557"/>
                <a:gd name="connsiteY4612" fmla="*/ 3778779 h 4837661"/>
                <a:gd name="connsiteX4613" fmla="*/ 4953235 w 10048557"/>
                <a:gd name="connsiteY4613" fmla="*/ 3768618 h 4837661"/>
                <a:gd name="connsiteX4614" fmla="*/ 4958510 w 10048557"/>
                <a:gd name="connsiteY4614" fmla="*/ 3759304 h 4837661"/>
                <a:gd name="connsiteX4615" fmla="*/ 4955767 w 10048557"/>
                <a:gd name="connsiteY4615" fmla="*/ 3740676 h 4837661"/>
                <a:gd name="connsiteX4616" fmla="*/ 4950387 w 10048557"/>
                <a:gd name="connsiteY4616" fmla="*/ 3721806 h 4837661"/>
                <a:gd name="connsiteX4617" fmla="*/ 4943529 w 10048557"/>
                <a:gd name="connsiteY4617" fmla="*/ 3704025 h 4837661"/>
                <a:gd name="connsiteX4618" fmla="*/ 4940259 w 10048557"/>
                <a:gd name="connsiteY4618" fmla="*/ 3688179 h 4837661"/>
                <a:gd name="connsiteX4619" fmla="*/ 4936461 w 10048557"/>
                <a:gd name="connsiteY4619" fmla="*/ 3669309 h 4837661"/>
                <a:gd name="connsiteX4620" fmla="*/ 4932663 w 10048557"/>
                <a:gd name="connsiteY4620" fmla="*/ 3657213 h 4837661"/>
                <a:gd name="connsiteX4621" fmla="*/ 4932663 w 10048557"/>
                <a:gd name="connsiteY4621" fmla="*/ 3640520 h 4837661"/>
                <a:gd name="connsiteX4622" fmla="*/ 4916627 w 10048557"/>
                <a:gd name="connsiteY4622" fmla="*/ 3623222 h 4837661"/>
                <a:gd name="connsiteX4623" fmla="*/ 4907448 w 10048557"/>
                <a:gd name="connsiteY4623" fmla="*/ 3601328 h 4837661"/>
                <a:gd name="connsiteX4624" fmla="*/ 4899430 w 10048557"/>
                <a:gd name="connsiteY4624" fmla="*/ 3586450 h 4837661"/>
                <a:gd name="connsiteX4625" fmla="*/ 4886454 w 10048557"/>
                <a:gd name="connsiteY4625" fmla="*/ 3563709 h 4837661"/>
                <a:gd name="connsiteX4626" fmla="*/ 4876747 w 10048557"/>
                <a:gd name="connsiteY4626" fmla="*/ 3550887 h 4837661"/>
                <a:gd name="connsiteX4627" fmla="*/ 4867885 w 10048557"/>
                <a:gd name="connsiteY4627" fmla="*/ 3531171 h 4837661"/>
                <a:gd name="connsiteX4628" fmla="*/ 4858496 w 10048557"/>
                <a:gd name="connsiteY4628" fmla="*/ 3514962 h 4837661"/>
                <a:gd name="connsiteX4629" fmla="*/ 4853115 w 10048557"/>
                <a:gd name="connsiteY4629" fmla="*/ 3498390 h 4837661"/>
                <a:gd name="connsiteX4630" fmla="*/ 4844781 w 10048557"/>
                <a:gd name="connsiteY4630" fmla="*/ 3484721 h 4837661"/>
                <a:gd name="connsiteX4631" fmla="*/ 4843515 w 10048557"/>
                <a:gd name="connsiteY4631" fmla="*/ 3461497 h 4837661"/>
                <a:gd name="connsiteX4632" fmla="*/ 4841932 w 10048557"/>
                <a:gd name="connsiteY4632" fmla="*/ 3441901 h 4837661"/>
                <a:gd name="connsiteX4633" fmla="*/ 4842671 w 10048557"/>
                <a:gd name="connsiteY4633" fmla="*/ 3424482 h 4837661"/>
                <a:gd name="connsiteX4634" fmla="*/ 4846574 w 10048557"/>
                <a:gd name="connsiteY4634" fmla="*/ 3408636 h 4837661"/>
                <a:gd name="connsiteX4635" fmla="*/ 4858496 w 10048557"/>
                <a:gd name="connsiteY4635" fmla="*/ 3384081 h 4837661"/>
                <a:gd name="connsiteX4636" fmla="*/ 4865881 w 10048557"/>
                <a:gd name="connsiteY4636" fmla="*/ 3367146 h 4837661"/>
                <a:gd name="connsiteX4637" fmla="*/ 4871156 w 10048557"/>
                <a:gd name="connsiteY4637" fmla="*/ 3349849 h 4837661"/>
                <a:gd name="connsiteX4638" fmla="*/ 4880018 w 10048557"/>
                <a:gd name="connsiteY4638" fmla="*/ 3329648 h 4837661"/>
                <a:gd name="connsiteX4639" fmla="*/ 4885399 w 10048557"/>
                <a:gd name="connsiteY4639" fmla="*/ 3312230 h 4837661"/>
                <a:gd name="connsiteX4640" fmla="*/ 4893733 w 10048557"/>
                <a:gd name="connsiteY4640" fmla="*/ 3298803 h 4837661"/>
                <a:gd name="connsiteX4641" fmla="*/ 4899852 w 10048557"/>
                <a:gd name="connsiteY4641" fmla="*/ 3285981 h 4837661"/>
                <a:gd name="connsiteX4642" fmla="*/ 4907448 w 10048557"/>
                <a:gd name="connsiteY4642" fmla="*/ 3270861 h 4837661"/>
                <a:gd name="connsiteX4643" fmla="*/ 4911246 w 10048557"/>
                <a:gd name="connsiteY4643" fmla="*/ 3258765 h 4837661"/>
                <a:gd name="connsiteX4644" fmla="*/ 4914095 w 10048557"/>
                <a:gd name="connsiteY4644" fmla="*/ 3246427 h 4837661"/>
                <a:gd name="connsiteX4645" fmla="*/ 4913356 w 10048557"/>
                <a:gd name="connsiteY4645" fmla="*/ 3233605 h 4837661"/>
                <a:gd name="connsiteX4646" fmla="*/ 4911774 w 10048557"/>
                <a:gd name="connsiteY4646" fmla="*/ 3220057 h 4837661"/>
                <a:gd name="connsiteX4647" fmla="*/ 4904389 w 10048557"/>
                <a:gd name="connsiteY4647" fmla="*/ 3199131 h 4837661"/>
                <a:gd name="connsiteX4648" fmla="*/ 4894894 w 10048557"/>
                <a:gd name="connsiteY4648" fmla="*/ 3183527 h 4837661"/>
                <a:gd name="connsiteX4649" fmla="*/ 4891834 w 10048557"/>
                <a:gd name="connsiteY4649" fmla="*/ 3170705 h 4837661"/>
                <a:gd name="connsiteX4650" fmla="*/ 4891834 w 10048557"/>
                <a:gd name="connsiteY4650" fmla="*/ 3158850 h 4837661"/>
                <a:gd name="connsiteX4651" fmla="*/ 4902490 w 10048557"/>
                <a:gd name="connsiteY4651" fmla="*/ 3147480 h 4837661"/>
                <a:gd name="connsiteX4652" fmla="*/ 4910297 w 10048557"/>
                <a:gd name="connsiteY4652" fmla="*/ 3130908 h 4837661"/>
                <a:gd name="connsiteX4653" fmla="*/ 4889197 w 10048557"/>
                <a:gd name="connsiteY4653" fmla="*/ 3108893 h 4837661"/>
                <a:gd name="connsiteX4654" fmla="*/ 4877275 w 10048557"/>
                <a:gd name="connsiteY4654" fmla="*/ 3092563 h 4837661"/>
                <a:gd name="connsiteX4655" fmla="*/ 4872000 w 10048557"/>
                <a:gd name="connsiteY4655" fmla="*/ 3082765 h 4837661"/>
                <a:gd name="connsiteX4656" fmla="*/ 4861344 w 10048557"/>
                <a:gd name="connsiteY4656" fmla="*/ 3066073 h 4837661"/>
                <a:gd name="connsiteX4657" fmla="*/ 4857546 w 10048557"/>
                <a:gd name="connsiteY4657" fmla="*/ 3056517 h 4837661"/>
                <a:gd name="connsiteX4658" fmla="*/ 4853643 w 10048557"/>
                <a:gd name="connsiteY4658" fmla="*/ 3040792 h 4837661"/>
                <a:gd name="connsiteX4659" fmla="*/ 4852166 w 10048557"/>
                <a:gd name="connsiteY4659" fmla="*/ 3025430 h 4837661"/>
                <a:gd name="connsiteX4660" fmla="*/ 4852904 w 10048557"/>
                <a:gd name="connsiteY4660" fmla="*/ 3014059 h 4837661"/>
                <a:gd name="connsiteX4661" fmla="*/ 4849845 w 10048557"/>
                <a:gd name="connsiteY4661" fmla="*/ 2998455 h 4837661"/>
                <a:gd name="connsiteX4662" fmla="*/ 4822626 w 10048557"/>
                <a:gd name="connsiteY4662" fmla="*/ 2964465 h 4837661"/>
                <a:gd name="connsiteX4663" fmla="*/ 4800576 w 10048557"/>
                <a:gd name="connsiteY4663" fmla="*/ 2943780 h 4837661"/>
                <a:gd name="connsiteX4664" fmla="*/ 4783801 w 10048557"/>
                <a:gd name="connsiteY4664" fmla="*/ 2925636 h 4837661"/>
                <a:gd name="connsiteX4665" fmla="*/ 4770086 w 10048557"/>
                <a:gd name="connsiteY4665" fmla="*/ 2915113 h 4837661"/>
                <a:gd name="connsiteX4666" fmla="*/ 4764811 w 10048557"/>
                <a:gd name="connsiteY4666" fmla="*/ 2903016 h 4837661"/>
                <a:gd name="connsiteX4667" fmla="*/ 4757954 w 10048557"/>
                <a:gd name="connsiteY4667" fmla="*/ 2890920 h 4837661"/>
                <a:gd name="connsiteX4668" fmla="*/ 4753417 w 10048557"/>
                <a:gd name="connsiteY4668" fmla="*/ 2878340 h 4837661"/>
                <a:gd name="connsiteX4669" fmla="*/ 4752679 w 10048557"/>
                <a:gd name="connsiteY4669" fmla="*/ 2867816 h 4837661"/>
                <a:gd name="connsiteX4670" fmla="*/ 4748881 w 10048557"/>
                <a:gd name="connsiteY4670" fmla="*/ 2854511 h 4837661"/>
                <a:gd name="connsiteX4671" fmla="*/ 4761541 w 10048557"/>
                <a:gd name="connsiteY4671" fmla="*/ 2833100 h 4837661"/>
                <a:gd name="connsiteX4672" fmla="*/ 4768398 w 10048557"/>
                <a:gd name="connsiteY4672" fmla="*/ 2813384 h 4837661"/>
                <a:gd name="connsiteX4673" fmla="*/ 4770192 w 10048557"/>
                <a:gd name="connsiteY4673" fmla="*/ 2797538 h 4837661"/>
                <a:gd name="connsiteX4674" fmla="*/ 4775256 w 10048557"/>
                <a:gd name="connsiteY4674" fmla="*/ 2777216 h 4837661"/>
                <a:gd name="connsiteX4675" fmla="*/ 4780320 w 10048557"/>
                <a:gd name="connsiteY4675" fmla="*/ 2760040 h 4837661"/>
                <a:gd name="connsiteX4676" fmla="*/ 4780320 w 10048557"/>
                <a:gd name="connsiteY4676" fmla="*/ 2746492 h 4837661"/>
                <a:gd name="connsiteX4677" fmla="*/ 4776522 w 10048557"/>
                <a:gd name="connsiteY4677" fmla="*/ 2730525 h 4837661"/>
                <a:gd name="connsiteX4678" fmla="*/ 4775783 w 10048557"/>
                <a:gd name="connsiteY4678" fmla="*/ 2712623 h 4837661"/>
                <a:gd name="connsiteX4679" fmla="*/ 4771985 w 10048557"/>
                <a:gd name="connsiteY4679" fmla="*/ 2701978 h 4837661"/>
                <a:gd name="connsiteX4680" fmla="*/ 4754472 w 10048557"/>
                <a:gd name="connsiteY4680" fmla="*/ 2687584 h 4837661"/>
                <a:gd name="connsiteX4681" fmla="*/ 4745294 w 10048557"/>
                <a:gd name="connsiteY4681" fmla="*/ 2671012 h 4837661"/>
                <a:gd name="connsiteX4682" fmla="*/ 4721873 w 10048557"/>
                <a:gd name="connsiteY4682" fmla="*/ 2665569 h 4837661"/>
                <a:gd name="connsiteX4683" fmla="*/ 4680094 w 10048557"/>
                <a:gd name="connsiteY4683" fmla="*/ 2665569 h 4837661"/>
                <a:gd name="connsiteX4684" fmla="*/ 4664375 w 10048557"/>
                <a:gd name="connsiteY4684" fmla="*/ 2672342 h 4837661"/>
                <a:gd name="connsiteX4685" fmla="*/ 4649921 w 10048557"/>
                <a:gd name="connsiteY4685" fmla="*/ 2670770 h 4837661"/>
                <a:gd name="connsiteX4686" fmla="*/ 4636417 w 10048557"/>
                <a:gd name="connsiteY4686" fmla="*/ 2665569 h 4837661"/>
                <a:gd name="connsiteX4687" fmla="*/ 4634096 w 10048557"/>
                <a:gd name="connsiteY4687" fmla="*/ 2656738 h 4837661"/>
                <a:gd name="connsiteX4688" fmla="*/ 4632619 w 10048557"/>
                <a:gd name="connsiteY4688" fmla="*/ 2646215 h 4837661"/>
                <a:gd name="connsiteX4689" fmla="*/ 4629349 w 10048557"/>
                <a:gd name="connsiteY4689" fmla="*/ 2630611 h 4837661"/>
                <a:gd name="connsiteX4690" fmla="*/ 4620909 w 10048557"/>
                <a:gd name="connsiteY4690" fmla="*/ 2619966 h 4837661"/>
                <a:gd name="connsiteX4691" fmla="*/ 4613313 w 10048557"/>
                <a:gd name="connsiteY4691" fmla="*/ 2613192 h 4837661"/>
                <a:gd name="connsiteX4692" fmla="*/ 4604240 w 10048557"/>
                <a:gd name="connsiteY4692" fmla="*/ 2607870 h 4837661"/>
                <a:gd name="connsiteX4693" fmla="*/ 4591685 w 10048557"/>
                <a:gd name="connsiteY4693" fmla="*/ 2601459 h 4837661"/>
                <a:gd name="connsiteX4694" fmla="*/ 4571218 w 10048557"/>
                <a:gd name="connsiteY4694" fmla="*/ 2596136 h 4837661"/>
                <a:gd name="connsiteX4695" fmla="*/ 4553810 w 10048557"/>
                <a:gd name="connsiteY4695" fmla="*/ 2595411 h 4837661"/>
                <a:gd name="connsiteX4696" fmla="*/ 4535242 w 10048557"/>
                <a:gd name="connsiteY4696" fmla="*/ 2598435 h 4837661"/>
                <a:gd name="connsiteX4697" fmla="*/ 4502431 w 10048557"/>
                <a:gd name="connsiteY4697" fmla="*/ 2614281 h 4837661"/>
                <a:gd name="connsiteX4698" fmla="*/ 4467405 w 10048557"/>
                <a:gd name="connsiteY4698" fmla="*/ 2625651 h 4837661"/>
                <a:gd name="connsiteX4699" fmla="*/ 4450631 w 10048557"/>
                <a:gd name="connsiteY4699" fmla="*/ 2638231 h 4837661"/>
                <a:gd name="connsiteX4700" fmla="*/ 4432379 w 10048557"/>
                <a:gd name="connsiteY4700" fmla="*/ 2631457 h 4837661"/>
                <a:gd name="connsiteX4701" fmla="*/ 4412651 w 10048557"/>
                <a:gd name="connsiteY4701" fmla="*/ 2635933 h 4837661"/>
                <a:gd name="connsiteX4702" fmla="*/ 4390073 w 10048557"/>
                <a:gd name="connsiteY4702" fmla="*/ 2646578 h 4837661"/>
                <a:gd name="connsiteX4703" fmla="*/ 4380156 w 10048557"/>
                <a:gd name="connsiteY4703" fmla="*/ 2651779 h 4837661"/>
                <a:gd name="connsiteX4704" fmla="*/ 4362116 w 10048557"/>
                <a:gd name="connsiteY4704" fmla="*/ 2654803 h 4837661"/>
                <a:gd name="connsiteX4705" fmla="*/ 4353781 w 10048557"/>
                <a:gd name="connsiteY4705" fmla="*/ 2653351 h 4837661"/>
                <a:gd name="connsiteX4706" fmla="*/ 4344075 w 10048557"/>
                <a:gd name="connsiteY4706" fmla="*/ 2649843 h 4837661"/>
                <a:gd name="connsiteX4707" fmla="*/ 4329833 w 10048557"/>
                <a:gd name="connsiteY4707" fmla="*/ 2644763 h 4837661"/>
                <a:gd name="connsiteX4708" fmla="*/ 4321287 w 10048557"/>
                <a:gd name="connsiteY4708" fmla="*/ 2638473 h 4837661"/>
                <a:gd name="connsiteX4709" fmla="*/ 4308838 w 10048557"/>
                <a:gd name="connsiteY4709" fmla="*/ 2639199 h 4837661"/>
                <a:gd name="connsiteX4710" fmla="*/ 4294384 w 10048557"/>
                <a:gd name="connsiteY4710" fmla="*/ 2645247 h 4837661"/>
                <a:gd name="connsiteX4711" fmla="*/ 4284467 w 10048557"/>
                <a:gd name="connsiteY4711" fmla="*/ 2651295 h 4837661"/>
                <a:gd name="connsiteX4712" fmla="*/ 4267271 w 10048557"/>
                <a:gd name="connsiteY4712" fmla="*/ 2649843 h 4837661"/>
                <a:gd name="connsiteX4713" fmla="*/ 4250707 w 10048557"/>
                <a:gd name="connsiteY4713" fmla="*/ 2649843 h 4837661"/>
                <a:gd name="connsiteX4714" fmla="*/ 4233933 w 10048557"/>
                <a:gd name="connsiteY4714" fmla="*/ 2660125 h 4837661"/>
                <a:gd name="connsiteX4715" fmla="*/ 4230346 w 10048557"/>
                <a:gd name="connsiteY4715" fmla="*/ 2667625 h 4837661"/>
                <a:gd name="connsiteX4716" fmla="*/ 4202704 w 10048557"/>
                <a:gd name="connsiteY4716" fmla="*/ 2675487 h 4837661"/>
                <a:gd name="connsiteX4717" fmla="*/ 4182132 w 10048557"/>
                <a:gd name="connsiteY4717" fmla="*/ 2667383 h 4837661"/>
                <a:gd name="connsiteX4718" fmla="*/ 4162298 w 10048557"/>
                <a:gd name="connsiteY4718" fmla="*/ 2660851 h 4837661"/>
                <a:gd name="connsiteX4719" fmla="*/ 4148583 w 10048557"/>
                <a:gd name="connsiteY4719" fmla="*/ 2657827 h 4837661"/>
                <a:gd name="connsiteX4720" fmla="*/ 4131808 w 10048557"/>
                <a:gd name="connsiteY4720" fmla="*/ 2649723 h 4837661"/>
                <a:gd name="connsiteX4721" fmla="*/ 4110497 w 10048557"/>
                <a:gd name="connsiteY4721" fmla="*/ 2636901 h 4837661"/>
                <a:gd name="connsiteX4722" fmla="*/ 4105433 w 10048557"/>
                <a:gd name="connsiteY4722" fmla="*/ 2628554 h 4837661"/>
                <a:gd name="connsiteX4723" fmla="*/ 4093722 w 10048557"/>
                <a:gd name="connsiteY4723" fmla="*/ 2627103 h 4837661"/>
                <a:gd name="connsiteX4724" fmla="*/ 4087076 w 10048557"/>
                <a:gd name="connsiteY4724" fmla="*/ 2618031 h 4837661"/>
                <a:gd name="connsiteX4725" fmla="*/ 4074416 w 10048557"/>
                <a:gd name="connsiteY4725" fmla="*/ 2604846 h 4837661"/>
                <a:gd name="connsiteX4726" fmla="*/ 4057114 w 10048557"/>
                <a:gd name="connsiteY4726" fmla="*/ 2594080 h 4837661"/>
                <a:gd name="connsiteX4727" fmla="*/ 4039601 w 10048557"/>
                <a:gd name="connsiteY4727" fmla="*/ 2566864 h 4837661"/>
                <a:gd name="connsiteX4728" fmla="*/ 4025358 w 10048557"/>
                <a:gd name="connsiteY4728" fmla="*/ 2555493 h 4837661"/>
                <a:gd name="connsiteX4729" fmla="*/ 4014491 w 10048557"/>
                <a:gd name="connsiteY4729" fmla="*/ 2548961 h 4837661"/>
                <a:gd name="connsiteX4730" fmla="*/ 4006051 w 10048557"/>
                <a:gd name="connsiteY4730" fmla="*/ 2528398 h 4837661"/>
                <a:gd name="connsiteX4731" fmla="*/ 4010588 w 10048557"/>
                <a:gd name="connsiteY4731" fmla="*/ 2515576 h 4837661"/>
                <a:gd name="connsiteX4732" fmla="*/ 4001515 w 10048557"/>
                <a:gd name="connsiteY4732" fmla="*/ 2488360 h 4837661"/>
                <a:gd name="connsiteX4733" fmla="*/ 3986534 w 10048557"/>
                <a:gd name="connsiteY4733" fmla="*/ 2475659 h 4837661"/>
                <a:gd name="connsiteX4734" fmla="*/ 3972819 w 10048557"/>
                <a:gd name="connsiteY4734" fmla="*/ 2457998 h 4837661"/>
                <a:gd name="connsiteX4735" fmla="*/ 3962163 w 10048557"/>
                <a:gd name="connsiteY4735" fmla="*/ 2443604 h 4837661"/>
                <a:gd name="connsiteX4736" fmla="*/ 3950664 w 10048557"/>
                <a:gd name="connsiteY4736" fmla="*/ 2425943 h 4837661"/>
                <a:gd name="connsiteX4737" fmla="*/ 3939481 w 10048557"/>
                <a:gd name="connsiteY4737" fmla="*/ 2410339 h 4837661"/>
                <a:gd name="connsiteX4738" fmla="*/ 3928403 w 10048557"/>
                <a:gd name="connsiteY4738" fmla="*/ 2406106 h 4837661"/>
                <a:gd name="connsiteX4739" fmla="*/ 3909307 w 10048557"/>
                <a:gd name="connsiteY4739" fmla="*/ 2398485 h 4837661"/>
                <a:gd name="connsiteX4740" fmla="*/ 3899496 w 10048557"/>
                <a:gd name="connsiteY4740" fmla="*/ 2382639 h 4837661"/>
                <a:gd name="connsiteX4741" fmla="*/ 3885675 w 10048557"/>
                <a:gd name="connsiteY4741" fmla="*/ 2364737 h 4837661"/>
                <a:gd name="connsiteX4742" fmla="*/ 3886414 w 10048557"/>
                <a:gd name="connsiteY4742" fmla="*/ 2354334 h 4837661"/>
                <a:gd name="connsiteX4743" fmla="*/ 3892322 w 10048557"/>
                <a:gd name="connsiteY4743" fmla="*/ 2345262 h 4837661"/>
                <a:gd name="connsiteX4744" fmla="*/ 3892322 w 10048557"/>
                <a:gd name="connsiteY4744" fmla="*/ 2329658 h 4837661"/>
                <a:gd name="connsiteX4745" fmla="*/ 3891583 w 10048557"/>
                <a:gd name="connsiteY4745" fmla="*/ 2315384 h 4837661"/>
                <a:gd name="connsiteX4746" fmla="*/ 3887785 w 10048557"/>
                <a:gd name="connsiteY4746" fmla="*/ 2299659 h 4837661"/>
                <a:gd name="connsiteX4747" fmla="*/ 3879978 w 10048557"/>
                <a:gd name="connsiteY4747" fmla="*/ 2289861 h 4837661"/>
                <a:gd name="connsiteX4748" fmla="*/ 3879978 w 10048557"/>
                <a:gd name="connsiteY4748" fmla="*/ 2279217 h 4837661"/>
                <a:gd name="connsiteX4749" fmla="*/ 3888418 w 10048557"/>
                <a:gd name="connsiteY4749" fmla="*/ 2273532 h 4837661"/>
                <a:gd name="connsiteX4750" fmla="*/ 3902661 w 10048557"/>
                <a:gd name="connsiteY4750" fmla="*/ 2263129 h 4837661"/>
                <a:gd name="connsiteX4751" fmla="*/ 3909518 w 10048557"/>
                <a:gd name="connsiteY4751" fmla="*/ 2255024 h 4837661"/>
                <a:gd name="connsiteX4752" fmla="*/ 3912367 w 10048557"/>
                <a:gd name="connsiteY4752" fmla="*/ 2246678 h 4837661"/>
                <a:gd name="connsiteX4753" fmla="*/ 3917431 w 10048557"/>
                <a:gd name="connsiteY4753" fmla="*/ 2237848 h 4837661"/>
                <a:gd name="connsiteX4754" fmla="*/ 3921229 w 10048557"/>
                <a:gd name="connsiteY4754" fmla="*/ 2224300 h 4837661"/>
                <a:gd name="connsiteX4755" fmla="*/ 3922706 w 10048557"/>
                <a:gd name="connsiteY4755" fmla="*/ 2209906 h 4837661"/>
                <a:gd name="connsiteX4756" fmla="*/ 3926504 w 10048557"/>
                <a:gd name="connsiteY4756" fmla="*/ 2200834 h 4837661"/>
                <a:gd name="connsiteX4757" fmla="*/ 3930302 w 10048557"/>
                <a:gd name="connsiteY4757" fmla="*/ 2186439 h 4837661"/>
                <a:gd name="connsiteX4758" fmla="*/ 3930302 w 10048557"/>
                <a:gd name="connsiteY4758" fmla="*/ 2170714 h 4837661"/>
                <a:gd name="connsiteX4759" fmla="*/ 3923550 w 10048557"/>
                <a:gd name="connsiteY4759" fmla="*/ 2156562 h 4837661"/>
                <a:gd name="connsiteX4760" fmla="*/ 3918908 w 10048557"/>
                <a:gd name="connsiteY4760" fmla="*/ 2141441 h 4837661"/>
                <a:gd name="connsiteX4761" fmla="*/ 3917431 w 10048557"/>
                <a:gd name="connsiteY4761" fmla="*/ 2117854 h 4837661"/>
                <a:gd name="connsiteX4762" fmla="*/ 3910784 w 10048557"/>
                <a:gd name="connsiteY4762" fmla="*/ 2101282 h 4837661"/>
                <a:gd name="connsiteX4763" fmla="*/ 3903188 w 10048557"/>
                <a:gd name="connsiteY4763" fmla="*/ 2086888 h 4837661"/>
                <a:gd name="connsiteX4764" fmla="*/ 3897175 w 10048557"/>
                <a:gd name="connsiteY4764" fmla="*/ 2073098 h 4837661"/>
                <a:gd name="connsiteX4765" fmla="*/ 3896436 w 10048557"/>
                <a:gd name="connsiteY4765" fmla="*/ 2064026 h 4837661"/>
                <a:gd name="connsiteX4766" fmla="*/ 3898546 w 10048557"/>
                <a:gd name="connsiteY4766" fmla="*/ 2056526 h 4837661"/>
                <a:gd name="connsiteX4767" fmla="*/ 3903821 w 10048557"/>
                <a:gd name="connsiteY4767" fmla="*/ 2044430 h 4837661"/>
                <a:gd name="connsiteX4768" fmla="*/ 3904454 w 10048557"/>
                <a:gd name="connsiteY4768" fmla="*/ 2032818 h 4837661"/>
                <a:gd name="connsiteX4769" fmla="*/ 3908358 w 10048557"/>
                <a:gd name="connsiteY4769" fmla="*/ 2020722 h 4837661"/>
                <a:gd name="connsiteX4770" fmla="*/ 3916798 w 10048557"/>
                <a:gd name="connsiteY4770" fmla="*/ 2012375 h 4837661"/>
                <a:gd name="connsiteX4771" fmla="*/ 3923233 w 10048557"/>
                <a:gd name="connsiteY4771" fmla="*/ 2002577 h 4837661"/>
                <a:gd name="connsiteX4772" fmla="*/ 3927242 w 10048557"/>
                <a:gd name="connsiteY4772" fmla="*/ 1992417 h 4837661"/>
                <a:gd name="connsiteX4773" fmla="*/ 3948554 w 10048557"/>
                <a:gd name="connsiteY4773" fmla="*/ 1971490 h 4837661"/>
                <a:gd name="connsiteX4774" fmla="*/ 3953829 w 10048557"/>
                <a:gd name="connsiteY4774" fmla="*/ 1954918 h 4837661"/>
                <a:gd name="connsiteX4775" fmla="*/ 3969126 w 10048557"/>
                <a:gd name="connsiteY4775" fmla="*/ 1932178 h 4837661"/>
                <a:gd name="connsiteX4776" fmla="*/ 3980309 w 10048557"/>
                <a:gd name="connsiteY4776" fmla="*/ 1915485 h 4837661"/>
                <a:gd name="connsiteX4777" fmla="*/ 3985584 w 10048557"/>
                <a:gd name="connsiteY4777" fmla="*/ 1902179 h 4837661"/>
                <a:gd name="connsiteX4778" fmla="*/ 3988644 w 10048557"/>
                <a:gd name="connsiteY4778" fmla="*/ 1891655 h 4837661"/>
                <a:gd name="connsiteX4779" fmla="*/ 4003730 w 10048557"/>
                <a:gd name="connsiteY4779" fmla="*/ 1870487 h 4837661"/>
                <a:gd name="connsiteX4780" fmla="*/ 4020505 w 10048557"/>
                <a:gd name="connsiteY4780" fmla="*/ 1849319 h 4837661"/>
                <a:gd name="connsiteX4781" fmla="*/ 4032638 w 10048557"/>
                <a:gd name="connsiteY4781" fmla="*/ 1836376 h 4837661"/>
                <a:gd name="connsiteX4782" fmla="*/ 4041183 w 10048557"/>
                <a:gd name="connsiteY4782" fmla="*/ 1821498 h 4837661"/>
                <a:gd name="connsiteX4783" fmla="*/ 4053738 w 10048557"/>
                <a:gd name="connsiteY4783" fmla="*/ 1811095 h 4837661"/>
                <a:gd name="connsiteX4784" fmla="*/ 4069563 w 10048557"/>
                <a:gd name="connsiteY4784" fmla="*/ 1802749 h 4837661"/>
                <a:gd name="connsiteX4785" fmla="*/ 4083067 w 10048557"/>
                <a:gd name="connsiteY4785" fmla="*/ 1796942 h 4837661"/>
                <a:gd name="connsiteX4786" fmla="*/ 4100580 w 10048557"/>
                <a:gd name="connsiteY4786" fmla="*/ 1785693 h 4837661"/>
                <a:gd name="connsiteX4787" fmla="*/ 4119359 w 10048557"/>
                <a:gd name="connsiteY4787" fmla="*/ 1763678 h 4837661"/>
                <a:gd name="connsiteX4788" fmla="*/ 4136978 w 10048557"/>
                <a:gd name="connsiteY4788" fmla="*/ 1747348 h 4837661"/>
                <a:gd name="connsiteX4789" fmla="*/ 4148372 w 10048557"/>
                <a:gd name="connsiteY4789" fmla="*/ 1737550 h 4837661"/>
                <a:gd name="connsiteX4790" fmla="*/ 4149954 w 10048557"/>
                <a:gd name="connsiteY4790" fmla="*/ 1725212 h 4837661"/>
                <a:gd name="connsiteX4791" fmla="*/ 4151431 w 10048557"/>
                <a:gd name="connsiteY4791" fmla="*/ 1713842 h 4837661"/>
                <a:gd name="connsiteX4792" fmla="*/ 4150693 w 10048557"/>
                <a:gd name="connsiteY4792" fmla="*/ 1702713 h 4837661"/>
                <a:gd name="connsiteX4793" fmla="*/ 4147106 w 10048557"/>
                <a:gd name="connsiteY4793" fmla="*/ 1688319 h 4837661"/>
                <a:gd name="connsiteX4794" fmla="*/ 4151748 w 10048557"/>
                <a:gd name="connsiteY4794" fmla="*/ 1676585 h 4837661"/>
                <a:gd name="connsiteX4795" fmla="*/ 4165252 w 10048557"/>
                <a:gd name="connsiteY4795" fmla="*/ 1654812 h 4837661"/>
                <a:gd name="connsiteX4796" fmla="*/ 4169683 w 10048557"/>
                <a:gd name="connsiteY4796" fmla="*/ 1642111 h 4837661"/>
                <a:gd name="connsiteX4797" fmla="*/ 4184031 w 10048557"/>
                <a:gd name="connsiteY4797" fmla="*/ 1631467 h 4837661"/>
                <a:gd name="connsiteX4798" fmla="*/ 4192365 w 10048557"/>
                <a:gd name="connsiteY4798" fmla="*/ 1622395 h 4837661"/>
                <a:gd name="connsiteX4799" fmla="*/ 4218846 w 10048557"/>
                <a:gd name="connsiteY4799" fmla="*/ 1609815 h 4837661"/>
                <a:gd name="connsiteX4800" fmla="*/ 4247120 w 10048557"/>
                <a:gd name="connsiteY4800" fmla="*/ 1595420 h 4837661"/>
                <a:gd name="connsiteX4801" fmla="*/ 4257670 w 10048557"/>
                <a:gd name="connsiteY4801" fmla="*/ 1581268 h 4837661"/>
                <a:gd name="connsiteX4802" fmla="*/ 4264633 w 10048557"/>
                <a:gd name="connsiteY4802" fmla="*/ 1570139 h 4837661"/>
                <a:gd name="connsiteX4803" fmla="*/ 4275711 w 10048557"/>
                <a:gd name="connsiteY4803" fmla="*/ 1555382 h 4837661"/>
                <a:gd name="connsiteX4804" fmla="*/ 4281619 w 10048557"/>
                <a:gd name="connsiteY4804" fmla="*/ 1546310 h 4837661"/>
                <a:gd name="connsiteX4805" fmla="*/ 4288582 w 10048557"/>
                <a:gd name="connsiteY4805" fmla="*/ 1537963 h 4837661"/>
                <a:gd name="connsiteX4806" fmla="*/ 4300714 w 10048557"/>
                <a:gd name="connsiteY4806" fmla="*/ 1540141 h 4837661"/>
                <a:gd name="connsiteX4807" fmla="*/ 4313269 w 10048557"/>
                <a:gd name="connsiteY4807" fmla="*/ 1549818 h 4837661"/>
                <a:gd name="connsiteX4808" fmla="*/ 4327723 w 10048557"/>
                <a:gd name="connsiteY4808" fmla="*/ 1558890 h 4837661"/>
                <a:gd name="connsiteX4809" fmla="*/ 4345974 w 10048557"/>
                <a:gd name="connsiteY4809" fmla="*/ 1561188 h 4837661"/>
                <a:gd name="connsiteX4810" fmla="*/ 4359689 w 10048557"/>
                <a:gd name="connsiteY4810" fmla="*/ 1563486 h 4837661"/>
                <a:gd name="connsiteX4811" fmla="*/ 4369290 w 10048557"/>
                <a:gd name="connsiteY4811" fmla="*/ 1563970 h 4837661"/>
                <a:gd name="connsiteX4812" fmla="*/ 4384376 w 10048557"/>
                <a:gd name="connsiteY4812" fmla="*/ 1566994 h 4837661"/>
                <a:gd name="connsiteX4813" fmla="*/ 4395137 w 10048557"/>
                <a:gd name="connsiteY4813" fmla="*/ 1566268 h 4837661"/>
                <a:gd name="connsiteX4814" fmla="*/ 4406848 w 10048557"/>
                <a:gd name="connsiteY4814" fmla="*/ 1563486 h 4837661"/>
                <a:gd name="connsiteX4815" fmla="*/ 4424256 w 10048557"/>
                <a:gd name="connsiteY4815" fmla="*/ 1554414 h 4837661"/>
                <a:gd name="connsiteX4816" fmla="*/ 4443984 w 10048557"/>
                <a:gd name="connsiteY4816" fmla="*/ 1540020 h 4837661"/>
                <a:gd name="connsiteX4817" fmla="*/ 4460548 w 10048557"/>
                <a:gd name="connsiteY4817" fmla="*/ 1528891 h 4837661"/>
                <a:gd name="connsiteX4818" fmla="*/ 4489138 w 10048557"/>
                <a:gd name="connsiteY4818" fmla="*/ 1517521 h 4837661"/>
                <a:gd name="connsiteX4819" fmla="*/ 4517202 w 10048557"/>
                <a:gd name="connsiteY4819" fmla="*/ 1508933 h 4837661"/>
                <a:gd name="connsiteX4820" fmla="*/ 4536297 w 10048557"/>
                <a:gd name="connsiteY4820" fmla="*/ 1507723 h 4837661"/>
                <a:gd name="connsiteX4821" fmla="*/ 4555709 w 10048557"/>
                <a:gd name="connsiteY4821" fmla="*/ 1499377 h 4837661"/>
                <a:gd name="connsiteX4822" fmla="*/ 4569741 w 10048557"/>
                <a:gd name="connsiteY4822" fmla="*/ 1493570 h 4837661"/>
                <a:gd name="connsiteX4823" fmla="*/ 4590524 w 10048557"/>
                <a:gd name="connsiteY4823" fmla="*/ 1495990 h 4837661"/>
                <a:gd name="connsiteX4824" fmla="*/ 4603818 w 10048557"/>
                <a:gd name="connsiteY4824" fmla="*/ 1502038 h 4837661"/>
                <a:gd name="connsiteX4825" fmla="*/ 4628821 w 10048557"/>
                <a:gd name="connsiteY4825" fmla="*/ 1502764 h 4837661"/>
                <a:gd name="connsiteX4826" fmla="*/ 4652559 w 10048557"/>
                <a:gd name="connsiteY4826" fmla="*/ 1505788 h 4837661"/>
                <a:gd name="connsiteX4827" fmla="*/ 4675663 w 10048557"/>
                <a:gd name="connsiteY4827" fmla="*/ 1506513 h 4837661"/>
                <a:gd name="connsiteX4828" fmla="*/ 4706153 w 10048557"/>
                <a:gd name="connsiteY4828" fmla="*/ 1502038 h 4837661"/>
                <a:gd name="connsiteX4829" fmla="*/ 4727992 w 10048557"/>
                <a:gd name="connsiteY4829" fmla="*/ 1496715 h 4837661"/>
                <a:gd name="connsiteX4830" fmla="*/ 4755738 w 10048557"/>
                <a:gd name="connsiteY4830" fmla="*/ 1485587 h 4837661"/>
                <a:gd name="connsiteX4831" fmla="*/ 4773884 w 10048557"/>
                <a:gd name="connsiteY4831" fmla="*/ 1481837 h 4837661"/>
                <a:gd name="connsiteX4832" fmla="*/ 4784540 w 10048557"/>
                <a:gd name="connsiteY4832" fmla="*/ 1488248 h 4837661"/>
                <a:gd name="connsiteX4833" fmla="*/ 4798466 w 10048557"/>
                <a:gd name="connsiteY4833" fmla="*/ 1496353 h 4837661"/>
                <a:gd name="connsiteX4834" fmla="*/ 4803108 w 10048557"/>
                <a:gd name="connsiteY4834" fmla="*/ 1507602 h 4837661"/>
                <a:gd name="connsiteX4835" fmla="*/ 4797200 w 10048557"/>
                <a:gd name="connsiteY4835" fmla="*/ 1513650 h 4837661"/>
                <a:gd name="connsiteX4836" fmla="*/ 4792664 w 10048557"/>
                <a:gd name="connsiteY4836" fmla="*/ 1526472 h 4837661"/>
                <a:gd name="connsiteX4837" fmla="*/ 4798255 w 10048557"/>
                <a:gd name="connsiteY4837" fmla="*/ 1535060 h 4837661"/>
                <a:gd name="connsiteX4838" fmla="*/ 4805851 w 10048557"/>
                <a:gd name="connsiteY4838" fmla="*/ 1548124 h 4837661"/>
                <a:gd name="connsiteX4839" fmla="*/ 4806590 w 10048557"/>
                <a:gd name="connsiteY4839" fmla="*/ 1558769 h 4837661"/>
                <a:gd name="connsiteX4840" fmla="*/ 4796462 w 10048557"/>
                <a:gd name="connsiteY4840" fmla="*/ 1573889 h 4837661"/>
                <a:gd name="connsiteX4841" fmla="*/ 4791081 w 10048557"/>
                <a:gd name="connsiteY4841" fmla="*/ 1584534 h 4837661"/>
                <a:gd name="connsiteX4842" fmla="*/ 4797200 w 10048557"/>
                <a:gd name="connsiteY4842" fmla="*/ 1596388 h 4837661"/>
                <a:gd name="connsiteX4843" fmla="*/ 4820094 w 10048557"/>
                <a:gd name="connsiteY4843" fmla="*/ 1616830 h 4837661"/>
                <a:gd name="connsiteX4844" fmla="*/ 4835075 w 10048557"/>
                <a:gd name="connsiteY4844" fmla="*/ 1632072 h 4837661"/>
                <a:gd name="connsiteX4845" fmla="*/ 4843198 w 10048557"/>
                <a:gd name="connsiteY4845" fmla="*/ 1639692 h 4837661"/>
                <a:gd name="connsiteX4846" fmla="*/ 4856491 w 10048557"/>
                <a:gd name="connsiteY4846" fmla="*/ 1640418 h 4837661"/>
                <a:gd name="connsiteX4847" fmla="*/ 4880862 w 10048557"/>
                <a:gd name="connsiteY4847" fmla="*/ 1640418 h 4837661"/>
                <a:gd name="connsiteX4848" fmla="*/ 4907343 w 10048557"/>
                <a:gd name="connsiteY4848" fmla="*/ 1649248 h 4837661"/>
                <a:gd name="connsiteX4849" fmla="*/ 4923695 w 10048557"/>
                <a:gd name="connsiteY4849" fmla="*/ 1651546 h 4837661"/>
                <a:gd name="connsiteX4850" fmla="*/ 4945006 w 10048557"/>
                <a:gd name="connsiteY4850" fmla="*/ 1662917 h 4837661"/>
                <a:gd name="connsiteX4851" fmla="*/ 4955451 w 10048557"/>
                <a:gd name="connsiteY4851" fmla="*/ 1680093 h 4837661"/>
                <a:gd name="connsiteX4852" fmla="*/ 4966317 w 10048557"/>
                <a:gd name="connsiteY4852" fmla="*/ 1695697 h 4837661"/>
                <a:gd name="connsiteX4853" fmla="*/ 4974019 w 10048557"/>
                <a:gd name="connsiteY4853" fmla="*/ 1708277 h 4837661"/>
                <a:gd name="connsiteX4854" fmla="*/ 5004509 w 10048557"/>
                <a:gd name="connsiteY4854" fmla="*/ 1712027 h 4837661"/>
                <a:gd name="connsiteX4855" fmla="*/ 5021916 w 10048557"/>
                <a:gd name="connsiteY4855" fmla="*/ 1718801 h 4837661"/>
                <a:gd name="connsiteX4856" fmla="*/ 5037530 w 10048557"/>
                <a:gd name="connsiteY4856" fmla="*/ 1724123 h 4837661"/>
                <a:gd name="connsiteX4857" fmla="*/ 5062006 w 10048557"/>
                <a:gd name="connsiteY4857" fmla="*/ 1733196 h 4837661"/>
                <a:gd name="connsiteX4858" fmla="*/ 5074877 w 10048557"/>
                <a:gd name="connsiteY4858" fmla="*/ 1735373 h 4837661"/>
                <a:gd name="connsiteX4859" fmla="*/ 5090070 w 10048557"/>
                <a:gd name="connsiteY4859" fmla="*/ 1730897 h 4837661"/>
                <a:gd name="connsiteX4860" fmla="*/ 5106106 w 10048557"/>
                <a:gd name="connsiteY4860" fmla="*/ 1713479 h 4837661"/>
                <a:gd name="connsiteX4861" fmla="*/ 5121192 w 10048557"/>
                <a:gd name="connsiteY4861" fmla="*/ 1698480 h 4837661"/>
                <a:gd name="connsiteX4862" fmla="*/ 5118977 w 10048557"/>
                <a:gd name="connsiteY4862" fmla="*/ 1687956 h 4837661"/>
                <a:gd name="connsiteX4863" fmla="*/ 5109798 w 10048557"/>
                <a:gd name="connsiteY4863" fmla="*/ 1678884 h 4837661"/>
                <a:gd name="connsiteX4864" fmla="*/ 5108954 w 10048557"/>
                <a:gd name="connsiteY4864" fmla="*/ 1663401 h 4837661"/>
                <a:gd name="connsiteX4865" fmla="*/ 5119399 w 10048557"/>
                <a:gd name="connsiteY4865" fmla="*/ 1649490 h 4837661"/>
                <a:gd name="connsiteX4866" fmla="*/ 5135962 w 10048557"/>
                <a:gd name="connsiteY4866" fmla="*/ 1638845 h 4837661"/>
                <a:gd name="connsiteX4867" fmla="*/ 5153581 w 10048557"/>
                <a:gd name="connsiteY4867" fmla="*/ 1641265 h 4837661"/>
                <a:gd name="connsiteX4868" fmla="*/ 5178479 w 10048557"/>
                <a:gd name="connsiteY4868" fmla="*/ 1642837 h 4837661"/>
                <a:gd name="connsiteX4869" fmla="*/ 5194199 w 10048557"/>
                <a:gd name="connsiteY4869" fmla="*/ 1648039 h 4837661"/>
                <a:gd name="connsiteX4870" fmla="*/ 5208230 w 10048557"/>
                <a:gd name="connsiteY4870" fmla="*/ 1653361 h 4837661"/>
                <a:gd name="connsiteX4871" fmla="*/ 5225005 w 10048557"/>
                <a:gd name="connsiteY4871" fmla="*/ 1660981 h 4837661"/>
                <a:gd name="connsiteX4872" fmla="*/ 5244522 w 10048557"/>
                <a:gd name="connsiteY4872" fmla="*/ 1676102 h 4837661"/>
                <a:gd name="connsiteX4873" fmla="*/ 5262352 w 10048557"/>
                <a:gd name="connsiteY4873" fmla="*/ 1683601 h 4837661"/>
                <a:gd name="connsiteX4874" fmla="*/ 5276806 w 10048557"/>
                <a:gd name="connsiteY4874" fmla="*/ 1685174 h 4837661"/>
                <a:gd name="connsiteX4875" fmla="*/ 5292525 w 10048557"/>
                <a:gd name="connsiteY4875" fmla="*/ 1689407 h 4837661"/>
                <a:gd name="connsiteX4876" fmla="*/ 5306451 w 10048557"/>
                <a:gd name="connsiteY4876" fmla="*/ 1689407 h 4837661"/>
                <a:gd name="connsiteX4877" fmla="*/ 5320061 w 10048557"/>
                <a:gd name="connsiteY4877" fmla="*/ 1692431 h 4837661"/>
                <a:gd name="connsiteX4878" fmla="*/ 5338629 w 10048557"/>
                <a:gd name="connsiteY4878" fmla="*/ 1698963 h 4837661"/>
                <a:gd name="connsiteX4879" fmla="*/ 5352133 w 10048557"/>
                <a:gd name="connsiteY4879" fmla="*/ 1702834 h 4837661"/>
                <a:gd name="connsiteX4880" fmla="*/ 5373444 w 10048557"/>
                <a:gd name="connsiteY4880" fmla="*/ 1706584 h 4837661"/>
                <a:gd name="connsiteX4881" fmla="*/ 5392329 w 10048557"/>
                <a:gd name="connsiteY4881" fmla="*/ 1711906 h 4837661"/>
                <a:gd name="connsiteX4882" fmla="*/ 5409947 w 10048557"/>
                <a:gd name="connsiteY4882" fmla="*/ 1711422 h 4837661"/>
                <a:gd name="connsiteX4883" fmla="*/ 5428726 w 10048557"/>
                <a:gd name="connsiteY4883" fmla="*/ 1707673 h 4837661"/>
                <a:gd name="connsiteX4884" fmla="*/ 5450037 w 10048557"/>
                <a:gd name="connsiteY4884" fmla="*/ 1700778 h 4837661"/>
                <a:gd name="connsiteX4885" fmla="*/ 5462909 w 10048557"/>
                <a:gd name="connsiteY4885" fmla="*/ 1699326 h 4837661"/>
                <a:gd name="connsiteX4886" fmla="*/ 5479683 w 10048557"/>
                <a:gd name="connsiteY4886" fmla="*/ 1699326 h 4837661"/>
                <a:gd name="connsiteX4887" fmla="*/ 5491605 w 10048557"/>
                <a:gd name="connsiteY4887" fmla="*/ 1706100 h 4837661"/>
                <a:gd name="connsiteX4888" fmla="*/ 5504290 w 10048557"/>
                <a:gd name="connsiteY4888" fmla="*/ 1715481 h 4837661"/>
                <a:gd name="connsiteX4889" fmla="*/ 5508755 w 10048557"/>
                <a:gd name="connsiteY4889" fmla="*/ 1713113 h 4837661"/>
                <a:gd name="connsiteX4890" fmla="*/ 5524525 w 10048557"/>
                <a:gd name="connsiteY4890" fmla="*/ 1716797 h 4837661"/>
                <a:gd name="connsiteX4891" fmla="*/ 5543486 w 10048557"/>
                <a:gd name="connsiteY4891" fmla="*/ 1703167 h 4837661"/>
                <a:gd name="connsiteX4892" fmla="*/ 5560945 w 10048557"/>
                <a:gd name="connsiteY4892" fmla="*/ 1701694 h 4837661"/>
                <a:gd name="connsiteX4893" fmla="*/ 5573523 w 10048557"/>
                <a:gd name="connsiteY4893" fmla="*/ 1698747 h 4837661"/>
                <a:gd name="connsiteX4894" fmla="*/ 5580845 w 10048557"/>
                <a:gd name="connsiteY4894" fmla="*/ 1688187 h 4837661"/>
                <a:gd name="connsiteX4895" fmla="*/ 5588542 w 10048557"/>
                <a:gd name="connsiteY4895" fmla="*/ 1678363 h 4837661"/>
                <a:gd name="connsiteX4896" fmla="*/ 5595113 w 10048557"/>
                <a:gd name="connsiteY4896" fmla="*/ 1655402 h 4837661"/>
                <a:gd name="connsiteX4897" fmla="*/ 5594362 w 10048557"/>
                <a:gd name="connsiteY4897" fmla="*/ 1636983 h 4837661"/>
                <a:gd name="connsiteX4898" fmla="*/ 5592109 w 10048557"/>
                <a:gd name="connsiteY4898" fmla="*/ 1618074 h 4837661"/>
                <a:gd name="connsiteX4899" fmla="*/ 5602622 w 10048557"/>
                <a:gd name="connsiteY4899" fmla="*/ 1598305 h 4837661"/>
                <a:gd name="connsiteX4900" fmla="*/ 5604499 w 10048557"/>
                <a:gd name="connsiteY4900" fmla="*/ 1576694 h 4837661"/>
                <a:gd name="connsiteX4901" fmla="*/ 5606001 w 10048557"/>
                <a:gd name="connsiteY4901" fmla="*/ 1557538 h 4837661"/>
                <a:gd name="connsiteX4902" fmla="*/ 5602810 w 10048557"/>
                <a:gd name="connsiteY4902" fmla="*/ 1530770 h 4837661"/>
                <a:gd name="connsiteX4903" fmla="*/ 5609756 w 10048557"/>
                <a:gd name="connsiteY4903" fmla="*/ 1520947 h 4837661"/>
                <a:gd name="connsiteX4904" fmla="*/ 5609756 w 10048557"/>
                <a:gd name="connsiteY4904" fmla="*/ 1500809 h 4837661"/>
                <a:gd name="connsiteX4905" fmla="*/ 5593798 w 10048557"/>
                <a:gd name="connsiteY4905" fmla="*/ 1497003 h 4837661"/>
                <a:gd name="connsiteX4906" fmla="*/ 5580094 w 10048557"/>
                <a:gd name="connsiteY4906" fmla="*/ 1490986 h 4837661"/>
                <a:gd name="connsiteX4907" fmla="*/ 5562259 w 10048557"/>
                <a:gd name="connsiteY4907" fmla="*/ 1493933 h 4837661"/>
                <a:gd name="connsiteX4908" fmla="*/ 5544237 w 10048557"/>
                <a:gd name="connsiteY4908" fmla="*/ 1503634 h 4837661"/>
                <a:gd name="connsiteX4909" fmla="*/ 5529782 w 10048557"/>
                <a:gd name="connsiteY4909" fmla="*/ 1514439 h 4837661"/>
                <a:gd name="connsiteX4910" fmla="*/ 5521521 w 10048557"/>
                <a:gd name="connsiteY4910" fmla="*/ 1515913 h 4837661"/>
                <a:gd name="connsiteX4911" fmla="*/ 5493361 w 10048557"/>
                <a:gd name="connsiteY4911" fmla="*/ 1518246 h 4837661"/>
                <a:gd name="connsiteX4912" fmla="*/ 5469707 w 10048557"/>
                <a:gd name="connsiteY4912" fmla="*/ 1506089 h 4837661"/>
                <a:gd name="connsiteX4913" fmla="*/ 5462385 w 10048557"/>
                <a:gd name="connsiteY4913" fmla="*/ 1497740 h 4837661"/>
                <a:gd name="connsiteX4914" fmla="*/ 5444175 w 10048557"/>
                <a:gd name="connsiteY4914" fmla="*/ 1494793 h 4837661"/>
                <a:gd name="connsiteX4915" fmla="*/ 5428969 w 10048557"/>
                <a:gd name="connsiteY4915" fmla="*/ 1499950 h 4837661"/>
                <a:gd name="connsiteX4916" fmla="*/ 5421272 w 10048557"/>
                <a:gd name="connsiteY4916" fmla="*/ 1513334 h 4837661"/>
                <a:gd name="connsiteX4917" fmla="*/ 5404376 w 10048557"/>
                <a:gd name="connsiteY4917" fmla="*/ 1516404 h 4837661"/>
                <a:gd name="connsiteX4918" fmla="*/ 5395177 w 10048557"/>
                <a:gd name="connsiteY4918" fmla="*/ 1513702 h 4837661"/>
                <a:gd name="connsiteX4919" fmla="*/ 5384664 w 10048557"/>
                <a:gd name="connsiteY4919" fmla="*/ 1511124 h 4837661"/>
                <a:gd name="connsiteX4920" fmla="*/ 5370584 w 10048557"/>
                <a:gd name="connsiteY4920" fmla="*/ 1511861 h 4837661"/>
                <a:gd name="connsiteX4921" fmla="*/ 5362887 w 10048557"/>
                <a:gd name="connsiteY4921" fmla="*/ 1497740 h 4837661"/>
                <a:gd name="connsiteX4922" fmla="*/ 5346554 w 10048557"/>
                <a:gd name="connsiteY4922" fmla="*/ 1493933 h 4837661"/>
                <a:gd name="connsiteX4923" fmla="*/ 5336229 w 10048557"/>
                <a:gd name="connsiteY4923" fmla="*/ 1485092 h 4837661"/>
                <a:gd name="connsiteX4924" fmla="*/ 5332474 w 10048557"/>
                <a:gd name="connsiteY4924" fmla="*/ 1470235 h 4837661"/>
                <a:gd name="connsiteX4925" fmla="*/ 5326655 w 10048557"/>
                <a:gd name="connsiteY4925" fmla="*/ 1462990 h 4837661"/>
                <a:gd name="connsiteX4926" fmla="*/ 5318957 w 10048557"/>
                <a:gd name="connsiteY4926" fmla="*/ 1447519 h 4837661"/>
                <a:gd name="connsiteX4927" fmla="*/ 5323275 w 10048557"/>
                <a:gd name="connsiteY4927" fmla="*/ 1420628 h 4837661"/>
                <a:gd name="connsiteX4928" fmla="*/ 5308257 w 10048557"/>
                <a:gd name="connsiteY4928" fmla="*/ 1406261 h 4837661"/>
                <a:gd name="connsiteX4929" fmla="*/ 5297931 w 10048557"/>
                <a:gd name="connsiteY4929" fmla="*/ 1406261 h 4837661"/>
                <a:gd name="connsiteX4930" fmla="*/ 5283288 w 10048557"/>
                <a:gd name="connsiteY4930" fmla="*/ 1403437 h 4837661"/>
                <a:gd name="connsiteX4931" fmla="*/ 5286480 w 10048557"/>
                <a:gd name="connsiteY4931" fmla="*/ 1388088 h 4837661"/>
                <a:gd name="connsiteX4932" fmla="*/ 5297744 w 10048557"/>
                <a:gd name="connsiteY4932" fmla="*/ 1385755 h 4837661"/>
                <a:gd name="connsiteX4933" fmla="*/ 5308444 w 10048557"/>
                <a:gd name="connsiteY4933" fmla="*/ 1376792 h 4837661"/>
                <a:gd name="connsiteX4934" fmla="*/ 5324026 w 10048557"/>
                <a:gd name="connsiteY4934" fmla="*/ 1376792 h 4837661"/>
                <a:gd name="connsiteX4935" fmla="*/ 5333225 w 10048557"/>
                <a:gd name="connsiteY4935" fmla="*/ 1386861 h 4837661"/>
                <a:gd name="connsiteX4936" fmla="*/ 5345803 w 10048557"/>
                <a:gd name="connsiteY4936" fmla="*/ 1387352 h 4837661"/>
                <a:gd name="connsiteX4937" fmla="*/ 5353125 w 10048557"/>
                <a:gd name="connsiteY4937" fmla="*/ 1377774 h 4837661"/>
                <a:gd name="connsiteX4938" fmla="*/ 5364764 w 10048557"/>
                <a:gd name="connsiteY4938" fmla="*/ 1368197 h 4837661"/>
                <a:gd name="connsiteX4939" fmla="*/ 5376591 w 10048557"/>
                <a:gd name="connsiteY4939" fmla="*/ 1359110 h 4837661"/>
                <a:gd name="connsiteX4940" fmla="*/ 5380346 w 10048557"/>
                <a:gd name="connsiteY4940" fmla="*/ 1346586 h 4837661"/>
                <a:gd name="connsiteX4941" fmla="*/ 5402874 w 10048557"/>
                <a:gd name="connsiteY4941" fmla="*/ 1339341 h 4837661"/>
                <a:gd name="connsiteX4942" fmla="*/ 5412073 w 10048557"/>
                <a:gd name="connsiteY4942" fmla="*/ 1338604 h 4837661"/>
                <a:gd name="connsiteX4943" fmla="*/ 5423337 w 10048557"/>
                <a:gd name="connsiteY4943" fmla="*/ 1348182 h 4837661"/>
                <a:gd name="connsiteX4944" fmla="*/ 5450746 w 10048557"/>
                <a:gd name="connsiteY4944" fmla="*/ 1336148 h 4837661"/>
                <a:gd name="connsiteX4945" fmla="*/ 5476465 w 10048557"/>
                <a:gd name="connsiteY4945" fmla="*/ 1317239 h 4837661"/>
                <a:gd name="connsiteX4946" fmla="*/ 5497679 w 10048557"/>
                <a:gd name="connsiteY4946" fmla="*/ 1310976 h 4837661"/>
                <a:gd name="connsiteX4947" fmla="*/ 5529406 w 10048557"/>
                <a:gd name="connsiteY4947" fmla="*/ 1311713 h 4837661"/>
                <a:gd name="connsiteX4948" fmla="*/ 5556627 w 10048557"/>
                <a:gd name="connsiteY4948" fmla="*/ 1321045 h 4837661"/>
                <a:gd name="connsiteX4949" fmla="*/ 5577278 w 10048557"/>
                <a:gd name="connsiteY4949" fmla="*/ 1321045 h 4837661"/>
                <a:gd name="connsiteX4950" fmla="*/ 5595300 w 10048557"/>
                <a:gd name="connsiteY4950" fmla="*/ 1326202 h 4837661"/>
                <a:gd name="connsiteX4951" fmla="*/ 5609380 w 10048557"/>
                <a:gd name="connsiteY4951" fmla="*/ 1335903 h 4837661"/>
                <a:gd name="connsiteX4952" fmla="*/ 5628341 w 10048557"/>
                <a:gd name="connsiteY4952" fmla="*/ 1351743 h 4837661"/>
                <a:gd name="connsiteX4953" fmla="*/ 5641858 w 10048557"/>
                <a:gd name="connsiteY4953" fmla="*/ 1355304 h 4837661"/>
                <a:gd name="connsiteX4954" fmla="*/ 5659129 w 10048557"/>
                <a:gd name="connsiteY4954" fmla="*/ 1356777 h 4837661"/>
                <a:gd name="connsiteX4955" fmla="*/ 5663823 w 10048557"/>
                <a:gd name="connsiteY4955" fmla="*/ 1362794 h 4837661"/>
                <a:gd name="connsiteX4956" fmla="*/ 5684286 w 10048557"/>
                <a:gd name="connsiteY4956" fmla="*/ 1362794 h 4837661"/>
                <a:gd name="connsiteX4957" fmla="*/ 5697051 w 10048557"/>
                <a:gd name="connsiteY4957" fmla="*/ 1358251 h 4837661"/>
                <a:gd name="connsiteX4958" fmla="*/ 5711507 w 10048557"/>
                <a:gd name="connsiteY4958" fmla="*/ 1353707 h 4837661"/>
                <a:gd name="connsiteX4959" fmla="*/ 5734598 w 10048557"/>
                <a:gd name="connsiteY4959" fmla="*/ 1350024 h 4837661"/>
                <a:gd name="connsiteX4960" fmla="*/ 5740981 w 10048557"/>
                <a:gd name="connsiteY4960" fmla="*/ 1342411 h 4837661"/>
                <a:gd name="connsiteX4961" fmla="*/ 5741356 w 10048557"/>
                <a:gd name="connsiteY4961" fmla="*/ 1330623 h 4837661"/>
                <a:gd name="connsiteX4962" fmla="*/ 5750368 w 10048557"/>
                <a:gd name="connsiteY4962" fmla="*/ 1327553 h 4837661"/>
                <a:gd name="connsiteX4963" fmla="*/ 5750368 w 10048557"/>
                <a:gd name="connsiteY4963" fmla="*/ 1309257 h 4837661"/>
                <a:gd name="connsiteX4964" fmla="*/ 5751869 w 10048557"/>
                <a:gd name="connsiteY4964" fmla="*/ 1294154 h 4837661"/>
                <a:gd name="connsiteX4965" fmla="*/ 5752292 w 10048557"/>
                <a:gd name="connsiteY4965" fmla="*/ 1294171 h 4837661"/>
                <a:gd name="connsiteX4966" fmla="*/ 5745297 w 10048557"/>
                <a:gd name="connsiteY4966" fmla="*/ 1278413 h 4837661"/>
                <a:gd name="connsiteX4967" fmla="*/ 5730642 w 10048557"/>
                <a:gd name="connsiteY4967" fmla="*/ 1267398 h 4837661"/>
                <a:gd name="connsiteX4968" fmla="*/ 5711636 w 10048557"/>
                <a:gd name="connsiteY4968" fmla="*/ 1257538 h 4837661"/>
                <a:gd name="connsiteX4969" fmla="*/ 5697075 w 10048557"/>
                <a:gd name="connsiteY4969" fmla="*/ 1242391 h 4837661"/>
                <a:gd name="connsiteX4970" fmla="*/ 5676557 w 10048557"/>
                <a:gd name="connsiteY4970" fmla="*/ 1238646 h 4837661"/>
                <a:gd name="connsiteX4971" fmla="*/ 5656700 w 10048557"/>
                <a:gd name="connsiteY4971" fmla="*/ 1224490 h 4837661"/>
                <a:gd name="connsiteX4972" fmla="*/ 5637884 w 10048557"/>
                <a:gd name="connsiteY4972" fmla="*/ 1212648 h 4837661"/>
                <a:gd name="connsiteX4973" fmla="*/ 5623701 w 10048557"/>
                <a:gd name="connsiteY4973" fmla="*/ 1208848 h 4837661"/>
                <a:gd name="connsiteX4974" fmla="*/ 5610747 w 10048557"/>
                <a:gd name="connsiteY4974" fmla="*/ 1203615 h 4837661"/>
                <a:gd name="connsiteX4975" fmla="*/ 5612827 w 10048557"/>
                <a:gd name="connsiteY4975" fmla="*/ 1193260 h 4837661"/>
                <a:gd name="connsiteX4976" fmla="*/ 5623417 w 10048557"/>
                <a:gd name="connsiteY4976" fmla="*/ 1182685 h 4837661"/>
                <a:gd name="connsiteX4977" fmla="*/ 5626727 w 10048557"/>
                <a:gd name="connsiteY4977" fmla="*/ 1164233 h 4837661"/>
                <a:gd name="connsiteX4978" fmla="*/ 5627483 w 10048557"/>
                <a:gd name="connsiteY4978" fmla="*/ 1146387 h 4837661"/>
                <a:gd name="connsiteX4979" fmla="*/ 5638641 w 10048557"/>
                <a:gd name="connsiteY4979" fmla="*/ 1130965 h 4837661"/>
                <a:gd name="connsiteX4980" fmla="*/ 5646488 w 10048557"/>
                <a:gd name="connsiteY4980" fmla="*/ 1120941 h 4837661"/>
                <a:gd name="connsiteX4981" fmla="*/ 5629942 w 10048557"/>
                <a:gd name="connsiteY4981" fmla="*/ 1112348 h 4837661"/>
                <a:gd name="connsiteX4982" fmla="*/ 5616326 w 10048557"/>
                <a:gd name="connsiteY4982" fmla="*/ 1114606 h 4837661"/>
                <a:gd name="connsiteX4983" fmla="*/ 5598455 w 10048557"/>
                <a:gd name="connsiteY4983" fmla="*/ 1122428 h 4837661"/>
                <a:gd name="connsiteX4984" fmla="*/ 5585028 w 10048557"/>
                <a:gd name="connsiteY4984" fmla="*/ 1130745 h 4837661"/>
                <a:gd name="connsiteX4985" fmla="*/ 5565078 w 10048557"/>
                <a:gd name="connsiteY4985" fmla="*/ 1141045 h 4837661"/>
                <a:gd name="connsiteX4986" fmla="*/ 5549382 w 10048557"/>
                <a:gd name="connsiteY4986" fmla="*/ 1149417 h 4837661"/>
                <a:gd name="connsiteX4987" fmla="*/ 5534347 w 10048557"/>
                <a:gd name="connsiteY4987" fmla="*/ 1154704 h 4837661"/>
                <a:gd name="connsiteX4988" fmla="*/ 5529052 w 10048557"/>
                <a:gd name="connsiteY4988" fmla="*/ 1164454 h 4837661"/>
                <a:gd name="connsiteX4989" fmla="*/ 5538886 w 10048557"/>
                <a:gd name="connsiteY4989" fmla="*/ 1172055 h 4837661"/>
                <a:gd name="connsiteX4990" fmla="*/ 5553353 w 10048557"/>
                <a:gd name="connsiteY4990" fmla="*/ 1181583 h 4837661"/>
                <a:gd name="connsiteX4991" fmla="*/ 5567536 w 10048557"/>
                <a:gd name="connsiteY4991" fmla="*/ 1178554 h 4837661"/>
                <a:gd name="connsiteX4992" fmla="*/ 5575951 w 10048557"/>
                <a:gd name="connsiteY4992" fmla="*/ 1182134 h 4837661"/>
                <a:gd name="connsiteX4993" fmla="*/ 5578221 w 10048557"/>
                <a:gd name="connsiteY4993" fmla="*/ 1194858 h 4837661"/>
                <a:gd name="connsiteX4994" fmla="*/ 5545221 w 10048557"/>
                <a:gd name="connsiteY4994" fmla="*/ 1202128 h 4837661"/>
                <a:gd name="connsiteX4995" fmla="*/ 5530754 w 10048557"/>
                <a:gd name="connsiteY4995" fmla="*/ 1211987 h 4837661"/>
                <a:gd name="connsiteX4996" fmla="*/ 5522434 w 10048557"/>
                <a:gd name="connsiteY4996" fmla="*/ 1218707 h 4837661"/>
                <a:gd name="connsiteX4997" fmla="*/ 5503334 w 10048557"/>
                <a:gd name="connsiteY4997" fmla="*/ 1216889 h 4837661"/>
                <a:gd name="connsiteX4998" fmla="*/ 5492460 w 10048557"/>
                <a:gd name="connsiteY4998" fmla="*/ 1203505 h 4837661"/>
                <a:gd name="connsiteX4999" fmla="*/ 5473360 w 10048557"/>
                <a:gd name="connsiteY4999" fmla="*/ 1187587 h 4837661"/>
                <a:gd name="connsiteX5000" fmla="*/ 5474873 w 10048557"/>
                <a:gd name="connsiteY5000" fmla="*/ 1179325 h 4837661"/>
                <a:gd name="connsiteX5001" fmla="*/ 5492176 w 10048557"/>
                <a:gd name="connsiteY5001" fmla="*/ 1178774 h 4837661"/>
                <a:gd name="connsiteX5002" fmla="*/ 5487638 w 10048557"/>
                <a:gd name="connsiteY5002" fmla="*/ 1165225 h 4837661"/>
                <a:gd name="connsiteX5003" fmla="*/ 5477993 w 10048557"/>
                <a:gd name="connsiteY5003" fmla="*/ 1160708 h 4837661"/>
                <a:gd name="connsiteX5004" fmla="*/ 5458421 w 10048557"/>
                <a:gd name="connsiteY5004" fmla="*/ 1159166 h 4837661"/>
                <a:gd name="connsiteX5005" fmla="*/ 5458421 w 10048557"/>
                <a:gd name="connsiteY5005" fmla="*/ 1142091 h 4837661"/>
                <a:gd name="connsiteX5006" fmla="*/ 5451045 w 10048557"/>
                <a:gd name="connsiteY5006" fmla="*/ 1132507 h 4837661"/>
                <a:gd name="connsiteX5007" fmla="*/ 5429487 w 10048557"/>
                <a:gd name="connsiteY5007" fmla="*/ 1143138 h 4837661"/>
                <a:gd name="connsiteX5008" fmla="*/ 5401972 w 10048557"/>
                <a:gd name="connsiteY5008" fmla="*/ 1154980 h 4837661"/>
                <a:gd name="connsiteX5009" fmla="*/ 5381454 w 10048557"/>
                <a:gd name="connsiteY5009" fmla="*/ 1175469 h 4837661"/>
                <a:gd name="connsiteX5010" fmla="*/ 5370202 w 10048557"/>
                <a:gd name="connsiteY5010" fmla="*/ 1189845 h 4837661"/>
                <a:gd name="connsiteX5011" fmla="*/ 5360274 w 10048557"/>
                <a:gd name="connsiteY5011" fmla="*/ 1214576 h 4837661"/>
                <a:gd name="connsiteX5012" fmla="*/ 5354222 w 10048557"/>
                <a:gd name="connsiteY5012" fmla="*/ 1232697 h 4837661"/>
                <a:gd name="connsiteX5013" fmla="*/ 5342781 w 10048557"/>
                <a:gd name="connsiteY5013" fmla="*/ 1258420 h 4837661"/>
                <a:gd name="connsiteX5014" fmla="*/ 5340512 w 10048557"/>
                <a:gd name="connsiteY5014" fmla="*/ 1271308 h 4837661"/>
                <a:gd name="connsiteX5015" fmla="*/ 5334366 w 10048557"/>
                <a:gd name="connsiteY5015" fmla="*/ 1293781 h 4837661"/>
                <a:gd name="connsiteX5016" fmla="*/ 5335122 w 10048557"/>
                <a:gd name="connsiteY5016" fmla="*/ 1314215 h 4837661"/>
                <a:gd name="connsiteX5017" fmla="*/ 5354222 w 10048557"/>
                <a:gd name="connsiteY5017" fmla="*/ 1330849 h 4837661"/>
                <a:gd name="connsiteX5018" fmla="*/ 5362354 w 10048557"/>
                <a:gd name="connsiteY5018" fmla="*/ 1339442 h 4837661"/>
                <a:gd name="connsiteX5019" fmla="*/ 5355073 w 10048557"/>
                <a:gd name="connsiteY5019" fmla="*/ 1347483 h 4837661"/>
                <a:gd name="connsiteX5020" fmla="*/ 5327842 w 10048557"/>
                <a:gd name="connsiteY5020" fmla="*/ 1352055 h 4837661"/>
                <a:gd name="connsiteX5021" fmla="*/ 5317157 w 10048557"/>
                <a:gd name="connsiteY5021" fmla="*/ 1355856 h 4837661"/>
                <a:gd name="connsiteX5022" fmla="*/ 5295882 w 10048557"/>
                <a:gd name="connsiteY5022" fmla="*/ 1361419 h 4837661"/>
                <a:gd name="connsiteX5023" fmla="*/ 5273851 w 10048557"/>
                <a:gd name="connsiteY5023" fmla="*/ 1348530 h 4837661"/>
                <a:gd name="connsiteX5024" fmla="*/ 5252766 w 10048557"/>
                <a:gd name="connsiteY5024" fmla="*/ 1348530 h 4837661"/>
                <a:gd name="connsiteX5025" fmla="*/ 5225818 w 10048557"/>
                <a:gd name="connsiteY5025" fmla="*/ 1351559 h 4837661"/>
                <a:gd name="connsiteX5026" fmla="*/ 5219010 w 10048557"/>
                <a:gd name="connsiteY5026" fmla="*/ 1362906 h 4837661"/>
                <a:gd name="connsiteX5027" fmla="*/ 5216741 w 10048557"/>
                <a:gd name="connsiteY5027" fmla="*/ 1380201 h 4837661"/>
                <a:gd name="connsiteX5028" fmla="*/ 5205583 w 10048557"/>
                <a:gd name="connsiteY5028" fmla="*/ 1372159 h 4837661"/>
                <a:gd name="connsiteX5029" fmla="*/ 5193197 w 10048557"/>
                <a:gd name="connsiteY5029" fmla="*/ 1368854 h 4837661"/>
                <a:gd name="connsiteX5030" fmla="*/ 5180716 w 10048557"/>
                <a:gd name="connsiteY5030" fmla="*/ 1368138 h 4837661"/>
                <a:gd name="connsiteX5031" fmla="*/ 5169275 w 10048557"/>
                <a:gd name="connsiteY5031" fmla="*/ 1375684 h 4837661"/>
                <a:gd name="connsiteX5032" fmla="*/ 5170787 w 10048557"/>
                <a:gd name="connsiteY5032" fmla="*/ 1391547 h 4837661"/>
                <a:gd name="connsiteX5033" fmla="*/ 5182228 w 10048557"/>
                <a:gd name="connsiteY5033" fmla="*/ 1411761 h 4837661"/>
                <a:gd name="connsiteX5034" fmla="*/ 5196222 w 10048557"/>
                <a:gd name="connsiteY5034" fmla="*/ 1433243 h 4837661"/>
                <a:gd name="connsiteX5035" fmla="*/ 5198492 w 10048557"/>
                <a:gd name="connsiteY5035" fmla="*/ 1446627 h 4837661"/>
                <a:gd name="connsiteX5036" fmla="*/ 5196222 w 10048557"/>
                <a:gd name="connsiteY5036" fmla="*/ 1461498 h 4837661"/>
                <a:gd name="connsiteX5037" fmla="*/ 5196222 w 10048557"/>
                <a:gd name="connsiteY5037" fmla="*/ 1478794 h 4837661"/>
                <a:gd name="connsiteX5038" fmla="*/ 5194710 w 10048557"/>
                <a:gd name="connsiteY5038" fmla="*/ 1495152 h 4837661"/>
                <a:gd name="connsiteX5039" fmla="*/ 5172584 w 10048557"/>
                <a:gd name="connsiteY5039" fmla="*/ 1501211 h 4837661"/>
                <a:gd name="connsiteX5040" fmla="*/ 5162183 w 10048557"/>
                <a:gd name="connsiteY5040" fmla="*/ 1498182 h 4837661"/>
                <a:gd name="connsiteX5041" fmla="*/ 5154051 w 10048557"/>
                <a:gd name="connsiteY5041" fmla="*/ 1485073 h 4837661"/>
                <a:gd name="connsiteX5042" fmla="*/ 5147149 w 10048557"/>
                <a:gd name="connsiteY5042" fmla="*/ 1466180 h 4837661"/>
                <a:gd name="connsiteX5043" fmla="*/ 5135802 w 10048557"/>
                <a:gd name="connsiteY5043" fmla="*/ 1453567 h 4837661"/>
                <a:gd name="connsiteX5044" fmla="*/ 5143934 w 10048557"/>
                <a:gd name="connsiteY5044" fmla="*/ 1447233 h 4837661"/>
                <a:gd name="connsiteX5045" fmla="*/ 5165209 w 10048557"/>
                <a:gd name="connsiteY5045" fmla="*/ 1450262 h 4837661"/>
                <a:gd name="connsiteX5046" fmla="*/ 5173624 w 10048557"/>
                <a:gd name="connsiteY5046" fmla="*/ 1435997 h 4837661"/>
                <a:gd name="connsiteX5047" fmla="*/ 5164736 w 10048557"/>
                <a:gd name="connsiteY5047" fmla="*/ 1428671 h 4837661"/>
                <a:gd name="connsiteX5048" fmla="*/ 5149986 w 10048557"/>
                <a:gd name="connsiteY5048" fmla="*/ 1420629 h 4837661"/>
                <a:gd name="connsiteX5049" fmla="*/ 5138072 w 10048557"/>
                <a:gd name="connsiteY5049" fmla="*/ 1419858 h 4837661"/>
                <a:gd name="connsiteX5050" fmla="*/ 5122376 w 10048557"/>
                <a:gd name="connsiteY5050" fmla="*/ 1415397 h 4837661"/>
                <a:gd name="connsiteX5051" fmla="*/ 5101290 w 10048557"/>
                <a:gd name="connsiteY5051" fmla="*/ 1408952 h 4837661"/>
                <a:gd name="connsiteX5052" fmla="*/ 5091646 w 10048557"/>
                <a:gd name="connsiteY5052" fmla="*/ 1397826 h 4837661"/>
                <a:gd name="connsiteX5053" fmla="*/ 5079732 w 10048557"/>
                <a:gd name="connsiteY5053" fmla="*/ 1377392 h 4837661"/>
                <a:gd name="connsiteX5054" fmla="*/ 5078976 w 10048557"/>
                <a:gd name="connsiteY5054" fmla="*/ 1356241 h 4837661"/>
                <a:gd name="connsiteX5055" fmla="*/ 5076706 w 10048557"/>
                <a:gd name="connsiteY5055" fmla="*/ 1333824 h 4837661"/>
                <a:gd name="connsiteX5056" fmla="*/ 5069047 w 10048557"/>
                <a:gd name="connsiteY5056" fmla="*/ 1310305 h 4837661"/>
                <a:gd name="connsiteX5057" fmla="*/ 5053351 w 10048557"/>
                <a:gd name="connsiteY5057" fmla="*/ 1295213 h 4837661"/>
                <a:gd name="connsiteX5058" fmla="*/ 5033022 w 10048557"/>
                <a:gd name="connsiteY5058" fmla="*/ 1280341 h 4837661"/>
                <a:gd name="connsiteX5059" fmla="*/ 5018556 w 10048557"/>
                <a:gd name="connsiteY5059" fmla="*/ 1273566 h 4837661"/>
                <a:gd name="connsiteX5060" fmla="*/ 5002103 w 10048557"/>
                <a:gd name="connsiteY5060" fmla="*/ 1269050 h 4837661"/>
                <a:gd name="connsiteX5061" fmla="*/ 4986785 w 10048557"/>
                <a:gd name="connsiteY5061" fmla="*/ 1262991 h 4837661"/>
                <a:gd name="connsiteX5062" fmla="*/ 4976668 w 10048557"/>
                <a:gd name="connsiteY5062" fmla="*/ 1254178 h 4837661"/>
                <a:gd name="connsiteX5063" fmla="*/ 4963431 w 10048557"/>
                <a:gd name="connsiteY5063" fmla="*/ 1236608 h 4837661"/>
                <a:gd name="connsiteX5064" fmla="*/ 4948207 w 10048557"/>
                <a:gd name="connsiteY5064" fmla="*/ 1224490 h 4837661"/>
                <a:gd name="connsiteX5065" fmla="*/ 4919936 w 10048557"/>
                <a:gd name="connsiteY5065" fmla="*/ 1215402 h 4837661"/>
                <a:gd name="connsiteX5066" fmla="*/ 4895068 w 10048557"/>
                <a:gd name="connsiteY5066" fmla="*/ 1204001 h 4837661"/>
                <a:gd name="connsiteX5067" fmla="*/ 4881925 w 10048557"/>
                <a:gd name="connsiteY5067" fmla="*/ 1182410 h 4837661"/>
                <a:gd name="connsiteX5068" fmla="*/ 4865378 w 10048557"/>
                <a:gd name="connsiteY5068" fmla="*/ 1179380 h 4837661"/>
                <a:gd name="connsiteX5069" fmla="*/ 4842780 w 10048557"/>
                <a:gd name="connsiteY5069" fmla="*/ 1192214 h 4837661"/>
                <a:gd name="connsiteX5070" fmla="*/ 4842874 w 10048557"/>
                <a:gd name="connsiteY5070" fmla="*/ 1216449 h 4837661"/>
                <a:gd name="connsiteX5071" fmla="*/ 4866229 w 10048557"/>
                <a:gd name="connsiteY5071" fmla="*/ 1233083 h 4837661"/>
                <a:gd name="connsiteX5072" fmla="*/ 4882871 w 10048557"/>
                <a:gd name="connsiteY5072" fmla="*/ 1240684 h 4837661"/>
                <a:gd name="connsiteX5073" fmla="*/ 4896392 w 10048557"/>
                <a:gd name="connsiteY5073" fmla="*/ 1250984 h 4837661"/>
                <a:gd name="connsiteX5074" fmla="*/ 4891097 w 10048557"/>
                <a:gd name="connsiteY5074" fmla="*/ 1272961 h 4837661"/>
                <a:gd name="connsiteX5075" fmla="*/ 4912939 w 10048557"/>
                <a:gd name="connsiteY5075" fmla="*/ 1294387 h 4837661"/>
                <a:gd name="connsiteX5076" fmla="*/ 4931944 w 10048557"/>
                <a:gd name="connsiteY5076" fmla="*/ 1298187 h 4837661"/>
                <a:gd name="connsiteX5077" fmla="*/ 4948964 w 10048557"/>
                <a:gd name="connsiteY5077" fmla="*/ 1320935 h 4837661"/>
                <a:gd name="connsiteX5078" fmla="*/ 4974588 w 10048557"/>
                <a:gd name="connsiteY5078" fmla="*/ 1332281 h 4837661"/>
                <a:gd name="connsiteX5079" fmla="*/ 4995957 w 10048557"/>
                <a:gd name="connsiteY5079" fmla="*/ 1344399 h 4837661"/>
                <a:gd name="connsiteX5080" fmla="*/ 5024702 w 10048557"/>
                <a:gd name="connsiteY5080" fmla="*/ 1358830 h 4837661"/>
                <a:gd name="connsiteX5081" fmla="*/ 5039452 w 10048557"/>
                <a:gd name="connsiteY5081" fmla="*/ 1368414 h 4837661"/>
                <a:gd name="connsiteX5082" fmla="*/ 5049380 w 10048557"/>
                <a:gd name="connsiteY5082" fmla="*/ 1378493 h 4837661"/>
                <a:gd name="connsiteX5083" fmla="*/ 5040965 w 10048557"/>
                <a:gd name="connsiteY5083" fmla="*/ 1382018 h 4837661"/>
                <a:gd name="connsiteX5084" fmla="*/ 5023756 w 10048557"/>
                <a:gd name="connsiteY5084" fmla="*/ 1378273 h 4837661"/>
                <a:gd name="connsiteX5085" fmla="*/ 5018366 w 10048557"/>
                <a:gd name="connsiteY5085" fmla="*/ 1371443 h 4837661"/>
                <a:gd name="connsiteX5086" fmla="*/ 5009289 w 10048557"/>
                <a:gd name="connsiteY5086" fmla="*/ 1368689 h 4837661"/>
                <a:gd name="connsiteX5087" fmla="*/ 4993972 w 10048557"/>
                <a:gd name="connsiteY5087" fmla="*/ 1369460 h 4837661"/>
                <a:gd name="connsiteX5088" fmla="*/ 4986407 w 10048557"/>
                <a:gd name="connsiteY5088" fmla="*/ 1381082 h 4837661"/>
                <a:gd name="connsiteX5089" fmla="*/ 4989149 w 10048557"/>
                <a:gd name="connsiteY5089" fmla="*/ 1390060 h 4837661"/>
                <a:gd name="connsiteX5090" fmla="*/ 4993688 w 10048557"/>
                <a:gd name="connsiteY5090" fmla="*/ 1402398 h 4837661"/>
                <a:gd name="connsiteX5091" fmla="*/ 4998510 w 10048557"/>
                <a:gd name="connsiteY5091" fmla="*/ 1414956 h 4837661"/>
                <a:gd name="connsiteX5092" fmla="*/ 4995012 w 10048557"/>
                <a:gd name="connsiteY5092" fmla="*/ 1423824 h 4837661"/>
                <a:gd name="connsiteX5093" fmla="*/ 4984327 w 10048557"/>
                <a:gd name="connsiteY5093" fmla="*/ 1436162 h 4837661"/>
                <a:gd name="connsiteX5094" fmla="*/ 4974682 w 10048557"/>
                <a:gd name="connsiteY5094" fmla="*/ 1445250 h 4837661"/>
                <a:gd name="connsiteX5095" fmla="*/ 4969387 w 10048557"/>
                <a:gd name="connsiteY5095" fmla="*/ 1454283 h 4837661"/>
                <a:gd name="connsiteX5096" fmla="*/ 4957190 w 10048557"/>
                <a:gd name="connsiteY5096" fmla="*/ 1450758 h 4837661"/>
                <a:gd name="connsiteX5097" fmla="*/ 4961729 w 10048557"/>
                <a:gd name="connsiteY5097" fmla="*/ 1434454 h 4837661"/>
                <a:gd name="connsiteX5098" fmla="*/ 4958987 w 10048557"/>
                <a:gd name="connsiteY5098" fmla="*/ 1423934 h 4837661"/>
                <a:gd name="connsiteX5099" fmla="*/ 4977519 w 10048557"/>
                <a:gd name="connsiteY5099" fmla="*/ 1414571 h 4837661"/>
                <a:gd name="connsiteX5100" fmla="*/ 4965605 w 10048557"/>
                <a:gd name="connsiteY5100" fmla="*/ 1398928 h 4837661"/>
                <a:gd name="connsiteX5101" fmla="*/ 4951328 w 10048557"/>
                <a:gd name="connsiteY5101" fmla="*/ 1379264 h 4837661"/>
                <a:gd name="connsiteX5102" fmla="*/ 4940170 w 10048557"/>
                <a:gd name="connsiteY5102" fmla="*/ 1364118 h 4837661"/>
                <a:gd name="connsiteX5103" fmla="*/ 4935064 w 10048557"/>
                <a:gd name="connsiteY5103" fmla="*/ 1357563 h 4837661"/>
                <a:gd name="connsiteX5104" fmla="*/ 4917572 w 10048557"/>
                <a:gd name="connsiteY5104" fmla="*/ 1347208 h 4837661"/>
                <a:gd name="connsiteX5105" fmla="*/ 4906887 w 10048557"/>
                <a:gd name="connsiteY5105" fmla="*/ 1342691 h 4837661"/>
                <a:gd name="connsiteX5106" fmla="*/ 4892704 w 10048557"/>
                <a:gd name="connsiteY5106" fmla="*/ 1335366 h 4837661"/>
                <a:gd name="connsiteX5107" fmla="*/ 4881263 w 10048557"/>
                <a:gd name="connsiteY5107" fmla="*/ 1327820 h 4837661"/>
                <a:gd name="connsiteX5108" fmla="*/ 4870579 w 10048557"/>
                <a:gd name="connsiteY5108" fmla="*/ 1321045 h 4837661"/>
                <a:gd name="connsiteX5109" fmla="*/ 4841550 w 10048557"/>
                <a:gd name="connsiteY5109" fmla="*/ 1302098 h 4837661"/>
                <a:gd name="connsiteX5110" fmla="*/ 4822734 w 10048557"/>
                <a:gd name="connsiteY5110" fmla="*/ 1295543 h 4837661"/>
                <a:gd name="connsiteX5111" fmla="*/ 4804202 w 10048557"/>
                <a:gd name="connsiteY5111" fmla="*/ 1285464 h 4837661"/>
                <a:gd name="connsiteX5112" fmla="*/ 4795881 w 10048557"/>
                <a:gd name="connsiteY5112" fmla="*/ 1272575 h 4837661"/>
                <a:gd name="connsiteX5113" fmla="*/ 4799190 w 10048557"/>
                <a:gd name="connsiteY5113" fmla="*/ 1250598 h 4837661"/>
                <a:gd name="connsiteX5114" fmla="*/ 4782454 w 10048557"/>
                <a:gd name="connsiteY5114" fmla="*/ 1230164 h 4837661"/>
                <a:gd name="connsiteX5115" fmla="*/ 4768177 w 10048557"/>
                <a:gd name="connsiteY5115" fmla="*/ 1217605 h 4837661"/>
                <a:gd name="connsiteX5116" fmla="*/ 4751535 w 10048557"/>
                <a:gd name="connsiteY5116" fmla="*/ 1221351 h 4837661"/>
                <a:gd name="connsiteX5117" fmla="*/ 4740850 w 10048557"/>
                <a:gd name="connsiteY5117" fmla="*/ 1225151 h 4837661"/>
                <a:gd name="connsiteX5118" fmla="*/ 4725344 w 10048557"/>
                <a:gd name="connsiteY5118" fmla="*/ 1232202 h 4837661"/>
                <a:gd name="connsiteX5119" fmla="*/ 4702934 w 10048557"/>
                <a:gd name="connsiteY5119" fmla="*/ 1246853 h 4837661"/>
                <a:gd name="connsiteX5120" fmla="*/ 4681660 w 10048557"/>
                <a:gd name="connsiteY5120" fmla="*/ 1253683 h 4837661"/>
                <a:gd name="connsiteX5121" fmla="*/ 4661520 w 10048557"/>
                <a:gd name="connsiteY5121" fmla="*/ 1263983 h 4837661"/>
                <a:gd name="connsiteX5122" fmla="*/ 4650930 w 10048557"/>
                <a:gd name="connsiteY5122" fmla="*/ 1266241 h 4837661"/>
                <a:gd name="connsiteX5123" fmla="*/ 4631357 w 10048557"/>
                <a:gd name="connsiteY5123" fmla="*/ 1256382 h 4837661"/>
                <a:gd name="connsiteX5124" fmla="*/ 4620200 w 10048557"/>
                <a:gd name="connsiteY5124" fmla="*/ 1250378 h 4837661"/>
                <a:gd name="connsiteX5125" fmla="*/ 4602423 w 10048557"/>
                <a:gd name="connsiteY5125" fmla="*/ 1256106 h 4837661"/>
                <a:gd name="connsiteX5126" fmla="*/ 4595048 w 10048557"/>
                <a:gd name="connsiteY5126" fmla="*/ 1259852 h 4837661"/>
                <a:gd name="connsiteX5127" fmla="*/ 4572734 w 10048557"/>
                <a:gd name="connsiteY5127" fmla="*/ 1267177 h 4837661"/>
                <a:gd name="connsiteX5128" fmla="*/ 4555714 w 10048557"/>
                <a:gd name="connsiteY5128" fmla="*/ 1273456 h 4837661"/>
                <a:gd name="connsiteX5129" fmla="*/ 4557321 w 10048557"/>
                <a:gd name="connsiteY5129" fmla="*/ 1289319 h 4837661"/>
                <a:gd name="connsiteX5130" fmla="*/ 4567155 w 10048557"/>
                <a:gd name="connsiteY5130" fmla="*/ 1288548 h 4837661"/>
                <a:gd name="connsiteX5131" fmla="*/ 4577367 w 10048557"/>
                <a:gd name="connsiteY5131" fmla="*/ 1305458 h 4837661"/>
                <a:gd name="connsiteX5132" fmla="*/ 4569235 w 10048557"/>
                <a:gd name="connsiteY5132" fmla="*/ 1306945 h 4837661"/>
                <a:gd name="connsiteX5133" fmla="*/ 4554296 w 10048557"/>
                <a:gd name="connsiteY5133" fmla="*/ 1315041 h 4837661"/>
                <a:gd name="connsiteX5134" fmla="*/ 4537465 w 10048557"/>
                <a:gd name="connsiteY5134" fmla="*/ 1329197 h 4837661"/>
                <a:gd name="connsiteX5135" fmla="*/ 4518176 w 10048557"/>
                <a:gd name="connsiteY5135" fmla="*/ 1340323 h 4837661"/>
                <a:gd name="connsiteX5136" fmla="*/ 4495861 w 10048557"/>
                <a:gd name="connsiteY5136" fmla="*/ 1350898 h 4837661"/>
                <a:gd name="connsiteX5137" fmla="*/ 4491323 w 10048557"/>
                <a:gd name="connsiteY5137" fmla="*/ 1358389 h 4837661"/>
                <a:gd name="connsiteX5138" fmla="*/ 4489810 w 10048557"/>
                <a:gd name="connsiteY5138" fmla="*/ 1371223 h 4837661"/>
                <a:gd name="connsiteX5139" fmla="*/ 4470710 w 10048557"/>
                <a:gd name="connsiteY5139" fmla="*/ 1393971 h 4837661"/>
                <a:gd name="connsiteX5140" fmla="*/ 4464091 w 10048557"/>
                <a:gd name="connsiteY5140" fmla="*/ 1404326 h 4837661"/>
                <a:gd name="connsiteX5141" fmla="*/ 4459552 w 10048557"/>
                <a:gd name="connsiteY5141" fmla="*/ 1414901 h 4837661"/>
                <a:gd name="connsiteX5142" fmla="*/ 4459552 w 10048557"/>
                <a:gd name="connsiteY5142" fmla="*/ 1433848 h 4837661"/>
                <a:gd name="connsiteX5143" fmla="*/ 4457283 w 10048557"/>
                <a:gd name="connsiteY5143" fmla="*/ 1443653 h 4837661"/>
                <a:gd name="connsiteX5144" fmla="*/ 4446599 w 10048557"/>
                <a:gd name="connsiteY5144" fmla="*/ 1451970 h 4837661"/>
                <a:gd name="connsiteX5145" fmla="*/ 4434401 w 10048557"/>
                <a:gd name="connsiteY5145" fmla="*/ 1461498 h 4837661"/>
                <a:gd name="connsiteX5146" fmla="*/ 4421542 w 10048557"/>
                <a:gd name="connsiteY5146" fmla="*/ 1470807 h 4837661"/>
                <a:gd name="connsiteX5147" fmla="*/ 4412370 w 10048557"/>
                <a:gd name="connsiteY5147" fmla="*/ 1478353 h 4837661"/>
                <a:gd name="connsiteX5148" fmla="*/ 4403955 w 10048557"/>
                <a:gd name="connsiteY5148" fmla="*/ 1492013 h 4837661"/>
                <a:gd name="connsiteX5149" fmla="*/ 4395823 w 10048557"/>
                <a:gd name="connsiteY5149" fmla="*/ 1498071 h 4837661"/>
                <a:gd name="connsiteX5150" fmla="*/ 4380600 w 10048557"/>
                <a:gd name="connsiteY5150" fmla="*/ 1502588 h 4837661"/>
                <a:gd name="connsiteX5151" fmla="*/ 4359231 w 10048557"/>
                <a:gd name="connsiteY5151" fmla="*/ 1502588 h 4837661"/>
                <a:gd name="connsiteX5152" fmla="*/ 4340982 w 10048557"/>
                <a:gd name="connsiteY5152" fmla="*/ 1501046 h 4837661"/>
                <a:gd name="connsiteX5153" fmla="*/ 4331054 w 10048557"/>
                <a:gd name="connsiteY5153" fmla="*/ 1500330 h 4837661"/>
                <a:gd name="connsiteX5154" fmla="*/ 4311765 w 10048557"/>
                <a:gd name="connsiteY5154" fmla="*/ 1501817 h 4837661"/>
                <a:gd name="connsiteX5155" fmla="*/ 4304957 w 10048557"/>
                <a:gd name="connsiteY5155" fmla="*/ 1508261 h 4837661"/>
                <a:gd name="connsiteX5156" fmla="*/ 4304957 w 10048557"/>
                <a:gd name="connsiteY5156" fmla="*/ 1519332 h 4837661"/>
                <a:gd name="connsiteX5157" fmla="*/ 4300702 w 10048557"/>
                <a:gd name="connsiteY5157" fmla="*/ 1528310 h 4837661"/>
                <a:gd name="connsiteX5158" fmla="*/ 4293043 w 10048557"/>
                <a:gd name="connsiteY5158" fmla="*/ 1519277 h 4837661"/>
                <a:gd name="connsiteX5159" fmla="*/ 4283966 w 10048557"/>
                <a:gd name="connsiteY5159" fmla="*/ 1517735 h 4837661"/>
                <a:gd name="connsiteX5160" fmla="*/ 4278576 w 10048557"/>
                <a:gd name="connsiteY5160" fmla="*/ 1506884 h 4837661"/>
                <a:gd name="connsiteX5161" fmla="*/ 4248886 w 10048557"/>
                <a:gd name="connsiteY5161" fmla="*/ 1488708 h 4837661"/>
                <a:gd name="connsiteX5162" fmla="*/ 4242362 w 10048557"/>
                <a:gd name="connsiteY5162" fmla="*/ 1483916 h 4837661"/>
                <a:gd name="connsiteX5163" fmla="*/ 4222789 w 10048557"/>
                <a:gd name="connsiteY5163" fmla="*/ 1475654 h 4837661"/>
                <a:gd name="connsiteX5164" fmla="*/ 4206526 w 10048557"/>
                <a:gd name="connsiteY5164" fmla="*/ 1479179 h 4837661"/>
                <a:gd name="connsiteX5165" fmla="*/ 4191019 w 10048557"/>
                <a:gd name="connsiteY5165" fmla="*/ 1473891 h 4837661"/>
                <a:gd name="connsiteX5166" fmla="*/ 4187142 w 10048557"/>
                <a:gd name="connsiteY5166" fmla="*/ 1459075 h 4837661"/>
                <a:gd name="connsiteX5167" fmla="*/ 4192532 w 10048557"/>
                <a:gd name="connsiteY5167" fmla="*/ 1447729 h 4837661"/>
                <a:gd name="connsiteX5168" fmla="*/ 4193288 w 10048557"/>
                <a:gd name="connsiteY5168" fmla="*/ 1433573 h 4837661"/>
                <a:gd name="connsiteX5169" fmla="*/ 4186386 w 10048557"/>
                <a:gd name="connsiteY5169" fmla="*/ 1419418 h 4837661"/>
                <a:gd name="connsiteX5170" fmla="*/ 4183360 w 10048557"/>
                <a:gd name="connsiteY5170" fmla="*/ 1406584 h 4837661"/>
                <a:gd name="connsiteX5171" fmla="*/ 4185630 w 10048557"/>
                <a:gd name="connsiteY5171" fmla="*/ 1386645 h 4837661"/>
                <a:gd name="connsiteX5172" fmla="*/ 4191492 w 10048557"/>
                <a:gd name="connsiteY5172" fmla="*/ 1363181 h 4837661"/>
                <a:gd name="connsiteX5173" fmla="*/ 4202176 w 10048557"/>
                <a:gd name="connsiteY5173" fmla="*/ 1341975 h 4837661"/>
                <a:gd name="connsiteX5174" fmla="*/ 4205202 w 10048557"/>
                <a:gd name="connsiteY5174" fmla="*/ 1317079 h 4837661"/>
                <a:gd name="connsiteX5175" fmla="*/ 4202176 w 10048557"/>
                <a:gd name="connsiteY5175" fmla="*/ 1295378 h 4837661"/>
                <a:gd name="connsiteX5176" fmla="*/ 4198867 w 10048557"/>
                <a:gd name="connsiteY5176" fmla="*/ 1277257 h 4837661"/>
                <a:gd name="connsiteX5177" fmla="*/ 4211065 w 10048557"/>
                <a:gd name="connsiteY5177" fmla="*/ 1255500 h 4837661"/>
                <a:gd name="connsiteX5178" fmla="*/ 4228557 w 10048557"/>
                <a:gd name="connsiteY5178" fmla="*/ 1249992 h 4837661"/>
                <a:gd name="connsiteX5179" fmla="*/ 4253236 w 10048557"/>
                <a:gd name="connsiteY5179" fmla="*/ 1245696 h 4837661"/>
                <a:gd name="connsiteX5180" fmla="*/ 4275078 w 10048557"/>
                <a:gd name="connsiteY5180" fmla="*/ 1249442 h 4837661"/>
                <a:gd name="connsiteX5181" fmla="*/ 4309022 w 10048557"/>
                <a:gd name="connsiteY5181" fmla="*/ 1258805 h 4837661"/>
                <a:gd name="connsiteX5182" fmla="*/ 4329824 w 10048557"/>
                <a:gd name="connsiteY5182" fmla="*/ 1264148 h 4837661"/>
                <a:gd name="connsiteX5183" fmla="*/ 4358852 w 10048557"/>
                <a:gd name="connsiteY5183" fmla="*/ 1265580 h 4837661"/>
                <a:gd name="connsiteX5184" fmla="*/ 4375305 w 10048557"/>
                <a:gd name="connsiteY5184" fmla="*/ 1265580 h 4837661"/>
                <a:gd name="connsiteX5185" fmla="*/ 4404806 w 10048557"/>
                <a:gd name="connsiteY5185" fmla="*/ 1264864 h 4837661"/>
                <a:gd name="connsiteX5186" fmla="*/ 4424378 w 10048557"/>
                <a:gd name="connsiteY5186" fmla="*/ 1257538 h 4837661"/>
                <a:gd name="connsiteX5187" fmla="*/ 4434968 w 10048557"/>
                <a:gd name="connsiteY5187" fmla="*/ 1238646 h 4837661"/>
                <a:gd name="connsiteX5188" fmla="*/ 4445369 w 10048557"/>
                <a:gd name="connsiteY5188" fmla="*/ 1209619 h 4837661"/>
                <a:gd name="connsiteX5189" fmla="*/ 4447355 w 10048557"/>
                <a:gd name="connsiteY5189" fmla="*/ 1190947 h 4837661"/>
                <a:gd name="connsiteX5190" fmla="*/ 4445086 w 10048557"/>
                <a:gd name="connsiteY5190" fmla="*/ 1157128 h 4837661"/>
                <a:gd name="connsiteX5191" fmla="*/ 4439034 w 10048557"/>
                <a:gd name="connsiteY5191" fmla="*/ 1142036 h 4837661"/>
                <a:gd name="connsiteX5192" fmla="*/ 4434779 w 10048557"/>
                <a:gd name="connsiteY5192" fmla="*/ 1132452 h 4837661"/>
                <a:gd name="connsiteX5193" fmla="*/ 4424851 w 10048557"/>
                <a:gd name="connsiteY5193" fmla="*/ 1116810 h 4837661"/>
                <a:gd name="connsiteX5194" fmla="*/ 4408304 w 10048557"/>
                <a:gd name="connsiteY5194" fmla="*/ 1107226 h 4837661"/>
                <a:gd name="connsiteX5195" fmla="*/ 4382396 w 10048557"/>
                <a:gd name="connsiteY5195" fmla="*/ 1097366 h 4837661"/>
                <a:gd name="connsiteX5196" fmla="*/ 4362067 w 10048557"/>
                <a:gd name="connsiteY5196" fmla="*/ 1092795 h 4837661"/>
                <a:gd name="connsiteX5197" fmla="*/ 4351288 w 10048557"/>
                <a:gd name="connsiteY5197" fmla="*/ 1087067 h 4837661"/>
                <a:gd name="connsiteX5198" fmla="*/ 4344197 w 10048557"/>
                <a:gd name="connsiteY5198" fmla="*/ 1079465 h 4837661"/>
                <a:gd name="connsiteX5199" fmla="*/ 4361689 w 10048557"/>
                <a:gd name="connsiteY5199" fmla="*/ 1071864 h 4837661"/>
                <a:gd name="connsiteX5200" fmla="*/ 4379938 w 10048557"/>
                <a:gd name="connsiteY5200" fmla="*/ 1064319 h 4837661"/>
                <a:gd name="connsiteX5201" fmla="*/ 4396674 w 10048557"/>
                <a:gd name="connsiteY5201" fmla="*/ 1068835 h 4837661"/>
                <a:gd name="connsiteX5202" fmla="*/ 4404049 w 10048557"/>
                <a:gd name="connsiteY5202" fmla="*/ 1072636 h 4837661"/>
                <a:gd name="connsiteX5203" fmla="*/ 4420785 w 10048557"/>
                <a:gd name="connsiteY5203" fmla="*/ 1067568 h 4837661"/>
                <a:gd name="connsiteX5204" fmla="*/ 4435157 w 10048557"/>
                <a:gd name="connsiteY5204" fmla="*/ 1063768 h 4837661"/>
                <a:gd name="connsiteX5205" fmla="*/ 4447166 w 10048557"/>
                <a:gd name="connsiteY5205" fmla="*/ 1051705 h 4837661"/>
                <a:gd name="connsiteX5206" fmla="*/ 4461254 w 10048557"/>
                <a:gd name="connsiteY5206" fmla="*/ 1041075 h 4837661"/>
                <a:gd name="connsiteX5207" fmla="*/ 4470332 w 10048557"/>
                <a:gd name="connsiteY5207" fmla="*/ 1050163 h 4837661"/>
                <a:gd name="connsiteX5208" fmla="*/ 4479692 w 10048557"/>
                <a:gd name="connsiteY5208" fmla="*/ 1053909 h 4837661"/>
                <a:gd name="connsiteX5209" fmla="*/ 4492079 w 10048557"/>
                <a:gd name="connsiteY5209" fmla="*/ 1051926 h 4837661"/>
                <a:gd name="connsiteX5210" fmla="*/ 4496901 w 10048557"/>
                <a:gd name="connsiteY5210" fmla="*/ 1036779 h 4837661"/>
                <a:gd name="connsiteX5211" fmla="*/ 4524038 w 10048557"/>
                <a:gd name="connsiteY5211" fmla="*/ 1031766 h 4837661"/>
                <a:gd name="connsiteX5212" fmla="*/ 4535574 w 10048557"/>
                <a:gd name="connsiteY5212" fmla="*/ 1013590 h 4837661"/>
                <a:gd name="connsiteX5213" fmla="*/ 4540869 w 10048557"/>
                <a:gd name="connsiteY5213" fmla="*/ 1008247 h 4837661"/>
                <a:gd name="connsiteX5214" fmla="*/ 4547299 w 10048557"/>
                <a:gd name="connsiteY5214" fmla="*/ 994643 h 4837661"/>
                <a:gd name="connsiteX5215" fmla="*/ 4555336 w 10048557"/>
                <a:gd name="connsiteY5215" fmla="*/ 985830 h 4837661"/>
                <a:gd name="connsiteX5216" fmla="*/ 4567722 w 10048557"/>
                <a:gd name="connsiteY5216" fmla="*/ 984067 h 4837661"/>
                <a:gd name="connsiteX5217" fmla="*/ 4575948 w 10048557"/>
                <a:gd name="connsiteY5217" fmla="*/ 983351 h 4837661"/>
                <a:gd name="connsiteX5218" fmla="*/ 4592590 w 10048557"/>
                <a:gd name="connsiteY5218" fmla="*/ 969967 h 4837661"/>
                <a:gd name="connsiteX5219" fmla="*/ 4597979 w 10048557"/>
                <a:gd name="connsiteY5219" fmla="*/ 961870 h 4837661"/>
                <a:gd name="connsiteX5220" fmla="*/ 4614810 w 10048557"/>
                <a:gd name="connsiteY5220" fmla="*/ 953774 h 4837661"/>
                <a:gd name="connsiteX5221" fmla="*/ 4631357 w 10048557"/>
                <a:gd name="connsiteY5221" fmla="*/ 941436 h 4837661"/>
                <a:gd name="connsiteX5222" fmla="*/ 4643554 w 10048557"/>
                <a:gd name="connsiteY5222" fmla="*/ 930089 h 4837661"/>
                <a:gd name="connsiteX5223" fmla="*/ 4654428 w 10048557"/>
                <a:gd name="connsiteY5223" fmla="*/ 919018 h 4837661"/>
                <a:gd name="connsiteX5224" fmla="*/ 4656319 w 10048557"/>
                <a:gd name="connsiteY5224" fmla="*/ 909434 h 4837661"/>
                <a:gd name="connsiteX5225" fmla="*/ 4665680 w 10048557"/>
                <a:gd name="connsiteY5225" fmla="*/ 909434 h 4837661"/>
                <a:gd name="connsiteX5226" fmla="*/ 4681943 w 10048557"/>
                <a:gd name="connsiteY5226" fmla="*/ 907947 h 4837661"/>
                <a:gd name="connsiteX5227" fmla="*/ 4691115 w 10048557"/>
                <a:gd name="connsiteY5227" fmla="*/ 902605 h 4837661"/>
                <a:gd name="connsiteX5228" fmla="*/ 4703974 w 10048557"/>
                <a:gd name="connsiteY5228" fmla="*/ 898859 h 4837661"/>
                <a:gd name="connsiteX5229" fmla="*/ 4718914 w 10048557"/>
                <a:gd name="connsiteY5229" fmla="*/ 898859 h 4837661"/>
                <a:gd name="connsiteX5230" fmla="*/ 4737919 w 10048557"/>
                <a:gd name="connsiteY5230" fmla="*/ 897317 h 4837661"/>
                <a:gd name="connsiteX5231" fmla="*/ 4749077 w 10048557"/>
                <a:gd name="connsiteY5231" fmla="*/ 892525 h 4837661"/>
                <a:gd name="connsiteX5232" fmla="*/ 4752197 w 10048557"/>
                <a:gd name="connsiteY5232" fmla="*/ 877653 h 4837661"/>
                <a:gd name="connsiteX5233" fmla="*/ 4759005 w 10048557"/>
                <a:gd name="connsiteY5233" fmla="*/ 873082 h 4837661"/>
                <a:gd name="connsiteX5234" fmla="*/ 4774606 w 10048557"/>
                <a:gd name="connsiteY5234" fmla="*/ 866307 h 4837661"/>
                <a:gd name="connsiteX5235" fmla="*/ 4772904 w 10048557"/>
                <a:gd name="connsiteY5235" fmla="*/ 857219 h 4837661"/>
                <a:gd name="connsiteX5236" fmla="*/ 4751062 w 10048557"/>
                <a:gd name="connsiteY5236" fmla="*/ 862506 h 4837661"/>
                <a:gd name="connsiteX5237" fmla="*/ 4744444 w 10048557"/>
                <a:gd name="connsiteY5237" fmla="*/ 852151 h 4837661"/>
                <a:gd name="connsiteX5238" fmla="*/ 4748226 w 10048557"/>
                <a:gd name="connsiteY5238" fmla="*/ 838767 h 4837661"/>
                <a:gd name="connsiteX5239" fmla="*/ 4743214 w 10048557"/>
                <a:gd name="connsiteY5239" fmla="*/ 829734 h 4837661"/>
                <a:gd name="connsiteX5240" fmla="*/ 4733570 w 10048557"/>
                <a:gd name="connsiteY5240" fmla="*/ 818718 h 4837661"/>
                <a:gd name="connsiteX5241" fmla="*/ 4735177 w 10048557"/>
                <a:gd name="connsiteY5241" fmla="*/ 807867 h 4837661"/>
                <a:gd name="connsiteX5242" fmla="*/ 4744254 w 10048557"/>
                <a:gd name="connsiteY5242" fmla="*/ 795750 h 4837661"/>
                <a:gd name="connsiteX5243" fmla="*/ 4759761 w 10048557"/>
                <a:gd name="connsiteY5243" fmla="*/ 786166 h 4837661"/>
                <a:gd name="connsiteX5244" fmla="*/ 4768555 w 10048557"/>
                <a:gd name="connsiteY5244" fmla="*/ 778620 h 4837661"/>
                <a:gd name="connsiteX5245" fmla="*/ 4774701 w 10048557"/>
                <a:gd name="connsiteY5245" fmla="*/ 763749 h 4837661"/>
                <a:gd name="connsiteX5246" fmla="*/ 4786615 w 10048557"/>
                <a:gd name="connsiteY5246" fmla="*/ 760003 h 4837661"/>
                <a:gd name="connsiteX5247" fmla="*/ 4787938 w 10048557"/>
                <a:gd name="connsiteY5247" fmla="*/ 776637 h 4837661"/>
                <a:gd name="connsiteX5248" fmla="*/ 4787938 w 10048557"/>
                <a:gd name="connsiteY5248" fmla="*/ 796246 h 4837661"/>
                <a:gd name="connsiteX5249" fmla="*/ 4782643 w 10048557"/>
                <a:gd name="connsiteY5249" fmla="*/ 805279 h 4837661"/>
                <a:gd name="connsiteX5250" fmla="*/ 4778861 w 10048557"/>
                <a:gd name="connsiteY5250" fmla="*/ 813486 h 4837661"/>
                <a:gd name="connsiteX5251" fmla="*/ 4777348 w 10048557"/>
                <a:gd name="connsiteY5251" fmla="*/ 828577 h 4837661"/>
                <a:gd name="connsiteX5252" fmla="*/ 4790870 w 10048557"/>
                <a:gd name="connsiteY5252" fmla="*/ 827145 h 4837661"/>
                <a:gd name="connsiteX5253" fmla="*/ 4800230 w 10048557"/>
                <a:gd name="connsiteY5253" fmla="*/ 819600 h 4837661"/>
                <a:gd name="connsiteX5254" fmla="*/ 4804769 w 10048557"/>
                <a:gd name="connsiteY5254" fmla="*/ 833204 h 4837661"/>
                <a:gd name="connsiteX5255" fmla="*/ 4813846 w 10048557"/>
                <a:gd name="connsiteY5255" fmla="*/ 832433 h 4837661"/>
                <a:gd name="connsiteX5256" fmla="*/ 4811671 w 10048557"/>
                <a:gd name="connsiteY5256" fmla="*/ 823400 h 4837661"/>
                <a:gd name="connsiteX5257" fmla="*/ 4820749 w 10048557"/>
                <a:gd name="connsiteY5257" fmla="*/ 809795 h 4837661"/>
                <a:gd name="connsiteX5258" fmla="*/ 4834175 w 10048557"/>
                <a:gd name="connsiteY5258" fmla="*/ 806270 h 4837661"/>
                <a:gd name="connsiteX5259" fmla="*/ 4846089 w 10048557"/>
                <a:gd name="connsiteY5259" fmla="*/ 814807 h 4837661"/>
                <a:gd name="connsiteX5260" fmla="*/ 4854221 w 10048557"/>
                <a:gd name="connsiteY5260" fmla="*/ 830946 h 4837661"/>
                <a:gd name="connsiteX5261" fmla="*/ 4847129 w 10048557"/>
                <a:gd name="connsiteY5261" fmla="*/ 844275 h 4837661"/>
                <a:gd name="connsiteX5262" fmla="*/ 4839470 w 10048557"/>
                <a:gd name="connsiteY5262" fmla="*/ 855566 h 4837661"/>
                <a:gd name="connsiteX5263" fmla="*/ 4824342 w 10048557"/>
                <a:gd name="connsiteY5263" fmla="*/ 848847 h 4837661"/>
                <a:gd name="connsiteX5264" fmla="*/ 4811388 w 10048557"/>
                <a:gd name="connsiteY5264" fmla="*/ 841026 h 4837661"/>
                <a:gd name="connsiteX5265" fmla="*/ 4806849 w 10048557"/>
                <a:gd name="connsiteY5265" fmla="*/ 853914 h 4837661"/>
                <a:gd name="connsiteX5266" fmla="*/ 4791910 w 10048557"/>
                <a:gd name="connsiteY5266" fmla="*/ 849122 h 4837661"/>
                <a:gd name="connsiteX5267" fmla="*/ 4794935 w 10048557"/>
                <a:gd name="connsiteY5267" fmla="*/ 837555 h 4837661"/>
                <a:gd name="connsiteX5268" fmla="*/ 4782076 w 10048557"/>
                <a:gd name="connsiteY5268" fmla="*/ 837555 h 4837661"/>
                <a:gd name="connsiteX5269" fmla="*/ 4773944 w 10048557"/>
                <a:gd name="connsiteY5269" fmla="*/ 845872 h 4837661"/>
                <a:gd name="connsiteX5270" fmla="*/ 4784629 w 10048557"/>
                <a:gd name="connsiteY5270" fmla="*/ 861790 h 4837661"/>
                <a:gd name="connsiteX5271" fmla="*/ 4797772 w 10048557"/>
                <a:gd name="connsiteY5271" fmla="*/ 870383 h 4837661"/>
                <a:gd name="connsiteX5272" fmla="*/ 4806093 w 10048557"/>
                <a:gd name="connsiteY5272" fmla="*/ 879912 h 4837661"/>
                <a:gd name="connsiteX5273" fmla="*/ 4823396 w 10048557"/>
                <a:gd name="connsiteY5273" fmla="*/ 887513 h 4837661"/>
                <a:gd name="connsiteX5274" fmla="*/ 4842874 w 10048557"/>
                <a:gd name="connsiteY5274" fmla="*/ 875395 h 4837661"/>
                <a:gd name="connsiteX5275" fmla="*/ 4859327 w 10048557"/>
                <a:gd name="connsiteY5275" fmla="*/ 875065 h 4837661"/>
                <a:gd name="connsiteX5276" fmla="*/ 4866607 w 10048557"/>
                <a:gd name="connsiteY5276" fmla="*/ 869777 h 4837661"/>
                <a:gd name="connsiteX5277" fmla="*/ 4874928 w 10048557"/>
                <a:gd name="connsiteY5277" fmla="*/ 877323 h 4837661"/>
                <a:gd name="connsiteX5278" fmla="*/ 4889206 w 10048557"/>
                <a:gd name="connsiteY5278" fmla="*/ 881895 h 4837661"/>
                <a:gd name="connsiteX5279" fmla="*/ 4905185 w 10048557"/>
                <a:gd name="connsiteY5279" fmla="*/ 889440 h 4837661"/>
                <a:gd name="connsiteX5280" fmla="*/ 4915113 w 10048557"/>
                <a:gd name="connsiteY5280" fmla="*/ 893241 h 4837661"/>
                <a:gd name="connsiteX5281" fmla="*/ 4930809 w 10048557"/>
                <a:gd name="connsiteY5281" fmla="*/ 887953 h 4837661"/>
                <a:gd name="connsiteX5282" fmla="*/ 4938468 w 10048557"/>
                <a:gd name="connsiteY5282" fmla="*/ 881950 h 4837661"/>
                <a:gd name="connsiteX5283" fmla="*/ 4968158 w 10048557"/>
                <a:gd name="connsiteY5283" fmla="*/ 870603 h 4837661"/>
                <a:gd name="connsiteX5284" fmla="*/ 4993121 w 10048557"/>
                <a:gd name="connsiteY5284" fmla="*/ 860028 h 4837661"/>
                <a:gd name="connsiteX5285" fmla="*/ 5018272 w 10048557"/>
                <a:gd name="connsiteY5285" fmla="*/ 862286 h 4837661"/>
                <a:gd name="connsiteX5286" fmla="*/ 5026876 w 10048557"/>
                <a:gd name="connsiteY5286" fmla="*/ 869557 h 4837661"/>
                <a:gd name="connsiteX5287" fmla="*/ 5032739 w 10048557"/>
                <a:gd name="connsiteY5287" fmla="*/ 874844 h 4837661"/>
                <a:gd name="connsiteX5288" fmla="*/ 5043045 w 10048557"/>
                <a:gd name="connsiteY5288" fmla="*/ 874789 h 4837661"/>
                <a:gd name="connsiteX5289" fmla="*/ 5051366 w 10048557"/>
                <a:gd name="connsiteY5289" fmla="*/ 868841 h 4837661"/>
                <a:gd name="connsiteX5290" fmla="*/ 5062523 w 10048557"/>
                <a:gd name="connsiteY5290" fmla="*/ 863498 h 4837661"/>
                <a:gd name="connsiteX5291" fmla="*/ 5075477 w 10048557"/>
                <a:gd name="connsiteY5291" fmla="*/ 851380 h 4837661"/>
                <a:gd name="connsiteX5292" fmla="*/ 5089944 w 10048557"/>
                <a:gd name="connsiteY5292" fmla="*/ 841521 h 4837661"/>
                <a:gd name="connsiteX5293" fmla="*/ 5099872 w 10048557"/>
                <a:gd name="connsiteY5293" fmla="*/ 831221 h 4837661"/>
                <a:gd name="connsiteX5294" fmla="*/ 5094577 w 10048557"/>
                <a:gd name="connsiteY5294" fmla="*/ 817011 h 4837661"/>
                <a:gd name="connsiteX5295" fmla="*/ 5090795 w 10048557"/>
                <a:gd name="connsiteY5295" fmla="*/ 806105 h 4837661"/>
                <a:gd name="connsiteX5296" fmla="*/ 5089282 w 10048557"/>
                <a:gd name="connsiteY5296" fmla="*/ 788204 h 4837661"/>
                <a:gd name="connsiteX5297" fmla="*/ 5100628 w 10048557"/>
                <a:gd name="connsiteY5297" fmla="*/ 780162 h 4837661"/>
                <a:gd name="connsiteX5298" fmla="*/ 5100628 w 10048557"/>
                <a:gd name="connsiteY5298" fmla="*/ 768816 h 4837661"/>
                <a:gd name="connsiteX5299" fmla="*/ 5107247 w 10048557"/>
                <a:gd name="connsiteY5299" fmla="*/ 764520 h 4837661"/>
                <a:gd name="connsiteX5300" fmla="*/ 5130035 w 10048557"/>
                <a:gd name="connsiteY5300" fmla="*/ 763032 h 4837661"/>
                <a:gd name="connsiteX5301" fmla="*/ 5141476 w 10048557"/>
                <a:gd name="connsiteY5301" fmla="*/ 769036 h 4837661"/>
                <a:gd name="connsiteX5302" fmla="*/ 5146014 w 10048557"/>
                <a:gd name="connsiteY5302" fmla="*/ 783412 h 4837661"/>
                <a:gd name="connsiteX5303" fmla="*/ 5155848 w 10048557"/>
                <a:gd name="connsiteY5303" fmla="*/ 787213 h 4837661"/>
                <a:gd name="connsiteX5304" fmla="*/ 5160387 w 10048557"/>
                <a:gd name="connsiteY5304" fmla="*/ 780383 h 4837661"/>
                <a:gd name="connsiteX5305" fmla="*/ 5176177 w 10048557"/>
                <a:gd name="connsiteY5305" fmla="*/ 775095 h 4837661"/>
                <a:gd name="connsiteX5306" fmla="*/ 5183741 w 10048557"/>
                <a:gd name="connsiteY5306" fmla="*/ 764740 h 4837661"/>
                <a:gd name="connsiteX5307" fmla="*/ 5183741 w 10048557"/>
                <a:gd name="connsiteY5307" fmla="*/ 753614 h 4837661"/>
                <a:gd name="connsiteX5308" fmla="*/ 5158685 w 10048557"/>
                <a:gd name="connsiteY5308" fmla="*/ 726625 h 4837661"/>
                <a:gd name="connsiteX5309" fmla="*/ 5149513 w 10048557"/>
                <a:gd name="connsiteY5309" fmla="*/ 720621 h 4837661"/>
                <a:gd name="connsiteX5310" fmla="*/ 5156415 w 10048557"/>
                <a:gd name="connsiteY5310" fmla="*/ 710266 h 4837661"/>
                <a:gd name="connsiteX5311" fmla="*/ 5170031 w 10048557"/>
                <a:gd name="connsiteY5311" fmla="*/ 705970 h 4837661"/>
                <a:gd name="connsiteX5312" fmla="*/ 5183552 w 10048557"/>
                <a:gd name="connsiteY5312" fmla="*/ 703712 h 4837661"/>
                <a:gd name="connsiteX5313" fmla="*/ 5200005 w 10048557"/>
                <a:gd name="connsiteY5313" fmla="*/ 701453 h 4837661"/>
                <a:gd name="connsiteX5314" fmla="*/ 5217970 w 10048557"/>
                <a:gd name="connsiteY5314" fmla="*/ 703712 h 4837661"/>
                <a:gd name="connsiteX5315" fmla="*/ 5231397 w 10048557"/>
                <a:gd name="connsiteY5315" fmla="*/ 707512 h 4837661"/>
                <a:gd name="connsiteX5316" fmla="*/ 5246336 w 10048557"/>
                <a:gd name="connsiteY5316" fmla="*/ 709771 h 4837661"/>
                <a:gd name="connsiteX5317" fmla="*/ 5263829 w 10048557"/>
                <a:gd name="connsiteY5317" fmla="*/ 709275 h 4837661"/>
                <a:gd name="connsiteX5318" fmla="*/ 5280186 w 10048557"/>
                <a:gd name="connsiteY5318" fmla="*/ 698920 h 4837661"/>
                <a:gd name="connsiteX5319" fmla="*/ 5299192 w 10048557"/>
                <a:gd name="connsiteY5319" fmla="*/ 690548 h 4837661"/>
                <a:gd name="connsiteX5320" fmla="*/ 5304203 w 10048557"/>
                <a:gd name="connsiteY5320" fmla="*/ 681515 h 4837661"/>
                <a:gd name="connsiteX5321" fmla="*/ 5297679 w 10048557"/>
                <a:gd name="connsiteY5321" fmla="*/ 674244 h 4837661"/>
                <a:gd name="connsiteX5322" fmla="*/ 5271015 w 10048557"/>
                <a:gd name="connsiteY5322" fmla="*/ 671215 h 4837661"/>
                <a:gd name="connsiteX5323" fmla="*/ 5260425 w 10048557"/>
                <a:gd name="connsiteY5323" fmla="*/ 660694 h 4837661"/>
                <a:gd name="connsiteX5324" fmla="*/ 5233382 w 10048557"/>
                <a:gd name="connsiteY5324" fmla="*/ 657280 h 4837661"/>
                <a:gd name="connsiteX5325" fmla="*/ 5218348 w 10048557"/>
                <a:gd name="connsiteY5325" fmla="*/ 660860 h 4837661"/>
                <a:gd name="connsiteX5326" fmla="*/ 5198019 w 10048557"/>
                <a:gd name="connsiteY5326" fmla="*/ 669177 h 4837661"/>
                <a:gd name="connsiteX5327" fmla="*/ 5176933 w 10048557"/>
                <a:gd name="connsiteY5327" fmla="*/ 672922 h 4837661"/>
                <a:gd name="connsiteX5328" fmla="*/ 5158968 w 10048557"/>
                <a:gd name="connsiteY5328" fmla="*/ 672151 h 4837661"/>
                <a:gd name="connsiteX5329" fmla="*/ 5135046 w 10048557"/>
                <a:gd name="connsiteY5329" fmla="*/ 666368 h 4837661"/>
                <a:gd name="connsiteX5330" fmla="*/ 5123321 w 10048557"/>
                <a:gd name="connsiteY5330" fmla="*/ 651551 h 4837661"/>
                <a:gd name="connsiteX5331" fmla="*/ 5102047 w 10048557"/>
                <a:gd name="connsiteY5331" fmla="*/ 646264 h 4837661"/>
                <a:gd name="connsiteX5332" fmla="*/ 5082947 w 10048557"/>
                <a:gd name="connsiteY5332" fmla="*/ 636184 h 4837661"/>
                <a:gd name="connsiteX5333" fmla="*/ 5079921 w 10048557"/>
                <a:gd name="connsiteY5333" fmla="*/ 618503 h 4837661"/>
                <a:gd name="connsiteX5334" fmla="*/ 5089755 w 10048557"/>
                <a:gd name="connsiteY5334" fmla="*/ 601869 h 4837661"/>
                <a:gd name="connsiteX5335" fmla="*/ 5098926 w 10048557"/>
                <a:gd name="connsiteY5335" fmla="*/ 593772 h 4837661"/>
                <a:gd name="connsiteX5336" fmla="*/ 5114622 w 10048557"/>
                <a:gd name="connsiteY5336" fmla="*/ 586006 h 4837661"/>
                <a:gd name="connsiteX5337" fmla="*/ 5120012 w 10048557"/>
                <a:gd name="connsiteY5337" fmla="*/ 570143 h 4837661"/>
                <a:gd name="connsiteX5338" fmla="*/ 5122281 w 10048557"/>
                <a:gd name="connsiteY5338" fmla="*/ 556539 h 4837661"/>
                <a:gd name="connsiteX5339" fmla="*/ 5136653 w 10048557"/>
                <a:gd name="connsiteY5339" fmla="*/ 551141 h 4837661"/>
                <a:gd name="connsiteX5340" fmla="*/ 5138166 w 10048557"/>
                <a:gd name="connsiteY5340" fmla="*/ 541777 h 4837661"/>
                <a:gd name="connsiteX5341" fmla="*/ 5138166 w 10048557"/>
                <a:gd name="connsiteY5341" fmla="*/ 522114 h 4837661"/>
                <a:gd name="connsiteX5342" fmla="*/ 5146203 w 10048557"/>
                <a:gd name="connsiteY5342" fmla="*/ 511759 h 4837661"/>
                <a:gd name="connsiteX5343" fmla="*/ 5146203 w 10048557"/>
                <a:gd name="connsiteY5343" fmla="*/ 497438 h 4837661"/>
                <a:gd name="connsiteX5344" fmla="*/ 5139396 w 10048557"/>
                <a:gd name="connsiteY5344" fmla="*/ 487579 h 4837661"/>
                <a:gd name="connsiteX5345" fmla="*/ 5128238 w 10048557"/>
                <a:gd name="connsiteY5345" fmla="*/ 478766 h 4837661"/>
                <a:gd name="connsiteX5346" fmla="*/ 5113015 w 10048557"/>
                <a:gd name="connsiteY5346" fmla="*/ 488570 h 4837661"/>
                <a:gd name="connsiteX5347" fmla="*/ 5085594 w 10048557"/>
                <a:gd name="connsiteY5347" fmla="*/ 500688 h 4837661"/>
                <a:gd name="connsiteX5348" fmla="*/ 5072640 w 10048557"/>
                <a:gd name="connsiteY5348" fmla="*/ 516606 h 4837661"/>
                <a:gd name="connsiteX5349" fmla="*/ 5058930 w 10048557"/>
                <a:gd name="connsiteY5349" fmla="*/ 533240 h 4837661"/>
                <a:gd name="connsiteX5350" fmla="*/ 5040114 w 10048557"/>
                <a:gd name="connsiteY5350" fmla="*/ 558191 h 4837661"/>
                <a:gd name="connsiteX5351" fmla="*/ 5024607 w 10048557"/>
                <a:gd name="connsiteY5351" fmla="*/ 571080 h 4837661"/>
                <a:gd name="connsiteX5352" fmla="*/ 4992553 w 10048557"/>
                <a:gd name="connsiteY5352" fmla="*/ 574109 h 4837661"/>
                <a:gd name="connsiteX5353" fmla="*/ 4986502 w 10048557"/>
                <a:gd name="connsiteY5353" fmla="*/ 586722 h 4837661"/>
                <a:gd name="connsiteX5354" fmla="*/ 4981490 w 10048557"/>
                <a:gd name="connsiteY5354" fmla="*/ 604843 h 4837661"/>
                <a:gd name="connsiteX5355" fmla="*/ 4966267 w 10048557"/>
                <a:gd name="connsiteY5355" fmla="*/ 622965 h 4837661"/>
                <a:gd name="connsiteX5356" fmla="*/ 4966267 w 10048557"/>
                <a:gd name="connsiteY5356" fmla="*/ 643455 h 4837661"/>
                <a:gd name="connsiteX5357" fmla="*/ 4977614 w 10048557"/>
                <a:gd name="connsiteY5357" fmla="*/ 657059 h 4837661"/>
                <a:gd name="connsiteX5358" fmla="*/ 5003616 w 10048557"/>
                <a:gd name="connsiteY5358" fmla="*/ 674520 h 4837661"/>
                <a:gd name="connsiteX5359" fmla="*/ 5022054 w 10048557"/>
                <a:gd name="connsiteY5359" fmla="*/ 680028 h 4837661"/>
                <a:gd name="connsiteX5360" fmla="*/ 5022054 w 10048557"/>
                <a:gd name="connsiteY5360" fmla="*/ 689887 h 4837661"/>
                <a:gd name="connsiteX5361" fmla="*/ 5013733 w 10048557"/>
                <a:gd name="connsiteY5361" fmla="*/ 704978 h 4837661"/>
                <a:gd name="connsiteX5362" fmla="*/ 4996146 w 10048557"/>
                <a:gd name="connsiteY5362" fmla="*/ 716876 h 4837661"/>
                <a:gd name="connsiteX5363" fmla="*/ 4978370 w 10048557"/>
                <a:gd name="connsiteY5363" fmla="*/ 727947 h 4837661"/>
                <a:gd name="connsiteX5364" fmla="*/ 4957095 w 10048557"/>
                <a:gd name="connsiteY5364" fmla="*/ 742378 h 4837661"/>
                <a:gd name="connsiteX5365" fmla="*/ 4950949 w 10048557"/>
                <a:gd name="connsiteY5365" fmla="*/ 754220 h 4837661"/>
                <a:gd name="connsiteX5366" fmla="*/ 4953219 w 10048557"/>
                <a:gd name="connsiteY5366" fmla="*/ 776692 h 4837661"/>
                <a:gd name="connsiteX5367" fmla="*/ 4947924 w 10048557"/>
                <a:gd name="connsiteY5367" fmla="*/ 791564 h 4837661"/>
                <a:gd name="connsiteX5368" fmla="*/ 4936199 w 10048557"/>
                <a:gd name="connsiteY5368" fmla="*/ 805168 h 4837661"/>
                <a:gd name="connsiteX5369" fmla="*/ 4925609 w 10048557"/>
                <a:gd name="connsiteY5369" fmla="*/ 807427 h 4837661"/>
                <a:gd name="connsiteX5370" fmla="*/ 4900174 w 10048557"/>
                <a:gd name="connsiteY5370" fmla="*/ 825107 h 4837661"/>
                <a:gd name="connsiteX5371" fmla="*/ 4891853 w 10048557"/>
                <a:gd name="connsiteY5371" fmla="*/ 830175 h 4837661"/>
                <a:gd name="connsiteX5372" fmla="*/ 4863392 w 10048557"/>
                <a:gd name="connsiteY5372" fmla="*/ 815028 h 4837661"/>
                <a:gd name="connsiteX5373" fmla="*/ 4856585 w 10048557"/>
                <a:gd name="connsiteY5373" fmla="*/ 804453 h 4837661"/>
                <a:gd name="connsiteX5374" fmla="*/ 4848453 w 10048557"/>
                <a:gd name="connsiteY5374" fmla="*/ 796411 h 4837661"/>
                <a:gd name="connsiteX5375" fmla="*/ 4847696 w 10048557"/>
                <a:gd name="connsiteY5375" fmla="*/ 782806 h 4837661"/>
                <a:gd name="connsiteX5376" fmla="*/ 4847696 w 10048557"/>
                <a:gd name="connsiteY5376" fmla="*/ 769147 h 4837661"/>
                <a:gd name="connsiteX5377" fmla="*/ 4837957 w 10048557"/>
                <a:gd name="connsiteY5377" fmla="*/ 760334 h 4837661"/>
                <a:gd name="connsiteX5378" fmla="*/ 4831906 w 10048557"/>
                <a:gd name="connsiteY5378" fmla="*/ 742928 h 4837661"/>
                <a:gd name="connsiteX5379" fmla="*/ 4818952 w 10048557"/>
                <a:gd name="connsiteY5379" fmla="*/ 725744 h 4837661"/>
                <a:gd name="connsiteX5380" fmla="*/ 4814319 w 10048557"/>
                <a:gd name="connsiteY5380" fmla="*/ 711478 h 4837661"/>
                <a:gd name="connsiteX5381" fmla="*/ 4790491 w 10048557"/>
                <a:gd name="connsiteY5381" fmla="*/ 713461 h 4837661"/>
                <a:gd name="connsiteX5382" fmla="*/ 4767609 w 10048557"/>
                <a:gd name="connsiteY5382" fmla="*/ 730921 h 4837661"/>
                <a:gd name="connsiteX5383" fmla="*/ 4751630 w 10048557"/>
                <a:gd name="connsiteY5383" fmla="*/ 743259 h 4837661"/>
                <a:gd name="connsiteX5384" fmla="*/ 4722129 w 10048557"/>
                <a:gd name="connsiteY5384" fmla="*/ 743975 h 4837661"/>
                <a:gd name="connsiteX5385" fmla="*/ 4703123 w 10048557"/>
                <a:gd name="connsiteY5385" fmla="*/ 739459 h 4837661"/>
                <a:gd name="connsiteX5386" fmla="*/ 4685631 w 10048557"/>
                <a:gd name="connsiteY5386" fmla="*/ 721282 h 4837661"/>
                <a:gd name="connsiteX5387" fmla="*/ 4667288 w 10048557"/>
                <a:gd name="connsiteY5387" fmla="*/ 701564 h 4837661"/>
                <a:gd name="connsiteX5388" fmla="*/ 4665018 w 10048557"/>
                <a:gd name="connsiteY5388" fmla="*/ 686417 h 4837661"/>
                <a:gd name="connsiteX5389" fmla="*/ 4667288 w 10048557"/>
                <a:gd name="connsiteY5389" fmla="*/ 675841 h 4837661"/>
                <a:gd name="connsiteX5390" fmla="*/ 4664545 w 10048557"/>
                <a:gd name="connsiteY5390" fmla="*/ 663559 h 4837661"/>
                <a:gd name="connsiteX5391" fmla="*/ 4662276 w 10048557"/>
                <a:gd name="connsiteY5391" fmla="*/ 655517 h 4837661"/>
                <a:gd name="connsiteX5392" fmla="*/ 4662276 w 10048557"/>
                <a:gd name="connsiteY5392" fmla="*/ 640425 h 4837661"/>
                <a:gd name="connsiteX5393" fmla="*/ 4664451 w 10048557"/>
                <a:gd name="connsiteY5393" fmla="*/ 632108 h 4837661"/>
                <a:gd name="connsiteX5394" fmla="*/ 4671070 w 10048557"/>
                <a:gd name="connsiteY5394" fmla="*/ 622524 h 4837661"/>
                <a:gd name="connsiteX5395" fmla="*/ 4679674 w 10048557"/>
                <a:gd name="connsiteY5395" fmla="*/ 613932 h 4837661"/>
                <a:gd name="connsiteX5396" fmla="*/ 4692628 w 10048557"/>
                <a:gd name="connsiteY5396" fmla="*/ 601869 h 4837661"/>
                <a:gd name="connsiteX5397" fmla="*/ 4704447 w 10048557"/>
                <a:gd name="connsiteY5397" fmla="*/ 594544 h 4837661"/>
                <a:gd name="connsiteX5398" fmla="*/ 4714281 w 10048557"/>
                <a:gd name="connsiteY5398" fmla="*/ 587769 h 4837661"/>
                <a:gd name="connsiteX5399" fmla="*/ 4731395 w 10048557"/>
                <a:gd name="connsiteY5399" fmla="*/ 582536 h 4837661"/>
                <a:gd name="connsiteX5400" fmla="*/ 4757492 w 10048557"/>
                <a:gd name="connsiteY5400" fmla="*/ 576698 h 4837661"/>
                <a:gd name="connsiteX5401" fmla="*/ 4770257 w 10048557"/>
                <a:gd name="connsiteY5401" fmla="*/ 572181 h 4837661"/>
                <a:gd name="connsiteX5402" fmla="*/ 4778578 w 10048557"/>
                <a:gd name="connsiteY5402" fmla="*/ 561826 h 4837661"/>
                <a:gd name="connsiteX5403" fmla="*/ 4786142 w 10048557"/>
                <a:gd name="connsiteY5403" fmla="*/ 555051 h 4837661"/>
                <a:gd name="connsiteX5404" fmla="*/ 4808362 w 10048557"/>
                <a:gd name="connsiteY5404" fmla="*/ 541722 h 4837661"/>
                <a:gd name="connsiteX5405" fmla="*/ 4825855 w 10048557"/>
                <a:gd name="connsiteY5405" fmla="*/ 534121 h 4837661"/>
                <a:gd name="connsiteX5406" fmla="*/ 4838052 w 10048557"/>
                <a:gd name="connsiteY5406" fmla="*/ 521233 h 4837661"/>
                <a:gd name="connsiteX5407" fmla="*/ 4850060 w 10048557"/>
                <a:gd name="connsiteY5407" fmla="*/ 506912 h 4837661"/>
                <a:gd name="connsiteX5408" fmla="*/ 4854599 w 10048557"/>
                <a:gd name="connsiteY5408" fmla="*/ 494133 h 4837661"/>
                <a:gd name="connsiteX5409" fmla="*/ 4856868 w 10048557"/>
                <a:gd name="connsiteY5409" fmla="*/ 485816 h 4837661"/>
                <a:gd name="connsiteX5410" fmla="*/ 4871335 w 10048557"/>
                <a:gd name="connsiteY5410" fmla="*/ 472432 h 4837661"/>
                <a:gd name="connsiteX5411" fmla="*/ 4880790 w 10048557"/>
                <a:gd name="connsiteY5411" fmla="*/ 458827 h 4837661"/>
                <a:gd name="connsiteX5412" fmla="*/ 4895352 w 10048557"/>
                <a:gd name="connsiteY5412" fmla="*/ 442909 h 4837661"/>
                <a:gd name="connsiteX5413" fmla="*/ 4907171 w 10048557"/>
                <a:gd name="connsiteY5413" fmla="*/ 439880 h 4837661"/>
                <a:gd name="connsiteX5414" fmla="*/ 4918612 w 10048557"/>
                <a:gd name="connsiteY5414" fmla="*/ 436850 h 4837661"/>
                <a:gd name="connsiteX5415" fmla="*/ 4926082 w 10048557"/>
                <a:gd name="connsiteY5415" fmla="*/ 430847 h 4837661"/>
                <a:gd name="connsiteX5416" fmla="*/ 4929202 w 10048557"/>
                <a:gd name="connsiteY5416" fmla="*/ 419555 h 4837661"/>
                <a:gd name="connsiteX5417" fmla="*/ 4929013 w 10048557"/>
                <a:gd name="connsiteY5417" fmla="*/ 410026 h 4837661"/>
                <a:gd name="connsiteX5418" fmla="*/ 4936672 w 10048557"/>
                <a:gd name="connsiteY5418" fmla="*/ 401765 h 4837661"/>
                <a:gd name="connsiteX5419" fmla="*/ 4954921 w 10048557"/>
                <a:gd name="connsiteY5419" fmla="*/ 393448 h 4837661"/>
                <a:gd name="connsiteX5420" fmla="*/ 4970049 w 10048557"/>
                <a:gd name="connsiteY5420" fmla="*/ 388986 h 4837661"/>
                <a:gd name="connsiteX5421" fmla="*/ 4995012 w 10048557"/>
                <a:gd name="connsiteY5421" fmla="*/ 381715 h 4837661"/>
                <a:gd name="connsiteX5422" fmla="*/ 5015152 w 10048557"/>
                <a:gd name="connsiteY5422" fmla="*/ 378686 h 4837661"/>
                <a:gd name="connsiteX5423" fmla="*/ 5032550 w 10048557"/>
                <a:gd name="connsiteY5423" fmla="*/ 369653 h 4837661"/>
                <a:gd name="connsiteX5424" fmla="*/ 5070938 w 10048557"/>
                <a:gd name="connsiteY5424" fmla="*/ 348723 h 4837661"/>
                <a:gd name="connsiteX5425" fmla="*/ 5101101 w 10048557"/>
                <a:gd name="connsiteY5425" fmla="*/ 343160 h 4837661"/>
                <a:gd name="connsiteX5426" fmla="*/ 5129846 w 10048557"/>
                <a:gd name="connsiteY5426" fmla="*/ 338588 h 4837661"/>
                <a:gd name="connsiteX5427" fmla="*/ 5142705 w 10048557"/>
                <a:gd name="connsiteY5427" fmla="*/ 340075 h 4837661"/>
                <a:gd name="connsiteX5428" fmla="*/ 5155848 w 10048557"/>
                <a:gd name="connsiteY5428" fmla="*/ 343105 h 4837661"/>
                <a:gd name="connsiteX5429" fmla="*/ 5166249 w 10048557"/>
                <a:gd name="connsiteY5429" fmla="*/ 346134 h 4837661"/>
                <a:gd name="connsiteX5430" fmla="*/ 5181472 w 10048557"/>
                <a:gd name="connsiteY5430" fmla="*/ 349163 h 4837661"/>
                <a:gd name="connsiteX5431" fmla="*/ 5196506 w 10048557"/>
                <a:gd name="connsiteY5431" fmla="*/ 344867 h 4837661"/>
                <a:gd name="connsiteX5432" fmla="*/ 5216930 w 10048557"/>
                <a:gd name="connsiteY5432" fmla="*/ 339579 h 4837661"/>
                <a:gd name="connsiteX5433" fmla="*/ 5231586 w 10048557"/>
                <a:gd name="connsiteY5433" fmla="*/ 342609 h 4837661"/>
                <a:gd name="connsiteX5434" fmla="*/ 5249835 w 10048557"/>
                <a:gd name="connsiteY5434" fmla="*/ 347181 h 4837661"/>
                <a:gd name="connsiteX5435" fmla="*/ 5269407 w 10048557"/>
                <a:gd name="connsiteY5435" fmla="*/ 352468 h 4837661"/>
                <a:gd name="connsiteX5436" fmla="*/ 5286711 w 10048557"/>
                <a:gd name="connsiteY5436" fmla="*/ 356214 h 4837661"/>
                <a:gd name="connsiteX5437" fmla="*/ 5306567 w 10048557"/>
                <a:gd name="connsiteY5437" fmla="*/ 360730 h 4837661"/>
                <a:gd name="connsiteX5438" fmla="*/ 5328598 w 10048557"/>
                <a:gd name="connsiteY5438" fmla="*/ 373784 h 4837661"/>
                <a:gd name="connsiteX5439" fmla="*/ 5345523 w 10048557"/>
                <a:gd name="connsiteY5439" fmla="*/ 388105 h 4837661"/>
                <a:gd name="connsiteX5440" fmla="*/ 5359234 w 10048557"/>
                <a:gd name="connsiteY5440" fmla="*/ 391905 h 4837661"/>
                <a:gd name="connsiteX5441" fmla="*/ 5375024 w 10048557"/>
                <a:gd name="connsiteY5441" fmla="*/ 385351 h 4837661"/>
                <a:gd name="connsiteX5442" fmla="*/ 5397622 w 10048557"/>
                <a:gd name="connsiteY5442" fmla="*/ 380779 h 4837661"/>
                <a:gd name="connsiteX5443" fmla="*/ 5432607 w 10048557"/>
                <a:gd name="connsiteY5443" fmla="*/ 390639 h 4837661"/>
                <a:gd name="connsiteX5444" fmla="*/ 5455206 w 10048557"/>
                <a:gd name="connsiteY5444" fmla="*/ 397964 h 4837661"/>
                <a:gd name="connsiteX5445" fmla="*/ 5489813 w 10048557"/>
                <a:gd name="connsiteY5445" fmla="*/ 409035 h 4837661"/>
                <a:gd name="connsiteX5446" fmla="*/ 5517233 w 10048557"/>
                <a:gd name="connsiteY5446" fmla="*/ 420437 h 4837661"/>
                <a:gd name="connsiteX5447" fmla="*/ 5540683 w 10048557"/>
                <a:gd name="connsiteY5447" fmla="*/ 426991 h 4837661"/>
                <a:gd name="connsiteX5448" fmla="*/ 5550611 w 10048557"/>
                <a:gd name="connsiteY5448" fmla="*/ 442634 h 4837661"/>
                <a:gd name="connsiteX5449" fmla="*/ 5565078 w 10048557"/>
                <a:gd name="connsiteY5449" fmla="*/ 450951 h 4837661"/>
                <a:gd name="connsiteX5450" fmla="*/ 5565361 w 10048557"/>
                <a:gd name="connsiteY5450" fmla="*/ 460314 h 4837661"/>
                <a:gd name="connsiteX5451" fmla="*/ 5552880 w 10048557"/>
                <a:gd name="connsiteY5451" fmla="*/ 461802 h 4837661"/>
                <a:gd name="connsiteX5452" fmla="*/ 5539926 w 10048557"/>
                <a:gd name="connsiteY5452" fmla="*/ 465382 h 4837661"/>
                <a:gd name="connsiteX5453" fmla="*/ 5530849 w 10048557"/>
                <a:gd name="connsiteY5453" fmla="*/ 468356 h 4837661"/>
                <a:gd name="connsiteX5454" fmla="*/ 5518652 w 10048557"/>
                <a:gd name="connsiteY5454" fmla="*/ 476618 h 4837661"/>
                <a:gd name="connsiteX5455" fmla="*/ 5509480 w 10048557"/>
                <a:gd name="connsiteY5455" fmla="*/ 476618 h 4837661"/>
                <a:gd name="connsiteX5456" fmla="*/ 5487921 w 10048557"/>
                <a:gd name="connsiteY5456" fmla="*/ 476618 h 4837661"/>
                <a:gd name="connsiteX5457" fmla="*/ 5469578 w 10048557"/>
                <a:gd name="connsiteY5457" fmla="*/ 476618 h 4837661"/>
                <a:gd name="connsiteX5458" fmla="*/ 5450289 w 10048557"/>
                <a:gd name="connsiteY5458" fmla="*/ 475131 h 4837661"/>
                <a:gd name="connsiteX5459" fmla="*/ 5435160 w 10048557"/>
                <a:gd name="connsiteY5459" fmla="*/ 463013 h 4837661"/>
                <a:gd name="connsiteX5460" fmla="*/ 5395259 w 10048557"/>
                <a:gd name="connsiteY5460" fmla="*/ 453705 h 4837661"/>
                <a:gd name="connsiteX5461" fmla="*/ 5384101 w 10048557"/>
                <a:gd name="connsiteY5461" fmla="*/ 448913 h 4837661"/>
                <a:gd name="connsiteX5462" fmla="*/ 5353655 w 10048557"/>
                <a:gd name="connsiteY5462" fmla="*/ 449684 h 4837661"/>
                <a:gd name="connsiteX5463" fmla="*/ 5346752 w 10048557"/>
                <a:gd name="connsiteY5463" fmla="*/ 462242 h 4837661"/>
                <a:gd name="connsiteX5464" fmla="*/ 5352804 w 10048557"/>
                <a:gd name="connsiteY5464" fmla="*/ 471881 h 4837661"/>
                <a:gd name="connsiteX5465" fmla="*/ 5364718 w 10048557"/>
                <a:gd name="connsiteY5465" fmla="*/ 483503 h 4837661"/>
                <a:gd name="connsiteX5466" fmla="*/ 5374646 w 10048557"/>
                <a:gd name="connsiteY5466" fmla="*/ 489452 h 4837661"/>
                <a:gd name="connsiteX5467" fmla="*/ 5390436 w 10048557"/>
                <a:gd name="connsiteY5467" fmla="*/ 497053 h 4837661"/>
                <a:gd name="connsiteX5468" fmla="*/ 5398473 w 10048557"/>
                <a:gd name="connsiteY5468" fmla="*/ 506416 h 4837661"/>
                <a:gd name="connsiteX5469" fmla="*/ 5402350 w 10048557"/>
                <a:gd name="connsiteY5469" fmla="*/ 516936 h 4837661"/>
                <a:gd name="connsiteX5470" fmla="*/ 5410198 w 10048557"/>
                <a:gd name="connsiteY5470" fmla="*/ 527512 h 4837661"/>
                <a:gd name="connsiteX5471" fmla="*/ 5417762 w 10048557"/>
                <a:gd name="connsiteY5471" fmla="*/ 540345 h 4837661"/>
                <a:gd name="connsiteX5472" fmla="*/ 5429109 w 10048557"/>
                <a:gd name="connsiteY5472" fmla="*/ 543154 h 4837661"/>
                <a:gd name="connsiteX5473" fmla="*/ 5440550 w 10048557"/>
                <a:gd name="connsiteY5473" fmla="*/ 546129 h 4837661"/>
                <a:gd name="connsiteX5474" fmla="*/ 5452747 w 10048557"/>
                <a:gd name="connsiteY5474" fmla="*/ 554391 h 4837661"/>
                <a:gd name="connsiteX5475" fmla="*/ 5464094 w 10048557"/>
                <a:gd name="connsiteY5475" fmla="*/ 565792 h 4837661"/>
                <a:gd name="connsiteX5476" fmla="*/ 5477048 w 10048557"/>
                <a:gd name="connsiteY5476" fmla="*/ 564525 h 4837661"/>
                <a:gd name="connsiteX5477" fmla="*/ 5482816 w 10048557"/>
                <a:gd name="connsiteY5477" fmla="*/ 556263 h 4837661"/>
                <a:gd name="connsiteX5478" fmla="*/ 5499646 w 10048557"/>
                <a:gd name="connsiteY5478" fmla="*/ 555492 h 4837661"/>
                <a:gd name="connsiteX5479" fmla="*/ 5511276 w 10048557"/>
                <a:gd name="connsiteY5479" fmla="*/ 543650 h 4837661"/>
                <a:gd name="connsiteX5480" fmla="*/ 5504090 w 10048557"/>
                <a:gd name="connsiteY5480" fmla="*/ 536875 h 4837661"/>
                <a:gd name="connsiteX5481" fmla="*/ 5497471 w 10048557"/>
                <a:gd name="connsiteY5481" fmla="*/ 531863 h 4837661"/>
                <a:gd name="connsiteX5482" fmla="*/ 5489151 w 10048557"/>
                <a:gd name="connsiteY5482" fmla="*/ 526520 h 4837661"/>
                <a:gd name="connsiteX5483" fmla="*/ 5477237 w 10048557"/>
                <a:gd name="connsiteY5483" fmla="*/ 526520 h 4837661"/>
                <a:gd name="connsiteX5484" fmla="*/ 5463999 w 10048557"/>
                <a:gd name="connsiteY5484" fmla="*/ 520517 h 4837661"/>
                <a:gd name="connsiteX5485" fmla="*/ 5469389 w 10048557"/>
                <a:gd name="connsiteY5485" fmla="*/ 512915 h 4837661"/>
                <a:gd name="connsiteX5486" fmla="*/ 5482154 w 10048557"/>
                <a:gd name="connsiteY5486" fmla="*/ 512145 h 4837661"/>
                <a:gd name="connsiteX5487" fmla="*/ 5495959 w 10048557"/>
                <a:gd name="connsiteY5487" fmla="*/ 516661 h 4837661"/>
                <a:gd name="connsiteX5488" fmla="*/ 5507305 w 10048557"/>
                <a:gd name="connsiteY5488" fmla="*/ 524923 h 4837661"/>
                <a:gd name="connsiteX5489" fmla="*/ 5522906 w 10048557"/>
                <a:gd name="connsiteY5489" fmla="*/ 535278 h 4837661"/>
                <a:gd name="connsiteX5490" fmla="*/ 5535577 w 10048557"/>
                <a:gd name="connsiteY5490" fmla="*/ 523491 h 4837661"/>
                <a:gd name="connsiteX5491" fmla="*/ 5557702 w 10048557"/>
                <a:gd name="connsiteY5491" fmla="*/ 518148 h 4837661"/>
                <a:gd name="connsiteX5492" fmla="*/ 5561957 w 10048557"/>
                <a:gd name="connsiteY5492" fmla="*/ 510933 h 4837661"/>
                <a:gd name="connsiteX5493" fmla="*/ 5554487 w 10048557"/>
                <a:gd name="connsiteY5493" fmla="*/ 501844 h 4837661"/>
                <a:gd name="connsiteX5494" fmla="*/ 5559877 w 10048557"/>
                <a:gd name="connsiteY5494" fmla="*/ 492922 h 4837661"/>
                <a:gd name="connsiteX5495" fmla="*/ 5588811 w 10048557"/>
                <a:gd name="connsiteY5495" fmla="*/ 484660 h 4837661"/>
                <a:gd name="connsiteX5496" fmla="*/ 5617271 w 10048557"/>
                <a:gd name="connsiteY5496" fmla="*/ 477830 h 4837661"/>
                <a:gd name="connsiteX5497" fmla="*/ 5636844 w 10048557"/>
                <a:gd name="connsiteY5497" fmla="*/ 471771 h 4837661"/>
                <a:gd name="connsiteX5498" fmla="*/ 5644125 w 10048557"/>
                <a:gd name="connsiteY5498" fmla="*/ 465988 h 4837661"/>
                <a:gd name="connsiteX5499" fmla="*/ 5644881 w 10048557"/>
                <a:gd name="connsiteY5499" fmla="*/ 456183 h 4837661"/>
                <a:gd name="connsiteX5500" fmla="*/ 5637979 w 10048557"/>
                <a:gd name="connsiteY5500" fmla="*/ 448638 h 4837661"/>
                <a:gd name="connsiteX5501" fmla="*/ 5638735 w 10048557"/>
                <a:gd name="connsiteY5501" fmla="*/ 438778 h 4837661"/>
                <a:gd name="connsiteX5502" fmla="*/ 5627956 w 10048557"/>
                <a:gd name="connsiteY5502" fmla="*/ 428974 h 4837661"/>
                <a:gd name="connsiteX5503" fmla="*/ 5625592 w 10048557"/>
                <a:gd name="connsiteY5503" fmla="*/ 420161 h 4837661"/>
                <a:gd name="connsiteX5504" fmla="*/ 5637411 w 10048557"/>
                <a:gd name="connsiteY5504" fmla="*/ 415149 h 4837661"/>
                <a:gd name="connsiteX5505" fmla="*/ 5650554 w 10048557"/>
                <a:gd name="connsiteY5505" fmla="*/ 415149 h 4837661"/>
                <a:gd name="connsiteX5506" fmla="*/ 5663792 w 10048557"/>
                <a:gd name="connsiteY5506" fmla="*/ 416636 h 4837661"/>
                <a:gd name="connsiteX5507" fmla="*/ 5673720 w 10048557"/>
                <a:gd name="connsiteY5507" fmla="*/ 432774 h 4837661"/>
                <a:gd name="connsiteX5508" fmla="*/ 5670883 w 10048557"/>
                <a:gd name="connsiteY5508" fmla="*/ 442799 h 4837661"/>
                <a:gd name="connsiteX5509" fmla="*/ 5680055 w 10048557"/>
                <a:gd name="connsiteY5509" fmla="*/ 448087 h 4837661"/>
                <a:gd name="connsiteX5510" fmla="*/ 5689794 w 10048557"/>
                <a:gd name="connsiteY5510" fmla="*/ 450345 h 4837661"/>
                <a:gd name="connsiteX5511" fmla="*/ 5699817 w 10048557"/>
                <a:gd name="connsiteY5511" fmla="*/ 459929 h 4837661"/>
                <a:gd name="connsiteX5512" fmla="*/ 5714284 w 10048557"/>
                <a:gd name="connsiteY5512" fmla="*/ 456844 h 4837661"/>
                <a:gd name="connsiteX5513" fmla="*/ 5738868 w 10048557"/>
                <a:gd name="connsiteY5513" fmla="*/ 442248 h 4837661"/>
                <a:gd name="connsiteX5514" fmla="*/ 5759670 w 10048557"/>
                <a:gd name="connsiteY5514" fmla="*/ 430626 h 4837661"/>
                <a:gd name="connsiteX5515" fmla="*/ 5785294 w 10048557"/>
                <a:gd name="connsiteY5515" fmla="*/ 420051 h 4837661"/>
                <a:gd name="connsiteX5516" fmla="*/ 5810161 w 10048557"/>
                <a:gd name="connsiteY5516" fmla="*/ 410963 h 4837661"/>
                <a:gd name="connsiteX5517" fmla="*/ 5835407 w 10048557"/>
                <a:gd name="connsiteY5517" fmla="*/ 405675 h 4837661"/>
                <a:gd name="connsiteX5518" fmla="*/ 5846659 w 10048557"/>
                <a:gd name="connsiteY5518" fmla="*/ 404904 h 4837661"/>
                <a:gd name="connsiteX5519" fmla="*/ 5863017 w 10048557"/>
                <a:gd name="connsiteY5519" fmla="*/ 409201 h 4837661"/>
                <a:gd name="connsiteX5520" fmla="*/ 5874458 w 10048557"/>
                <a:gd name="connsiteY5520" fmla="*/ 418729 h 4837661"/>
                <a:gd name="connsiteX5521" fmla="*/ 5885426 w 10048557"/>
                <a:gd name="connsiteY5521" fmla="*/ 420272 h 4837661"/>
                <a:gd name="connsiteX5522" fmla="*/ 5907457 w 10048557"/>
                <a:gd name="connsiteY5522" fmla="*/ 417242 h 4837661"/>
                <a:gd name="connsiteX5523" fmla="*/ 5925612 w 10048557"/>
                <a:gd name="connsiteY5523" fmla="*/ 412725 h 4837661"/>
                <a:gd name="connsiteX5524" fmla="*/ 5954640 w 10048557"/>
                <a:gd name="connsiteY5524" fmla="*/ 407438 h 4837661"/>
                <a:gd name="connsiteX5525" fmla="*/ 5968067 w 10048557"/>
                <a:gd name="connsiteY5525" fmla="*/ 401875 h 4837661"/>
                <a:gd name="connsiteX5526" fmla="*/ 5983857 w 10048557"/>
                <a:gd name="connsiteY5526" fmla="*/ 401875 h 4837661"/>
                <a:gd name="connsiteX5527" fmla="*/ 6001822 w 10048557"/>
                <a:gd name="connsiteY5527" fmla="*/ 410963 h 4837661"/>
                <a:gd name="connsiteX5528" fmla="*/ 6011656 w 10048557"/>
                <a:gd name="connsiteY5528" fmla="*/ 402701 h 4837661"/>
                <a:gd name="connsiteX5529" fmla="*/ 6020071 w 10048557"/>
                <a:gd name="connsiteY5529" fmla="*/ 383423 h 4837661"/>
                <a:gd name="connsiteX5530" fmla="*/ 6006550 w 10048557"/>
                <a:gd name="connsiteY5530" fmla="*/ 374335 h 4837661"/>
                <a:gd name="connsiteX5531" fmla="*/ 5995204 w 10048557"/>
                <a:gd name="connsiteY5531" fmla="*/ 375106 h 4837661"/>
                <a:gd name="connsiteX5532" fmla="*/ 5985275 w 10048557"/>
                <a:gd name="connsiteY5532" fmla="*/ 382597 h 4837661"/>
                <a:gd name="connsiteX5533" fmla="*/ 5974591 w 10048557"/>
                <a:gd name="connsiteY5533" fmla="*/ 379843 h 4837661"/>
                <a:gd name="connsiteX5534" fmla="*/ 5960880 w 10048557"/>
                <a:gd name="connsiteY5534" fmla="*/ 373068 h 4837661"/>
                <a:gd name="connsiteX5535" fmla="*/ 5941024 w 10048557"/>
                <a:gd name="connsiteY5535" fmla="*/ 373068 h 4837661"/>
                <a:gd name="connsiteX5536" fmla="*/ 5930907 w 10048557"/>
                <a:gd name="connsiteY5536" fmla="*/ 363759 h 4837661"/>
                <a:gd name="connsiteX5537" fmla="*/ 5950574 w 10048557"/>
                <a:gd name="connsiteY5537" fmla="*/ 354726 h 4837661"/>
                <a:gd name="connsiteX5538" fmla="*/ 5961259 w 10048557"/>
                <a:gd name="connsiteY5538" fmla="*/ 350265 h 4837661"/>
                <a:gd name="connsiteX5539" fmla="*/ 5977617 w 10048557"/>
                <a:gd name="connsiteY5539" fmla="*/ 353294 h 4837661"/>
                <a:gd name="connsiteX5540" fmla="*/ 5998229 w 10048557"/>
                <a:gd name="connsiteY5540" fmla="*/ 363870 h 4837661"/>
                <a:gd name="connsiteX5541" fmla="*/ 6027730 w 10048557"/>
                <a:gd name="connsiteY5541" fmla="*/ 368441 h 4837661"/>
                <a:gd name="connsiteX5542" fmla="*/ 6058082 w 10048557"/>
                <a:gd name="connsiteY5542" fmla="*/ 379733 h 4837661"/>
                <a:gd name="connsiteX5543" fmla="*/ 6087677 w 10048557"/>
                <a:gd name="connsiteY5543" fmla="*/ 387719 h 4837661"/>
                <a:gd name="connsiteX5544" fmla="*/ 6150745 w 10048557"/>
                <a:gd name="connsiteY5544" fmla="*/ 401930 h 4837661"/>
                <a:gd name="connsiteX5545" fmla="*/ 6151521 w 10048557"/>
                <a:gd name="connsiteY5545" fmla="*/ 402756 h 4837661"/>
                <a:gd name="connsiteX5546" fmla="*/ 6167510 w 10048557"/>
                <a:gd name="connsiteY5546" fmla="*/ 403929 h 4837661"/>
                <a:gd name="connsiteX5547" fmla="*/ 6182153 w 10048557"/>
                <a:gd name="connsiteY5547" fmla="*/ 407735 h 4837661"/>
                <a:gd name="connsiteX5548" fmla="*/ 6197923 w 10048557"/>
                <a:gd name="connsiteY5548" fmla="*/ 419031 h 4837661"/>
                <a:gd name="connsiteX5549" fmla="*/ 6212003 w 10048557"/>
                <a:gd name="connsiteY5549" fmla="*/ 426645 h 4837661"/>
                <a:gd name="connsiteX5550" fmla="*/ 6218386 w 10048557"/>
                <a:gd name="connsiteY5550" fmla="*/ 417804 h 4837661"/>
                <a:gd name="connsiteX5551" fmla="*/ 6236408 w 10048557"/>
                <a:gd name="connsiteY5551" fmla="*/ 413506 h 4837661"/>
                <a:gd name="connsiteX5552" fmla="*/ 6238661 w 10048557"/>
                <a:gd name="connsiteY5552" fmla="*/ 401473 h 4837661"/>
                <a:gd name="connsiteX5553" fmla="*/ 6226458 w 10048557"/>
                <a:gd name="connsiteY5553" fmla="*/ 387843 h 4837661"/>
                <a:gd name="connsiteX5554" fmla="*/ 6211815 w 10048557"/>
                <a:gd name="connsiteY5554" fmla="*/ 376792 h 4837661"/>
                <a:gd name="connsiteX5555" fmla="*/ 6193417 w 10048557"/>
                <a:gd name="connsiteY5555" fmla="*/ 368442 h 4837661"/>
                <a:gd name="connsiteX5556" fmla="*/ 6170701 w 10048557"/>
                <a:gd name="connsiteY5556" fmla="*/ 362426 h 4837661"/>
                <a:gd name="connsiteX5557" fmla="*/ 6156997 w 10048557"/>
                <a:gd name="connsiteY5557" fmla="*/ 347323 h 4837661"/>
                <a:gd name="connsiteX5558" fmla="*/ 6148549 w 10048557"/>
                <a:gd name="connsiteY5558" fmla="*/ 325343 h 4837661"/>
                <a:gd name="connsiteX5559" fmla="*/ 6149300 w 10048557"/>
                <a:gd name="connsiteY5559" fmla="*/ 308766 h 4837661"/>
                <a:gd name="connsiteX5560" fmla="*/ 6174456 w 10048557"/>
                <a:gd name="connsiteY5560" fmla="*/ 291330 h 4837661"/>
                <a:gd name="connsiteX5561" fmla="*/ 6205620 w 10048557"/>
                <a:gd name="connsiteY5561" fmla="*/ 282980 h 4837661"/>
                <a:gd name="connsiteX5562" fmla="*/ 6235845 w 10048557"/>
                <a:gd name="connsiteY5562" fmla="*/ 292067 h 4837661"/>
                <a:gd name="connsiteX5563" fmla="*/ 6256120 w 10048557"/>
                <a:gd name="connsiteY5563" fmla="*/ 304714 h 4837661"/>
                <a:gd name="connsiteX5564" fmla="*/ 6266821 w 10048557"/>
                <a:gd name="connsiteY5564" fmla="*/ 324361 h 4837661"/>
                <a:gd name="connsiteX5565" fmla="*/ 6279023 w 10048557"/>
                <a:gd name="connsiteY5565" fmla="*/ 341060 h 4837661"/>
                <a:gd name="connsiteX5566" fmla="*/ 6291226 w 10048557"/>
                <a:gd name="connsiteY5566" fmla="*/ 364513 h 4837661"/>
                <a:gd name="connsiteX5567" fmla="*/ 6307559 w 10048557"/>
                <a:gd name="connsiteY5567" fmla="*/ 392018 h 4837661"/>
                <a:gd name="connsiteX5568" fmla="*/ 6326520 w 10048557"/>
                <a:gd name="connsiteY5568" fmla="*/ 409454 h 4837661"/>
                <a:gd name="connsiteX5569" fmla="*/ 6335155 w 10048557"/>
                <a:gd name="connsiteY5569" fmla="*/ 436713 h 4837661"/>
                <a:gd name="connsiteX5570" fmla="*/ 6324079 w 10048557"/>
                <a:gd name="connsiteY5570" fmla="*/ 461394 h 4837661"/>
                <a:gd name="connsiteX5571" fmla="*/ 6308873 w 10048557"/>
                <a:gd name="connsiteY5571" fmla="*/ 469744 h 4837661"/>
                <a:gd name="connsiteX5572" fmla="*/ 6312440 w 10048557"/>
                <a:gd name="connsiteY5572" fmla="*/ 484847 h 4837661"/>
                <a:gd name="connsiteX5573" fmla="*/ 6332152 w 10048557"/>
                <a:gd name="connsiteY5573" fmla="*/ 483374 h 4837661"/>
                <a:gd name="connsiteX5574" fmla="*/ 6355055 w 10048557"/>
                <a:gd name="connsiteY5574" fmla="*/ 476620 h 4837661"/>
                <a:gd name="connsiteX5575" fmla="*/ 6371576 w 10048557"/>
                <a:gd name="connsiteY5575" fmla="*/ 464464 h 4837661"/>
                <a:gd name="connsiteX5576" fmla="*/ 6384529 w 10048557"/>
                <a:gd name="connsiteY5576" fmla="*/ 442484 h 4837661"/>
                <a:gd name="connsiteX5577" fmla="*/ 6391851 w 10048557"/>
                <a:gd name="connsiteY5577" fmla="*/ 419400 h 4837661"/>
                <a:gd name="connsiteX5578" fmla="*/ 6384154 w 10048557"/>
                <a:gd name="connsiteY5578" fmla="*/ 410314 h 4837661"/>
                <a:gd name="connsiteX5579" fmla="*/ 6386407 w 10048557"/>
                <a:gd name="connsiteY5579" fmla="*/ 393123 h 4837661"/>
                <a:gd name="connsiteX5580" fmla="*/ 6365944 w 10048557"/>
                <a:gd name="connsiteY5580" fmla="*/ 375196 h 4837661"/>
                <a:gd name="connsiteX5581" fmla="*/ 6346607 w 10048557"/>
                <a:gd name="connsiteY5581" fmla="*/ 372494 h 4837661"/>
                <a:gd name="connsiteX5582" fmla="*/ 6339849 w 10048557"/>
                <a:gd name="connsiteY5582" fmla="*/ 366478 h 4837661"/>
                <a:gd name="connsiteX5583" fmla="*/ 6317884 w 10048557"/>
                <a:gd name="connsiteY5583" fmla="*/ 344990 h 4837661"/>
                <a:gd name="connsiteX5584" fmla="*/ 6309812 w 10048557"/>
                <a:gd name="connsiteY5584" fmla="*/ 326939 h 4837661"/>
                <a:gd name="connsiteX5585" fmla="*/ 6314880 w 10048557"/>
                <a:gd name="connsiteY5585" fmla="*/ 311836 h 4837661"/>
                <a:gd name="connsiteX5586" fmla="*/ 6333654 w 10048557"/>
                <a:gd name="connsiteY5586" fmla="*/ 311836 h 4837661"/>
                <a:gd name="connsiteX5587" fmla="*/ 6341538 w 10048557"/>
                <a:gd name="connsiteY5587" fmla="*/ 316257 h 4837661"/>
                <a:gd name="connsiteX5588" fmla="*/ 6357496 w 10048557"/>
                <a:gd name="connsiteY5588" fmla="*/ 316257 h 4837661"/>
                <a:gd name="connsiteX5589" fmla="*/ 6375143 w 10048557"/>
                <a:gd name="connsiteY5589" fmla="*/ 310240 h 4837661"/>
                <a:gd name="connsiteX5590" fmla="*/ 6389410 w 10048557"/>
                <a:gd name="connsiteY5590" fmla="*/ 304223 h 4837661"/>
                <a:gd name="connsiteX5591" fmla="*/ 6402176 w 10048557"/>
                <a:gd name="connsiteY5591" fmla="*/ 297347 h 4837661"/>
                <a:gd name="connsiteX5592" fmla="*/ 6421700 w 10048557"/>
                <a:gd name="connsiteY5592" fmla="*/ 286296 h 4837661"/>
                <a:gd name="connsiteX5593" fmla="*/ 6437658 w 10048557"/>
                <a:gd name="connsiteY5593" fmla="*/ 277332 h 4837661"/>
                <a:gd name="connsiteX5594" fmla="*/ 6448358 w 10048557"/>
                <a:gd name="connsiteY5594" fmla="*/ 267386 h 4837661"/>
                <a:gd name="connsiteX5595" fmla="*/ 6462063 w 10048557"/>
                <a:gd name="connsiteY5595" fmla="*/ 260633 h 4837661"/>
                <a:gd name="connsiteX5596" fmla="*/ 6475392 w 10048557"/>
                <a:gd name="connsiteY5596" fmla="*/ 254125 h 4837661"/>
                <a:gd name="connsiteX5597" fmla="*/ 6498108 w 10048557"/>
                <a:gd name="connsiteY5597" fmla="*/ 247249 h 4837661"/>
                <a:gd name="connsiteX5598" fmla="*/ 6514065 w 10048557"/>
                <a:gd name="connsiteY5598" fmla="*/ 251792 h 4837661"/>
                <a:gd name="connsiteX5599" fmla="*/ 6529271 w 10048557"/>
                <a:gd name="connsiteY5599" fmla="*/ 257809 h 4837661"/>
                <a:gd name="connsiteX5600" fmla="*/ 6544478 w 10048557"/>
                <a:gd name="connsiteY5600" fmla="*/ 252529 h 4837661"/>
                <a:gd name="connsiteX5601" fmla="*/ 6557243 w 10048557"/>
                <a:gd name="connsiteY5601" fmla="*/ 249581 h 4837661"/>
                <a:gd name="connsiteX5602" fmla="*/ 6567944 w 10048557"/>
                <a:gd name="connsiteY5602" fmla="*/ 240495 h 4837661"/>
                <a:gd name="connsiteX5603" fmla="*/ 6550673 w 10048557"/>
                <a:gd name="connsiteY5603" fmla="*/ 228462 h 4837661"/>
                <a:gd name="connsiteX5604" fmla="*/ 6543914 w 10048557"/>
                <a:gd name="connsiteY5604" fmla="*/ 220112 h 4837661"/>
                <a:gd name="connsiteX5605" fmla="*/ 6545979 w 10048557"/>
                <a:gd name="connsiteY5605" fmla="*/ 209307 h 4837661"/>
                <a:gd name="connsiteX5606" fmla="*/ 6567006 w 10048557"/>
                <a:gd name="connsiteY5606" fmla="*/ 207096 h 4837661"/>
                <a:gd name="connsiteX5607" fmla="*/ 6599671 w 10048557"/>
                <a:gd name="connsiteY5607" fmla="*/ 202553 h 4837661"/>
                <a:gd name="connsiteX5608" fmla="*/ 6627643 w 10048557"/>
                <a:gd name="connsiteY5608" fmla="*/ 198010 h 4837661"/>
                <a:gd name="connsiteX5609" fmla="*/ 6649045 w 10048557"/>
                <a:gd name="connsiteY5609" fmla="*/ 191134 h 4837661"/>
                <a:gd name="connsiteX5610" fmla="*/ 6665190 w 10048557"/>
                <a:gd name="connsiteY5610" fmla="*/ 182784 h 4837661"/>
                <a:gd name="connsiteX5611" fmla="*/ 6688281 w 10048557"/>
                <a:gd name="connsiteY5611" fmla="*/ 184135 h 4837661"/>
                <a:gd name="connsiteX5612" fmla="*/ 6720947 w 10048557"/>
                <a:gd name="connsiteY5612" fmla="*/ 187450 h 4837661"/>
                <a:gd name="connsiteX5613" fmla="*/ 6732961 w 10048557"/>
                <a:gd name="connsiteY5613" fmla="*/ 197519 h 4837661"/>
                <a:gd name="connsiteX5614" fmla="*/ 6757930 w 10048557"/>
                <a:gd name="connsiteY5614" fmla="*/ 196782 h 4837661"/>
                <a:gd name="connsiteX5615" fmla="*/ 6777642 w 10048557"/>
                <a:gd name="connsiteY5615" fmla="*/ 180697 h 4837661"/>
                <a:gd name="connsiteX5616" fmla="*/ 6794350 w 10048557"/>
                <a:gd name="connsiteY5616" fmla="*/ 164857 h 4837661"/>
                <a:gd name="connsiteX5617" fmla="*/ 6807304 w 10048557"/>
                <a:gd name="connsiteY5617" fmla="*/ 151964 h 4837661"/>
                <a:gd name="connsiteX5618" fmla="*/ 5017604 w 10048557"/>
                <a:gd name="connsiteY5618" fmla="*/ 78778 h 4837661"/>
                <a:gd name="connsiteX5619" fmla="*/ 5029194 w 10048557"/>
                <a:gd name="connsiteY5619" fmla="*/ 82628 h 4837661"/>
                <a:gd name="connsiteX5620" fmla="*/ 5039077 w 10048557"/>
                <a:gd name="connsiteY5620" fmla="*/ 93992 h 4837661"/>
                <a:gd name="connsiteX5621" fmla="*/ 5060898 w 10048557"/>
                <a:gd name="connsiteY5621" fmla="*/ 94721 h 4837661"/>
                <a:gd name="connsiteX5622" fmla="*/ 5098206 w 10048557"/>
                <a:gd name="connsiteY5622" fmla="*/ 95875 h 4837661"/>
                <a:gd name="connsiteX5623" fmla="*/ 5146458 w 10048557"/>
                <a:gd name="connsiteY5623" fmla="*/ 96598 h 4837661"/>
                <a:gd name="connsiteX5624" fmla="*/ 5155810 w 10048557"/>
                <a:gd name="connsiteY5624" fmla="*/ 97981 h 4837661"/>
                <a:gd name="connsiteX5625" fmla="*/ 5152063 w 10048557"/>
                <a:gd name="connsiteY5625" fmla="*/ 109250 h 4837661"/>
                <a:gd name="connsiteX5626" fmla="*/ 5140870 w 10048557"/>
                <a:gd name="connsiteY5626" fmla="*/ 120265 h 4837661"/>
                <a:gd name="connsiteX5627" fmla="*/ 5120525 w 10048557"/>
                <a:gd name="connsiteY5627" fmla="*/ 126074 h 4837661"/>
                <a:gd name="connsiteX5628" fmla="*/ 5096150 w 10048557"/>
                <a:gd name="connsiteY5628" fmla="*/ 135162 h 4837661"/>
                <a:gd name="connsiteX5629" fmla="*/ 5078673 w 10048557"/>
                <a:gd name="connsiteY5629" fmla="*/ 129137 h 4837661"/>
                <a:gd name="connsiteX5630" fmla="*/ 5044117 w 10048557"/>
                <a:gd name="connsiteY5630" fmla="*/ 123836 h 4837661"/>
                <a:gd name="connsiteX5631" fmla="*/ 5033986 w 10048557"/>
                <a:gd name="connsiteY5631" fmla="*/ 109821 h 4837661"/>
                <a:gd name="connsiteX5632" fmla="*/ 5022545 w 10048557"/>
                <a:gd name="connsiteY5632" fmla="*/ 112091 h 4837661"/>
                <a:gd name="connsiteX5633" fmla="*/ 5024070 w 10048557"/>
                <a:gd name="connsiteY5633" fmla="*/ 127875 h 4837661"/>
                <a:gd name="connsiteX5634" fmla="*/ 5030073 w 10048557"/>
                <a:gd name="connsiteY5634" fmla="*/ 131630 h 4837661"/>
                <a:gd name="connsiteX5635" fmla="*/ 5044565 w 10048557"/>
                <a:gd name="connsiteY5635" fmla="*/ 139709 h 4837661"/>
                <a:gd name="connsiteX5636" fmla="*/ 5058958 w 10048557"/>
                <a:gd name="connsiteY5636" fmla="*/ 148771 h 4837661"/>
                <a:gd name="connsiteX5637" fmla="*/ 5081791 w 10048557"/>
                <a:gd name="connsiteY5637" fmla="*/ 152532 h 4837661"/>
                <a:gd name="connsiteX5638" fmla="*/ 5093961 w 10048557"/>
                <a:gd name="connsiteY5638" fmla="*/ 157795 h 4837661"/>
                <a:gd name="connsiteX5639" fmla="*/ 5096183 w 10048557"/>
                <a:gd name="connsiteY5639" fmla="*/ 167365 h 4837661"/>
                <a:gd name="connsiteX5640" fmla="*/ 5105054 w 10048557"/>
                <a:gd name="connsiteY5640" fmla="*/ 168880 h 4837661"/>
                <a:gd name="connsiteX5641" fmla="*/ 5121039 w 10048557"/>
                <a:gd name="connsiteY5641" fmla="*/ 176427 h 4837661"/>
                <a:gd name="connsiteX5642" fmla="*/ 5102866 w 10048557"/>
                <a:gd name="connsiteY5642" fmla="*/ 184633 h 4837661"/>
                <a:gd name="connsiteX5643" fmla="*/ 5091673 w 10048557"/>
                <a:gd name="connsiteY5643" fmla="*/ 189180 h 4837661"/>
                <a:gd name="connsiteX5644" fmla="*/ 5085671 w 10048557"/>
                <a:gd name="connsiteY5644" fmla="*/ 175824 h 4837661"/>
                <a:gd name="connsiteX5645" fmla="*/ 5077280 w 10048557"/>
                <a:gd name="connsiteY5645" fmla="*/ 170555 h 4837661"/>
                <a:gd name="connsiteX5646" fmla="*/ 5058958 w 10048557"/>
                <a:gd name="connsiteY5646" fmla="*/ 170555 h 4837661"/>
                <a:gd name="connsiteX5647" fmla="*/ 5052110 w 10048557"/>
                <a:gd name="connsiteY5647" fmla="*/ 181919 h 4837661"/>
                <a:gd name="connsiteX5648" fmla="*/ 5037103 w 10048557"/>
                <a:gd name="connsiteY5648" fmla="*/ 185673 h 4837661"/>
                <a:gd name="connsiteX5649" fmla="*/ 5027984 w 10048557"/>
                <a:gd name="connsiteY5649" fmla="*/ 170777 h 4837661"/>
                <a:gd name="connsiteX5650" fmla="*/ 5034815 w 10048557"/>
                <a:gd name="connsiteY5650" fmla="*/ 162444 h 4837661"/>
                <a:gd name="connsiteX5651" fmla="*/ 5041647 w 10048557"/>
                <a:gd name="connsiteY5651" fmla="*/ 154897 h 4837661"/>
                <a:gd name="connsiteX5652" fmla="*/ 5030272 w 10048557"/>
                <a:gd name="connsiteY5652" fmla="*/ 145302 h 4837661"/>
                <a:gd name="connsiteX5653" fmla="*/ 5015299 w 10048557"/>
                <a:gd name="connsiteY5653" fmla="*/ 133970 h 4837661"/>
                <a:gd name="connsiteX5654" fmla="*/ 4990659 w 10048557"/>
                <a:gd name="connsiteY5654" fmla="*/ 136716 h 4837661"/>
                <a:gd name="connsiteX5655" fmla="*/ 4990659 w 10048557"/>
                <a:gd name="connsiteY5655" fmla="*/ 154834 h 4837661"/>
                <a:gd name="connsiteX5656" fmla="*/ 4984805 w 10048557"/>
                <a:gd name="connsiteY5656" fmla="*/ 169737 h 4837661"/>
                <a:gd name="connsiteX5657" fmla="*/ 4969584 w 10048557"/>
                <a:gd name="connsiteY5657" fmla="*/ 165944 h 4837661"/>
                <a:gd name="connsiteX5658" fmla="*/ 4957645 w 10048557"/>
                <a:gd name="connsiteY5658" fmla="*/ 175539 h 4837661"/>
                <a:gd name="connsiteX5659" fmla="*/ 4954594 w 10048557"/>
                <a:gd name="connsiteY5659" fmla="*/ 193664 h 4837661"/>
                <a:gd name="connsiteX5660" fmla="*/ 4943932 w 10048557"/>
                <a:gd name="connsiteY5660" fmla="*/ 215029 h 4837661"/>
                <a:gd name="connsiteX5661" fmla="*/ 4930965 w 10048557"/>
                <a:gd name="connsiteY5661" fmla="*/ 215758 h 4837661"/>
                <a:gd name="connsiteX5662" fmla="*/ 4918728 w 10048557"/>
                <a:gd name="connsiteY5662" fmla="*/ 201902 h 4837661"/>
                <a:gd name="connsiteX5663" fmla="*/ 4890606 w 10048557"/>
                <a:gd name="connsiteY5663" fmla="*/ 184982 h 4837661"/>
                <a:gd name="connsiteX5664" fmla="*/ 4874107 w 10048557"/>
                <a:gd name="connsiteY5664" fmla="*/ 176173 h 4837661"/>
                <a:gd name="connsiteX5665" fmla="*/ 4865717 w 10048557"/>
                <a:gd name="connsiteY5665" fmla="*/ 171125 h 4837661"/>
                <a:gd name="connsiteX5666" fmla="*/ 4866994 w 10048557"/>
                <a:gd name="connsiteY5666" fmla="*/ 163547 h 4837661"/>
                <a:gd name="connsiteX5667" fmla="*/ 4912162 w 10048557"/>
                <a:gd name="connsiteY5667" fmla="*/ 163046 h 4837661"/>
                <a:gd name="connsiteX5668" fmla="*/ 4909890 w 10048557"/>
                <a:gd name="connsiteY5668" fmla="*/ 151745 h 4837661"/>
                <a:gd name="connsiteX5669" fmla="*/ 4910670 w 10048557"/>
                <a:gd name="connsiteY5669" fmla="*/ 133310 h 4837661"/>
                <a:gd name="connsiteX5670" fmla="*/ 4884504 w 10048557"/>
                <a:gd name="connsiteY5670" fmla="*/ 136088 h 4837661"/>
                <a:gd name="connsiteX5671" fmla="*/ 4884504 w 10048557"/>
                <a:gd name="connsiteY5671" fmla="*/ 156761 h 4837661"/>
                <a:gd name="connsiteX5672" fmla="*/ 4872068 w 10048557"/>
                <a:gd name="connsiteY5672" fmla="*/ 154015 h 4837661"/>
                <a:gd name="connsiteX5673" fmla="*/ 4860627 w 10048557"/>
                <a:gd name="connsiteY5673" fmla="*/ 145746 h 4837661"/>
                <a:gd name="connsiteX5674" fmla="*/ 4843631 w 10048557"/>
                <a:gd name="connsiteY5674" fmla="*/ 148016 h 4837661"/>
                <a:gd name="connsiteX5675" fmla="*/ 4828459 w 10048557"/>
                <a:gd name="connsiteY5675" fmla="*/ 140470 h 4837661"/>
                <a:gd name="connsiteX5676" fmla="*/ 4816039 w 10048557"/>
                <a:gd name="connsiteY5676" fmla="*/ 131192 h 4837661"/>
                <a:gd name="connsiteX5677" fmla="*/ 4797650 w 10048557"/>
                <a:gd name="connsiteY5677" fmla="*/ 122225 h 4837661"/>
                <a:gd name="connsiteX5678" fmla="*/ 4799889 w 10048557"/>
                <a:gd name="connsiteY5678" fmla="*/ 107893 h 4837661"/>
                <a:gd name="connsiteX5679" fmla="*/ 4816619 w 10048557"/>
                <a:gd name="connsiteY5679" fmla="*/ 101836 h 4837661"/>
                <a:gd name="connsiteX5680" fmla="*/ 4841044 w 10048557"/>
                <a:gd name="connsiteY5680" fmla="*/ 106345 h 4837661"/>
                <a:gd name="connsiteX5681" fmla="*/ 4886842 w 10048557"/>
                <a:gd name="connsiteY5681" fmla="*/ 102528 h 4837661"/>
                <a:gd name="connsiteX5682" fmla="*/ 4897288 w 10048557"/>
                <a:gd name="connsiteY5682" fmla="*/ 105527 h 4837661"/>
                <a:gd name="connsiteX5683" fmla="*/ 4908696 w 10048557"/>
                <a:gd name="connsiteY5683" fmla="*/ 112313 h 4837661"/>
                <a:gd name="connsiteX5684" fmla="*/ 4925411 w 10048557"/>
                <a:gd name="connsiteY5684" fmla="*/ 113074 h 4837661"/>
                <a:gd name="connsiteX5685" fmla="*/ 4949338 w 10048557"/>
                <a:gd name="connsiteY5685" fmla="*/ 116105 h 4837661"/>
                <a:gd name="connsiteX5686" fmla="*/ 4962686 w 10048557"/>
                <a:gd name="connsiteY5686" fmla="*/ 104995 h 4837661"/>
                <a:gd name="connsiteX5687" fmla="*/ 4970413 w 10048557"/>
                <a:gd name="connsiteY5687" fmla="*/ 94924 h 4837661"/>
                <a:gd name="connsiteX5688" fmla="*/ 4983976 w 10048557"/>
                <a:gd name="connsiteY5688" fmla="*/ 102242 h 4837661"/>
                <a:gd name="connsiteX5689" fmla="*/ 4981738 w 10048557"/>
                <a:gd name="connsiteY5689" fmla="*/ 118629 h 4837661"/>
                <a:gd name="connsiteX5690" fmla="*/ 4992599 w 10048557"/>
                <a:gd name="connsiteY5690" fmla="*/ 127438 h 4837661"/>
                <a:gd name="connsiteX5691" fmla="*/ 4998634 w 10048557"/>
                <a:gd name="connsiteY5691" fmla="*/ 120709 h 4837661"/>
                <a:gd name="connsiteX5692" fmla="*/ 4998369 w 10048557"/>
                <a:gd name="connsiteY5692" fmla="*/ 103568 h 4837661"/>
                <a:gd name="connsiteX5693" fmla="*/ 5004753 w 10048557"/>
                <a:gd name="connsiteY5693" fmla="*/ 96782 h 4837661"/>
                <a:gd name="connsiteX5694" fmla="*/ 5016675 w 10048557"/>
                <a:gd name="connsiteY5694" fmla="*/ 96814 h 4837661"/>
                <a:gd name="connsiteX5695" fmla="*/ 6529956 w 10048557"/>
                <a:gd name="connsiteY5695" fmla="*/ 63235 h 4837661"/>
                <a:gd name="connsiteX5696" fmla="*/ 6564448 w 10048557"/>
                <a:gd name="connsiteY5696" fmla="*/ 69415 h 4837661"/>
                <a:gd name="connsiteX5697" fmla="*/ 6572199 w 10048557"/>
                <a:gd name="connsiteY5697" fmla="*/ 76453 h 4837661"/>
                <a:gd name="connsiteX5698" fmla="*/ 6586742 w 10048557"/>
                <a:gd name="connsiteY5698" fmla="*/ 84489 h 4837661"/>
                <a:gd name="connsiteX5699" fmla="*/ 6605108 w 10048557"/>
                <a:gd name="connsiteY5699" fmla="*/ 90569 h 4837661"/>
                <a:gd name="connsiteX5700" fmla="*/ 6645737 w 10048557"/>
                <a:gd name="connsiteY5700" fmla="*/ 94822 h 4837661"/>
                <a:gd name="connsiteX5701" fmla="*/ 6668077 w 10048557"/>
                <a:gd name="connsiteY5701" fmla="*/ 97164 h 4837661"/>
                <a:gd name="connsiteX5702" fmla="*/ 6678843 w 10048557"/>
                <a:gd name="connsiteY5702" fmla="*/ 111932 h 4837661"/>
                <a:gd name="connsiteX5703" fmla="*/ 6707183 w 10048557"/>
                <a:gd name="connsiteY5703" fmla="*/ 115637 h 4837661"/>
                <a:gd name="connsiteX5704" fmla="*/ 6742072 w 10048557"/>
                <a:gd name="connsiteY5704" fmla="*/ 111596 h 4837661"/>
                <a:gd name="connsiteX5705" fmla="*/ 6768173 w 10048557"/>
                <a:gd name="connsiteY5705" fmla="*/ 111596 h 4837661"/>
                <a:gd name="connsiteX5706" fmla="*/ 6803427 w 10048557"/>
                <a:gd name="connsiteY5706" fmla="*/ 113618 h 4837661"/>
                <a:gd name="connsiteX5707" fmla="*/ 6815594 w 10048557"/>
                <a:gd name="connsiteY5707" fmla="*/ 118289 h 4837661"/>
                <a:gd name="connsiteX5708" fmla="*/ 6790209 w 10048557"/>
                <a:gd name="connsiteY5708" fmla="*/ 129318 h 4837661"/>
                <a:gd name="connsiteX5709" fmla="*/ 6746899 w 10048557"/>
                <a:gd name="connsiteY5709" fmla="*/ 129318 h 4837661"/>
                <a:gd name="connsiteX5710" fmla="*/ 6735371 w 10048557"/>
                <a:gd name="connsiteY5710" fmla="*/ 143415 h 4837661"/>
                <a:gd name="connsiteX5711" fmla="*/ 6730331 w 10048557"/>
                <a:gd name="connsiteY5711" fmla="*/ 152761 h 4837661"/>
                <a:gd name="connsiteX5712" fmla="*/ 6710793 w 10048557"/>
                <a:gd name="connsiteY5712" fmla="*/ 148720 h 4837661"/>
                <a:gd name="connsiteX5713" fmla="*/ 6714859 w 10048557"/>
                <a:gd name="connsiteY5713" fmla="*/ 129571 h 4837661"/>
                <a:gd name="connsiteX5714" fmla="*/ 6686381 w 10048557"/>
                <a:gd name="connsiteY5714" fmla="*/ 123553 h 4837661"/>
                <a:gd name="connsiteX5715" fmla="*/ 6638915 w 10048557"/>
                <a:gd name="connsiteY5715" fmla="*/ 122542 h 4837661"/>
                <a:gd name="connsiteX5716" fmla="*/ 6616925 w 10048557"/>
                <a:gd name="connsiteY5716" fmla="*/ 118501 h 4837661"/>
                <a:gd name="connsiteX5717" fmla="*/ 6583742 w 10048557"/>
                <a:gd name="connsiteY5717" fmla="*/ 101669 h 4837661"/>
                <a:gd name="connsiteX5718" fmla="*/ 6554504 w 10048557"/>
                <a:gd name="connsiteY5718" fmla="*/ 104699 h 4837661"/>
                <a:gd name="connsiteX5719" fmla="*/ 6496514 w 10048557"/>
                <a:gd name="connsiteY5719" fmla="*/ 106713 h 4837661"/>
                <a:gd name="connsiteX5720" fmla="*/ 6486661 w 10048557"/>
                <a:gd name="connsiteY5720" fmla="*/ 94934 h 4837661"/>
                <a:gd name="connsiteX5721" fmla="*/ 6507570 w 10048557"/>
                <a:gd name="connsiteY5721" fmla="*/ 69427 h 4837661"/>
                <a:gd name="connsiteX5722" fmla="*/ 4080546 w 10048557"/>
                <a:gd name="connsiteY5722" fmla="*/ 5529 h 4837661"/>
                <a:gd name="connsiteX5723" fmla="*/ 4121704 w 10048557"/>
                <a:gd name="connsiteY5723" fmla="*/ 20044 h 4837661"/>
                <a:gd name="connsiteX5724" fmla="*/ 4152706 w 10048557"/>
                <a:gd name="connsiteY5724" fmla="*/ 39735 h 4837661"/>
                <a:gd name="connsiteX5725" fmla="*/ 4178571 w 10048557"/>
                <a:gd name="connsiteY5725" fmla="*/ 44266 h 4837661"/>
                <a:gd name="connsiteX5726" fmla="*/ 4211903 w 10048557"/>
                <a:gd name="connsiteY5726" fmla="*/ 48094 h 4837661"/>
                <a:gd name="connsiteX5727" fmla="*/ 4236514 w 10048557"/>
                <a:gd name="connsiteY5727" fmla="*/ 40775 h 4837661"/>
                <a:gd name="connsiteX5728" fmla="*/ 4263753 w 10048557"/>
                <a:gd name="connsiteY5728" fmla="*/ 35386 h 4837661"/>
                <a:gd name="connsiteX5729" fmla="*/ 4290634 w 10048557"/>
                <a:gd name="connsiteY5729" fmla="*/ 36488 h 4837661"/>
                <a:gd name="connsiteX5730" fmla="*/ 4290097 w 10048557"/>
                <a:gd name="connsiteY5730" fmla="*/ 46808 h 4837661"/>
                <a:gd name="connsiteX5731" fmla="*/ 4277194 w 10048557"/>
                <a:gd name="connsiteY5731" fmla="*/ 49993 h 4837661"/>
                <a:gd name="connsiteX5732" fmla="*/ 4266023 w 10048557"/>
                <a:gd name="connsiteY5732" fmla="*/ 60864 h 4837661"/>
                <a:gd name="connsiteX5733" fmla="*/ 4254853 w 10048557"/>
                <a:gd name="connsiteY5733" fmla="*/ 63130 h 4837661"/>
                <a:gd name="connsiteX5734" fmla="*/ 4219788 w 10048557"/>
                <a:gd name="connsiteY5734" fmla="*/ 62364 h 4837661"/>
                <a:gd name="connsiteX5735" fmla="*/ 4202286 w 10048557"/>
                <a:gd name="connsiteY5735" fmla="*/ 72959 h 4837661"/>
                <a:gd name="connsiteX5736" fmla="*/ 4176899 w 10048557"/>
                <a:gd name="connsiteY5736" fmla="*/ 72224 h 4837661"/>
                <a:gd name="connsiteX5737" fmla="*/ 4146434 w 10048557"/>
                <a:gd name="connsiteY5737" fmla="*/ 82054 h 4837661"/>
                <a:gd name="connsiteX5738" fmla="*/ 4128155 w 10048557"/>
                <a:gd name="connsiteY5738" fmla="*/ 103214 h 4837661"/>
                <a:gd name="connsiteX5739" fmla="*/ 4120150 w 10048557"/>
                <a:gd name="connsiteY5739" fmla="*/ 124007 h 4837661"/>
                <a:gd name="connsiteX5740" fmla="*/ 4124392 w 10048557"/>
                <a:gd name="connsiteY5740" fmla="*/ 136072 h 4837661"/>
                <a:gd name="connsiteX5741" fmla="*/ 4129469 w 10048557"/>
                <a:gd name="connsiteY5741" fmla="*/ 143605 h 4837661"/>
                <a:gd name="connsiteX5742" fmla="*/ 4129469 w 10048557"/>
                <a:gd name="connsiteY5742" fmla="*/ 161519 h 4837661"/>
                <a:gd name="connsiteX5743" fmla="*/ 4106352 w 10048557"/>
                <a:gd name="connsiteY5743" fmla="*/ 168593 h 4837661"/>
                <a:gd name="connsiteX5744" fmla="*/ 4089626 w 10048557"/>
                <a:gd name="connsiteY5744" fmla="*/ 185711 h 4837661"/>
                <a:gd name="connsiteX5745" fmla="*/ 4088133 w 10048557"/>
                <a:gd name="connsiteY5745" fmla="*/ 202400 h 4837661"/>
                <a:gd name="connsiteX5746" fmla="*/ 4062924 w 10048557"/>
                <a:gd name="connsiteY5746" fmla="*/ 229653 h 4837661"/>
                <a:gd name="connsiteX5747" fmla="*/ 4035446 w 10048557"/>
                <a:gd name="connsiteY5747" fmla="*/ 244536 h 4837661"/>
                <a:gd name="connsiteX5748" fmla="*/ 3999187 w 10048557"/>
                <a:gd name="connsiteY5748" fmla="*/ 262695 h 4837661"/>
                <a:gd name="connsiteX5749" fmla="*/ 3987957 w 10048557"/>
                <a:gd name="connsiteY5749" fmla="*/ 267258 h 4837661"/>
                <a:gd name="connsiteX5750" fmla="*/ 3948353 w 10048557"/>
                <a:gd name="connsiteY5750" fmla="*/ 254610 h 4837661"/>
                <a:gd name="connsiteX5751" fmla="*/ 3925474 w 10048557"/>
                <a:gd name="connsiteY5751" fmla="*/ 262940 h 4837661"/>
                <a:gd name="connsiteX5752" fmla="*/ 3937899 w 10048557"/>
                <a:gd name="connsiteY5752" fmla="*/ 281099 h 4837661"/>
                <a:gd name="connsiteX5753" fmla="*/ 3962271 w 10048557"/>
                <a:gd name="connsiteY5753" fmla="*/ 293960 h 4837661"/>
                <a:gd name="connsiteX5754" fmla="*/ 3973680 w 10048557"/>
                <a:gd name="connsiteY5754" fmla="*/ 307312 h 4837661"/>
                <a:gd name="connsiteX5755" fmla="*/ 4016928 w 10048557"/>
                <a:gd name="connsiteY5755" fmla="*/ 327522 h 4837661"/>
                <a:gd name="connsiteX5756" fmla="*/ 4009581 w 10048557"/>
                <a:gd name="connsiteY5756" fmla="*/ 341119 h 4837661"/>
                <a:gd name="connsiteX5757" fmla="*/ 3995424 w 10048557"/>
                <a:gd name="connsiteY5757" fmla="*/ 344885 h 4837661"/>
                <a:gd name="connsiteX5758" fmla="*/ 3965676 w 10048557"/>
                <a:gd name="connsiteY5758" fmla="*/ 336556 h 4837661"/>
                <a:gd name="connsiteX5759" fmla="*/ 3948950 w 10048557"/>
                <a:gd name="connsiteY5759" fmla="*/ 312579 h 4837661"/>
                <a:gd name="connsiteX5760" fmla="*/ 3925833 w 10048557"/>
                <a:gd name="connsiteY5760" fmla="*/ 296900 h 4837661"/>
                <a:gd name="connsiteX5761" fmla="*/ 3908748 w 10048557"/>
                <a:gd name="connsiteY5761" fmla="*/ 311292 h 4837661"/>
                <a:gd name="connsiteX5762" fmla="*/ 3920994 w 10048557"/>
                <a:gd name="connsiteY5762" fmla="*/ 331013 h 4837661"/>
                <a:gd name="connsiteX5763" fmla="*/ 3915618 w 10048557"/>
                <a:gd name="connsiteY5763" fmla="*/ 342374 h 4837661"/>
                <a:gd name="connsiteX5764" fmla="*/ 3893755 w 10048557"/>
                <a:gd name="connsiteY5764" fmla="*/ 333279 h 4837661"/>
                <a:gd name="connsiteX5765" fmla="*/ 3880852 w 10048557"/>
                <a:gd name="connsiteY5765" fmla="*/ 346140 h 4837661"/>
                <a:gd name="connsiteX5766" fmla="*/ 3889932 w 10048557"/>
                <a:gd name="connsiteY5766" fmla="*/ 357501 h 4837661"/>
                <a:gd name="connsiteX5767" fmla="*/ 3926788 w 10048557"/>
                <a:gd name="connsiteY5767" fmla="*/ 355235 h 4837661"/>
                <a:gd name="connsiteX5768" fmla="*/ 3947098 w 10048557"/>
                <a:gd name="connsiteY5768" fmla="*/ 353980 h 4837661"/>
                <a:gd name="connsiteX5769" fmla="*/ 3964362 w 10048557"/>
                <a:gd name="connsiteY5769" fmla="*/ 363840 h 4837661"/>
                <a:gd name="connsiteX5770" fmla="*/ 3962570 w 10048557"/>
                <a:gd name="connsiteY5770" fmla="*/ 383010 h 4837661"/>
                <a:gd name="connsiteX5771" fmla="*/ 3947397 w 10048557"/>
                <a:gd name="connsiteY5771" fmla="*/ 383010 h 4837661"/>
                <a:gd name="connsiteX5772" fmla="*/ 3926072 w 10048557"/>
                <a:gd name="connsiteY5772" fmla="*/ 385306 h 4837661"/>
                <a:gd name="connsiteX5773" fmla="*/ 3901401 w 10048557"/>
                <a:gd name="connsiteY5773" fmla="*/ 387297 h 4837661"/>
                <a:gd name="connsiteX5774" fmla="*/ 3876253 w 10048557"/>
                <a:gd name="connsiteY5774" fmla="*/ 390328 h 4837661"/>
                <a:gd name="connsiteX5775" fmla="*/ 3852836 w 10048557"/>
                <a:gd name="connsiteY5775" fmla="*/ 397923 h 4837661"/>
                <a:gd name="connsiteX5776" fmla="*/ 3826434 w 10048557"/>
                <a:gd name="connsiteY5776" fmla="*/ 405241 h 4837661"/>
                <a:gd name="connsiteX5777" fmla="*/ 3807916 w 10048557"/>
                <a:gd name="connsiteY5777" fmla="*/ 410294 h 4837661"/>
                <a:gd name="connsiteX5778" fmla="*/ 3783006 w 10048557"/>
                <a:gd name="connsiteY5778" fmla="*/ 408028 h 4837661"/>
                <a:gd name="connsiteX5779" fmla="*/ 3767774 w 10048557"/>
                <a:gd name="connsiteY5779" fmla="*/ 403741 h 4837661"/>
                <a:gd name="connsiteX5780" fmla="*/ 3731216 w 10048557"/>
                <a:gd name="connsiteY5780" fmla="*/ 406007 h 4837661"/>
                <a:gd name="connsiteX5781" fmla="*/ 3710667 w 10048557"/>
                <a:gd name="connsiteY5781" fmla="*/ 419603 h 4837661"/>
                <a:gd name="connsiteX5782" fmla="*/ 3678649 w 10048557"/>
                <a:gd name="connsiteY5782" fmla="*/ 439661 h 4837661"/>
                <a:gd name="connsiteX5783" fmla="*/ 3659833 w 10048557"/>
                <a:gd name="connsiteY5783" fmla="*/ 454543 h 4837661"/>
                <a:gd name="connsiteX5784" fmla="*/ 3623573 w 10048557"/>
                <a:gd name="connsiteY5784" fmla="*/ 471447 h 4837661"/>
                <a:gd name="connsiteX5785" fmla="*/ 3610611 w 10048557"/>
                <a:gd name="connsiteY5785" fmla="*/ 475244 h 4837661"/>
                <a:gd name="connsiteX5786" fmla="*/ 3573993 w 10048557"/>
                <a:gd name="connsiteY5786" fmla="*/ 484829 h 4837661"/>
                <a:gd name="connsiteX5787" fmla="*/ 3556192 w 10048557"/>
                <a:gd name="connsiteY5787" fmla="*/ 487125 h 4837661"/>
                <a:gd name="connsiteX5788" fmla="*/ 3523697 w 10048557"/>
                <a:gd name="connsiteY5788" fmla="*/ 489391 h 4837661"/>
                <a:gd name="connsiteX5789" fmla="*/ 3486064 w 10048557"/>
                <a:gd name="connsiteY5789" fmla="*/ 499190 h 4837661"/>
                <a:gd name="connsiteX5790" fmla="*/ 3463962 w 10048557"/>
                <a:gd name="connsiteY5790" fmla="*/ 513583 h 4837661"/>
                <a:gd name="connsiteX5791" fmla="*/ 3441800 w 10048557"/>
                <a:gd name="connsiteY5791" fmla="*/ 538540 h 4837661"/>
                <a:gd name="connsiteX5792" fmla="*/ 3436483 w 10048557"/>
                <a:gd name="connsiteY5792" fmla="*/ 552687 h 4837661"/>
                <a:gd name="connsiteX5793" fmla="*/ 3426806 w 10048557"/>
                <a:gd name="connsiteY5793" fmla="*/ 572622 h 4837661"/>
                <a:gd name="connsiteX5794" fmla="*/ 3413127 w 10048557"/>
                <a:gd name="connsiteY5794" fmla="*/ 589250 h 4837661"/>
                <a:gd name="connsiteX5795" fmla="*/ 3400881 w 10048557"/>
                <a:gd name="connsiteY5795" fmla="*/ 611727 h 4837661"/>
                <a:gd name="connsiteX5796" fmla="*/ 3391503 w 10048557"/>
                <a:gd name="connsiteY5796" fmla="*/ 628845 h 4837661"/>
                <a:gd name="connsiteX5797" fmla="*/ 3360739 w 10048557"/>
                <a:gd name="connsiteY5797" fmla="*/ 649545 h 4837661"/>
                <a:gd name="connsiteX5798" fmla="*/ 3341744 w 10048557"/>
                <a:gd name="connsiteY5798" fmla="*/ 666969 h 4837661"/>
                <a:gd name="connsiteX5799" fmla="*/ 3308412 w 10048557"/>
                <a:gd name="connsiteY5799" fmla="*/ 666969 h 4837661"/>
                <a:gd name="connsiteX5800" fmla="*/ 3293060 w 10048557"/>
                <a:gd name="connsiteY5800" fmla="*/ 658916 h 4837661"/>
                <a:gd name="connsiteX5801" fmla="*/ 3279321 w 10048557"/>
                <a:gd name="connsiteY5801" fmla="*/ 650341 h 4837661"/>
                <a:gd name="connsiteX5802" fmla="*/ 3261759 w 10048557"/>
                <a:gd name="connsiteY5802" fmla="*/ 639991 h 4837661"/>
                <a:gd name="connsiteX5803" fmla="*/ 3253396 w 10048557"/>
                <a:gd name="connsiteY5803" fmla="*/ 623302 h 4837661"/>
                <a:gd name="connsiteX5804" fmla="*/ 3221856 w 10048557"/>
                <a:gd name="connsiteY5804" fmla="*/ 599600 h 4837661"/>
                <a:gd name="connsiteX5805" fmla="*/ 3206086 w 10048557"/>
                <a:gd name="connsiteY5805" fmla="*/ 583708 h 4837661"/>
                <a:gd name="connsiteX5806" fmla="*/ 3200530 w 10048557"/>
                <a:gd name="connsiteY5806" fmla="*/ 560710 h 4837661"/>
                <a:gd name="connsiteX5807" fmla="*/ 3202561 w 10048557"/>
                <a:gd name="connsiteY5807" fmla="*/ 545062 h 4837661"/>
                <a:gd name="connsiteX5808" fmla="*/ 3210924 w 10048557"/>
                <a:gd name="connsiteY5808" fmla="*/ 524883 h 4837661"/>
                <a:gd name="connsiteX5809" fmla="*/ 3210148 w 10048557"/>
                <a:gd name="connsiteY5809" fmla="*/ 498425 h 4837661"/>
                <a:gd name="connsiteX5810" fmla="*/ 3198738 w 10048557"/>
                <a:gd name="connsiteY5810" fmla="*/ 485594 h 4837661"/>
                <a:gd name="connsiteX5811" fmla="*/ 3201546 w 10048557"/>
                <a:gd name="connsiteY5811" fmla="*/ 464924 h 4837661"/>
                <a:gd name="connsiteX5812" fmla="*/ 3210924 w 10048557"/>
                <a:gd name="connsiteY5812" fmla="*/ 444744 h 4837661"/>
                <a:gd name="connsiteX5813" fmla="*/ 3233504 w 10048557"/>
                <a:gd name="connsiteY5813" fmla="*/ 428331 h 4837661"/>
                <a:gd name="connsiteX5814" fmla="*/ 3277409 w 10048557"/>
                <a:gd name="connsiteY5814" fmla="*/ 409222 h 4837661"/>
                <a:gd name="connsiteX5815" fmla="*/ 3291626 w 10048557"/>
                <a:gd name="connsiteY5815" fmla="*/ 398658 h 4837661"/>
                <a:gd name="connsiteX5816" fmla="*/ 3302259 w 10048557"/>
                <a:gd name="connsiteY5816" fmla="*/ 372384 h 4837661"/>
                <a:gd name="connsiteX5817" fmla="*/ 3302259 w 10048557"/>
                <a:gd name="connsiteY5817" fmla="*/ 326757 h 4837661"/>
                <a:gd name="connsiteX5818" fmla="*/ 3291626 w 10048557"/>
                <a:gd name="connsiteY5818" fmla="*/ 304065 h 4837661"/>
                <a:gd name="connsiteX5819" fmla="*/ 3271018 w 10048557"/>
                <a:gd name="connsiteY5819" fmla="*/ 295981 h 4837661"/>
                <a:gd name="connsiteX5820" fmla="*/ 3260325 w 10048557"/>
                <a:gd name="connsiteY5820" fmla="*/ 281864 h 4837661"/>
                <a:gd name="connsiteX5821" fmla="*/ 3265582 w 10048557"/>
                <a:gd name="connsiteY5821" fmla="*/ 264287 h 4837661"/>
                <a:gd name="connsiteX5822" fmla="*/ 3264088 w 10048557"/>
                <a:gd name="connsiteY5822" fmla="*/ 240065 h 4837661"/>
                <a:gd name="connsiteX5823" fmla="*/ 3240493 w 10048557"/>
                <a:gd name="connsiteY5823" fmla="*/ 205002 h 4837661"/>
                <a:gd name="connsiteX5824" fmla="*/ 3218391 w 10048557"/>
                <a:gd name="connsiteY5824" fmla="*/ 186262 h 4837661"/>
                <a:gd name="connsiteX5825" fmla="*/ 3203159 w 10048557"/>
                <a:gd name="connsiteY5825" fmla="*/ 176432 h 4837661"/>
                <a:gd name="connsiteX5826" fmla="*/ 3189539 w 10048557"/>
                <a:gd name="connsiteY5826" fmla="*/ 173400 h 4837661"/>
                <a:gd name="connsiteX5827" fmla="*/ 3165645 w 10048557"/>
                <a:gd name="connsiteY5827" fmla="*/ 167092 h 4837661"/>
                <a:gd name="connsiteX5828" fmla="*/ 3143842 w 10048557"/>
                <a:gd name="connsiteY5828" fmla="*/ 162560 h 4837661"/>
                <a:gd name="connsiteX5829" fmla="*/ 3113391 w 10048557"/>
                <a:gd name="connsiteY5829" fmla="*/ 164826 h 4837661"/>
                <a:gd name="connsiteX5830" fmla="*/ 3091289 w 10048557"/>
                <a:gd name="connsiteY5830" fmla="*/ 170859 h 4837661"/>
                <a:gd name="connsiteX5831" fmla="*/ 3069188 w 10048557"/>
                <a:gd name="connsiteY5831" fmla="*/ 170859 h 4837661"/>
                <a:gd name="connsiteX5832" fmla="*/ 3044040 w 10048557"/>
                <a:gd name="connsiteY5832" fmla="*/ 170859 h 4837661"/>
                <a:gd name="connsiteX5833" fmla="*/ 3022236 w 10048557"/>
                <a:gd name="connsiteY5833" fmla="*/ 165837 h 4837661"/>
                <a:gd name="connsiteX5834" fmla="*/ 3009034 w 10048557"/>
                <a:gd name="connsiteY5834" fmla="*/ 154751 h 4837661"/>
                <a:gd name="connsiteX5835" fmla="*/ 3011842 w 10048557"/>
                <a:gd name="connsiteY5835" fmla="*/ 145718 h 4837661"/>
                <a:gd name="connsiteX5836" fmla="*/ 3012619 w 10048557"/>
                <a:gd name="connsiteY5836" fmla="*/ 136164 h 4837661"/>
                <a:gd name="connsiteX5837" fmla="*/ 3000373 w 10048557"/>
                <a:gd name="connsiteY5837" fmla="*/ 129427 h 4837661"/>
                <a:gd name="connsiteX5838" fmla="*/ 3029046 w 10048557"/>
                <a:gd name="connsiteY5838" fmla="*/ 116535 h 4837661"/>
                <a:gd name="connsiteX5839" fmla="*/ 3060825 w 10048557"/>
                <a:gd name="connsiteY5839" fmla="*/ 112738 h 4837661"/>
                <a:gd name="connsiteX5840" fmla="*/ 3088840 w 10048557"/>
                <a:gd name="connsiteY5840" fmla="*/ 112003 h 4837661"/>
                <a:gd name="connsiteX5841" fmla="*/ 3131596 w 10048557"/>
                <a:gd name="connsiteY5841" fmla="*/ 108971 h 4837661"/>
                <a:gd name="connsiteX5842" fmla="*/ 3177353 w 10048557"/>
                <a:gd name="connsiteY5842" fmla="*/ 97855 h 4837661"/>
                <a:gd name="connsiteX5843" fmla="*/ 3234938 w 10048557"/>
                <a:gd name="connsiteY5843" fmla="*/ 70234 h 4837661"/>
                <a:gd name="connsiteX5844" fmla="*/ 3273347 w 10048557"/>
                <a:gd name="connsiteY5844" fmla="*/ 54403 h 4837661"/>
                <a:gd name="connsiteX5845" fmla="*/ 3316058 w 10048557"/>
                <a:gd name="connsiteY5845" fmla="*/ 40500 h 4837661"/>
                <a:gd name="connsiteX5846" fmla="*/ 3345388 w 10048557"/>
                <a:gd name="connsiteY5846" fmla="*/ 36213 h 4837661"/>
                <a:gd name="connsiteX5847" fmla="*/ 3392160 w 10048557"/>
                <a:gd name="connsiteY5847" fmla="*/ 36213 h 4837661"/>
                <a:gd name="connsiteX5848" fmla="*/ 3419041 w 10048557"/>
                <a:gd name="connsiteY5848" fmla="*/ 38969 h 4837661"/>
                <a:gd name="connsiteX5849" fmla="*/ 3466829 w 10048557"/>
                <a:gd name="connsiteY5849" fmla="*/ 40470 h 4837661"/>
                <a:gd name="connsiteX5850" fmla="*/ 3501893 w 10048557"/>
                <a:gd name="connsiteY5850" fmla="*/ 48033 h 4837661"/>
                <a:gd name="connsiteX5851" fmla="*/ 3536659 w 10048557"/>
                <a:gd name="connsiteY5851" fmla="*/ 48033 h 4837661"/>
                <a:gd name="connsiteX5852" fmla="*/ 3579907 w 10048557"/>
                <a:gd name="connsiteY5852" fmla="*/ 40224 h 4837661"/>
                <a:gd name="connsiteX5853" fmla="*/ 3635520 w 10048557"/>
                <a:gd name="connsiteY5853" fmla="*/ 40224 h 4837661"/>
                <a:gd name="connsiteX5854" fmla="*/ 3728827 w 10048557"/>
                <a:gd name="connsiteY5854" fmla="*/ 25526 h 4837661"/>
                <a:gd name="connsiteX5855" fmla="*/ 3797223 w 10048557"/>
                <a:gd name="connsiteY5855" fmla="*/ 14441 h 4837661"/>
                <a:gd name="connsiteX5856" fmla="*/ 3829181 w 10048557"/>
                <a:gd name="connsiteY5856" fmla="*/ 9908 h 4837661"/>
                <a:gd name="connsiteX5857" fmla="*/ 3864306 w 10048557"/>
                <a:gd name="connsiteY5857" fmla="*/ 14441 h 4837661"/>
                <a:gd name="connsiteX5858" fmla="*/ 3893038 w 10048557"/>
                <a:gd name="connsiteY5858" fmla="*/ 21790 h 4837661"/>
                <a:gd name="connsiteX5859" fmla="*/ 3937780 w 10048557"/>
                <a:gd name="connsiteY5859" fmla="*/ 13950 h 4837661"/>
                <a:gd name="connsiteX5860" fmla="*/ 3986464 w 10048557"/>
                <a:gd name="connsiteY5860" fmla="*/ 5621 h 4837661"/>
                <a:gd name="connsiteX5861" fmla="*/ 3254387 w 10048557"/>
                <a:gd name="connsiteY5861" fmla="*/ 0 h 4837661"/>
                <a:gd name="connsiteX5862" fmla="*/ 3263772 w 10048557"/>
                <a:gd name="connsiteY5862" fmla="*/ 1513 h 4837661"/>
                <a:gd name="connsiteX5863" fmla="*/ 3251565 w 10048557"/>
                <a:gd name="connsiteY5863" fmla="*/ 12636 h 4837661"/>
                <a:gd name="connsiteX5864" fmla="*/ 3231750 w 10048557"/>
                <a:gd name="connsiteY5864" fmla="*/ 26497 h 4837661"/>
                <a:gd name="connsiteX5865" fmla="*/ 3184454 w 10048557"/>
                <a:gd name="connsiteY5865" fmla="*/ 44689 h 4837661"/>
                <a:gd name="connsiteX5866" fmla="*/ 3140531 w 10048557"/>
                <a:gd name="connsiteY5866" fmla="*/ 57281 h 4837661"/>
                <a:gd name="connsiteX5867" fmla="*/ 3101408 w 10048557"/>
                <a:gd name="connsiteY5867" fmla="*/ 66090 h 4837661"/>
                <a:gd name="connsiteX5868" fmla="*/ 3061842 w 10048557"/>
                <a:gd name="connsiteY5868" fmla="*/ 76986 h 4837661"/>
                <a:gd name="connsiteX5869" fmla="*/ 3034451 w 10048557"/>
                <a:gd name="connsiteY5869" fmla="*/ 82265 h 4837661"/>
                <a:gd name="connsiteX5870" fmla="*/ 2992492 w 10048557"/>
                <a:gd name="connsiteY5870" fmla="*/ 89821 h 4837661"/>
                <a:gd name="connsiteX5871" fmla="*/ 2966574 w 10048557"/>
                <a:gd name="connsiteY5871" fmla="*/ 100465 h 4837661"/>
                <a:gd name="connsiteX5872" fmla="*/ 2934521 w 10048557"/>
                <a:gd name="connsiteY5872" fmla="*/ 117892 h 4837661"/>
                <a:gd name="connsiteX5873" fmla="*/ 2909371 w 10048557"/>
                <a:gd name="connsiteY5873" fmla="*/ 133798 h 4837661"/>
                <a:gd name="connsiteX5874" fmla="*/ 2875569 w 10048557"/>
                <a:gd name="connsiteY5874" fmla="*/ 144119 h 4837661"/>
                <a:gd name="connsiteX5875" fmla="*/ 2855479 w 10048557"/>
                <a:gd name="connsiteY5875" fmla="*/ 149928 h 4837661"/>
                <a:gd name="connsiteX5876" fmla="*/ 2819623 w 10048557"/>
                <a:gd name="connsiteY5876" fmla="*/ 162042 h 4837661"/>
                <a:gd name="connsiteX5877" fmla="*/ 2794472 w 10048557"/>
                <a:gd name="connsiteY5877" fmla="*/ 174677 h 4837661"/>
                <a:gd name="connsiteX5878" fmla="*/ 2779474 w 10048557"/>
                <a:gd name="connsiteY5878" fmla="*/ 187834 h 4837661"/>
                <a:gd name="connsiteX5879" fmla="*/ 2750489 w 10048557"/>
                <a:gd name="connsiteY5879" fmla="*/ 171173 h 4837661"/>
                <a:gd name="connsiteX5880" fmla="*/ 2724049 w 10048557"/>
                <a:gd name="connsiteY5880" fmla="*/ 164346 h 4837661"/>
                <a:gd name="connsiteX5881" fmla="*/ 2698929 w 10048557"/>
                <a:gd name="connsiteY5881" fmla="*/ 169651 h 4837661"/>
                <a:gd name="connsiteX5882" fmla="*/ 2658993 w 10048557"/>
                <a:gd name="connsiteY5882" fmla="*/ 171173 h 4837661"/>
                <a:gd name="connsiteX5883" fmla="*/ 2644515 w 10048557"/>
                <a:gd name="connsiteY5883" fmla="*/ 167382 h 4837661"/>
                <a:gd name="connsiteX5884" fmla="*/ 2615774 w 10048557"/>
                <a:gd name="connsiteY5884" fmla="*/ 153746 h 4837661"/>
                <a:gd name="connsiteX5885" fmla="*/ 2601266 w 10048557"/>
                <a:gd name="connsiteY5885" fmla="*/ 145693 h 4837661"/>
                <a:gd name="connsiteX5886" fmla="*/ 2612553 w 10048557"/>
                <a:gd name="connsiteY5886" fmla="*/ 140389 h 4837661"/>
                <a:gd name="connsiteX5887" fmla="*/ 2634668 w 10048557"/>
                <a:gd name="connsiteY5887" fmla="*/ 149172 h 4837661"/>
                <a:gd name="connsiteX5888" fmla="*/ 2672979 w 10048557"/>
                <a:gd name="connsiteY5888" fmla="*/ 152198 h 4837661"/>
                <a:gd name="connsiteX5889" fmla="*/ 2694420 w 10048557"/>
                <a:gd name="connsiteY5889" fmla="*/ 148442 h 4837661"/>
                <a:gd name="connsiteX5890" fmla="*/ 2705585 w 10048557"/>
                <a:gd name="connsiteY5890" fmla="*/ 143424 h 4837661"/>
                <a:gd name="connsiteX5891" fmla="*/ 2731533 w 10048557"/>
                <a:gd name="connsiteY5891" fmla="*/ 140389 h 4837661"/>
                <a:gd name="connsiteX5892" fmla="*/ 2742728 w 10048557"/>
                <a:gd name="connsiteY5892" fmla="*/ 130040 h 4837661"/>
                <a:gd name="connsiteX5893" fmla="*/ 2727546 w 10048557"/>
                <a:gd name="connsiteY5893" fmla="*/ 120223 h 4837661"/>
                <a:gd name="connsiteX5894" fmla="*/ 2706996 w 10048557"/>
                <a:gd name="connsiteY5894" fmla="*/ 124771 h 4837661"/>
                <a:gd name="connsiteX5895" fmla="*/ 2693315 w 10048557"/>
                <a:gd name="connsiteY5895" fmla="*/ 118736 h 4837661"/>
                <a:gd name="connsiteX5896" fmla="*/ 2700738 w 10048557"/>
                <a:gd name="connsiteY5896" fmla="*/ 110440 h 4837661"/>
                <a:gd name="connsiteX5897" fmla="*/ 2716381 w 10048557"/>
                <a:gd name="connsiteY5897" fmla="*/ 109692 h 4837661"/>
                <a:gd name="connsiteX5898" fmla="*/ 2730674 w 10048557"/>
                <a:gd name="connsiteY5898" fmla="*/ 112692 h 4837661"/>
                <a:gd name="connsiteX5899" fmla="*/ 2744477 w 10048557"/>
                <a:gd name="connsiteY5899" fmla="*/ 112718 h 4837661"/>
                <a:gd name="connsiteX5900" fmla="*/ 2757328 w 10048557"/>
                <a:gd name="connsiteY5900" fmla="*/ 117623 h 4837661"/>
                <a:gd name="connsiteX5901" fmla="*/ 2771837 w 10048557"/>
                <a:gd name="connsiteY5901" fmla="*/ 116336 h 4837661"/>
                <a:gd name="connsiteX5902" fmla="*/ 2778000 w 10048557"/>
                <a:gd name="connsiteY5902" fmla="*/ 109526 h 4837661"/>
                <a:gd name="connsiteX5903" fmla="*/ 2773462 w 10048557"/>
                <a:gd name="connsiteY5903" fmla="*/ 96143 h 4837661"/>
                <a:gd name="connsiteX5904" fmla="*/ 2766867 w 10048557"/>
                <a:gd name="connsiteY5904" fmla="*/ 88604 h 4837661"/>
                <a:gd name="connsiteX5905" fmla="*/ 2754169 w 10048557"/>
                <a:gd name="connsiteY5905" fmla="*/ 76038 h 4837661"/>
                <a:gd name="connsiteX5906" fmla="*/ 2772112 w 10048557"/>
                <a:gd name="connsiteY5906" fmla="*/ 71021 h 4837661"/>
                <a:gd name="connsiteX5907" fmla="*/ 2799809 w 10048557"/>
                <a:gd name="connsiteY5907" fmla="*/ 71021 h 4837661"/>
                <a:gd name="connsiteX5908" fmla="*/ 2821065 w 10048557"/>
                <a:gd name="connsiteY5908" fmla="*/ 78560 h 4837661"/>
                <a:gd name="connsiteX5909" fmla="*/ 2852349 w 10048557"/>
                <a:gd name="connsiteY5909" fmla="*/ 80082 h 4837661"/>
                <a:gd name="connsiteX5910" fmla="*/ 2887164 w 10048557"/>
                <a:gd name="connsiteY5910" fmla="*/ 80839 h 4837661"/>
                <a:gd name="connsiteX5911" fmla="*/ 2916854 w 10048557"/>
                <a:gd name="connsiteY5911" fmla="*/ 75534 h 4837661"/>
                <a:gd name="connsiteX5912" fmla="*/ 2950870 w 10048557"/>
                <a:gd name="connsiteY5912" fmla="*/ 69499 h 4837661"/>
                <a:gd name="connsiteX5913" fmla="*/ 2958477 w 10048557"/>
                <a:gd name="connsiteY5913" fmla="*/ 55429 h 4837661"/>
                <a:gd name="connsiteX5914" fmla="*/ 2934338 w 10048557"/>
                <a:gd name="connsiteY5914" fmla="*/ 46332 h 4837661"/>
                <a:gd name="connsiteX5915" fmla="*/ 2913234 w 10048557"/>
                <a:gd name="connsiteY5915" fmla="*/ 49115 h 4837661"/>
                <a:gd name="connsiteX5916" fmla="*/ 2892439 w 10048557"/>
                <a:gd name="connsiteY5916" fmla="*/ 52142 h 4837661"/>
                <a:gd name="connsiteX5917" fmla="*/ 2875723 w 10048557"/>
                <a:gd name="connsiteY5917" fmla="*/ 52142 h 4837661"/>
                <a:gd name="connsiteX5918" fmla="*/ 2839131 w 10048557"/>
                <a:gd name="connsiteY5918" fmla="*/ 48098 h 4837661"/>
                <a:gd name="connsiteX5919" fmla="*/ 2814961 w 10048557"/>
                <a:gd name="connsiteY5919" fmla="*/ 44315 h 4837661"/>
                <a:gd name="connsiteX5920" fmla="*/ 2796220 w 10048557"/>
                <a:gd name="connsiteY5920" fmla="*/ 42298 h 4837661"/>
                <a:gd name="connsiteX5921" fmla="*/ 2782510 w 10048557"/>
                <a:gd name="connsiteY5921" fmla="*/ 34306 h 4837661"/>
                <a:gd name="connsiteX5922" fmla="*/ 2794656 w 10048557"/>
                <a:gd name="connsiteY5922" fmla="*/ 29036 h 4837661"/>
                <a:gd name="connsiteX5923" fmla="*/ 2819286 w 10048557"/>
                <a:gd name="connsiteY5923" fmla="*/ 29036 h 4837661"/>
                <a:gd name="connsiteX5924" fmla="*/ 2855111 w 10048557"/>
                <a:gd name="connsiteY5924" fmla="*/ 31306 h 4837661"/>
                <a:gd name="connsiteX5925" fmla="*/ 2896795 w 10048557"/>
                <a:gd name="connsiteY5925" fmla="*/ 35097 h 4837661"/>
                <a:gd name="connsiteX5926" fmla="*/ 2937742 w 10048557"/>
                <a:gd name="connsiteY5926" fmla="*/ 25497 h 4837661"/>
                <a:gd name="connsiteX5927" fmla="*/ 2966635 w 10048557"/>
                <a:gd name="connsiteY5927" fmla="*/ 21714 h 4837661"/>
                <a:gd name="connsiteX5928" fmla="*/ 2990222 w 10048557"/>
                <a:gd name="connsiteY5928" fmla="*/ 19471 h 4837661"/>
                <a:gd name="connsiteX5929" fmla="*/ 3009270 w 10048557"/>
                <a:gd name="connsiteY5929" fmla="*/ 19471 h 4837661"/>
                <a:gd name="connsiteX5930" fmla="*/ 3045340 w 10048557"/>
                <a:gd name="connsiteY5930" fmla="*/ 20227 h 4837661"/>
                <a:gd name="connsiteX5931" fmla="*/ 3096409 w 10048557"/>
                <a:gd name="connsiteY5931" fmla="*/ 22506 h 4837661"/>
                <a:gd name="connsiteX5932" fmla="*/ 3160683 w 10048557"/>
                <a:gd name="connsiteY5932" fmla="*/ 15210 h 4837661"/>
                <a:gd name="connsiteX5933" fmla="*/ 3188656 w 10048557"/>
                <a:gd name="connsiteY5933" fmla="*/ 9905 h 4837661"/>
                <a:gd name="connsiteX5934" fmla="*/ 3234112 w 10048557"/>
                <a:gd name="connsiteY5934" fmla="*/ 88 h 4837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</a:cxnLst>
              <a:rect l="l" t="t" r="r" b="b"/>
              <a:pathLst>
                <a:path w="10048557" h="4837661">
                  <a:moveTo>
                    <a:pt x="2513918" y="4747819"/>
                  </a:moveTo>
                  <a:lnTo>
                    <a:pt x="2534067" y="4754582"/>
                  </a:lnTo>
                  <a:lnTo>
                    <a:pt x="2546720" y="4762572"/>
                  </a:lnTo>
                  <a:lnTo>
                    <a:pt x="2562353" y="4770363"/>
                  </a:lnTo>
                  <a:lnTo>
                    <a:pt x="2567187" y="4780150"/>
                  </a:lnTo>
                  <a:lnTo>
                    <a:pt x="2580883" y="4786210"/>
                  </a:lnTo>
                  <a:lnTo>
                    <a:pt x="2595635" y="4792774"/>
                  </a:lnTo>
                  <a:lnTo>
                    <a:pt x="2608605" y="4810925"/>
                  </a:lnTo>
                  <a:lnTo>
                    <a:pt x="2631459" y="4817493"/>
                  </a:lnTo>
                  <a:lnTo>
                    <a:pt x="2664131" y="4817493"/>
                  </a:lnTo>
                  <a:lnTo>
                    <a:pt x="2658788" y="4827338"/>
                  </a:lnTo>
                  <a:lnTo>
                    <a:pt x="2636703" y="4825824"/>
                  </a:lnTo>
                  <a:cubicBezTo>
                    <a:pt x="2626322" y="4826976"/>
                    <a:pt x="2615898" y="4827650"/>
                    <a:pt x="2605452" y="4827841"/>
                  </a:cubicBezTo>
                  <a:cubicBezTo>
                    <a:pt x="2601237" y="4827920"/>
                    <a:pt x="2597022" y="4827920"/>
                    <a:pt x="2592810" y="4827841"/>
                  </a:cubicBezTo>
                  <a:lnTo>
                    <a:pt x="2574594" y="4832612"/>
                  </a:lnTo>
                  <a:lnTo>
                    <a:pt x="2563979" y="4837661"/>
                  </a:lnTo>
                  <a:lnTo>
                    <a:pt x="2542963" y="4835390"/>
                  </a:lnTo>
                  <a:lnTo>
                    <a:pt x="2538390" y="4824056"/>
                  </a:lnTo>
                  <a:lnTo>
                    <a:pt x="2525419" y="4815217"/>
                  </a:lnTo>
                  <a:lnTo>
                    <a:pt x="2510227" y="4818216"/>
                  </a:lnTo>
                  <a:lnTo>
                    <a:pt x="2497771" y="4809631"/>
                  </a:lnTo>
                  <a:lnTo>
                    <a:pt x="2488901" y="4796563"/>
                  </a:lnTo>
                  <a:lnTo>
                    <a:pt x="2487708" y="4786210"/>
                  </a:lnTo>
                  <a:lnTo>
                    <a:pt x="2495818" y="4776140"/>
                  </a:lnTo>
                  <a:lnTo>
                    <a:pt x="2497313" y="4754928"/>
                  </a:lnTo>
                  <a:close/>
                  <a:moveTo>
                    <a:pt x="2739333" y="4689927"/>
                  </a:moveTo>
                  <a:lnTo>
                    <a:pt x="2752738" y="4692939"/>
                  </a:lnTo>
                  <a:lnTo>
                    <a:pt x="2760812" y="4694452"/>
                  </a:lnTo>
                  <a:lnTo>
                    <a:pt x="2786746" y="4691423"/>
                  </a:lnTo>
                  <a:lnTo>
                    <a:pt x="2795871" y="4692907"/>
                  </a:lnTo>
                  <a:lnTo>
                    <a:pt x="2807027" y="4696632"/>
                  </a:lnTo>
                  <a:lnTo>
                    <a:pt x="2807027" y="4706956"/>
                  </a:lnTo>
                  <a:lnTo>
                    <a:pt x="2789229" y="4709230"/>
                  </a:lnTo>
                  <a:lnTo>
                    <a:pt x="2773244" y="4720562"/>
                  </a:lnTo>
                  <a:lnTo>
                    <a:pt x="2769427" y="4732652"/>
                  </a:lnTo>
                  <a:lnTo>
                    <a:pt x="2752963" y="4736628"/>
                  </a:lnTo>
                  <a:lnTo>
                    <a:pt x="2736469" y="4731327"/>
                  </a:lnTo>
                  <a:lnTo>
                    <a:pt x="2721972" y="4725267"/>
                  </a:lnTo>
                  <a:lnTo>
                    <a:pt x="2704989" y="4725267"/>
                  </a:lnTo>
                  <a:lnTo>
                    <a:pt x="2696930" y="4715479"/>
                  </a:lnTo>
                  <a:lnTo>
                    <a:pt x="2714220" y="4713176"/>
                  </a:lnTo>
                  <a:lnTo>
                    <a:pt x="2720082" y="4704147"/>
                  </a:lnTo>
                  <a:lnTo>
                    <a:pt x="2705963" y="4698896"/>
                  </a:lnTo>
                  <a:cubicBezTo>
                    <a:pt x="2708725" y="4697443"/>
                    <a:pt x="2711494" y="4695992"/>
                    <a:pt x="2714255" y="4694539"/>
                  </a:cubicBezTo>
                  <a:cubicBezTo>
                    <a:pt x="2717019" y="4693086"/>
                    <a:pt x="2719786" y="4691633"/>
                    <a:pt x="2722549" y="4690180"/>
                  </a:cubicBezTo>
                  <a:close/>
                  <a:moveTo>
                    <a:pt x="8966279" y="4323981"/>
                  </a:moveTo>
                  <a:lnTo>
                    <a:pt x="8970671" y="4333834"/>
                  </a:lnTo>
                  <a:lnTo>
                    <a:pt x="8980493" y="4340617"/>
                  </a:lnTo>
                  <a:lnTo>
                    <a:pt x="8998773" y="4351191"/>
                  </a:lnTo>
                  <a:lnTo>
                    <a:pt x="9014248" y="4347434"/>
                  </a:lnTo>
                  <a:lnTo>
                    <a:pt x="9024139" y="4336101"/>
                  </a:lnTo>
                  <a:lnTo>
                    <a:pt x="9035549" y="4334844"/>
                  </a:lnTo>
                  <a:lnTo>
                    <a:pt x="9049247" y="4334844"/>
                  </a:lnTo>
                  <a:lnTo>
                    <a:pt x="9058146" y="4342415"/>
                  </a:lnTo>
                  <a:lnTo>
                    <a:pt x="9055124" y="4352927"/>
                  </a:lnTo>
                  <a:lnTo>
                    <a:pt x="9045813" y="4356718"/>
                  </a:lnTo>
                  <a:lnTo>
                    <a:pt x="9039012" y="4362714"/>
                  </a:lnTo>
                  <a:lnTo>
                    <a:pt x="9038250" y="4374046"/>
                  </a:lnTo>
                  <a:lnTo>
                    <a:pt x="9028869" y="4385664"/>
                  </a:lnTo>
                  <a:lnTo>
                    <a:pt x="9015423" y="4392955"/>
                  </a:lnTo>
                  <a:lnTo>
                    <a:pt x="8993457" y="4400440"/>
                  </a:lnTo>
                  <a:lnTo>
                    <a:pt x="8981508" y="4408011"/>
                  </a:lnTo>
                  <a:lnTo>
                    <a:pt x="8974169" y="4415843"/>
                  </a:lnTo>
                  <a:lnTo>
                    <a:pt x="8969335" y="4424173"/>
                  </a:lnTo>
                  <a:lnTo>
                    <a:pt x="8958212" y="4426445"/>
                  </a:lnTo>
                  <a:lnTo>
                    <a:pt x="8951853" y="4415587"/>
                  </a:lnTo>
                  <a:lnTo>
                    <a:pt x="8943017" y="4415587"/>
                  </a:lnTo>
                  <a:lnTo>
                    <a:pt x="8934296" y="4415335"/>
                  </a:lnTo>
                  <a:lnTo>
                    <a:pt x="8938120" y="4400497"/>
                  </a:lnTo>
                  <a:lnTo>
                    <a:pt x="8948378" y="4387651"/>
                  </a:lnTo>
                  <a:lnTo>
                    <a:pt x="8950385" y="4380137"/>
                  </a:lnTo>
                  <a:lnTo>
                    <a:pt x="8949622" y="4364573"/>
                  </a:lnTo>
                  <a:lnTo>
                    <a:pt x="8949622" y="4352709"/>
                  </a:lnTo>
                  <a:lnTo>
                    <a:pt x="8946853" y="4346172"/>
                  </a:lnTo>
                  <a:lnTo>
                    <a:pt x="8949972" y="4328905"/>
                  </a:lnTo>
                  <a:close/>
                  <a:moveTo>
                    <a:pt x="9816136" y="4317953"/>
                  </a:moveTo>
                  <a:cubicBezTo>
                    <a:pt x="9821438" y="4318314"/>
                    <a:pt x="9825664" y="4322497"/>
                    <a:pt x="9826023" y="4327765"/>
                  </a:cubicBezTo>
                  <a:lnTo>
                    <a:pt x="9832884" y="4345026"/>
                  </a:lnTo>
                  <a:lnTo>
                    <a:pt x="9837469" y="4360976"/>
                  </a:lnTo>
                  <a:lnTo>
                    <a:pt x="9837469" y="4370847"/>
                  </a:lnTo>
                  <a:lnTo>
                    <a:pt x="9821516" y="4381354"/>
                  </a:lnTo>
                  <a:lnTo>
                    <a:pt x="9789765" y="4389720"/>
                  </a:lnTo>
                  <a:lnTo>
                    <a:pt x="9765797" y="4407156"/>
                  </a:lnTo>
                  <a:lnTo>
                    <a:pt x="9750296" y="4418064"/>
                  </a:lnTo>
                  <a:lnTo>
                    <a:pt x="9749532" y="4430887"/>
                  </a:lnTo>
                  <a:lnTo>
                    <a:pt x="9738179" y="4436155"/>
                  </a:lnTo>
                  <a:lnTo>
                    <a:pt x="9727497" y="4440700"/>
                  </a:lnTo>
                  <a:lnTo>
                    <a:pt x="9713805" y="4439820"/>
                  </a:lnTo>
                  <a:cubicBezTo>
                    <a:pt x="9704354" y="4439106"/>
                    <a:pt x="9694998" y="4441990"/>
                    <a:pt x="9687606" y="4447893"/>
                  </a:cubicBezTo>
                  <a:cubicBezTo>
                    <a:pt x="9684643" y="4450258"/>
                    <a:pt x="9682070" y="4453073"/>
                    <a:pt x="9679980" y="4456230"/>
                  </a:cubicBezTo>
                  <a:lnTo>
                    <a:pt x="9660409" y="4480038"/>
                  </a:lnTo>
                  <a:lnTo>
                    <a:pt x="9645906" y="4492920"/>
                  </a:lnTo>
                  <a:lnTo>
                    <a:pt x="9626070" y="4503524"/>
                  </a:lnTo>
                  <a:lnTo>
                    <a:pt x="9599372" y="4520149"/>
                  </a:lnTo>
                  <a:lnTo>
                    <a:pt x="9579287" y="4527724"/>
                  </a:lnTo>
                  <a:lnTo>
                    <a:pt x="9543497" y="4528486"/>
                  </a:lnTo>
                  <a:lnTo>
                    <a:pt x="9519981" y="4527724"/>
                  </a:lnTo>
                  <a:lnTo>
                    <a:pt x="9500628" y="4516875"/>
                  </a:lnTo>
                  <a:lnTo>
                    <a:pt x="9508550" y="4503769"/>
                  </a:lnTo>
                  <a:lnTo>
                    <a:pt x="9522148" y="4486792"/>
                  </a:lnTo>
                  <a:lnTo>
                    <a:pt x="9534109" y="4483225"/>
                  </a:lnTo>
                  <a:lnTo>
                    <a:pt x="9559076" y="4464498"/>
                  </a:lnTo>
                  <a:cubicBezTo>
                    <a:pt x="9566749" y="4461967"/>
                    <a:pt x="9574390" y="4459269"/>
                    <a:pt x="9581953" y="4456416"/>
                  </a:cubicBezTo>
                  <a:cubicBezTo>
                    <a:pt x="9588768" y="4453855"/>
                    <a:pt x="9595520" y="4451157"/>
                    <a:pt x="9602226" y="4448343"/>
                  </a:cubicBezTo>
                  <a:cubicBezTo>
                    <a:pt x="9610413" y="4443651"/>
                    <a:pt x="9618819" y="4439351"/>
                    <a:pt x="9627411" y="4435461"/>
                  </a:cubicBezTo>
                  <a:cubicBezTo>
                    <a:pt x="9633415" y="4432744"/>
                    <a:pt x="9639513" y="4430232"/>
                    <a:pt x="9645688" y="4427916"/>
                  </a:cubicBezTo>
                  <a:lnTo>
                    <a:pt x="9683052" y="4412767"/>
                  </a:lnTo>
                  <a:lnTo>
                    <a:pt x="9712775" y="4402954"/>
                  </a:lnTo>
                  <a:cubicBezTo>
                    <a:pt x="9720807" y="4400325"/>
                    <a:pt x="9728167" y="4396024"/>
                    <a:pt x="9734358" y="4390326"/>
                  </a:cubicBezTo>
                  <a:cubicBezTo>
                    <a:pt x="9741672" y="4383612"/>
                    <a:pt x="9747177" y="4375138"/>
                    <a:pt x="9754709" y="4368648"/>
                  </a:cubicBezTo>
                  <a:cubicBezTo>
                    <a:pt x="9758530" y="4365355"/>
                    <a:pt x="9762803" y="4362638"/>
                    <a:pt x="9767419" y="4360566"/>
                  </a:cubicBezTo>
                  <a:lnTo>
                    <a:pt x="9774530" y="4353499"/>
                  </a:lnTo>
                  <a:lnTo>
                    <a:pt x="9791762" y="4341634"/>
                  </a:lnTo>
                  <a:lnTo>
                    <a:pt x="9804440" y="4333219"/>
                  </a:lnTo>
                  <a:cubicBezTo>
                    <a:pt x="9801664" y="4325439"/>
                    <a:pt x="9807839" y="4317376"/>
                    <a:pt x="9816136" y="4317953"/>
                  </a:cubicBezTo>
                  <a:close/>
                  <a:moveTo>
                    <a:pt x="9972547" y="4108249"/>
                  </a:moveTo>
                  <a:lnTo>
                    <a:pt x="9983097" y="4111981"/>
                  </a:lnTo>
                  <a:lnTo>
                    <a:pt x="9993060" y="4129267"/>
                  </a:lnTo>
                  <a:lnTo>
                    <a:pt x="9993060" y="4149215"/>
                  </a:lnTo>
                  <a:lnTo>
                    <a:pt x="9985462" y="4164594"/>
                  </a:lnTo>
                  <a:cubicBezTo>
                    <a:pt x="9986240" y="4171906"/>
                    <a:pt x="9987857" y="4179102"/>
                    <a:pt x="9990291" y="4186054"/>
                  </a:cubicBezTo>
                  <a:cubicBezTo>
                    <a:pt x="9991527" y="4189587"/>
                    <a:pt x="9992976" y="4193040"/>
                    <a:pt x="9994616" y="4196411"/>
                  </a:cubicBezTo>
                  <a:lnTo>
                    <a:pt x="10014420" y="4213069"/>
                  </a:lnTo>
                  <a:lnTo>
                    <a:pt x="10025855" y="4225194"/>
                  </a:lnTo>
                  <a:lnTo>
                    <a:pt x="10034856" y="4228984"/>
                  </a:lnTo>
                  <a:lnTo>
                    <a:pt x="10048557" y="4231216"/>
                  </a:lnTo>
                  <a:lnTo>
                    <a:pt x="10044743" y="4240283"/>
                  </a:lnTo>
                  <a:lnTo>
                    <a:pt x="10035840" y="4254418"/>
                  </a:lnTo>
                  <a:cubicBezTo>
                    <a:pt x="10033514" y="4258975"/>
                    <a:pt x="10029890" y="4262753"/>
                    <a:pt x="10025420" y="4265276"/>
                  </a:cubicBezTo>
                  <a:cubicBezTo>
                    <a:pt x="10018447" y="4269217"/>
                    <a:pt x="10009873" y="4269879"/>
                    <a:pt x="10003580" y="4274878"/>
                  </a:cubicBezTo>
                  <a:cubicBezTo>
                    <a:pt x="10000841" y="4277052"/>
                    <a:pt x="9998751" y="4279923"/>
                    <a:pt x="9997507" y="4283178"/>
                  </a:cubicBezTo>
                  <a:cubicBezTo>
                    <a:pt x="9995722" y="4287898"/>
                    <a:pt x="9992953" y="4292187"/>
                    <a:pt x="9989375" y="4295768"/>
                  </a:cubicBezTo>
                  <a:cubicBezTo>
                    <a:pt x="9984013" y="4301138"/>
                    <a:pt x="9977162" y="4304637"/>
                    <a:pt x="9970304" y="4307892"/>
                  </a:cubicBezTo>
                  <a:cubicBezTo>
                    <a:pt x="9966108" y="4309880"/>
                    <a:pt x="9961882" y="4311810"/>
                    <a:pt x="9957618" y="4313670"/>
                  </a:cubicBezTo>
                  <a:cubicBezTo>
                    <a:pt x="9951073" y="4315088"/>
                    <a:pt x="9944802" y="4317564"/>
                    <a:pt x="9939058" y="4320993"/>
                  </a:cubicBezTo>
                  <a:cubicBezTo>
                    <a:pt x="9934595" y="4323655"/>
                    <a:pt x="9930499" y="4326887"/>
                    <a:pt x="9926852" y="4330584"/>
                  </a:cubicBezTo>
                  <a:lnTo>
                    <a:pt x="9909086" y="4351764"/>
                  </a:lnTo>
                  <a:lnTo>
                    <a:pt x="9894622" y="4359343"/>
                  </a:lnTo>
                  <a:lnTo>
                    <a:pt x="9883782" y="4350288"/>
                  </a:lnTo>
                  <a:lnTo>
                    <a:pt x="9884667" y="4340441"/>
                  </a:lnTo>
                  <a:lnTo>
                    <a:pt x="9898696" y="4331339"/>
                  </a:lnTo>
                  <a:lnTo>
                    <a:pt x="9909376" y="4312158"/>
                  </a:lnTo>
                  <a:lnTo>
                    <a:pt x="9903250" y="4295489"/>
                  </a:lnTo>
                  <a:lnTo>
                    <a:pt x="9903311" y="4275029"/>
                  </a:lnTo>
                  <a:lnTo>
                    <a:pt x="9914487" y="4256383"/>
                  </a:lnTo>
                  <a:lnTo>
                    <a:pt x="9940111" y="4247537"/>
                  </a:lnTo>
                  <a:lnTo>
                    <a:pt x="9963362" y="4237946"/>
                  </a:lnTo>
                  <a:lnTo>
                    <a:pt x="9969541" y="4223811"/>
                  </a:lnTo>
                  <a:cubicBezTo>
                    <a:pt x="9972997" y="4220370"/>
                    <a:pt x="9975682" y="4216255"/>
                    <a:pt x="9977421" y="4211709"/>
                  </a:cubicBezTo>
                  <a:cubicBezTo>
                    <a:pt x="9980183" y="4204514"/>
                    <a:pt x="9980450" y="4196609"/>
                    <a:pt x="9978184" y="4189239"/>
                  </a:cubicBezTo>
                  <a:lnTo>
                    <a:pt x="9975926" y="4168128"/>
                  </a:lnTo>
                  <a:lnTo>
                    <a:pt x="9970617" y="4152493"/>
                  </a:lnTo>
                  <a:lnTo>
                    <a:pt x="9970380" y="4138102"/>
                  </a:lnTo>
                  <a:close/>
                  <a:moveTo>
                    <a:pt x="9912029" y="3885337"/>
                  </a:moveTo>
                  <a:lnTo>
                    <a:pt x="9912045" y="3900065"/>
                  </a:lnTo>
                  <a:lnTo>
                    <a:pt x="9907462" y="3913670"/>
                  </a:lnTo>
                  <a:lnTo>
                    <a:pt x="9897419" y="3911429"/>
                  </a:lnTo>
                  <a:lnTo>
                    <a:pt x="9895685" y="3899338"/>
                  </a:lnTo>
                  <a:lnTo>
                    <a:pt x="9901379" y="3885652"/>
                  </a:lnTo>
                  <a:close/>
                  <a:moveTo>
                    <a:pt x="6295931" y="3583784"/>
                  </a:moveTo>
                  <a:lnTo>
                    <a:pt x="6310882" y="3596121"/>
                  </a:lnTo>
                  <a:lnTo>
                    <a:pt x="6310882" y="3612757"/>
                  </a:lnTo>
                  <a:lnTo>
                    <a:pt x="6292574" y="3619575"/>
                  </a:lnTo>
                  <a:lnTo>
                    <a:pt x="6284122" y="3606251"/>
                  </a:lnTo>
                  <a:lnTo>
                    <a:pt x="6285853" y="3592530"/>
                  </a:lnTo>
                  <a:close/>
                  <a:moveTo>
                    <a:pt x="6360688" y="3556232"/>
                  </a:moveTo>
                  <a:lnTo>
                    <a:pt x="6363414" y="3567395"/>
                  </a:lnTo>
                  <a:lnTo>
                    <a:pt x="6363448" y="3579739"/>
                  </a:lnTo>
                  <a:lnTo>
                    <a:pt x="6347088" y="3575982"/>
                  </a:lnTo>
                  <a:lnTo>
                    <a:pt x="6348414" y="3560778"/>
                  </a:lnTo>
                  <a:close/>
                  <a:moveTo>
                    <a:pt x="9871158" y="3530137"/>
                  </a:moveTo>
                  <a:lnTo>
                    <a:pt x="9887842" y="3551351"/>
                  </a:lnTo>
                  <a:lnTo>
                    <a:pt x="9901833" y="3578088"/>
                  </a:lnTo>
                  <a:lnTo>
                    <a:pt x="9904117" y="3596017"/>
                  </a:lnTo>
                  <a:lnTo>
                    <a:pt x="9922425" y="3605829"/>
                  </a:lnTo>
                  <a:lnTo>
                    <a:pt x="9940732" y="3620227"/>
                  </a:lnTo>
                  <a:lnTo>
                    <a:pt x="9965145" y="3639918"/>
                  </a:lnTo>
                  <a:lnTo>
                    <a:pt x="9963619" y="3660091"/>
                  </a:lnTo>
                  <a:lnTo>
                    <a:pt x="9951412" y="3658070"/>
                  </a:lnTo>
                  <a:lnTo>
                    <a:pt x="9931865" y="3631086"/>
                  </a:lnTo>
                  <a:lnTo>
                    <a:pt x="9918930" y="3622748"/>
                  </a:lnTo>
                  <a:cubicBezTo>
                    <a:pt x="9914063" y="3620582"/>
                    <a:pt x="9909319" y="3618145"/>
                    <a:pt x="9904720" y="3615462"/>
                  </a:cubicBezTo>
                  <a:cubicBezTo>
                    <a:pt x="9899631" y="3612484"/>
                    <a:pt x="9894726" y="3609205"/>
                    <a:pt x="9890035" y="3605643"/>
                  </a:cubicBezTo>
                  <a:lnTo>
                    <a:pt x="9885460" y="3584429"/>
                  </a:lnTo>
                  <a:lnTo>
                    <a:pt x="9876049" y="3572059"/>
                  </a:lnTo>
                  <a:lnTo>
                    <a:pt x="9862413" y="3551700"/>
                  </a:lnTo>
                  <a:lnTo>
                    <a:pt x="9860143" y="3541406"/>
                  </a:lnTo>
                  <a:close/>
                  <a:moveTo>
                    <a:pt x="4264904" y="3409505"/>
                  </a:moveTo>
                  <a:lnTo>
                    <a:pt x="4282906" y="3439769"/>
                  </a:lnTo>
                  <a:lnTo>
                    <a:pt x="4251041" y="3437284"/>
                  </a:lnTo>
                  <a:close/>
                  <a:moveTo>
                    <a:pt x="10014656" y="3389008"/>
                  </a:moveTo>
                  <a:lnTo>
                    <a:pt x="10023610" y="3399274"/>
                  </a:lnTo>
                  <a:lnTo>
                    <a:pt x="10024370" y="3409001"/>
                  </a:lnTo>
                  <a:lnTo>
                    <a:pt x="10031713" y="3419830"/>
                  </a:lnTo>
                  <a:lnTo>
                    <a:pt x="10040806" y="3428162"/>
                  </a:lnTo>
                  <a:lnTo>
                    <a:pt x="10044621" y="3441769"/>
                  </a:lnTo>
                  <a:lnTo>
                    <a:pt x="10039281" y="3452310"/>
                  </a:lnTo>
                  <a:lnTo>
                    <a:pt x="10027867" y="3437253"/>
                  </a:lnTo>
                  <a:lnTo>
                    <a:pt x="10022785" y="3426676"/>
                  </a:lnTo>
                  <a:lnTo>
                    <a:pt x="10015725" y="3422889"/>
                  </a:lnTo>
                  <a:lnTo>
                    <a:pt x="10007026" y="3407665"/>
                  </a:lnTo>
                  <a:close/>
                  <a:moveTo>
                    <a:pt x="5958391" y="3334784"/>
                  </a:moveTo>
                  <a:lnTo>
                    <a:pt x="5960510" y="3346088"/>
                  </a:lnTo>
                  <a:lnTo>
                    <a:pt x="5948000" y="3360450"/>
                  </a:lnTo>
                  <a:lnTo>
                    <a:pt x="5944150" y="3349119"/>
                  </a:lnTo>
                  <a:lnTo>
                    <a:pt x="5947796" y="3337057"/>
                  </a:lnTo>
                  <a:close/>
                  <a:moveTo>
                    <a:pt x="5900224" y="3308257"/>
                  </a:moveTo>
                  <a:lnTo>
                    <a:pt x="5911692" y="3310755"/>
                  </a:lnTo>
                  <a:lnTo>
                    <a:pt x="5913218" y="3324138"/>
                  </a:lnTo>
                  <a:lnTo>
                    <a:pt x="5901847" y="3324896"/>
                  </a:lnTo>
                  <a:lnTo>
                    <a:pt x="5892879" y="3310278"/>
                  </a:lnTo>
                  <a:close/>
                  <a:moveTo>
                    <a:pt x="5926569" y="3295247"/>
                  </a:moveTo>
                  <a:lnTo>
                    <a:pt x="5936138" y="3303741"/>
                  </a:lnTo>
                  <a:lnTo>
                    <a:pt x="5939525" y="3315893"/>
                  </a:lnTo>
                  <a:lnTo>
                    <a:pt x="5927303" y="3311382"/>
                  </a:lnTo>
                  <a:lnTo>
                    <a:pt x="5918454" y="3301580"/>
                  </a:lnTo>
                  <a:close/>
                  <a:moveTo>
                    <a:pt x="6094036" y="3291178"/>
                  </a:moveTo>
                  <a:lnTo>
                    <a:pt x="6108093" y="3307323"/>
                  </a:lnTo>
                  <a:lnTo>
                    <a:pt x="6117526" y="3331682"/>
                  </a:lnTo>
                  <a:lnTo>
                    <a:pt x="6123622" y="3350360"/>
                  </a:lnTo>
                  <a:lnTo>
                    <a:pt x="6127441" y="3378860"/>
                  </a:lnTo>
                  <a:lnTo>
                    <a:pt x="6118538" y="3401810"/>
                  </a:lnTo>
                  <a:cubicBezTo>
                    <a:pt x="6116042" y="3409585"/>
                    <a:pt x="6113246" y="3417250"/>
                    <a:pt x="6110152" y="3424782"/>
                  </a:cubicBezTo>
                  <a:cubicBezTo>
                    <a:pt x="6105148" y="3437006"/>
                    <a:pt x="6099374" y="3448878"/>
                    <a:pt x="6092863" y="3460353"/>
                  </a:cubicBezTo>
                  <a:lnTo>
                    <a:pt x="6083753" y="3492399"/>
                  </a:lnTo>
                  <a:lnTo>
                    <a:pt x="6074884" y="3524468"/>
                  </a:lnTo>
                  <a:cubicBezTo>
                    <a:pt x="6071812" y="3531692"/>
                    <a:pt x="6068764" y="3538939"/>
                    <a:pt x="6065727" y="3546185"/>
                  </a:cubicBezTo>
                  <a:cubicBezTo>
                    <a:pt x="6061736" y="3555744"/>
                    <a:pt x="6057779" y="3565303"/>
                    <a:pt x="6053856" y="3574883"/>
                  </a:cubicBezTo>
                  <a:lnTo>
                    <a:pt x="6046989" y="3593539"/>
                  </a:lnTo>
                  <a:lnTo>
                    <a:pt x="6040133" y="3616269"/>
                  </a:lnTo>
                  <a:lnTo>
                    <a:pt x="6030988" y="3650363"/>
                  </a:lnTo>
                  <a:lnTo>
                    <a:pt x="6027940" y="3673071"/>
                  </a:lnTo>
                  <a:lnTo>
                    <a:pt x="6023373" y="3698048"/>
                  </a:lnTo>
                  <a:lnTo>
                    <a:pt x="6009638" y="3721460"/>
                  </a:lnTo>
                  <a:lnTo>
                    <a:pt x="5995858" y="3738882"/>
                  </a:lnTo>
                  <a:lnTo>
                    <a:pt x="5977522" y="3746459"/>
                  </a:lnTo>
                  <a:lnTo>
                    <a:pt x="5952997" y="3762383"/>
                  </a:lnTo>
                  <a:lnTo>
                    <a:pt x="5941621" y="3766920"/>
                  </a:lnTo>
                  <a:cubicBezTo>
                    <a:pt x="5936019" y="3766326"/>
                    <a:pt x="5930612" y="3764519"/>
                    <a:pt x="5925793" y="3761612"/>
                  </a:cubicBezTo>
                  <a:cubicBezTo>
                    <a:pt x="5919892" y="3758066"/>
                    <a:pt x="5915060" y="3753022"/>
                    <a:pt x="5911782" y="3747010"/>
                  </a:cubicBezTo>
                  <a:cubicBezTo>
                    <a:pt x="5907089" y="3746062"/>
                    <a:pt x="5902706" y="3743970"/>
                    <a:pt x="5899025" y="3740931"/>
                  </a:cubicBezTo>
                  <a:cubicBezTo>
                    <a:pt x="5893377" y="3736283"/>
                    <a:pt x="5889696" y="3729720"/>
                    <a:pt x="5888684" y="3722518"/>
                  </a:cubicBezTo>
                  <a:cubicBezTo>
                    <a:pt x="5889386" y="3713994"/>
                    <a:pt x="5888937" y="3705404"/>
                    <a:pt x="5887372" y="3697013"/>
                  </a:cubicBezTo>
                  <a:cubicBezTo>
                    <a:pt x="5885854" y="3688907"/>
                    <a:pt x="5883300" y="3681044"/>
                    <a:pt x="5879769" y="3673578"/>
                  </a:cubicBezTo>
                  <a:lnTo>
                    <a:pt x="5878975" y="3663226"/>
                  </a:lnTo>
                  <a:lnTo>
                    <a:pt x="5885118" y="3646597"/>
                  </a:lnTo>
                  <a:lnTo>
                    <a:pt x="5898024" y="3626973"/>
                  </a:lnTo>
                  <a:lnTo>
                    <a:pt x="5909976" y="3609044"/>
                  </a:lnTo>
                  <a:lnTo>
                    <a:pt x="5918339" y="3593913"/>
                  </a:lnTo>
                  <a:lnTo>
                    <a:pt x="5929014" y="3571183"/>
                  </a:lnTo>
                  <a:cubicBezTo>
                    <a:pt x="5930037" y="3567197"/>
                    <a:pt x="5930808" y="3563144"/>
                    <a:pt x="5931303" y="3559069"/>
                  </a:cubicBezTo>
                  <a:cubicBezTo>
                    <a:pt x="5932487" y="3549489"/>
                    <a:pt x="5932234" y="3539797"/>
                    <a:pt x="5930543" y="3530305"/>
                  </a:cubicBezTo>
                  <a:lnTo>
                    <a:pt x="5921387" y="3506826"/>
                  </a:lnTo>
                  <a:cubicBezTo>
                    <a:pt x="5920570" y="3500042"/>
                    <a:pt x="5920570" y="3493170"/>
                    <a:pt x="5921387" y="3486365"/>
                  </a:cubicBezTo>
                  <a:cubicBezTo>
                    <a:pt x="5922422" y="3477841"/>
                    <a:pt x="5924734" y="3469515"/>
                    <a:pt x="5928254" y="3461652"/>
                  </a:cubicBezTo>
                  <a:lnTo>
                    <a:pt x="5931820" y="3439980"/>
                  </a:lnTo>
                  <a:lnTo>
                    <a:pt x="5943254" y="3422602"/>
                  </a:lnTo>
                  <a:cubicBezTo>
                    <a:pt x="5947476" y="3422756"/>
                    <a:pt x="5951698" y="3422756"/>
                    <a:pt x="5955908" y="3422602"/>
                  </a:cubicBezTo>
                  <a:cubicBezTo>
                    <a:pt x="5965547" y="3422294"/>
                    <a:pt x="5975152" y="3421280"/>
                    <a:pt x="5984642" y="3419585"/>
                  </a:cubicBezTo>
                  <a:lnTo>
                    <a:pt x="6007016" y="3405180"/>
                  </a:lnTo>
                  <a:lnTo>
                    <a:pt x="6022234" y="3384477"/>
                  </a:lnTo>
                  <a:cubicBezTo>
                    <a:pt x="6024915" y="3376041"/>
                    <a:pt x="6031402" y="3369323"/>
                    <a:pt x="6039788" y="3366306"/>
                  </a:cubicBezTo>
                  <a:cubicBezTo>
                    <a:pt x="6043676" y="3364896"/>
                    <a:pt x="6047840" y="3364390"/>
                    <a:pt x="6051958" y="3364786"/>
                  </a:cubicBezTo>
                  <a:cubicBezTo>
                    <a:pt x="6055616" y="3362121"/>
                    <a:pt x="6059171" y="3359346"/>
                    <a:pt x="6062633" y="3356461"/>
                  </a:cubicBezTo>
                  <a:cubicBezTo>
                    <a:pt x="6071456" y="3349082"/>
                    <a:pt x="6079623" y="3340977"/>
                    <a:pt x="6087043" y="3332211"/>
                  </a:cubicBezTo>
                  <a:lnTo>
                    <a:pt x="6093910" y="3310252"/>
                  </a:lnTo>
                  <a:lnTo>
                    <a:pt x="6090102" y="3298689"/>
                  </a:lnTo>
                  <a:close/>
                  <a:moveTo>
                    <a:pt x="5884301" y="3267921"/>
                  </a:moveTo>
                  <a:lnTo>
                    <a:pt x="5890767" y="3281639"/>
                  </a:lnTo>
                  <a:lnTo>
                    <a:pt x="5887594" y="3291960"/>
                  </a:lnTo>
                  <a:lnTo>
                    <a:pt x="5874407" y="3286718"/>
                  </a:lnTo>
                  <a:lnTo>
                    <a:pt x="5876716" y="3275498"/>
                  </a:lnTo>
                  <a:close/>
                  <a:moveTo>
                    <a:pt x="9227056" y="3253319"/>
                  </a:moveTo>
                  <a:lnTo>
                    <a:pt x="9238749" y="3267921"/>
                  </a:lnTo>
                  <a:lnTo>
                    <a:pt x="9243034" y="3295815"/>
                  </a:lnTo>
                  <a:cubicBezTo>
                    <a:pt x="9243708" y="3306158"/>
                    <a:pt x="9246524" y="3316221"/>
                    <a:pt x="9251421" y="3325347"/>
                  </a:cubicBezTo>
                  <a:cubicBezTo>
                    <a:pt x="9254482" y="3331103"/>
                    <a:pt x="9258339" y="3336439"/>
                    <a:pt x="9262869" y="3341213"/>
                  </a:cubicBezTo>
                  <a:lnTo>
                    <a:pt x="9277317" y="3358623"/>
                  </a:lnTo>
                  <a:lnTo>
                    <a:pt x="9291826" y="3376595"/>
                  </a:lnTo>
                  <a:lnTo>
                    <a:pt x="9304008" y="3395596"/>
                  </a:lnTo>
                  <a:lnTo>
                    <a:pt x="9306029" y="3415206"/>
                  </a:lnTo>
                  <a:lnTo>
                    <a:pt x="9309579" y="3428497"/>
                  </a:lnTo>
                  <a:lnTo>
                    <a:pt x="9321211" y="3441836"/>
                  </a:lnTo>
                  <a:lnTo>
                    <a:pt x="9311293" y="3462616"/>
                  </a:lnTo>
                  <a:lnTo>
                    <a:pt x="9311293" y="3479511"/>
                  </a:lnTo>
                  <a:lnTo>
                    <a:pt x="9307559" y="3494675"/>
                  </a:lnTo>
                  <a:cubicBezTo>
                    <a:pt x="9301315" y="3495798"/>
                    <a:pt x="9296356" y="3500431"/>
                    <a:pt x="9294825" y="3506516"/>
                  </a:cubicBezTo>
                  <a:cubicBezTo>
                    <a:pt x="9293295" y="3512787"/>
                    <a:pt x="9295683" y="3519386"/>
                    <a:pt x="9300947" y="3523224"/>
                  </a:cubicBezTo>
                  <a:lnTo>
                    <a:pt x="9320782" y="3541383"/>
                  </a:lnTo>
                  <a:lnTo>
                    <a:pt x="9345882" y="3558793"/>
                  </a:lnTo>
                  <a:lnTo>
                    <a:pt x="9358126" y="3580743"/>
                  </a:lnTo>
                  <a:lnTo>
                    <a:pt x="9375634" y="3605501"/>
                  </a:lnTo>
                  <a:lnTo>
                    <a:pt x="9387327" y="3631991"/>
                  </a:lnTo>
                  <a:lnTo>
                    <a:pt x="9393449" y="3661476"/>
                  </a:lnTo>
                  <a:lnTo>
                    <a:pt x="9414018" y="3690118"/>
                  </a:lnTo>
                  <a:lnTo>
                    <a:pt x="9417569" y="3701725"/>
                  </a:lnTo>
                  <a:lnTo>
                    <a:pt x="9432078" y="3720679"/>
                  </a:lnTo>
                  <a:lnTo>
                    <a:pt x="9447566" y="3732567"/>
                  </a:lnTo>
                  <a:lnTo>
                    <a:pt x="9454178" y="3750211"/>
                  </a:lnTo>
                  <a:lnTo>
                    <a:pt x="9463299" y="3769915"/>
                  </a:lnTo>
                  <a:lnTo>
                    <a:pt x="9467095" y="3784049"/>
                  </a:lnTo>
                  <a:lnTo>
                    <a:pt x="9467095" y="3810445"/>
                  </a:lnTo>
                  <a:cubicBezTo>
                    <a:pt x="9465013" y="3815687"/>
                    <a:pt x="9463728" y="3821256"/>
                    <a:pt x="9463299" y="3826872"/>
                  </a:cubicBezTo>
                  <a:cubicBezTo>
                    <a:pt x="9462932" y="3831693"/>
                    <a:pt x="9463177" y="3836513"/>
                    <a:pt x="9464034" y="3841287"/>
                  </a:cubicBezTo>
                  <a:lnTo>
                    <a:pt x="9451178" y="3859306"/>
                  </a:lnTo>
                  <a:cubicBezTo>
                    <a:pt x="9451729" y="3866747"/>
                    <a:pt x="9451484" y="3874189"/>
                    <a:pt x="9450382" y="3881536"/>
                  </a:cubicBezTo>
                  <a:cubicBezTo>
                    <a:pt x="9449341" y="3888510"/>
                    <a:pt x="9447566" y="3895390"/>
                    <a:pt x="9445056" y="3901989"/>
                  </a:cubicBezTo>
                  <a:cubicBezTo>
                    <a:pt x="9441138" y="3907418"/>
                    <a:pt x="9437159" y="3912800"/>
                    <a:pt x="9433119" y="3918182"/>
                  </a:cubicBezTo>
                  <a:cubicBezTo>
                    <a:pt x="9429078" y="3923517"/>
                    <a:pt x="9425038" y="3928806"/>
                    <a:pt x="9420936" y="3934048"/>
                  </a:cubicBezTo>
                  <a:cubicBezTo>
                    <a:pt x="9415243" y="3940974"/>
                    <a:pt x="9410223" y="3948416"/>
                    <a:pt x="9405937" y="3956278"/>
                  </a:cubicBezTo>
                  <a:cubicBezTo>
                    <a:pt x="9402999" y="3961567"/>
                    <a:pt x="9400489" y="3967043"/>
                    <a:pt x="9398285" y="3972659"/>
                  </a:cubicBezTo>
                  <a:lnTo>
                    <a:pt x="9396755" y="3985389"/>
                  </a:lnTo>
                  <a:lnTo>
                    <a:pt x="9386592" y="3996528"/>
                  </a:lnTo>
                  <a:lnTo>
                    <a:pt x="9370553" y="4013891"/>
                  </a:lnTo>
                  <a:lnTo>
                    <a:pt x="9361431" y="4022971"/>
                  </a:lnTo>
                  <a:lnTo>
                    <a:pt x="9356105" y="4032799"/>
                  </a:lnTo>
                  <a:lnTo>
                    <a:pt x="9333210" y="4045389"/>
                  </a:lnTo>
                  <a:lnTo>
                    <a:pt x="9311538" y="4054889"/>
                  </a:lnTo>
                  <a:cubicBezTo>
                    <a:pt x="9305171" y="4054983"/>
                    <a:pt x="9299356" y="4058446"/>
                    <a:pt x="9296295" y="4063969"/>
                  </a:cubicBezTo>
                  <a:cubicBezTo>
                    <a:pt x="9293662" y="4068743"/>
                    <a:pt x="9293540" y="4074359"/>
                    <a:pt x="9292499" y="4079647"/>
                  </a:cubicBezTo>
                  <a:cubicBezTo>
                    <a:pt x="9291765" y="4083485"/>
                    <a:pt x="9290601" y="4087182"/>
                    <a:pt x="9289010" y="4090739"/>
                  </a:cubicBezTo>
                  <a:lnTo>
                    <a:pt x="9274501" y="4102112"/>
                  </a:lnTo>
                  <a:lnTo>
                    <a:pt x="9268624" y="4111706"/>
                  </a:lnTo>
                  <a:lnTo>
                    <a:pt x="9255951" y="4125092"/>
                  </a:lnTo>
                  <a:lnTo>
                    <a:pt x="9250564" y="4133422"/>
                  </a:lnTo>
                  <a:lnTo>
                    <a:pt x="9228770" y="4134920"/>
                  </a:lnTo>
                  <a:cubicBezTo>
                    <a:pt x="9224424" y="4141004"/>
                    <a:pt x="9219894" y="4146995"/>
                    <a:pt x="9215302" y="4152845"/>
                  </a:cubicBezTo>
                  <a:cubicBezTo>
                    <a:pt x="9210589" y="4158789"/>
                    <a:pt x="9205752" y="4164592"/>
                    <a:pt x="9200793" y="4170255"/>
                  </a:cubicBezTo>
                  <a:lnTo>
                    <a:pt x="9184754" y="4194498"/>
                  </a:lnTo>
                  <a:lnTo>
                    <a:pt x="9169511" y="4220988"/>
                  </a:lnTo>
                  <a:cubicBezTo>
                    <a:pt x="9165715" y="4225200"/>
                    <a:pt x="9160205" y="4227447"/>
                    <a:pt x="9154512" y="4227025"/>
                  </a:cubicBezTo>
                  <a:cubicBezTo>
                    <a:pt x="9150533" y="4226745"/>
                    <a:pt x="9146799" y="4225153"/>
                    <a:pt x="9143860" y="4222486"/>
                  </a:cubicBezTo>
                  <a:lnTo>
                    <a:pt x="9130882" y="4216401"/>
                  </a:lnTo>
                  <a:lnTo>
                    <a:pt x="9117903" y="4216401"/>
                  </a:lnTo>
                  <a:lnTo>
                    <a:pt x="9101925" y="4219444"/>
                  </a:lnTo>
                  <a:cubicBezTo>
                    <a:pt x="9093355" y="4219724"/>
                    <a:pt x="9085151" y="4222813"/>
                    <a:pt x="9078601" y="4228289"/>
                  </a:cubicBezTo>
                  <a:cubicBezTo>
                    <a:pt x="9075234" y="4231050"/>
                    <a:pt x="9072418" y="4234373"/>
                    <a:pt x="9070214" y="4238117"/>
                  </a:cubicBezTo>
                  <a:lnTo>
                    <a:pt x="9055766" y="4260301"/>
                  </a:lnTo>
                  <a:cubicBezTo>
                    <a:pt x="9052460" y="4263109"/>
                    <a:pt x="9048053" y="4264233"/>
                    <a:pt x="9043829" y="4263343"/>
                  </a:cubicBezTo>
                  <a:cubicBezTo>
                    <a:pt x="9037890" y="4262080"/>
                    <a:pt x="9033421" y="4257259"/>
                    <a:pt x="9032625" y="4251269"/>
                  </a:cubicBezTo>
                  <a:lnTo>
                    <a:pt x="9024239" y="4236152"/>
                  </a:lnTo>
                  <a:lnTo>
                    <a:pt x="9009852" y="4228242"/>
                  </a:lnTo>
                  <a:lnTo>
                    <a:pt x="8996384" y="4227727"/>
                  </a:lnTo>
                  <a:lnTo>
                    <a:pt x="8983651" y="4230489"/>
                  </a:lnTo>
                  <a:cubicBezTo>
                    <a:pt x="8981569" y="4235590"/>
                    <a:pt x="8977835" y="4239896"/>
                    <a:pt x="8972999" y="4242610"/>
                  </a:cubicBezTo>
                  <a:cubicBezTo>
                    <a:pt x="8970060" y="4244248"/>
                    <a:pt x="8966754" y="4245278"/>
                    <a:pt x="8963387" y="4245606"/>
                  </a:cubicBezTo>
                  <a:lnTo>
                    <a:pt x="8947899" y="4242798"/>
                  </a:lnTo>
                  <a:lnTo>
                    <a:pt x="8935227" y="4240551"/>
                  </a:lnTo>
                  <a:lnTo>
                    <a:pt x="8916126" y="4224919"/>
                  </a:lnTo>
                  <a:lnTo>
                    <a:pt x="8891210" y="4211300"/>
                  </a:lnTo>
                  <a:lnTo>
                    <a:pt x="8875967" y="4193843"/>
                  </a:lnTo>
                  <a:lnTo>
                    <a:pt x="8881293" y="4182564"/>
                  </a:lnTo>
                  <a:lnTo>
                    <a:pt x="8887353" y="4172455"/>
                  </a:lnTo>
                  <a:lnTo>
                    <a:pt x="8894271" y="4154296"/>
                  </a:lnTo>
                  <a:lnTo>
                    <a:pt x="8888149" y="4138477"/>
                  </a:lnTo>
                  <a:lnTo>
                    <a:pt x="8878783" y="4129397"/>
                  </a:lnTo>
                  <a:lnTo>
                    <a:pt x="8879579" y="4121816"/>
                  </a:lnTo>
                  <a:lnTo>
                    <a:pt x="8881109" y="4106699"/>
                  </a:lnTo>
                  <a:lnTo>
                    <a:pt x="8878293" y="4095607"/>
                  </a:lnTo>
                  <a:lnTo>
                    <a:pt x="8870763" y="4094156"/>
                  </a:lnTo>
                  <a:lnTo>
                    <a:pt x="8857846" y="4105482"/>
                  </a:lnTo>
                  <a:lnTo>
                    <a:pt x="8849214" y="4120879"/>
                  </a:lnTo>
                  <a:lnTo>
                    <a:pt x="8838746" y="4125419"/>
                  </a:lnTo>
                  <a:lnTo>
                    <a:pt x="8829685" y="4125419"/>
                  </a:lnTo>
                  <a:lnTo>
                    <a:pt x="8825829" y="4117603"/>
                  </a:lnTo>
                  <a:lnTo>
                    <a:pt x="8834950" y="4115310"/>
                  </a:lnTo>
                  <a:lnTo>
                    <a:pt x="8847133" y="4106277"/>
                  </a:lnTo>
                  <a:lnTo>
                    <a:pt x="8849398" y="4094437"/>
                  </a:lnTo>
                  <a:lnTo>
                    <a:pt x="8858213" y="4084842"/>
                  </a:lnTo>
                  <a:lnTo>
                    <a:pt x="8871681" y="4073470"/>
                  </a:lnTo>
                  <a:lnTo>
                    <a:pt x="8883619" y="4062144"/>
                  </a:lnTo>
                  <a:lnTo>
                    <a:pt x="8885639" y="4048290"/>
                  </a:lnTo>
                  <a:lnTo>
                    <a:pt x="8878354" y="4036169"/>
                  </a:lnTo>
                  <a:lnTo>
                    <a:pt x="8864641" y="4036169"/>
                  </a:lnTo>
                  <a:lnTo>
                    <a:pt x="8858519" y="4048758"/>
                  </a:lnTo>
                  <a:lnTo>
                    <a:pt x="8849643" y="4064390"/>
                  </a:lnTo>
                  <a:lnTo>
                    <a:pt x="8835379" y="4075529"/>
                  </a:lnTo>
                  <a:lnTo>
                    <a:pt x="8811993" y="4079039"/>
                  </a:lnTo>
                  <a:lnTo>
                    <a:pt x="8805137" y="4088118"/>
                  </a:lnTo>
                  <a:lnTo>
                    <a:pt x="8799076" y="4102533"/>
                  </a:lnTo>
                  <a:lnTo>
                    <a:pt x="8786098" y="4098742"/>
                  </a:lnTo>
                  <a:lnTo>
                    <a:pt x="8784567" y="4086902"/>
                  </a:lnTo>
                  <a:lnTo>
                    <a:pt x="8781506" y="4074874"/>
                  </a:lnTo>
                  <a:lnTo>
                    <a:pt x="8775446" y="4065045"/>
                  </a:lnTo>
                  <a:lnTo>
                    <a:pt x="8767610" y="4058540"/>
                  </a:lnTo>
                  <a:cubicBezTo>
                    <a:pt x="8767181" y="4051379"/>
                    <a:pt x="8765895" y="4044312"/>
                    <a:pt x="8763814" y="4037432"/>
                  </a:cubicBezTo>
                  <a:cubicBezTo>
                    <a:pt x="8762283" y="4032237"/>
                    <a:pt x="8760263" y="4027183"/>
                    <a:pt x="8757815" y="4022315"/>
                  </a:cubicBezTo>
                  <a:lnTo>
                    <a:pt x="8744836" y="4017261"/>
                  </a:lnTo>
                  <a:lnTo>
                    <a:pt x="8736449" y="4008181"/>
                  </a:lnTo>
                  <a:lnTo>
                    <a:pt x="8714655" y="3993298"/>
                  </a:lnTo>
                  <a:lnTo>
                    <a:pt x="8701922" y="3988759"/>
                  </a:lnTo>
                  <a:cubicBezTo>
                    <a:pt x="8694331" y="3987167"/>
                    <a:pt x="8686556" y="3986699"/>
                    <a:pt x="8678842" y="3987308"/>
                  </a:cubicBezTo>
                  <a:cubicBezTo>
                    <a:pt x="8672353" y="3987776"/>
                    <a:pt x="8665986" y="3989086"/>
                    <a:pt x="8659803" y="3991099"/>
                  </a:cubicBezTo>
                  <a:lnTo>
                    <a:pt x="8644070" y="3998634"/>
                  </a:lnTo>
                  <a:lnTo>
                    <a:pt x="8623011" y="3997136"/>
                  </a:lnTo>
                  <a:lnTo>
                    <a:pt x="8607278" y="3993345"/>
                  </a:lnTo>
                  <a:lnTo>
                    <a:pt x="8577770" y="4003688"/>
                  </a:lnTo>
                  <a:lnTo>
                    <a:pt x="8537733" y="4013189"/>
                  </a:lnTo>
                  <a:lnTo>
                    <a:pt x="8516123" y="4018010"/>
                  </a:lnTo>
                  <a:lnTo>
                    <a:pt x="8499410" y="4023251"/>
                  </a:lnTo>
                  <a:lnTo>
                    <a:pt x="8475963" y="4030599"/>
                  </a:lnTo>
                  <a:lnTo>
                    <a:pt x="8459985" y="4039679"/>
                  </a:lnTo>
                  <a:lnTo>
                    <a:pt x="8440150" y="4054000"/>
                  </a:lnTo>
                  <a:cubicBezTo>
                    <a:pt x="8434824" y="4056387"/>
                    <a:pt x="8429192" y="4058025"/>
                    <a:pt x="8423438" y="4058821"/>
                  </a:cubicBezTo>
                  <a:cubicBezTo>
                    <a:pt x="8417867" y="4059569"/>
                    <a:pt x="8412173" y="4059569"/>
                    <a:pt x="8406603" y="4058821"/>
                  </a:cubicBezTo>
                  <a:lnTo>
                    <a:pt x="8390625" y="4061114"/>
                  </a:lnTo>
                  <a:lnTo>
                    <a:pt x="8376361" y="4063360"/>
                  </a:lnTo>
                  <a:lnTo>
                    <a:pt x="8363443" y="4066402"/>
                  </a:lnTo>
                  <a:lnTo>
                    <a:pt x="8333201" y="4067151"/>
                  </a:lnTo>
                  <a:lnTo>
                    <a:pt x="8315693" y="4070193"/>
                  </a:lnTo>
                  <a:lnTo>
                    <a:pt x="8303755" y="4073984"/>
                  </a:lnTo>
                  <a:lnTo>
                    <a:pt x="8277553" y="4086574"/>
                  </a:lnTo>
                  <a:lnTo>
                    <a:pt x="8252944" y="4091114"/>
                  </a:lnTo>
                  <a:lnTo>
                    <a:pt x="8232864" y="4097947"/>
                  </a:lnTo>
                  <a:lnTo>
                    <a:pt x="8218355" y="4110536"/>
                  </a:lnTo>
                  <a:lnTo>
                    <a:pt x="8203173" y="4112783"/>
                  </a:lnTo>
                  <a:lnTo>
                    <a:pt x="8188664" y="4103469"/>
                  </a:lnTo>
                  <a:lnTo>
                    <a:pt x="8169808" y="4103516"/>
                  </a:lnTo>
                  <a:lnTo>
                    <a:pt x="8153830" y="4087416"/>
                  </a:lnTo>
                  <a:lnTo>
                    <a:pt x="8149361" y="4078852"/>
                  </a:lnTo>
                  <a:lnTo>
                    <a:pt x="8144770" y="4069538"/>
                  </a:lnTo>
                  <a:lnTo>
                    <a:pt x="8158116" y="4065232"/>
                  </a:lnTo>
                  <a:lnTo>
                    <a:pt x="8168829" y="4060693"/>
                  </a:lnTo>
                  <a:lnTo>
                    <a:pt x="8174400" y="4051379"/>
                  </a:lnTo>
                  <a:lnTo>
                    <a:pt x="8178195" y="4036496"/>
                  </a:lnTo>
                  <a:lnTo>
                    <a:pt x="8182726" y="4024515"/>
                  </a:lnTo>
                  <a:lnTo>
                    <a:pt x="8191051" y="4010147"/>
                  </a:lnTo>
                  <a:lnTo>
                    <a:pt x="8197173" y="3992737"/>
                  </a:lnTo>
                  <a:lnTo>
                    <a:pt x="8194112" y="3979211"/>
                  </a:lnTo>
                  <a:lnTo>
                    <a:pt x="8191051" y="3961099"/>
                  </a:lnTo>
                  <a:lnTo>
                    <a:pt x="8191051" y="3946965"/>
                  </a:lnTo>
                  <a:lnTo>
                    <a:pt x="8184991" y="3929555"/>
                  </a:lnTo>
                  <a:lnTo>
                    <a:pt x="8182664" y="3915982"/>
                  </a:lnTo>
                  <a:lnTo>
                    <a:pt x="8182664" y="3853549"/>
                  </a:lnTo>
                  <a:lnTo>
                    <a:pt x="8181930" y="3834080"/>
                  </a:lnTo>
                  <a:lnTo>
                    <a:pt x="8184134" y="3807309"/>
                  </a:lnTo>
                  <a:lnTo>
                    <a:pt x="8193990" y="3780819"/>
                  </a:lnTo>
                  <a:lnTo>
                    <a:pt x="8202622" y="3767247"/>
                  </a:lnTo>
                  <a:lnTo>
                    <a:pt x="8204887" y="3752130"/>
                  </a:lnTo>
                  <a:lnTo>
                    <a:pt x="8199071" y="3742817"/>
                  </a:lnTo>
                  <a:lnTo>
                    <a:pt x="8191664" y="3730695"/>
                  </a:lnTo>
                  <a:lnTo>
                    <a:pt x="8190194" y="3717169"/>
                  </a:lnTo>
                  <a:lnTo>
                    <a:pt x="8188725" y="3701304"/>
                  </a:lnTo>
                  <a:lnTo>
                    <a:pt x="8198643" y="3689182"/>
                  </a:lnTo>
                  <a:lnTo>
                    <a:pt x="8204764" y="3673738"/>
                  </a:lnTo>
                  <a:lnTo>
                    <a:pt x="8207519" y="3659416"/>
                  </a:lnTo>
                  <a:lnTo>
                    <a:pt x="8213090" y="3641538"/>
                  </a:lnTo>
                  <a:lnTo>
                    <a:pt x="8244373" y="3631710"/>
                  </a:lnTo>
                  <a:lnTo>
                    <a:pt x="8276941" y="3622630"/>
                  </a:lnTo>
                  <a:lnTo>
                    <a:pt x="8318631" y="3609760"/>
                  </a:lnTo>
                  <a:lnTo>
                    <a:pt x="8340731" y="3600634"/>
                  </a:lnTo>
                  <a:lnTo>
                    <a:pt x="8365464" y="3588044"/>
                  </a:lnTo>
                  <a:lnTo>
                    <a:pt x="8381503" y="3579198"/>
                  </a:lnTo>
                  <a:lnTo>
                    <a:pt x="8406664" y="3575922"/>
                  </a:lnTo>
                  <a:lnTo>
                    <a:pt x="8433661" y="3573161"/>
                  </a:lnTo>
                  <a:lnTo>
                    <a:pt x="8455884" y="3564830"/>
                  </a:lnTo>
                  <a:lnTo>
                    <a:pt x="8473209" y="3556734"/>
                  </a:lnTo>
                  <a:lnTo>
                    <a:pt x="8481657" y="3548684"/>
                  </a:lnTo>
                  <a:lnTo>
                    <a:pt x="8499594" y="3527998"/>
                  </a:lnTo>
                  <a:lnTo>
                    <a:pt x="8509266" y="3503988"/>
                  </a:lnTo>
                  <a:lnTo>
                    <a:pt x="8521877" y="3483770"/>
                  </a:lnTo>
                  <a:lnTo>
                    <a:pt x="8529224" y="3474176"/>
                  </a:lnTo>
                  <a:lnTo>
                    <a:pt x="8537856" y="3462335"/>
                  </a:lnTo>
                  <a:lnTo>
                    <a:pt x="8552120" y="3469917"/>
                  </a:lnTo>
                  <a:cubicBezTo>
                    <a:pt x="8552181" y="3475907"/>
                    <a:pt x="8557262" y="3480681"/>
                    <a:pt x="8563261" y="3480494"/>
                  </a:cubicBezTo>
                  <a:cubicBezTo>
                    <a:pt x="8569077" y="3480354"/>
                    <a:pt x="8573669" y="3475627"/>
                    <a:pt x="8573730" y="3469917"/>
                  </a:cubicBezTo>
                  <a:lnTo>
                    <a:pt x="8580586" y="3458029"/>
                  </a:lnTo>
                  <a:lnTo>
                    <a:pt x="8576791" y="3448248"/>
                  </a:lnTo>
                  <a:lnTo>
                    <a:pt x="8572505" y="3441695"/>
                  </a:lnTo>
                  <a:lnTo>
                    <a:pt x="8572444" y="3430369"/>
                  </a:lnTo>
                  <a:lnTo>
                    <a:pt x="8591238" y="3428310"/>
                  </a:lnTo>
                  <a:lnTo>
                    <a:pt x="8601890" y="3421758"/>
                  </a:lnTo>
                  <a:lnTo>
                    <a:pt x="8621664" y="3406688"/>
                  </a:lnTo>
                  <a:cubicBezTo>
                    <a:pt x="8627663" y="3400229"/>
                    <a:pt x="8633602" y="3393677"/>
                    <a:pt x="8639417" y="3387031"/>
                  </a:cubicBezTo>
                  <a:cubicBezTo>
                    <a:pt x="8642907" y="3383053"/>
                    <a:pt x="8646396" y="3379028"/>
                    <a:pt x="8649825" y="3374956"/>
                  </a:cubicBezTo>
                  <a:lnTo>
                    <a:pt x="8667639" y="3360308"/>
                  </a:lnTo>
                  <a:cubicBezTo>
                    <a:pt x="8671741" y="3348092"/>
                    <a:pt x="8685821" y="3342383"/>
                    <a:pt x="8697392" y="3348186"/>
                  </a:cubicBezTo>
                  <a:cubicBezTo>
                    <a:pt x="8702963" y="3350994"/>
                    <a:pt x="8706819" y="3356236"/>
                    <a:pt x="8707799" y="3362320"/>
                  </a:cubicBezTo>
                  <a:lnTo>
                    <a:pt x="8734490" y="3372195"/>
                  </a:lnTo>
                  <a:cubicBezTo>
                    <a:pt x="8736817" y="3381134"/>
                    <a:pt x="8742693" y="3388763"/>
                    <a:pt x="8750774" y="3393396"/>
                  </a:cubicBezTo>
                  <a:cubicBezTo>
                    <a:pt x="8755611" y="3396158"/>
                    <a:pt x="8761059" y="3397749"/>
                    <a:pt x="8766691" y="3397936"/>
                  </a:cubicBezTo>
                  <a:lnTo>
                    <a:pt x="8786220" y="3381509"/>
                  </a:lnTo>
                  <a:lnTo>
                    <a:pt x="8793321" y="3373178"/>
                  </a:lnTo>
                  <a:lnTo>
                    <a:pt x="8783159" y="3360308"/>
                  </a:lnTo>
                  <a:lnTo>
                    <a:pt x="8782425" y="3345237"/>
                  </a:lnTo>
                  <a:lnTo>
                    <a:pt x="8793872" y="3334614"/>
                  </a:lnTo>
                  <a:lnTo>
                    <a:pt x="8799933" y="3328576"/>
                  </a:lnTo>
                  <a:lnTo>
                    <a:pt x="8809055" y="3310698"/>
                  </a:lnTo>
                  <a:lnTo>
                    <a:pt x="8821727" y="3300916"/>
                  </a:lnTo>
                  <a:lnTo>
                    <a:pt x="8855214" y="3294879"/>
                  </a:lnTo>
                  <a:lnTo>
                    <a:pt x="8870886" y="3286829"/>
                  </a:lnTo>
                  <a:lnTo>
                    <a:pt x="8887415" y="3276486"/>
                  </a:lnTo>
                  <a:lnTo>
                    <a:pt x="8909515" y="3260573"/>
                  </a:lnTo>
                  <a:lnTo>
                    <a:pt x="8935655" y="3274708"/>
                  </a:lnTo>
                  <a:lnTo>
                    <a:pt x="8974345" y="3278077"/>
                  </a:lnTo>
                  <a:lnTo>
                    <a:pt x="8981691" y="3282617"/>
                  </a:lnTo>
                  <a:lnTo>
                    <a:pt x="9006546" y="3290714"/>
                  </a:lnTo>
                  <a:lnTo>
                    <a:pt x="9020259" y="3301806"/>
                  </a:lnTo>
                  <a:lnTo>
                    <a:pt x="9007526" y="3315472"/>
                  </a:lnTo>
                  <a:lnTo>
                    <a:pt x="8995343" y="3331384"/>
                  </a:lnTo>
                  <a:lnTo>
                    <a:pt x="8986956" y="3340464"/>
                  </a:lnTo>
                  <a:lnTo>
                    <a:pt x="8979610" y="3355347"/>
                  </a:lnTo>
                  <a:lnTo>
                    <a:pt x="8979610" y="3390214"/>
                  </a:lnTo>
                  <a:lnTo>
                    <a:pt x="8986467" y="3409168"/>
                  </a:lnTo>
                  <a:lnTo>
                    <a:pt x="9007281" y="3415721"/>
                  </a:lnTo>
                  <a:lnTo>
                    <a:pt x="9030973" y="3430884"/>
                  </a:lnTo>
                  <a:lnTo>
                    <a:pt x="9042421" y="3443006"/>
                  </a:lnTo>
                  <a:lnTo>
                    <a:pt x="9059439" y="3452600"/>
                  </a:lnTo>
                  <a:lnTo>
                    <a:pt x="9079152" y="3460182"/>
                  </a:lnTo>
                  <a:lnTo>
                    <a:pt x="9091885" y="3481336"/>
                  </a:lnTo>
                  <a:lnTo>
                    <a:pt x="9116189" y="3486391"/>
                  </a:lnTo>
                  <a:lnTo>
                    <a:pt x="9125984" y="3478154"/>
                  </a:lnTo>
                  <a:lnTo>
                    <a:pt x="9129780" y="3468419"/>
                  </a:lnTo>
                  <a:lnTo>
                    <a:pt x="9153410" y="3450962"/>
                  </a:lnTo>
                  <a:lnTo>
                    <a:pt x="9167674" y="3432522"/>
                  </a:lnTo>
                  <a:cubicBezTo>
                    <a:pt x="9173551" y="3428451"/>
                    <a:pt x="9178510" y="3423068"/>
                    <a:pt x="9182122" y="3416891"/>
                  </a:cubicBezTo>
                  <a:cubicBezTo>
                    <a:pt x="9183897" y="3413849"/>
                    <a:pt x="9185366" y="3410619"/>
                    <a:pt x="9186468" y="3407296"/>
                  </a:cubicBezTo>
                  <a:lnTo>
                    <a:pt x="9185672" y="3387359"/>
                  </a:lnTo>
                  <a:lnTo>
                    <a:pt x="9186468" y="3359606"/>
                  </a:lnTo>
                  <a:lnTo>
                    <a:pt x="9190998" y="3343506"/>
                  </a:lnTo>
                  <a:lnTo>
                    <a:pt x="9196080" y="3322352"/>
                  </a:lnTo>
                  <a:lnTo>
                    <a:pt x="9197610" y="3299606"/>
                  </a:lnTo>
                  <a:lnTo>
                    <a:pt x="9203732" y="3273959"/>
                  </a:lnTo>
                  <a:lnTo>
                    <a:pt x="9215915" y="3258795"/>
                  </a:lnTo>
                  <a:close/>
                  <a:moveTo>
                    <a:pt x="9832115" y="3223985"/>
                  </a:moveTo>
                  <a:lnTo>
                    <a:pt x="9846134" y="3224126"/>
                  </a:lnTo>
                  <a:lnTo>
                    <a:pt x="9856530" y="3240256"/>
                  </a:lnTo>
                  <a:lnTo>
                    <a:pt x="9846643" y="3245055"/>
                  </a:lnTo>
                  <a:lnTo>
                    <a:pt x="9835170" y="3233611"/>
                  </a:lnTo>
                  <a:close/>
                  <a:moveTo>
                    <a:pt x="9772421" y="3185990"/>
                  </a:moveTo>
                  <a:lnTo>
                    <a:pt x="9787426" y="3186577"/>
                  </a:lnTo>
                  <a:lnTo>
                    <a:pt x="9795146" y="3195953"/>
                  </a:lnTo>
                  <a:lnTo>
                    <a:pt x="9809894" y="3195426"/>
                  </a:lnTo>
                  <a:lnTo>
                    <a:pt x="9809894" y="3205435"/>
                  </a:lnTo>
                  <a:lnTo>
                    <a:pt x="9800007" y="3209915"/>
                  </a:lnTo>
                  <a:lnTo>
                    <a:pt x="9787134" y="3206161"/>
                  </a:lnTo>
                  <a:lnTo>
                    <a:pt x="9775542" y="3194827"/>
                  </a:lnTo>
                  <a:close/>
                  <a:moveTo>
                    <a:pt x="8449491" y="3180692"/>
                  </a:moveTo>
                  <a:lnTo>
                    <a:pt x="8468474" y="3182183"/>
                  </a:lnTo>
                  <a:lnTo>
                    <a:pt x="8491274" y="3182100"/>
                  </a:lnTo>
                  <a:lnTo>
                    <a:pt x="8500426" y="3196942"/>
                  </a:lnTo>
                  <a:lnTo>
                    <a:pt x="8503436" y="3212009"/>
                  </a:lnTo>
                  <a:lnTo>
                    <a:pt x="8491657" y="3208051"/>
                  </a:lnTo>
                  <a:lnTo>
                    <a:pt x="8478092" y="3201699"/>
                  </a:lnTo>
                  <a:lnTo>
                    <a:pt x="8461143" y="3199678"/>
                  </a:lnTo>
                  <a:lnTo>
                    <a:pt x="8448341" y="3192690"/>
                  </a:lnTo>
                  <a:close/>
                  <a:moveTo>
                    <a:pt x="9822516" y="3151515"/>
                  </a:moveTo>
                  <a:lnTo>
                    <a:pt x="9826633" y="3172115"/>
                  </a:lnTo>
                  <a:lnTo>
                    <a:pt x="9835502" y="3181679"/>
                  </a:lnTo>
                  <a:lnTo>
                    <a:pt x="9844624" y="3194272"/>
                  </a:lnTo>
                  <a:lnTo>
                    <a:pt x="9834232" y="3205638"/>
                  </a:lnTo>
                  <a:lnTo>
                    <a:pt x="9827364" y="3196578"/>
                  </a:lnTo>
                  <a:lnTo>
                    <a:pt x="9827364" y="3186477"/>
                  </a:lnTo>
                  <a:lnTo>
                    <a:pt x="9817509" y="3183731"/>
                  </a:lnTo>
                  <a:lnTo>
                    <a:pt x="9817175" y="3163415"/>
                  </a:lnTo>
                  <a:close/>
                  <a:moveTo>
                    <a:pt x="8387891" y="3140669"/>
                  </a:moveTo>
                  <a:lnTo>
                    <a:pt x="8398505" y="3142532"/>
                  </a:lnTo>
                  <a:lnTo>
                    <a:pt x="8415462" y="3143879"/>
                  </a:lnTo>
                  <a:lnTo>
                    <a:pt x="8429264" y="3150303"/>
                  </a:lnTo>
                  <a:lnTo>
                    <a:pt x="8431975" y="3165709"/>
                  </a:lnTo>
                  <a:lnTo>
                    <a:pt x="8409641" y="3164699"/>
                  </a:lnTo>
                  <a:lnTo>
                    <a:pt x="8393533" y="3175683"/>
                  </a:lnTo>
                  <a:lnTo>
                    <a:pt x="8372055" y="3166259"/>
                  </a:lnTo>
                  <a:lnTo>
                    <a:pt x="8357758" y="3154472"/>
                  </a:lnTo>
                  <a:lnTo>
                    <a:pt x="8370004" y="3145717"/>
                  </a:lnTo>
                  <a:close/>
                  <a:moveTo>
                    <a:pt x="8680035" y="3140171"/>
                  </a:moveTo>
                  <a:lnTo>
                    <a:pt x="8695643" y="3152911"/>
                  </a:lnTo>
                  <a:lnTo>
                    <a:pt x="8714887" y="3143481"/>
                  </a:lnTo>
                  <a:lnTo>
                    <a:pt x="8726076" y="3164651"/>
                  </a:lnTo>
                  <a:lnTo>
                    <a:pt x="8700014" y="3172394"/>
                  </a:lnTo>
                  <a:lnTo>
                    <a:pt x="8677043" y="3172394"/>
                  </a:lnTo>
                  <a:lnTo>
                    <a:pt x="8660809" y="3168395"/>
                  </a:lnTo>
                  <a:lnTo>
                    <a:pt x="8644539" y="3176143"/>
                  </a:lnTo>
                  <a:lnTo>
                    <a:pt x="8631997" y="3207035"/>
                  </a:lnTo>
                  <a:lnTo>
                    <a:pt x="8599388" y="3221132"/>
                  </a:lnTo>
                  <a:lnTo>
                    <a:pt x="8592551" y="3209393"/>
                  </a:lnTo>
                  <a:lnTo>
                    <a:pt x="8604513" y="3200720"/>
                  </a:lnTo>
                  <a:lnTo>
                    <a:pt x="8618353" y="3193984"/>
                  </a:lnTo>
                  <a:lnTo>
                    <a:pt x="8627335" y="3171847"/>
                  </a:lnTo>
                  <a:lnTo>
                    <a:pt x="8640311" y="3156360"/>
                  </a:lnTo>
                  <a:lnTo>
                    <a:pt x="8658250" y="3141895"/>
                  </a:lnTo>
                  <a:close/>
                  <a:moveTo>
                    <a:pt x="9713092" y="3138950"/>
                  </a:moveTo>
                  <a:lnTo>
                    <a:pt x="9723261" y="3142295"/>
                  </a:lnTo>
                  <a:lnTo>
                    <a:pt x="9724140" y="3156750"/>
                  </a:lnTo>
                  <a:lnTo>
                    <a:pt x="9729191" y="3166063"/>
                  </a:lnTo>
                  <a:lnTo>
                    <a:pt x="9739333" y="3168842"/>
                  </a:lnTo>
                  <a:lnTo>
                    <a:pt x="9733515" y="3177899"/>
                  </a:lnTo>
                  <a:lnTo>
                    <a:pt x="9724109" y="3174868"/>
                  </a:lnTo>
                  <a:cubicBezTo>
                    <a:pt x="9720625" y="3173644"/>
                    <a:pt x="9717621" y="3171357"/>
                    <a:pt x="9715524" y="3168337"/>
                  </a:cubicBezTo>
                  <a:cubicBezTo>
                    <a:pt x="9713223" y="3165021"/>
                    <a:pt x="9712144" y="3161016"/>
                    <a:pt x="9712472" y="3157002"/>
                  </a:cubicBezTo>
                  <a:lnTo>
                    <a:pt x="9702045" y="3149176"/>
                  </a:lnTo>
                  <a:close/>
                  <a:moveTo>
                    <a:pt x="8498988" y="3131801"/>
                  </a:moveTo>
                  <a:lnTo>
                    <a:pt x="8522043" y="3134832"/>
                  </a:lnTo>
                  <a:lnTo>
                    <a:pt x="8537289" y="3147607"/>
                  </a:lnTo>
                  <a:lnTo>
                    <a:pt x="8555895" y="3137844"/>
                  </a:lnTo>
                  <a:cubicBezTo>
                    <a:pt x="8567753" y="3128803"/>
                    <a:pt x="8582613" y="3144478"/>
                    <a:pt x="8572808" y="3155689"/>
                  </a:cubicBezTo>
                  <a:cubicBezTo>
                    <a:pt x="8570103" y="3158778"/>
                    <a:pt x="8565799" y="3159546"/>
                    <a:pt x="8561660" y="3159647"/>
                  </a:cubicBezTo>
                  <a:cubicBezTo>
                    <a:pt x="8552844" y="3159859"/>
                    <a:pt x="8543507" y="3157791"/>
                    <a:pt x="8535891" y="3162341"/>
                  </a:cubicBezTo>
                  <a:cubicBezTo>
                    <a:pt x="8531294" y="3165086"/>
                    <a:pt x="8528275" y="3169831"/>
                    <a:pt x="8527758" y="3175133"/>
                  </a:cubicBezTo>
                  <a:lnTo>
                    <a:pt x="8513218" y="3175133"/>
                  </a:lnTo>
                  <a:lnTo>
                    <a:pt x="8494876" y="3160067"/>
                  </a:lnTo>
                  <a:lnTo>
                    <a:pt x="8485557" y="3141209"/>
                  </a:lnTo>
                  <a:close/>
                  <a:moveTo>
                    <a:pt x="9757145" y="3121400"/>
                  </a:moveTo>
                  <a:lnTo>
                    <a:pt x="9767628" y="3131784"/>
                  </a:lnTo>
                  <a:lnTo>
                    <a:pt x="9783812" y="3141102"/>
                  </a:lnTo>
                  <a:lnTo>
                    <a:pt x="9794237" y="3152181"/>
                  </a:lnTo>
                  <a:lnTo>
                    <a:pt x="9795001" y="3162787"/>
                  </a:lnTo>
                  <a:lnTo>
                    <a:pt x="9780317" y="3163514"/>
                  </a:lnTo>
                  <a:lnTo>
                    <a:pt x="9771448" y="3158967"/>
                  </a:lnTo>
                  <a:lnTo>
                    <a:pt x="9761784" y="3148616"/>
                  </a:lnTo>
                  <a:lnTo>
                    <a:pt x="9756000" y="3140313"/>
                  </a:lnTo>
                  <a:lnTo>
                    <a:pt x="9748316" y="3133334"/>
                  </a:lnTo>
                  <a:lnTo>
                    <a:pt x="9748262" y="3124498"/>
                  </a:lnTo>
                  <a:close/>
                  <a:moveTo>
                    <a:pt x="9697900" y="3085671"/>
                  </a:moveTo>
                  <a:lnTo>
                    <a:pt x="9719450" y="3102210"/>
                  </a:lnTo>
                  <a:lnTo>
                    <a:pt x="9728543" y="3112817"/>
                  </a:lnTo>
                  <a:lnTo>
                    <a:pt x="9727304" y="3125161"/>
                  </a:lnTo>
                  <a:lnTo>
                    <a:pt x="9710043" y="3120141"/>
                  </a:lnTo>
                  <a:lnTo>
                    <a:pt x="9695579" y="3108021"/>
                  </a:lnTo>
                  <a:lnTo>
                    <a:pt x="9682942" y="3099182"/>
                  </a:lnTo>
                  <a:close/>
                  <a:moveTo>
                    <a:pt x="8049112" y="3057565"/>
                  </a:moveTo>
                  <a:lnTo>
                    <a:pt x="8084408" y="3062788"/>
                  </a:lnTo>
                  <a:lnTo>
                    <a:pt x="8105531" y="3086041"/>
                  </a:lnTo>
                  <a:lnTo>
                    <a:pt x="8126883" y="3099169"/>
                  </a:lnTo>
                  <a:lnTo>
                    <a:pt x="8153206" y="3096140"/>
                  </a:lnTo>
                  <a:lnTo>
                    <a:pt x="8178286" y="3086378"/>
                  </a:lnTo>
                  <a:lnTo>
                    <a:pt x="8201602" y="3080652"/>
                  </a:lnTo>
                  <a:lnTo>
                    <a:pt x="8222878" y="3091723"/>
                  </a:lnTo>
                  <a:lnTo>
                    <a:pt x="8240166" y="3108178"/>
                  </a:lnTo>
                  <a:lnTo>
                    <a:pt x="8260169" y="3113186"/>
                  </a:lnTo>
                  <a:lnTo>
                    <a:pt x="8286614" y="3113186"/>
                  </a:lnTo>
                  <a:lnTo>
                    <a:pt x="8325270" y="3131366"/>
                  </a:lnTo>
                  <a:lnTo>
                    <a:pt x="8327341" y="3143072"/>
                  </a:lnTo>
                  <a:lnTo>
                    <a:pt x="8318229" y="3151109"/>
                  </a:lnTo>
                  <a:lnTo>
                    <a:pt x="8302337" y="3152120"/>
                  </a:lnTo>
                  <a:lnTo>
                    <a:pt x="8272165" y="3141343"/>
                  </a:lnTo>
                  <a:lnTo>
                    <a:pt x="8226437" y="3137302"/>
                  </a:lnTo>
                  <a:lnTo>
                    <a:pt x="8167871" y="3137302"/>
                  </a:lnTo>
                  <a:lnTo>
                    <a:pt x="8147868" y="3127540"/>
                  </a:lnTo>
                  <a:lnTo>
                    <a:pt x="8131255" y="3117104"/>
                  </a:lnTo>
                  <a:lnTo>
                    <a:pt x="8115026" y="3116137"/>
                  </a:lnTo>
                  <a:lnTo>
                    <a:pt x="8095054" y="3126231"/>
                  </a:lnTo>
                  <a:cubicBezTo>
                    <a:pt x="8088289" y="3126695"/>
                    <a:pt x="8081509" y="3126586"/>
                    <a:pt x="8074759" y="3125899"/>
                  </a:cubicBezTo>
                  <a:cubicBezTo>
                    <a:pt x="8061046" y="3124511"/>
                    <a:pt x="8047685" y="3120777"/>
                    <a:pt x="8035260" y="3114872"/>
                  </a:cubicBezTo>
                  <a:cubicBezTo>
                    <a:pt x="8033235" y="3111335"/>
                    <a:pt x="8030489" y="3108240"/>
                    <a:pt x="8027237" y="3105780"/>
                  </a:cubicBezTo>
                  <a:cubicBezTo>
                    <a:pt x="8020902" y="3101004"/>
                    <a:pt x="8012956" y="3098832"/>
                    <a:pt x="8005056" y="3099717"/>
                  </a:cubicBezTo>
                  <a:lnTo>
                    <a:pt x="7996006" y="3087937"/>
                  </a:lnTo>
                  <a:lnTo>
                    <a:pt x="8007403" y="3072151"/>
                  </a:lnTo>
                  <a:lnTo>
                    <a:pt x="8018939" y="3068115"/>
                  </a:lnTo>
                  <a:close/>
                  <a:moveTo>
                    <a:pt x="9631549" y="3036176"/>
                  </a:moveTo>
                  <a:lnTo>
                    <a:pt x="9640606" y="3037438"/>
                  </a:lnTo>
                  <a:lnTo>
                    <a:pt x="9642588" y="3066495"/>
                  </a:lnTo>
                  <a:lnTo>
                    <a:pt x="9654279" y="3079344"/>
                  </a:lnTo>
                  <a:lnTo>
                    <a:pt x="9668109" y="3086444"/>
                  </a:lnTo>
                  <a:lnTo>
                    <a:pt x="9663025" y="3100583"/>
                  </a:lnTo>
                  <a:lnTo>
                    <a:pt x="9646505" y="3098087"/>
                  </a:lnTo>
                  <a:lnTo>
                    <a:pt x="9634556" y="3087484"/>
                  </a:lnTo>
                  <a:lnTo>
                    <a:pt x="9622388" y="3072426"/>
                  </a:lnTo>
                  <a:lnTo>
                    <a:pt x="9622369" y="3055791"/>
                  </a:lnTo>
                  <a:close/>
                  <a:moveTo>
                    <a:pt x="6327817" y="3016168"/>
                  </a:moveTo>
                  <a:lnTo>
                    <a:pt x="6343707" y="3020258"/>
                  </a:lnTo>
                  <a:lnTo>
                    <a:pt x="6343707" y="3035158"/>
                  </a:lnTo>
                  <a:lnTo>
                    <a:pt x="6336872" y="3043489"/>
                  </a:lnTo>
                  <a:lnTo>
                    <a:pt x="6323141" y="3036705"/>
                  </a:lnTo>
                  <a:lnTo>
                    <a:pt x="6321235" y="3027973"/>
                  </a:lnTo>
                  <a:close/>
                  <a:moveTo>
                    <a:pt x="9562442" y="2990152"/>
                  </a:moveTo>
                  <a:lnTo>
                    <a:pt x="9572583" y="3004244"/>
                  </a:lnTo>
                  <a:lnTo>
                    <a:pt x="9571819" y="3021417"/>
                  </a:lnTo>
                  <a:lnTo>
                    <a:pt x="9563681" y="3032999"/>
                  </a:lnTo>
                  <a:lnTo>
                    <a:pt x="9555292" y="3046637"/>
                  </a:lnTo>
                  <a:lnTo>
                    <a:pt x="9540828" y="3060969"/>
                  </a:lnTo>
                  <a:lnTo>
                    <a:pt x="9519530" y="3066966"/>
                  </a:lnTo>
                  <a:lnTo>
                    <a:pt x="9509682" y="3073753"/>
                  </a:lnTo>
                  <a:lnTo>
                    <a:pt x="9501320" y="3082813"/>
                  </a:lnTo>
                  <a:lnTo>
                    <a:pt x="9491718" y="3082088"/>
                  </a:lnTo>
                  <a:lnTo>
                    <a:pt x="9480786" y="3066430"/>
                  </a:lnTo>
                  <a:lnTo>
                    <a:pt x="9467118" y="3065671"/>
                  </a:lnTo>
                  <a:lnTo>
                    <a:pt x="9457169" y="3056645"/>
                  </a:lnTo>
                  <a:lnTo>
                    <a:pt x="9470046" y="3054371"/>
                  </a:lnTo>
                  <a:lnTo>
                    <a:pt x="9480989" y="3054371"/>
                  </a:lnTo>
                  <a:lnTo>
                    <a:pt x="9489918" y="3047585"/>
                  </a:lnTo>
                  <a:lnTo>
                    <a:pt x="9508085" y="3049859"/>
                  </a:lnTo>
                  <a:lnTo>
                    <a:pt x="9521512" y="3044586"/>
                  </a:lnTo>
                  <a:lnTo>
                    <a:pt x="9538792" y="3028456"/>
                  </a:lnTo>
                  <a:lnTo>
                    <a:pt x="9554598" y="3012108"/>
                  </a:lnTo>
                  <a:lnTo>
                    <a:pt x="9559391" y="2999410"/>
                  </a:lnTo>
                  <a:close/>
                  <a:moveTo>
                    <a:pt x="8831392" y="2936915"/>
                  </a:moveTo>
                  <a:cubicBezTo>
                    <a:pt x="8838080" y="2936915"/>
                    <a:pt x="8844769" y="2941254"/>
                    <a:pt x="8845271" y="2949932"/>
                  </a:cubicBezTo>
                  <a:cubicBezTo>
                    <a:pt x="8845674" y="2956931"/>
                    <a:pt x="8839283" y="2961685"/>
                    <a:pt x="8833064" y="2965418"/>
                  </a:cubicBezTo>
                  <a:cubicBezTo>
                    <a:pt x="8828006" y="2968453"/>
                    <a:pt x="8822936" y="2971471"/>
                    <a:pt x="8817850" y="2974467"/>
                  </a:cubicBezTo>
                  <a:lnTo>
                    <a:pt x="8800643" y="2973499"/>
                  </a:lnTo>
                  <a:lnTo>
                    <a:pt x="8796237" y="2961754"/>
                  </a:lnTo>
                  <a:lnTo>
                    <a:pt x="8773902" y="2963775"/>
                  </a:lnTo>
                  <a:lnTo>
                    <a:pt x="8762710" y="2950605"/>
                  </a:lnTo>
                  <a:lnTo>
                    <a:pt x="8766655" y="2939552"/>
                  </a:lnTo>
                  <a:lnTo>
                    <a:pt x="8784538" y="2937531"/>
                  </a:lnTo>
                  <a:lnTo>
                    <a:pt x="8801319" y="2947577"/>
                  </a:lnTo>
                  <a:lnTo>
                    <a:pt x="8817512" y="2949932"/>
                  </a:lnTo>
                  <a:cubicBezTo>
                    <a:pt x="8818013" y="2941254"/>
                    <a:pt x="8824702" y="2936915"/>
                    <a:pt x="8831392" y="2936915"/>
                  </a:cubicBezTo>
                  <a:close/>
                  <a:moveTo>
                    <a:pt x="9518652" y="2934081"/>
                  </a:moveTo>
                  <a:lnTo>
                    <a:pt x="9531433" y="2936917"/>
                  </a:lnTo>
                  <a:lnTo>
                    <a:pt x="9544879" y="2943927"/>
                  </a:lnTo>
                  <a:lnTo>
                    <a:pt x="9567700" y="2962581"/>
                  </a:lnTo>
                  <a:lnTo>
                    <a:pt x="9594305" y="2978491"/>
                  </a:lnTo>
                  <a:lnTo>
                    <a:pt x="9603427" y="3010278"/>
                  </a:lnTo>
                  <a:lnTo>
                    <a:pt x="9587661" y="3009520"/>
                  </a:lnTo>
                  <a:lnTo>
                    <a:pt x="9581560" y="2988149"/>
                  </a:lnTo>
                  <a:lnTo>
                    <a:pt x="9567321" y="2973503"/>
                  </a:lnTo>
                  <a:lnTo>
                    <a:pt x="9552828" y="2961382"/>
                  </a:lnTo>
                  <a:lnTo>
                    <a:pt x="9535285" y="2950019"/>
                  </a:lnTo>
                  <a:lnTo>
                    <a:pt x="9516396" y="2942826"/>
                  </a:lnTo>
                  <a:close/>
                  <a:moveTo>
                    <a:pt x="8927585" y="2858207"/>
                  </a:moveTo>
                  <a:lnTo>
                    <a:pt x="8947927" y="2858423"/>
                  </a:lnTo>
                  <a:lnTo>
                    <a:pt x="8951703" y="2878561"/>
                  </a:lnTo>
                  <a:lnTo>
                    <a:pt x="8962118" y="2893696"/>
                  </a:lnTo>
                  <a:lnTo>
                    <a:pt x="8967965" y="2902712"/>
                  </a:lnTo>
                  <a:lnTo>
                    <a:pt x="8963397" y="2921374"/>
                  </a:lnTo>
                  <a:lnTo>
                    <a:pt x="8964189" y="2932730"/>
                  </a:lnTo>
                  <a:lnTo>
                    <a:pt x="8978623" y="2947091"/>
                  </a:lnTo>
                  <a:lnTo>
                    <a:pt x="8990043" y="2959473"/>
                  </a:lnTo>
                  <a:lnTo>
                    <a:pt x="9004021" y="2972340"/>
                  </a:lnTo>
                  <a:cubicBezTo>
                    <a:pt x="9007279" y="2969407"/>
                    <a:pt x="9010172" y="2966114"/>
                    <a:pt x="9012639" y="2962496"/>
                  </a:cubicBezTo>
                  <a:cubicBezTo>
                    <a:pt x="9016659" y="2956629"/>
                    <a:pt x="9019491" y="2950025"/>
                    <a:pt x="9020983" y="2943078"/>
                  </a:cubicBezTo>
                  <a:lnTo>
                    <a:pt x="9032189" y="2938795"/>
                  </a:lnTo>
                  <a:lnTo>
                    <a:pt x="9052532" y="2928951"/>
                  </a:lnTo>
                  <a:lnTo>
                    <a:pt x="9069250" y="2919125"/>
                  </a:lnTo>
                  <a:lnTo>
                    <a:pt x="9081431" y="2909281"/>
                  </a:lnTo>
                  <a:lnTo>
                    <a:pt x="9092881" y="2896395"/>
                  </a:lnTo>
                  <a:lnTo>
                    <a:pt x="9113985" y="2896395"/>
                  </a:lnTo>
                  <a:cubicBezTo>
                    <a:pt x="9116299" y="2898915"/>
                    <a:pt x="9118583" y="2901434"/>
                    <a:pt x="9120836" y="2903972"/>
                  </a:cubicBezTo>
                  <a:cubicBezTo>
                    <a:pt x="9124460" y="2907985"/>
                    <a:pt x="9127993" y="2912034"/>
                    <a:pt x="9131525" y="2916102"/>
                  </a:cubicBezTo>
                  <a:lnTo>
                    <a:pt x="9151106" y="2924938"/>
                  </a:lnTo>
                  <a:lnTo>
                    <a:pt x="9171235" y="2929347"/>
                  </a:lnTo>
                  <a:lnTo>
                    <a:pt x="9191029" y="2940685"/>
                  </a:lnTo>
                  <a:lnTo>
                    <a:pt x="9223065" y="2948261"/>
                  </a:lnTo>
                  <a:lnTo>
                    <a:pt x="9244412" y="2958609"/>
                  </a:lnTo>
                  <a:lnTo>
                    <a:pt x="9286863" y="2970487"/>
                  </a:lnTo>
                  <a:lnTo>
                    <a:pt x="9314331" y="2991165"/>
                  </a:lnTo>
                  <a:lnTo>
                    <a:pt x="9346611" y="3015658"/>
                  </a:lnTo>
                  <a:lnTo>
                    <a:pt x="9375602" y="3028525"/>
                  </a:lnTo>
                  <a:lnTo>
                    <a:pt x="9394665" y="3036569"/>
                  </a:lnTo>
                  <a:lnTo>
                    <a:pt x="9409922" y="3062016"/>
                  </a:lnTo>
                  <a:lnTo>
                    <a:pt x="9417565" y="3080445"/>
                  </a:lnTo>
                  <a:lnTo>
                    <a:pt x="9400299" y="3088543"/>
                  </a:lnTo>
                  <a:lnTo>
                    <a:pt x="9394513" y="3100871"/>
                  </a:lnTo>
                  <a:lnTo>
                    <a:pt x="9402400" y="3117031"/>
                  </a:lnTo>
                  <a:lnTo>
                    <a:pt x="9424265" y="3129413"/>
                  </a:lnTo>
                  <a:lnTo>
                    <a:pt x="9424995" y="3145826"/>
                  </a:lnTo>
                  <a:lnTo>
                    <a:pt x="9424995" y="3162940"/>
                  </a:lnTo>
                  <a:lnTo>
                    <a:pt x="9436659" y="3176761"/>
                  </a:lnTo>
                  <a:lnTo>
                    <a:pt x="9459529" y="3186569"/>
                  </a:lnTo>
                  <a:lnTo>
                    <a:pt x="9479110" y="3188855"/>
                  </a:lnTo>
                  <a:lnTo>
                    <a:pt x="9495036" y="3203900"/>
                  </a:lnTo>
                  <a:lnTo>
                    <a:pt x="9514099" y="3219053"/>
                  </a:lnTo>
                  <a:lnTo>
                    <a:pt x="9523966" y="3237103"/>
                  </a:lnTo>
                  <a:lnTo>
                    <a:pt x="9520921" y="3246929"/>
                  </a:lnTo>
                  <a:lnTo>
                    <a:pt x="9494214" y="3236599"/>
                  </a:lnTo>
                  <a:lnTo>
                    <a:pt x="9479231" y="3230822"/>
                  </a:lnTo>
                  <a:lnTo>
                    <a:pt x="9446982" y="3230067"/>
                  </a:lnTo>
                  <a:lnTo>
                    <a:pt x="9419514" y="3220978"/>
                  </a:lnTo>
                  <a:lnTo>
                    <a:pt x="9406054" y="3208867"/>
                  </a:lnTo>
                  <a:lnTo>
                    <a:pt x="9398441" y="3199545"/>
                  </a:lnTo>
                  <a:lnTo>
                    <a:pt x="9390828" y="3177571"/>
                  </a:lnTo>
                  <a:lnTo>
                    <a:pt x="9380139" y="3158891"/>
                  </a:lnTo>
                  <a:lnTo>
                    <a:pt x="9365674" y="3145268"/>
                  </a:lnTo>
                  <a:lnTo>
                    <a:pt x="9338967" y="3127325"/>
                  </a:lnTo>
                  <a:lnTo>
                    <a:pt x="9319204" y="3115268"/>
                  </a:lnTo>
                  <a:lnTo>
                    <a:pt x="9299897" y="3115268"/>
                  </a:lnTo>
                  <a:lnTo>
                    <a:pt x="9283361" y="3136953"/>
                  </a:lnTo>
                  <a:cubicBezTo>
                    <a:pt x="9282021" y="3140067"/>
                    <a:pt x="9280468" y="3143090"/>
                    <a:pt x="9278793" y="3146023"/>
                  </a:cubicBezTo>
                  <a:cubicBezTo>
                    <a:pt x="9275169" y="3152232"/>
                    <a:pt x="9270815" y="3157991"/>
                    <a:pt x="9265821" y="3163156"/>
                  </a:cubicBezTo>
                  <a:lnTo>
                    <a:pt x="9243743" y="3178273"/>
                  </a:lnTo>
                  <a:lnTo>
                    <a:pt x="9212742" y="3167673"/>
                  </a:lnTo>
                  <a:lnTo>
                    <a:pt x="9199008" y="3165406"/>
                  </a:lnTo>
                  <a:cubicBezTo>
                    <a:pt x="9194410" y="3168303"/>
                    <a:pt x="9188624" y="3168591"/>
                    <a:pt x="9183782" y="3166161"/>
                  </a:cubicBezTo>
                  <a:cubicBezTo>
                    <a:pt x="9179092" y="3163804"/>
                    <a:pt x="9175955" y="3159251"/>
                    <a:pt x="9175407" y="3154068"/>
                  </a:cubicBezTo>
                  <a:lnTo>
                    <a:pt x="9159146" y="3141686"/>
                  </a:lnTo>
                  <a:lnTo>
                    <a:pt x="9145412" y="3135640"/>
                  </a:lnTo>
                  <a:lnTo>
                    <a:pt x="9121202" y="3137151"/>
                  </a:lnTo>
                  <a:lnTo>
                    <a:pt x="9103204" y="3139383"/>
                  </a:lnTo>
                  <a:lnTo>
                    <a:pt x="9097906" y="3130547"/>
                  </a:lnTo>
                  <a:lnTo>
                    <a:pt x="9081918" y="3131302"/>
                  </a:lnTo>
                  <a:lnTo>
                    <a:pt x="9087978" y="3118489"/>
                  </a:lnTo>
                  <a:lnTo>
                    <a:pt x="9100190" y="3115466"/>
                  </a:lnTo>
                  <a:lnTo>
                    <a:pt x="9111853" y="3106431"/>
                  </a:lnTo>
                  <a:lnTo>
                    <a:pt x="9122755" y="3096839"/>
                  </a:lnTo>
                  <a:lnTo>
                    <a:pt x="9122724" y="3075982"/>
                  </a:lnTo>
                  <a:lnTo>
                    <a:pt x="9109752" y="3052496"/>
                  </a:lnTo>
                  <a:cubicBezTo>
                    <a:pt x="9107194" y="3047007"/>
                    <a:pt x="9103874" y="3041914"/>
                    <a:pt x="9099824" y="3037361"/>
                  </a:cubicBezTo>
                  <a:cubicBezTo>
                    <a:pt x="9094191" y="3031009"/>
                    <a:pt x="9087339" y="3025862"/>
                    <a:pt x="9079756" y="3021974"/>
                  </a:cubicBezTo>
                  <a:cubicBezTo>
                    <a:pt x="9068001" y="3015928"/>
                    <a:pt x="9054846" y="3013048"/>
                    <a:pt x="9041599" y="3013642"/>
                  </a:cubicBezTo>
                  <a:lnTo>
                    <a:pt x="9032463" y="3002052"/>
                  </a:lnTo>
                  <a:lnTo>
                    <a:pt x="9018212" y="2995484"/>
                  </a:lnTo>
                  <a:lnTo>
                    <a:pt x="8994672" y="2981914"/>
                  </a:lnTo>
                  <a:cubicBezTo>
                    <a:pt x="8988277" y="2976839"/>
                    <a:pt x="8980786" y="2973294"/>
                    <a:pt x="8972807" y="2971566"/>
                  </a:cubicBezTo>
                  <a:cubicBezTo>
                    <a:pt x="8965285" y="2969911"/>
                    <a:pt x="8957459" y="2969911"/>
                    <a:pt x="8949937" y="2971566"/>
                  </a:cubicBezTo>
                  <a:lnTo>
                    <a:pt x="8932671" y="2973834"/>
                  </a:lnTo>
                  <a:lnTo>
                    <a:pt x="8917170" y="2962442"/>
                  </a:lnTo>
                  <a:lnTo>
                    <a:pt x="8917170" y="2948081"/>
                  </a:lnTo>
                  <a:lnTo>
                    <a:pt x="8933188" y="2937751"/>
                  </a:lnTo>
                  <a:lnTo>
                    <a:pt x="8939279" y="2924146"/>
                  </a:lnTo>
                  <a:lnTo>
                    <a:pt x="8930904" y="2914356"/>
                  </a:lnTo>
                  <a:lnTo>
                    <a:pt x="8912603" y="2905268"/>
                  </a:lnTo>
                  <a:lnTo>
                    <a:pt x="8883429" y="2896683"/>
                  </a:lnTo>
                  <a:lnTo>
                    <a:pt x="8866193" y="2887343"/>
                  </a:lnTo>
                  <a:lnTo>
                    <a:pt x="8867837" y="2876509"/>
                  </a:lnTo>
                  <a:lnTo>
                    <a:pt x="8876516" y="2877445"/>
                  </a:lnTo>
                  <a:lnTo>
                    <a:pt x="8897864" y="2874458"/>
                  </a:lnTo>
                  <a:lnTo>
                    <a:pt x="8904746" y="2858423"/>
                  </a:lnTo>
                  <a:close/>
                  <a:moveTo>
                    <a:pt x="4676177" y="2795669"/>
                  </a:moveTo>
                  <a:lnTo>
                    <a:pt x="4675181" y="2806410"/>
                  </a:lnTo>
                  <a:lnTo>
                    <a:pt x="4663036" y="2817015"/>
                  </a:lnTo>
                  <a:lnTo>
                    <a:pt x="4652932" y="2807199"/>
                  </a:lnTo>
                  <a:lnTo>
                    <a:pt x="4658124" y="2799742"/>
                  </a:lnTo>
                  <a:close/>
                  <a:moveTo>
                    <a:pt x="8644783" y="2779496"/>
                  </a:moveTo>
                  <a:lnTo>
                    <a:pt x="8668303" y="2779619"/>
                  </a:lnTo>
                  <a:lnTo>
                    <a:pt x="8666604" y="2797993"/>
                  </a:lnTo>
                  <a:lnTo>
                    <a:pt x="8652705" y="2815792"/>
                  </a:lnTo>
                  <a:cubicBezTo>
                    <a:pt x="8650678" y="2821337"/>
                    <a:pt x="8647167" y="2826209"/>
                    <a:pt x="8642541" y="2829894"/>
                  </a:cubicBezTo>
                  <a:cubicBezTo>
                    <a:pt x="8636226" y="2834912"/>
                    <a:pt x="8628273" y="2837434"/>
                    <a:pt x="8620198" y="2836969"/>
                  </a:cubicBezTo>
                  <a:lnTo>
                    <a:pt x="8601211" y="2834276"/>
                  </a:lnTo>
                  <a:lnTo>
                    <a:pt x="8589349" y="2825854"/>
                  </a:lnTo>
                  <a:lnTo>
                    <a:pt x="8576125" y="2820468"/>
                  </a:lnTo>
                  <a:lnTo>
                    <a:pt x="8562226" y="2818778"/>
                  </a:lnTo>
                  <a:cubicBezTo>
                    <a:pt x="8552553" y="2817603"/>
                    <a:pt x="8542789" y="2817383"/>
                    <a:pt x="8533076" y="2818105"/>
                  </a:cubicBezTo>
                  <a:cubicBezTo>
                    <a:pt x="8524652" y="2818742"/>
                    <a:pt x="8516003" y="2820247"/>
                    <a:pt x="8509719" y="2825854"/>
                  </a:cubicBezTo>
                  <a:cubicBezTo>
                    <a:pt x="8504540" y="2830481"/>
                    <a:pt x="8501910" y="2837116"/>
                    <a:pt x="8500610" y="2843910"/>
                  </a:cubicBezTo>
                  <a:cubicBezTo>
                    <a:pt x="8499269" y="2850924"/>
                    <a:pt x="8499269" y="2858110"/>
                    <a:pt x="8500610" y="2865124"/>
                  </a:cubicBezTo>
                  <a:cubicBezTo>
                    <a:pt x="8505083" y="2873252"/>
                    <a:pt x="8511602" y="2880083"/>
                    <a:pt x="8519555" y="2884943"/>
                  </a:cubicBezTo>
                  <a:cubicBezTo>
                    <a:pt x="8523946" y="2887636"/>
                    <a:pt x="8528716" y="2889680"/>
                    <a:pt x="8533710" y="2891002"/>
                  </a:cubicBezTo>
                  <a:lnTo>
                    <a:pt x="8570874" y="2876239"/>
                  </a:lnTo>
                  <a:lnTo>
                    <a:pt x="8598253" y="2872187"/>
                  </a:lnTo>
                  <a:lnTo>
                    <a:pt x="8604354" y="2885995"/>
                  </a:lnTo>
                  <a:lnTo>
                    <a:pt x="8592573" y="2891002"/>
                  </a:lnTo>
                  <a:lnTo>
                    <a:pt x="8575286" y="2901101"/>
                  </a:lnTo>
                  <a:lnTo>
                    <a:pt x="8562062" y="2914236"/>
                  </a:lnTo>
                  <a:cubicBezTo>
                    <a:pt x="8558295" y="2922866"/>
                    <a:pt x="8557937" y="2932586"/>
                    <a:pt x="8561038" y="2941461"/>
                  </a:cubicBezTo>
                  <a:cubicBezTo>
                    <a:pt x="8563239" y="2947728"/>
                    <a:pt x="8567087" y="2953298"/>
                    <a:pt x="8572184" y="2957583"/>
                  </a:cubicBezTo>
                  <a:lnTo>
                    <a:pt x="8578633" y="2975724"/>
                  </a:lnTo>
                  <a:cubicBezTo>
                    <a:pt x="8583638" y="2982898"/>
                    <a:pt x="8583638" y="2992409"/>
                    <a:pt x="8578633" y="2999583"/>
                  </a:cubicBezTo>
                  <a:cubicBezTo>
                    <a:pt x="8576432" y="3002741"/>
                    <a:pt x="8573372" y="3005189"/>
                    <a:pt x="8569820" y="3006658"/>
                  </a:cubicBezTo>
                  <a:cubicBezTo>
                    <a:pt x="8563310" y="3004087"/>
                    <a:pt x="8557169" y="3000696"/>
                    <a:pt x="8551550" y="2996559"/>
                  </a:cubicBezTo>
                  <a:cubicBezTo>
                    <a:pt x="8546269" y="2992678"/>
                    <a:pt x="8541489" y="2988161"/>
                    <a:pt x="8537313" y="2983130"/>
                  </a:cubicBezTo>
                  <a:lnTo>
                    <a:pt x="8537313" y="2957925"/>
                  </a:lnTo>
                  <a:lnTo>
                    <a:pt x="8529514" y="2942428"/>
                  </a:lnTo>
                  <a:lnTo>
                    <a:pt x="8516751" y="2946431"/>
                  </a:lnTo>
                  <a:cubicBezTo>
                    <a:pt x="8508470" y="2948744"/>
                    <a:pt x="8501121" y="2953567"/>
                    <a:pt x="8495738" y="2960239"/>
                  </a:cubicBezTo>
                  <a:cubicBezTo>
                    <a:pt x="8491715" y="2965221"/>
                    <a:pt x="8488921" y="2971073"/>
                    <a:pt x="8487601" y="2977328"/>
                  </a:cubicBezTo>
                  <a:lnTo>
                    <a:pt x="8491664" y="2995469"/>
                  </a:lnTo>
                  <a:lnTo>
                    <a:pt x="8500825" y="3021054"/>
                  </a:lnTo>
                  <a:lnTo>
                    <a:pt x="8492688" y="3040872"/>
                  </a:lnTo>
                  <a:lnTo>
                    <a:pt x="8471665" y="3043908"/>
                  </a:lnTo>
                  <a:lnTo>
                    <a:pt x="8463528" y="3029096"/>
                  </a:lnTo>
                  <a:lnTo>
                    <a:pt x="8470651" y="3008886"/>
                  </a:lnTo>
                  <a:lnTo>
                    <a:pt x="8466578" y="2991760"/>
                  </a:lnTo>
                  <a:lnTo>
                    <a:pt x="8457438" y="2980694"/>
                  </a:lnTo>
                  <a:lnTo>
                    <a:pt x="8447223" y="2953763"/>
                  </a:lnTo>
                  <a:lnTo>
                    <a:pt x="8460191" y="2931533"/>
                  </a:lnTo>
                  <a:lnTo>
                    <a:pt x="8479484" y="2910711"/>
                  </a:lnTo>
                  <a:lnTo>
                    <a:pt x="8482534" y="2897233"/>
                  </a:lnTo>
                  <a:lnTo>
                    <a:pt x="8480508" y="2881074"/>
                  </a:lnTo>
                  <a:lnTo>
                    <a:pt x="8480477" y="2853801"/>
                  </a:lnTo>
                  <a:lnTo>
                    <a:pt x="8481286" y="2829233"/>
                  </a:lnTo>
                  <a:lnTo>
                    <a:pt x="8487243" y="2814115"/>
                  </a:lnTo>
                  <a:lnTo>
                    <a:pt x="8519668" y="2801996"/>
                  </a:lnTo>
                  <a:lnTo>
                    <a:pt x="8544693" y="2799976"/>
                  </a:lnTo>
                  <a:lnTo>
                    <a:pt x="8559810" y="2801322"/>
                  </a:lnTo>
                  <a:lnTo>
                    <a:pt x="8592798" y="2802338"/>
                  </a:lnTo>
                  <a:lnTo>
                    <a:pt x="8606769" y="2812058"/>
                  </a:lnTo>
                  <a:lnTo>
                    <a:pt x="8620075" y="2810038"/>
                  </a:lnTo>
                  <a:lnTo>
                    <a:pt x="8636646" y="2797956"/>
                  </a:lnTo>
                  <a:close/>
                  <a:moveTo>
                    <a:pt x="4704828" y="2759984"/>
                  </a:moveTo>
                  <a:lnTo>
                    <a:pt x="4712672" y="2761324"/>
                  </a:lnTo>
                  <a:lnTo>
                    <a:pt x="4715726" y="2769125"/>
                  </a:lnTo>
                  <a:lnTo>
                    <a:pt x="4704960" y="2776344"/>
                  </a:lnTo>
                  <a:lnTo>
                    <a:pt x="4699366" y="2766811"/>
                  </a:lnTo>
                  <a:close/>
                  <a:moveTo>
                    <a:pt x="8777376" y="2746496"/>
                  </a:moveTo>
                  <a:lnTo>
                    <a:pt x="8785624" y="2758288"/>
                  </a:lnTo>
                  <a:lnTo>
                    <a:pt x="8769774" y="2766284"/>
                  </a:lnTo>
                  <a:lnTo>
                    <a:pt x="8766724" y="2776722"/>
                  </a:lnTo>
                  <a:lnTo>
                    <a:pt x="8771767" y="2791791"/>
                  </a:lnTo>
                  <a:lnTo>
                    <a:pt x="8778504" y="2808961"/>
                  </a:lnTo>
                  <a:lnTo>
                    <a:pt x="8778504" y="2827101"/>
                  </a:lnTo>
                  <a:lnTo>
                    <a:pt x="8776469" y="2845241"/>
                  </a:lnTo>
                  <a:lnTo>
                    <a:pt x="8762272" y="2850291"/>
                  </a:lnTo>
                  <a:lnTo>
                    <a:pt x="8744623" y="2837874"/>
                  </a:lnTo>
                  <a:lnTo>
                    <a:pt x="8745350" y="2822766"/>
                  </a:lnTo>
                  <a:lnTo>
                    <a:pt x="8751409" y="2814011"/>
                  </a:lnTo>
                  <a:lnTo>
                    <a:pt x="8756494" y="2804626"/>
                  </a:lnTo>
                  <a:lnTo>
                    <a:pt x="8752360" y="2791830"/>
                  </a:lnTo>
                  <a:lnTo>
                    <a:pt x="8747313" y="2774660"/>
                  </a:lnTo>
                  <a:lnTo>
                    <a:pt x="8756175" y="2763632"/>
                  </a:lnTo>
                  <a:lnTo>
                    <a:pt x="8763138" y="2751210"/>
                  </a:lnTo>
                  <a:close/>
                  <a:moveTo>
                    <a:pt x="4736710" y="2702170"/>
                  </a:moveTo>
                  <a:lnTo>
                    <a:pt x="4746824" y="2705512"/>
                  </a:lnTo>
                  <a:lnTo>
                    <a:pt x="4740977" y="2718530"/>
                  </a:lnTo>
                  <a:lnTo>
                    <a:pt x="4728058" y="2717654"/>
                  </a:lnTo>
                  <a:lnTo>
                    <a:pt x="4726123" y="2706701"/>
                  </a:lnTo>
                  <a:close/>
                  <a:moveTo>
                    <a:pt x="6892605" y="2670027"/>
                  </a:moveTo>
                  <a:lnTo>
                    <a:pt x="6903681" y="2679111"/>
                  </a:lnTo>
                  <a:lnTo>
                    <a:pt x="6893508" y="2690178"/>
                  </a:lnTo>
                  <a:lnTo>
                    <a:pt x="6882138" y="2678151"/>
                  </a:lnTo>
                  <a:close/>
                  <a:moveTo>
                    <a:pt x="7684313" y="2634300"/>
                  </a:moveTo>
                  <a:lnTo>
                    <a:pt x="7700540" y="2645772"/>
                  </a:lnTo>
                  <a:lnTo>
                    <a:pt x="7714103" y="2656495"/>
                  </a:lnTo>
                  <a:lnTo>
                    <a:pt x="7738173" y="2661541"/>
                  </a:lnTo>
                  <a:lnTo>
                    <a:pt x="7757162" y="2676696"/>
                  </a:lnTo>
                  <a:lnTo>
                    <a:pt x="7758861" y="2692138"/>
                  </a:lnTo>
                  <a:lnTo>
                    <a:pt x="7778814" y="2695131"/>
                  </a:lnTo>
                  <a:lnTo>
                    <a:pt x="7786952" y="2714334"/>
                  </a:lnTo>
                  <a:lnTo>
                    <a:pt x="7790988" y="2731503"/>
                  </a:lnTo>
                  <a:lnTo>
                    <a:pt x="7810303" y="2742610"/>
                  </a:lnTo>
                  <a:lnTo>
                    <a:pt x="7831661" y="2755406"/>
                  </a:lnTo>
                  <a:lnTo>
                    <a:pt x="7854032" y="2772498"/>
                  </a:lnTo>
                  <a:lnTo>
                    <a:pt x="7881126" y="2788267"/>
                  </a:lnTo>
                  <a:lnTo>
                    <a:pt x="7897401" y="2803096"/>
                  </a:lnTo>
                  <a:lnTo>
                    <a:pt x="7905866" y="2810501"/>
                  </a:lnTo>
                  <a:lnTo>
                    <a:pt x="7915360" y="2821263"/>
                  </a:lnTo>
                  <a:lnTo>
                    <a:pt x="7923498" y="2834269"/>
                  </a:lnTo>
                  <a:lnTo>
                    <a:pt x="7922518" y="2853088"/>
                  </a:lnTo>
                  <a:lnTo>
                    <a:pt x="7922518" y="2866171"/>
                  </a:lnTo>
                  <a:lnTo>
                    <a:pt x="7940150" y="2873538"/>
                  </a:lnTo>
                  <a:lnTo>
                    <a:pt x="7955968" y="2885201"/>
                  </a:lnTo>
                  <a:lnTo>
                    <a:pt x="7960037" y="2917180"/>
                  </a:lnTo>
                  <a:lnTo>
                    <a:pt x="7983078" y="2927923"/>
                  </a:lnTo>
                  <a:lnTo>
                    <a:pt x="7995971" y="2945016"/>
                  </a:lnTo>
                  <a:lnTo>
                    <a:pt x="8009191" y="2951058"/>
                  </a:lnTo>
                  <a:lnTo>
                    <a:pt x="8015287" y="2977321"/>
                  </a:lnTo>
                  <a:lnTo>
                    <a:pt x="8021055" y="2996485"/>
                  </a:lnTo>
                  <a:lnTo>
                    <a:pt x="8010923" y="3019371"/>
                  </a:lnTo>
                  <a:lnTo>
                    <a:pt x="7990628" y="3042602"/>
                  </a:lnTo>
                  <a:lnTo>
                    <a:pt x="7975708" y="3048664"/>
                  </a:lnTo>
                  <a:lnTo>
                    <a:pt x="7960920" y="3035581"/>
                  </a:lnTo>
                  <a:lnTo>
                    <a:pt x="7941980" y="3030574"/>
                  </a:lnTo>
                  <a:lnTo>
                    <a:pt x="7933156" y="3020464"/>
                  </a:lnTo>
                  <a:lnTo>
                    <a:pt x="7927437" y="3005981"/>
                  </a:lnTo>
                  <a:lnTo>
                    <a:pt x="7908791" y="2989541"/>
                  </a:lnTo>
                  <a:lnTo>
                    <a:pt x="7877988" y="2959614"/>
                  </a:lnTo>
                  <a:cubicBezTo>
                    <a:pt x="7864458" y="2952114"/>
                    <a:pt x="7855486" y="2938551"/>
                    <a:pt x="7853918" y="2923242"/>
                  </a:cubicBezTo>
                  <a:cubicBezTo>
                    <a:pt x="7852725" y="2911771"/>
                    <a:pt x="7855928" y="2899915"/>
                    <a:pt x="7852251" y="2888904"/>
                  </a:cubicBezTo>
                  <a:cubicBezTo>
                    <a:pt x="7848492" y="2877605"/>
                    <a:pt x="7838639" y="2869989"/>
                    <a:pt x="7829537" y="2862315"/>
                  </a:cubicBezTo>
                  <a:cubicBezTo>
                    <a:pt x="7820091" y="2854335"/>
                    <a:pt x="7811153" y="2845779"/>
                    <a:pt x="7802753" y="2836725"/>
                  </a:cubicBezTo>
                  <a:lnTo>
                    <a:pt x="7795645" y="2800698"/>
                  </a:lnTo>
                  <a:lnTo>
                    <a:pt x="7782425" y="2770426"/>
                  </a:lnTo>
                  <a:lnTo>
                    <a:pt x="7755037" y="2744644"/>
                  </a:lnTo>
                  <a:lnTo>
                    <a:pt x="7721636" y="2711475"/>
                  </a:lnTo>
                  <a:lnTo>
                    <a:pt x="7702027" y="2699716"/>
                  </a:lnTo>
                  <a:lnTo>
                    <a:pt x="7676338" y="2669176"/>
                  </a:lnTo>
                  <a:lnTo>
                    <a:pt x="7672269" y="2656706"/>
                  </a:lnTo>
                  <a:lnTo>
                    <a:pt x="7668086" y="2637830"/>
                  </a:lnTo>
                  <a:close/>
                  <a:moveTo>
                    <a:pt x="6905700" y="2620619"/>
                  </a:moveTo>
                  <a:lnTo>
                    <a:pt x="6902749" y="2632709"/>
                  </a:lnTo>
                  <a:lnTo>
                    <a:pt x="6899739" y="2645463"/>
                  </a:lnTo>
                  <a:lnTo>
                    <a:pt x="6885497" y="2644412"/>
                  </a:lnTo>
                  <a:lnTo>
                    <a:pt x="6893547" y="2624070"/>
                  </a:lnTo>
                  <a:close/>
                  <a:moveTo>
                    <a:pt x="8407160" y="2595870"/>
                  </a:moveTo>
                  <a:lnTo>
                    <a:pt x="8426549" y="2619430"/>
                  </a:lnTo>
                  <a:lnTo>
                    <a:pt x="8436671" y="2637555"/>
                  </a:lnTo>
                  <a:lnTo>
                    <a:pt x="8445785" y="2648638"/>
                  </a:lnTo>
                  <a:lnTo>
                    <a:pt x="8436640" y="2663780"/>
                  </a:lnTo>
                  <a:lnTo>
                    <a:pt x="8429175" y="2674563"/>
                  </a:lnTo>
                  <a:lnTo>
                    <a:pt x="8420061" y="2688029"/>
                  </a:lnTo>
                  <a:lnTo>
                    <a:pt x="8411923" y="2706877"/>
                  </a:lnTo>
                  <a:lnTo>
                    <a:pt x="8411923" y="2727032"/>
                  </a:lnTo>
                  <a:lnTo>
                    <a:pt x="8415649" y="2741168"/>
                  </a:lnTo>
                  <a:lnTo>
                    <a:pt x="8428839" y="2760316"/>
                  </a:lnTo>
                  <a:lnTo>
                    <a:pt x="8443709" y="2779817"/>
                  </a:lnTo>
                  <a:lnTo>
                    <a:pt x="8444732" y="2808425"/>
                  </a:lnTo>
                  <a:lnTo>
                    <a:pt x="8416335" y="2818202"/>
                  </a:lnTo>
                  <a:lnTo>
                    <a:pt x="8410229" y="2834280"/>
                  </a:lnTo>
                  <a:lnTo>
                    <a:pt x="8412610" y="2856499"/>
                  </a:lnTo>
                  <a:lnTo>
                    <a:pt x="8402779" y="2876653"/>
                  </a:lnTo>
                  <a:lnTo>
                    <a:pt x="8391283" y="2894125"/>
                  </a:lnTo>
                  <a:lnTo>
                    <a:pt x="8372978" y="2912214"/>
                  </a:lnTo>
                  <a:lnTo>
                    <a:pt x="8366062" y="2933392"/>
                  </a:lnTo>
                  <a:lnTo>
                    <a:pt x="8353940" y="2965335"/>
                  </a:lnTo>
                  <a:lnTo>
                    <a:pt x="8337117" y="2977071"/>
                  </a:lnTo>
                  <a:lnTo>
                    <a:pt x="8323422" y="2966976"/>
                  </a:lnTo>
                  <a:lnTo>
                    <a:pt x="8302461" y="2959229"/>
                  </a:lnTo>
                  <a:lnTo>
                    <a:pt x="8291561" y="2956529"/>
                  </a:lnTo>
                  <a:lnTo>
                    <a:pt x="8272538" y="2960570"/>
                  </a:lnTo>
                  <a:lnTo>
                    <a:pt x="8261668" y="2960570"/>
                  </a:lnTo>
                  <a:lnTo>
                    <a:pt x="8232097" y="2956529"/>
                  </a:lnTo>
                  <a:lnTo>
                    <a:pt x="8211807" y="2951870"/>
                  </a:lnTo>
                  <a:lnTo>
                    <a:pt x="8181366" y="2946804"/>
                  </a:lnTo>
                  <a:lnTo>
                    <a:pt x="8167534" y="2937804"/>
                  </a:lnTo>
                  <a:lnTo>
                    <a:pt x="8158511" y="2908843"/>
                  </a:lnTo>
                  <a:lnTo>
                    <a:pt x="8139382" y="2882247"/>
                  </a:lnTo>
                  <a:cubicBezTo>
                    <a:pt x="8135871" y="2873564"/>
                    <a:pt x="8132482" y="2864846"/>
                    <a:pt x="8129199" y="2856075"/>
                  </a:cubicBezTo>
                  <a:cubicBezTo>
                    <a:pt x="8124573" y="2843721"/>
                    <a:pt x="8120192" y="2831297"/>
                    <a:pt x="8116024" y="2818784"/>
                  </a:cubicBezTo>
                  <a:lnTo>
                    <a:pt x="8119032" y="2800642"/>
                  </a:lnTo>
                  <a:lnTo>
                    <a:pt x="8135245" y="2779517"/>
                  </a:lnTo>
                  <a:lnTo>
                    <a:pt x="8153214" y="2771434"/>
                  </a:lnTo>
                  <a:lnTo>
                    <a:pt x="8160328" y="2787600"/>
                  </a:lnTo>
                  <a:lnTo>
                    <a:pt x="8176266" y="2799336"/>
                  </a:lnTo>
                  <a:lnTo>
                    <a:pt x="8182022" y="2789577"/>
                  </a:lnTo>
                  <a:lnTo>
                    <a:pt x="8188129" y="2771399"/>
                  </a:lnTo>
                  <a:lnTo>
                    <a:pt x="8198938" y="2758639"/>
                  </a:lnTo>
                  <a:lnTo>
                    <a:pt x="8211136" y="2750557"/>
                  </a:lnTo>
                  <a:lnTo>
                    <a:pt x="8228051" y="2742474"/>
                  </a:lnTo>
                  <a:lnTo>
                    <a:pt x="8247379" y="2732379"/>
                  </a:lnTo>
                  <a:lnTo>
                    <a:pt x="8259195" y="2722655"/>
                  </a:lnTo>
                  <a:lnTo>
                    <a:pt x="8272386" y="2694453"/>
                  </a:lnTo>
                  <a:lnTo>
                    <a:pt x="8282843" y="2684693"/>
                  </a:lnTo>
                  <a:lnTo>
                    <a:pt x="8296751" y="2674934"/>
                  </a:lnTo>
                  <a:lnTo>
                    <a:pt x="8307927" y="2670893"/>
                  </a:lnTo>
                  <a:lnTo>
                    <a:pt x="8320476" y="2667186"/>
                  </a:lnTo>
                  <a:lnTo>
                    <a:pt x="8335651" y="2654144"/>
                  </a:lnTo>
                  <a:lnTo>
                    <a:pt x="8349895" y="2638314"/>
                  </a:lnTo>
                  <a:lnTo>
                    <a:pt x="8363787" y="2621478"/>
                  </a:lnTo>
                  <a:lnTo>
                    <a:pt x="8386138" y="2599082"/>
                  </a:lnTo>
                  <a:close/>
                  <a:moveTo>
                    <a:pt x="6870272" y="2589682"/>
                  </a:moveTo>
                  <a:lnTo>
                    <a:pt x="6878742" y="2598674"/>
                  </a:lnTo>
                  <a:lnTo>
                    <a:pt x="6869289" y="2610040"/>
                  </a:lnTo>
                  <a:lnTo>
                    <a:pt x="6859908" y="2601041"/>
                  </a:lnTo>
                  <a:close/>
                  <a:moveTo>
                    <a:pt x="9759010" y="2562087"/>
                  </a:moveTo>
                  <a:lnTo>
                    <a:pt x="9778076" y="2571933"/>
                  </a:lnTo>
                  <a:lnTo>
                    <a:pt x="9765443" y="2591021"/>
                  </a:lnTo>
                  <a:close/>
                  <a:moveTo>
                    <a:pt x="8968106" y="2542788"/>
                  </a:moveTo>
                  <a:lnTo>
                    <a:pt x="8977069" y="2547727"/>
                  </a:lnTo>
                  <a:lnTo>
                    <a:pt x="8977069" y="2559566"/>
                  </a:lnTo>
                  <a:lnTo>
                    <a:pt x="8962647" y="2565596"/>
                  </a:lnTo>
                  <a:lnTo>
                    <a:pt x="8958747" y="2546888"/>
                  </a:lnTo>
                  <a:close/>
                  <a:moveTo>
                    <a:pt x="7143713" y="2495374"/>
                  </a:moveTo>
                  <a:lnTo>
                    <a:pt x="7158207" y="2496340"/>
                  </a:lnTo>
                  <a:lnTo>
                    <a:pt x="7165988" y="2518886"/>
                  </a:lnTo>
                  <a:lnTo>
                    <a:pt x="7179253" y="2538077"/>
                  </a:lnTo>
                  <a:lnTo>
                    <a:pt x="7192432" y="2548174"/>
                  </a:lnTo>
                  <a:lnTo>
                    <a:pt x="7203621" y="2573768"/>
                  </a:lnTo>
                  <a:lnTo>
                    <a:pt x="7197856" y="2589211"/>
                  </a:lnTo>
                  <a:lnTo>
                    <a:pt x="7174125" y="2610042"/>
                  </a:lnTo>
                  <a:lnTo>
                    <a:pt x="7147466" y="2604994"/>
                  </a:lnTo>
                  <a:lnTo>
                    <a:pt x="7140390" y="2592996"/>
                  </a:lnTo>
                  <a:lnTo>
                    <a:pt x="7136612" y="2565428"/>
                  </a:lnTo>
                  <a:lnTo>
                    <a:pt x="7127502" y="2537148"/>
                  </a:lnTo>
                  <a:lnTo>
                    <a:pt x="7128507" y="2520314"/>
                  </a:lnTo>
                  <a:close/>
                  <a:moveTo>
                    <a:pt x="8676440" y="2479195"/>
                  </a:moveTo>
                  <a:lnTo>
                    <a:pt x="8683584" y="2504056"/>
                  </a:lnTo>
                  <a:lnTo>
                    <a:pt x="8687650" y="2531328"/>
                  </a:lnTo>
                  <a:cubicBezTo>
                    <a:pt x="8691639" y="2538774"/>
                    <a:pt x="8695483" y="2546294"/>
                    <a:pt x="8699181" y="2553888"/>
                  </a:cubicBezTo>
                  <a:cubicBezTo>
                    <a:pt x="8703569" y="2562885"/>
                    <a:pt x="8707749" y="2571979"/>
                    <a:pt x="8711723" y="2581160"/>
                  </a:cubicBezTo>
                  <a:cubicBezTo>
                    <a:pt x="8721662" y="2585931"/>
                    <a:pt x="8722244" y="2599772"/>
                    <a:pt x="8712741" y="2605359"/>
                  </a:cubicBezTo>
                  <a:cubicBezTo>
                    <a:pt x="8708599" y="2607792"/>
                    <a:pt x="8703392" y="2607528"/>
                    <a:pt x="8699518" y="2604683"/>
                  </a:cubicBezTo>
                  <a:lnTo>
                    <a:pt x="8697527" y="2584901"/>
                  </a:lnTo>
                  <a:lnTo>
                    <a:pt x="8679258" y="2580866"/>
                  </a:lnTo>
                  <a:lnTo>
                    <a:pt x="8668071" y="2587599"/>
                  </a:lnTo>
                  <a:lnTo>
                    <a:pt x="8669090" y="2604433"/>
                  </a:lnTo>
                  <a:lnTo>
                    <a:pt x="8687696" y="2618532"/>
                  </a:lnTo>
                  <a:lnTo>
                    <a:pt x="8686678" y="2627875"/>
                  </a:lnTo>
                  <a:lnTo>
                    <a:pt x="8670062" y="2622825"/>
                  </a:lnTo>
                  <a:lnTo>
                    <a:pt x="8658914" y="2630565"/>
                  </a:lnTo>
                  <a:lnTo>
                    <a:pt x="8646372" y="2637975"/>
                  </a:lnTo>
                  <a:lnTo>
                    <a:pt x="8637896" y="2624927"/>
                  </a:lnTo>
                  <a:lnTo>
                    <a:pt x="8623440" y="2598912"/>
                  </a:lnTo>
                  <a:lnTo>
                    <a:pt x="8623440" y="2578756"/>
                  </a:lnTo>
                  <a:lnTo>
                    <a:pt x="8610224" y="2562591"/>
                  </a:lnTo>
                  <a:lnTo>
                    <a:pt x="8598394" y="2558592"/>
                  </a:lnTo>
                  <a:lnTo>
                    <a:pt x="8584581" y="2574081"/>
                  </a:lnTo>
                  <a:lnTo>
                    <a:pt x="8556856" y="2573074"/>
                  </a:lnTo>
                  <a:lnTo>
                    <a:pt x="8564735" y="2559056"/>
                  </a:lnTo>
                  <a:lnTo>
                    <a:pt x="8569551" y="2539862"/>
                  </a:lnTo>
                  <a:lnTo>
                    <a:pt x="8587636" y="2532791"/>
                  </a:lnTo>
                  <a:lnTo>
                    <a:pt x="8603785" y="2543905"/>
                  </a:lnTo>
                  <a:lnTo>
                    <a:pt x="8618256" y="2544876"/>
                  </a:lnTo>
                  <a:lnTo>
                    <a:pt x="8629083" y="2531784"/>
                  </a:lnTo>
                  <a:lnTo>
                    <a:pt x="8646081" y="2519618"/>
                  </a:lnTo>
                  <a:lnTo>
                    <a:pt x="8663294" y="2504710"/>
                  </a:lnTo>
                  <a:lnTo>
                    <a:pt x="8664572" y="2480202"/>
                  </a:lnTo>
                  <a:close/>
                  <a:moveTo>
                    <a:pt x="8573750" y="2459493"/>
                  </a:moveTo>
                  <a:lnTo>
                    <a:pt x="8585572" y="2464986"/>
                  </a:lnTo>
                  <a:lnTo>
                    <a:pt x="8594940" y="2470710"/>
                  </a:lnTo>
                  <a:lnTo>
                    <a:pt x="8597950" y="2483842"/>
                  </a:lnTo>
                  <a:lnTo>
                    <a:pt x="8590871" y="2493859"/>
                  </a:lnTo>
                  <a:lnTo>
                    <a:pt x="8590871" y="2510315"/>
                  </a:lnTo>
                  <a:lnTo>
                    <a:pt x="8574720" y="2514397"/>
                  </a:lnTo>
                  <a:lnTo>
                    <a:pt x="8569638" y="2503625"/>
                  </a:lnTo>
                  <a:lnTo>
                    <a:pt x="8561584" y="2497565"/>
                  </a:lnTo>
                  <a:lnTo>
                    <a:pt x="8560666" y="2483798"/>
                  </a:lnTo>
                  <a:lnTo>
                    <a:pt x="8570146" y="2471280"/>
                  </a:lnTo>
                  <a:close/>
                  <a:moveTo>
                    <a:pt x="2373053" y="2442064"/>
                  </a:moveTo>
                  <a:lnTo>
                    <a:pt x="2384971" y="2443611"/>
                  </a:lnTo>
                  <a:lnTo>
                    <a:pt x="2393329" y="2443120"/>
                  </a:lnTo>
                  <a:lnTo>
                    <a:pt x="2397112" y="2448897"/>
                  </a:lnTo>
                  <a:lnTo>
                    <a:pt x="2390276" y="2458463"/>
                  </a:lnTo>
                  <a:lnTo>
                    <a:pt x="2388752" y="2468246"/>
                  </a:lnTo>
                  <a:lnTo>
                    <a:pt x="2386495" y="2480591"/>
                  </a:lnTo>
                  <a:lnTo>
                    <a:pt x="2366406" y="2480591"/>
                  </a:lnTo>
                  <a:lnTo>
                    <a:pt x="2357946" y="2471530"/>
                  </a:lnTo>
                  <a:lnTo>
                    <a:pt x="2363256" y="2462469"/>
                  </a:lnTo>
                  <a:lnTo>
                    <a:pt x="2370034" y="2453474"/>
                  </a:lnTo>
                  <a:lnTo>
                    <a:pt x="2363053" y="2446939"/>
                  </a:lnTo>
                  <a:close/>
                  <a:moveTo>
                    <a:pt x="8458445" y="2438541"/>
                  </a:moveTo>
                  <a:lnTo>
                    <a:pt x="8471184" y="2448188"/>
                  </a:lnTo>
                  <a:lnTo>
                    <a:pt x="8463466" y="2470658"/>
                  </a:lnTo>
                  <a:lnTo>
                    <a:pt x="8445161" y="2494522"/>
                  </a:lnTo>
                  <a:lnTo>
                    <a:pt x="8437360" y="2503955"/>
                  </a:lnTo>
                  <a:lnTo>
                    <a:pt x="8428209" y="2517753"/>
                  </a:lnTo>
                  <a:lnTo>
                    <a:pt x="8412055" y="2528491"/>
                  </a:lnTo>
                  <a:cubicBezTo>
                    <a:pt x="8401158" y="2543780"/>
                    <a:pt x="8377108" y="2531984"/>
                    <a:pt x="8382709" y="2514094"/>
                  </a:cubicBezTo>
                  <a:cubicBezTo>
                    <a:pt x="8385501" y="2505178"/>
                    <a:pt x="8396363" y="2501718"/>
                    <a:pt x="8403854" y="2507360"/>
                  </a:cubicBezTo>
                  <a:lnTo>
                    <a:pt x="8417687" y="2497299"/>
                  </a:lnTo>
                  <a:lnTo>
                    <a:pt x="8417661" y="2475419"/>
                  </a:lnTo>
                  <a:lnTo>
                    <a:pt x="8428388" y="2463379"/>
                  </a:lnTo>
                  <a:lnTo>
                    <a:pt x="8446067" y="2446960"/>
                  </a:lnTo>
                  <a:close/>
                  <a:moveTo>
                    <a:pt x="8613128" y="2430708"/>
                  </a:moveTo>
                  <a:lnTo>
                    <a:pt x="8624318" y="2436097"/>
                  </a:lnTo>
                  <a:lnTo>
                    <a:pt x="8637844" y="2456666"/>
                  </a:lnTo>
                  <a:lnTo>
                    <a:pt x="8639879" y="2476410"/>
                  </a:lnTo>
                  <a:lnTo>
                    <a:pt x="8628353" y="2481713"/>
                  </a:lnTo>
                  <a:lnTo>
                    <a:pt x="8624368" y="2470053"/>
                  </a:lnTo>
                  <a:lnTo>
                    <a:pt x="8622333" y="2450187"/>
                  </a:lnTo>
                  <a:lnTo>
                    <a:pt x="8609938" y="2440423"/>
                  </a:lnTo>
                  <a:close/>
                  <a:moveTo>
                    <a:pt x="2406168" y="2415695"/>
                  </a:moveTo>
                  <a:lnTo>
                    <a:pt x="2415799" y="2418123"/>
                  </a:lnTo>
                  <a:lnTo>
                    <a:pt x="2420353" y="2432055"/>
                  </a:lnTo>
                  <a:lnTo>
                    <a:pt x="2403579" y="2432055"/>
                  </a:lnTo>
                  <a:lnTo>
                    <a:pt x="2398876" y="2422447"/>
                  </a:lnTo>
                  <a:close/>
                  <a:moveTo>
                    <a:pt x="8558012" y="2407480"/>
                  </a:moveTo>
                  <a:lnTo>
                    <a:pt x="8570855" y="2412567"/>
                  </a:lnTo>
                  <a:lnTo>
                    <a:pt x="8559029" y="2434370"/>
                  </a:lnTo>
                  <a:lnTo>
                    <a:pt x="8560003" y="2448470"/>
                  </a:lnTo>
                  <a:lnTo>
                    <a:pt x="8552205" y="2456469"/>
                  </a:lnTo>
                  <a:lnTo>
                    <a:pt x="8536312" y="2453439"/>
                  </a:lnTo>
                  <a:lnTo>
                    <a:pt x="8523164" y="2438663"/>
                  </a:lnTo>
                  <a:lnTo>
                    <a:pt x="8536080" y="2424316"/>
                  </a:lnTo>
                  <a:cubicBezTo>
                    <a:pt x="8537571" y="2422757"/>
                    <a:pt x="8539061" y="2421199"/>
                    <a:pt x="8540551" y="2419643"/>
                  </a:cubicBezTo>
                  <a:cubicBezTo>
                    <a:pt x="8542039" y="2418085"/>
                    <a:pt x="8543530" y="2416527"/>
                    <a:pt x="8545020" y="2414969"/>
                  </a:cubicBezTo>
                  <a:close/>
                  <a:moveTo>
                    <a:pt x="2379802" y="2391438"/>
                  </a:moveTo>
                  <a:lnTo>
                    <a:pt x="2387735" y="2398387"/>
                  </a:lnTo>
                  <a:lnTo>
                    <a:pt x="2383671" y="2413476"/>
                  </a:lnTo>
                  <a:lnTo>
                    <a:pt x="2373880" y="2411992"/>
                  </a:lnTo>
                  <a:lnTo>
                    <a:pt x="2371374" y="2401288"/>
                  </a:lnTo>
                  <a:close/>
                  <a:moveTo>
                    <a:pt x="8643171" y="2388507"/>
                  </a:moveTo>
                  <a:lnTo>
                    <a:pt x="8653556" y="2403074"/>
                  </a:lnTo>
                  <a:lnTo>
                    <a:pt x="8664321" y="2405091"/>
                  </a:lnTo>
                  <a:lnTo>
                    <a:pt x="8676102" y="2415152"/>
                  </a:lnTo>
                  <a:lnTo>
                    <a:pt x="8688945" y="2437585"/>
                  </a:lnTo>
                  <a:lnTo>
                    <a:pt x="8662541" y="2436574"/>
                  </a:lnTo>
                  <a:lnTo>
                    <a:pt x="8644909" y="2428917"/>
                  </a:lnTo>
                  <a:lnTo>
                    <a:pt x="8628949" y="2407743"/>
                  </a:lnTo>
                  <a:lnTo>
                    <a:pt x="8618377" y="2391743"/>
                  </a:lnTo>
                  <a:lnTo>
                    <a:pt x="8628544" y="2388712"/>
                  </a:lnTo>
                  <a:close/>
                  <a:moveTo>
                    <a:pt x="2136866" y="2363907"/>
                  </a:moveTo>
                  <a:lnTo>
                    <a:pt x="2145441" y="2371514"/>
                  </a:lnTo>
                  <a:lnTo>
                    <a:pt x="2154852" y="2390896"/>
                  </a:lnTo>
                  <a:lnTo>
                    <a:pt x="2142135" y="2398217"/>
                  </a:lnTo>
                  <a:lnTo>
                    <a:pt x="2132982" y="2383918"/>
                  </a:lnTo>
                  <a:lnTo>
                    <a:pt x="2130030" y="2375237"/>
                  </a:lnTo>
                  <a:close/>
                  <a:moveTo>
                    <a:pt x="2093988" y="2361920"/>
                  </a:moveTo>
                  <a:lnTo>
                    <a:pt x="2105085" y="2370005"/>
                  </a:lnTo>
                  <a:lnTo>
                    <a:pt x="2109599" y="2382093"/>
                  </a:lnTo>
                  <a:lnTo>
                    <a:pt x="2107598" y="2391438"/>
                  </a:lnTo>
                  <a:lnTo>
                    <a:pt x="2092402" y="2388470"/>
                  </a:lnTo>
                  <a:lnTo>
                    <a:pt x="2092049" y="2368929"/>
                  </a:lnTo>
                  <a:close/>
                  <a:moveTo>
                    <a:pt x="8493488" y="2357063"/>
                  </a:moveTo>
                  <a:lnTo>
                    <a:pt x="8512614" y="2370750"/>
                  </a:lnTo>
                  <a:lnTo>
                    <a:pt x="8524139" y="2397686"/>
                  </a:lnTo>
                  <a:lnTo>
                    <a:pt x="8504179" y="2398696"/>
                  </a:lnTo>
                  <a:lnTo>
                    <a:pt x="8496278" y="2386952"/>
                  </a:lnTo>
                  <a:lnTo>
                    <a:pt x="8482172" y="2364767"/>
                  </a:lnTo>
                  <a:close/>
                  <a:moveTo>
                    <a:pt x="2407876" y="2356310"/>
                  </a:moveTo>
                  <a:lnTo>
                    <a:pt x="2407062" y="2374399"/>
                  </a:lnTo>
                  <a:lnTo>
                    <a:pt x="2396030" y="2374683"/>
                  </a:lnTo>
                  <a:lnTo>
                    <a:pt x="2391516" y="2364449"/>
                  </a:lnTo>
                  <a:lnTo>
                    <a:pt x="2395550" y="2356936"/>
                  </a:lnTo>
                  <a:close/>
                  <a:moveTo>
                    <a:pt x="2477360" y="2344409"/>
                  </a:moveTo>
                  <a:lnTo>
                    <a:pt x="2481478" y="2354488"/>
                  </a:lnTo>
                  <a:lnTo>
                    <a:pt x="2495684" y="2363327"/>
                  </a:lnTo>
                  <a:lnTo>
                    <a:pt x="2486024" y="2366324"/>
                  </a:lnTo>
                  <a:lnTo>
                    <a:pt x="2469976" y="2365566"/>
                  </a:lnTo>
                  <a:lnTo>
                    <a:pt x="2470434" y="2354824"/>
                  </a:lnTo>
                  <a:close/>
                  <a:moveTo>
                    <a:pt x="2411206" y="2326036"/>
                  </a:moveTo>
                  <a:lnTo>
                    <a:pt x="2421839" y="2337431"/>
                  </a:lnTo>
                  <a:lnTo>
                    <a:pt x="2417467" y="2349710"/>
                  </a:lnTo>
                  <a:lnTo>
                    <a:pt x="2405478" y="2337686"/>
                  </a:lnTo>
                  <a:close/>
                  <a:moveTo>
                    <a:pt x="9258598" y="2305851"/>
                  </a:moveTo>
                  <a:lnTo>
                    <a:pt x="9272146" y="2312292"/>
                  </a:lnTo>
                  <a:lnTo>
                    <a:pt x="9269857" y="2337009"/>
                  </a:lnTo>
                  <a:lnTo>
                    <a:pt x="9254088" y="2335747"/>
                  </a:lnTo>
                  <a:lnTo>
                    <a:pt x="9253797" y="2312103"/>
                  </a:lnTo>
                  <a:close/>
                  <a:moveTo>
                    <a:pt x="2435095" y="2296082"/>
                  </a:moveTo>
                  <a:lnTo>
                    <a:pt x="2447619" y="2301917"/>
                  </a:lnTo>
                  <a:lnTo>
                    <a:pt x="2443073" y="2314764"/>
                  </a:lnTo>
                  <a:lnTo>
                    <a:pt x="2430781" y="2314764"/>
                  </a:lnTo>
                  <a:lnTo>
                    <a:pt x="2427559" y="2302365"/>
                  </a:lnTo>
                  <a:close/>
                  <a:moveTo>
                    <a:pt x="3655091" y="2272544"/>
                  </a:moveTo>
                  <a:lnTo>
                    <a:pt x="3664982" y="2280655"/>
                  </a:lnTo>
                  <a:lnTo>
                    <a:pt x="3660436" y="2290473"/>
                  </a:lnTo>
                  <a:lnTo>
                    <a:pt x="3646561" y="2285169"/>
                  </a:lnTo>
                  <a:lnTo>
                    <a:pt x="3648479" y="2276330"/>
                  </a:lnTo>
                  <a:close/>
                  <a:moveTo>
                    <a:pt x="3680800" y="2268377"/>
                  </a:moveTo>
                  <a:lnTo>
                    <a:pt x="3692975" y="2271377"/>
                  </a:lnTo>
                  <a:lnTo>
                    <a:pt x="3696641" y="2284985"/>
                  </a:lnTo>
                  <a:lnTo>
                    <a:pt x="3689044" y="2289216"/>
                  </a:lnTo>
                  <a:lnTo>
                    <a:pt x="3675426" y="2283438"/>
                  </a:lnTo>
                  <a:lnTo>
                    <a:pt x="3673072" y="2272864"/>
                  </a:lnTo>
                  <a:close/>
                  <a:moveTo>
                    <a:pt x="2427179" y="2264510"/>
                  </a:moveTo>
                  <a:lnTo>
                    <a:pt x="2433306" y="2276673"/>
                  </a:lnTo>
                  <a:lnTo>
                    <a:pt x="2422114" y="2281977"/>
                  </a:lnTo>
                  <a:lnTo>
                    <a:pt x="2414749" y="2275189"/>
                  </a:lnTo>
                  <a:lnTo>
                    <a:pt x="2418437" y="2266057"/>
                  </a:lnTo>
                  <a:close/>
                  <a:moveTo>
                    <a:pt x="3681877" y="2233097"/>
                  </a:moveTo>
                  <a:lnTo>
                    <a:pt x="3698237" y="2234541"/>
                  </a:lnTo>
                  <a:lnTo>
                    <a:pt x="3693475" y="2249457"/>
                  </a:lnTo>
                  <a:lnTo>
                    <a:pt x="3682474" y="2243105"/>
                  </a:lnTo>
                  <a:close/>
                  <a:moveTo>
                    <a:pt x="3651603" y="2231181"/>
                  </a:moveTo>
                  <a:lnTo>
                    <a:pt x="3656172" y="2247541"/>
                  </a:lnTo>
                  <a:lnTo>
                    <a:pt x="3640016" y="2247281"/>
                  </a:lnTo>
                  <a:lnTo>
                    <a:pt x="3639812" y="2235567"/>
                  </a:lnTo>
                  <a:close/>
                  <a:moveTo>
                    <a:pt x="9288812" y="2229466"/>
                  </a:moveTo>
                  <a:lnTo>
                    <a:pt x="9296426" y="2242371"/>
                  </a:lnTo>
                  <a:lnTo>
                    <a:pt x="9293311" y="2251339"/>
                  </a:lnTo>
                  <a:lnTo>
                    <a:pt x="9280066" y="2247928"/>
                  </a:lnTo>
                  <a:lnTo>
                    <a:pt x="9282154" y="2234770"/>
                  </a:lnTo>
                  <a:close/>
                  <a:moveTo>
                    <a:pt x="2421408" y="2225378"/>
                  </a:moveTo>
                  <a:lnTo>
                    <a:pt x="2423952" y="2235893"/>
                  </a:lnTo>
                  <a:lnTo>
                    <a:pt x="2418134" y="2246182"/>
                  </a:lnTo>
                  <a:lnTo>
                    <a:pt x="2410759" y="2259000"/>
                  </a:lnTo>
                  <a:lnTo>
                    <a:pt x="2403124" y="2250444"/>
                  </a:lnTo>
                  <a:lnTo>
                    <a:pt x="2404324" y="2237466"/>
                  </a:lnTo>
                  <a:lnTo>
                    <a:pt x="2408902" y="2228406"/>
                  </a:lnTo>
                  <a:close/>
                  <a:moveTo>
                    <a:pt x="2382225" y="2223618"/>
                  </a:moveTo>
                  <a:lnTo>
                    <a:pt x="2389195" y="2235784"/>
                  </a:lnTo>
                  <a:lnTo>
                    <a:pt x="2374860" y="2239978"/>
                  </a:lnTo>
                  <a:lnTo>
                    <a:pt x="2372835" y="2227913"/>
                  </a:lnTo>
                  <a:close/>
                  <a:moveTo>
                    <a:pt x="2328582" y="2200658"/>
                  </a:moveTo>
                  <a:lnTo>
                    <a:pt x="2340724" y="2207415"/>
                  </a:lnTo>
                  <a:lnTo>
                    <a:pt x="2348828" y="2211268"/>
                  </a:lnTo>
                  <a:lnTo>
                    <a:pt x="2357440" y="2214993"/>
                  </a:lnTo>
                  <a:lnTo>
                    <a:pt x="2352897" y="2223042"/>
                  </a:lnTo>
                  <a:lnTo>
                    <a:pt x="2338433" y="2223547"/>
                  </a:lnTo>
                  <a:lnTo>
                    <a:pt x="2321608" y="2209185"/>
                  </a:lnTo>
                  <a:close/>
                  <a:moveTo>
                    <a:pt x="3602886" y="2199686"/>
                  </a:moveTo>
                  <a:lnTo>
                    <a:pt x="3609252" y="2210421"/>
                  </a:lnTo>
                  <a:lnTo>
                    <a:pt x="3605631" y="2221784"/>
                  </a:lnTo>
                  <a:lnTo>
                    <a:pt x="3596171" y="2214343"/>
                  </a:lnTo>
                  <a:lnTo>
                    <a:pt x="3592892" y="2203514"/>
                  </a:lnTo>
                  <a:close/>
                  <a:moveTo>
                    <a:pt x="2405055" y="2185124"/>
                  </a:moveTo>
                  <a:lnTo>
                    <a:pt x="2413929" y="2195100"/>
                  </a:lnTo>
                  <a:lnTo>
                    <a:pt x="2424833" y="2199899"/>
                  </a:lnTo>
                  <a:lnTo>
                    <a:pt x="2418760" y="2208929"/>
                  </a:lnTo>
                  <a:lnTo>
                    <a:pt x="2402958" y="2207414"/>
                  </a:lnTo>
                  <a:lnTo>
                    <a:pt x="2399618" y="2192103"/>
                  </a:lnTo>
                  <a:close/>
                  <a:moveTo>
                    <a:pt x="2369363" y="2183013"/>
                  </a:moveTo>
                  <a:lnTo>
                    <a:pt x="2383189" y="2186770"/>
                  </a:lnTo>
                  <a:lnTo>
                    <a:pt x="2384813" y="2199746"/>
                  </a:lnTo>
                  <a:lnTo>
                    <a:pt x="2378232" y="2206535"/>
                  </a:lnTo>
                  <a:lnTo>
                    <a:pt x="2373430" y="2199810"/>
                  </a:lnTo>
                  <a:lnTo>
                    <a:pt x="2362527" y="2193277"/>
                  </a:lnTo>
                  <a:close/>
                  <a:moveTo>
                    <a:pt x="2272614" y="2178536"/>
                  </a:moveTo>
                  <a:lnTo>
                    <a:pt x="2288383" y="2183965"/>
                  </a:lnTo>
                  <a:lnTo>
                    <a:pt x="2283806" y="2197572"/>
                  </a:lnTo>
                  <a:lnTo>
                    <a:pt x="2262317" y="2191511"/>
                  </a:lnTo>
                  <a:lnTo>
                    <a:pt x="2259928" y="2182100"/>
                  </a:lnTo>
                  <a:close/>
                  <a:moveTo>
                    <a:pt x="8467558" y="2156446"/>
                  </a:moveTo>
                  <a:lnTo>
                    <a:pt x="8491167" y="2158506"/>
                  </a:lnTo>
                  <a:lnTo>
                    <a:pt x="8505230" y="2187823"/>
                  </a:lnTo>
                  <a:lnTo>
                    <a:pt x="8518454" y="2208987"/>
                  </a:lnTo>
                  <a:lnTo>
                    <a:pt x="8532017" y="2229526"/>
                  </a:lnTo>
                  <a:lnTo>
                    <a:pt x="8529001" y="2244974"/>
                  </a:lnTo>
                  <a:cubicBezTo>
                    <a:pt x="8525993" y="2250325"/>
                    <a:pt x="8522985" y="2255667"/>
                    <a:pt x="8519977" y="2261009"/>
                  </a:cubicBezTo>
                  <a:cubicBezTo>
                    <a:pt x="8516248" y="2267621"/>
                    <a:pt x="8512519" y="2274233"/>
                    <a:pt x="8508790" y="2280835"/>
                  </a:cubicBezTo>
                  <a:lnTo>
                    <a:pt x="8509467" y="2293290"/>
                  </a:lnTo>
                  <a:lnTo>
                    <a:pt x="8515189" y="2303684"/>
                  </a:lnTo>
                  <a:lnTo>
                    <a:pt x="8534473" y="2315763"/>
                  </a:lnTo>
                  <a:cubicBezTo>
                    <a:pt x="8534944" y="2324830"/>
                    <a:pt x="8541659" y="2332366"/>
                    <a:pt x="8550662" y="2333954"/>
                  </a:cubicBezTo>
                  <a:cubicBezTo>
                    <a:pt x="8554839" y="2334686"/>
                    <a:pt x="8559149" y="2333973"/>
                    <a:pt x="8562864" y="2331933"/>
                  </a:cubicBezTo>
                  <a:lnTo>
                    <a:pt x="8575062" y="2329754"/>
                  </a:lnTo>
                  <a:lnTo>
                    <a:pt x="8578965" y="2318415"/>
                  </a:lnTo>
                  <a:lnTo>
                    <a:pt x="8592773" y="2323383"/>
                  </a:lnTo>
                  <a:lnTo>
                    <a:pt x="8593207" y="2331585"/>
                  </a:lnTo>
                  <a:lnTo>
                    <a:pt x="8597998" y="2336899"/>
                  </a:lnTo>
                  <a:lnTo>
                    <a:pt x="8604397" y="2345610"/>
                  </a:lnTo>
                  <a:lnTo>
                    <a:pt x="8603000" y="2364339"/>
                  </a:lnTo>
                  <a:lnTo>
                    <a:pt x="8582994" y="2358661"/>
                  </a:lnTo>
                  <a:lnTo>
                    <a:pt x="8564688" y="2351586"/>
                  </a:lnTo>
                  <a:lnTo>
                    <a:pt x="8551508" y="2350576"/>
                  </a:lnTo>
                  <a:lnTo>
                    <a:pt x="8529134" y="2349565"/>
                  </a:lnTo>
                  <a:lnTo>
                    <a:pt x="8508452" y="2339132"/>
                  </a:lnTo>
                  <a:lnTo>
                    <a:pt x="8499295" y="2329363"/>
                  </a:lnTo>
                  <a:lnTo>
                    <a:pt x="8484041" y="2302096"/>
                  </a:lnTo>
                  <a:lnTo>
                    <a:pt x="8478024" y="2292029"/>
                  </a:lnTo>
                  <a:cubicBezTo>
                    <a:pt x="8468507" y="2287544"/>
                    <a:pt x="8460409" y="2280556"/>
                    <a:pt x="8454591" y="2271827"/>
                  </a:cubicBezTo>
                  <a:cubicBezTo>
                    <a:pt x="8449803" y="2264656"/>
                    <a:pt x="8446707" y="2256495"/>
                    <a:pt x="8445530" y="2247967"/>
                  </a:cubicBezTo>
                  <a:lnTo>
                    <a:pt x="8460461" y="2227091"/>
                  </a:lnTo>
                  <a:lnTo>
                    <a:pt x="8467918" y="2200537"/>
                  </a:lnTo>
                  <a:lnTo>
                    <a:pt x="8464535" y="2181008"/>
                  </a:lnTo>
                  <a:close/>
                  <a:moveTo>
                    <a:pt x="1843380" y="2154455"/>
                  </a:moveTo>
                  <a:lnTo>
                    <a:pt x="1856887" y="2155558"/>
                  </a:lnTo>
                  <a:lnTo>
                    <a:pt x="1870685" y="2158476"/>
                  </a:lnTo>
                  <a:lnTo>
                    <a:pt x="1881047" y="2162769"/>
                  </a:lnTo>
                  <a:lnTo>
                    <a:pt x="1896115" y="2170252"/>
                  </a:lnTo>
                  <a:lnTo>
                    <a:pt x="1894622" y="2180323"/>
                  </a:lnTo>
                  <a:lnTo>
                    <a:pt x="1879653" y="2185088"/>
                  </a:lnTo>
                  <a:lnTo>
                    <a:pt x="1856766" y="2180544"/>
                  </a:lnTo>
                  <a:lnTo>
                    <a:pt x="1836878" y="2174514"/>
                  </a:lnTo>
                  <a:lnTo>
                    <a:pt x="1823320" y="2160878"/>
                  </a:lnTo>
                  <a:close/>
                  <a:moveTo>
                    <a:pt x="2331454" y="2153925"/>
                  </a:moveTo>
                  <a:lnTo>
                    <a:pt x="2329738" y="2168662"/>
                  </a:lnTo>
                  <a:lnTo>
                    <a:pt x="2318194" y="2170285"/>
                  </a:lnTo>
                  <a:lnTo>
                    <a:pt x="2315095" y="2156962"/>
                  </a:lnTo>
                  <a:close/>
                  <a:moveTo>
                    <a:pt x="2232348" y="2153380"/>
                  </a:moveTo>
                  <a:lnTo>
                    <a:pt x="2247846" y="2159233"/>
                  </a:lnTo>
                  <a:lnTo>
                    <a:pt x="2255414" y="2169747"/>
                  </a:lnTo>
                  <a:lnTo>
                    <a:pt x="2238633" y="2182877"/>
                  </a:lnTo>
                  <a:cubicBezTo>
                    <a:pt x="2231224" y="2182121"/>
                    <a:pt x="2223905" y="2180684"/>
                    <a:pt x="2216766" y="2178586"/>
                  </a:cubicBezTo>
                  <a:cubicBezTo>
                    <a:pt x="2211834" y="2177138"/>
                    <a:pt x="2207001" y="2175376"/>
                    <a:pt x="2202296" y="2173314"/>
                  </a:cubicBezTo>
                  <a:lnTo>
                    <a:pt x="2199322" y="2166114"/>
                  </a:lnTo>
                  <a:lnTo>
                    <a:pt x="2206124" y="2156327"/>
                  </a:lnTo>
                  <a:lnTo>
                    <a:pt x="2217251" y="2154452"/>
                  </a:lnTo>
                  <a:close/>
                  <a:moveTo>
                    <a:pt x="2294202" y="2146969"/>
                  </a:moveTo>
                  <a:lnTo>
                    <a:pt x="2306173" y="2159747"/>
                  </a:lnTo>
                  <a:lnTo>
                    <a:pt x="2290980" y="2167321"/>
                  </a:lnTo>
                  <a:lnTo>
                    <a:pt x="2272554" y="2161322"/>
                  </a:lnTo>
                  <a:lnTo>
                    <a:pt x="2280216" y="2152273"/>
                  </a:lnTo>
                  <a:close/>
                  <a:moveTo>
                    <a:pt x="2054156" y="2113307"/>
                  </a:moveTo>
                  <a:lnTo>
                    <a:pt x="2073416" y="2114805"/>
                  </a:lnTo>
                  <a:lnTo>
                    <a:pt x="2101872" y="2117657"/>
                  </a:lnTo>
                  <a:lnTo>
                    <a:pt x="2130854" y="2127503"/>
                  </a:lnTo>
                  <a:lnTo>
                    <a:pt x="2142779" y="2137071"/>
                  </a:lnTo>
                  <a:lnTo>
                    <a:pt x="2163087" y="2142625"/>
                  </a:lnTo>
                  <a:lnTo>
                    <a:pt x="2165373" y="2153169"/>
                  </a:lnTo>
                  <a:lnTo>
                    <a:pt x="2156282" y="2158475"/>
                  </a:lnTo>
                  <a:lnTo>
                    <a:pt x="2142356" y="2158727"/>
                  </a:lnTo>
                  <a:cubicBezTo>
                    <a:pt x="2135343" y="2158691"/>
                    <a:pt x="2128350" y="2159454"/>
                    <a:pt x="2121512" y="2160998"/>
                  </a:cubicBezTo>
                  <a:cubicBezTo>
                    <a:pt x="2113787" y="2162740"/>
                    <a:pt x="2106321" y="2165469"/>
                    <a:pt x="2099419" y="2169332"/>
                  </a:cubicBezTo>
                  <a:cubicBezTo>
                    <a:pt x="2093560" y="2172615"/>
                    <a:pt x="2088174" y="2176681"/>
                    <a:pt x="2083437" y="2181420"/>
                  </a:cubicBezTo>
                  <a:cubicBezTo>
                    <a:pt x="2074869" y="2183796"/>
                    <a:pt x="2065754" y="2183273"/>
                    <a:pt x="2057526" y="2179935"/>
                  </a:cubicBezTo>
                  <a:cubicBezTo>
                    <a:pt x="2052107" y="2177739"/>
                    <a:pt x="2047247" y="2174374"/>
                    <a:pt x="2043291" y="2170090"/>
                  </a:cubicBezTo>
                  <a:lnTo>
                    <a:pt x="2021171" y="2173121"/>
                  </a:lnTo>
                  <a:lnTo>
                    <a:pt x="2003117" y="2178173"/>
                  </a:lnTo>
                  <a:lnTo>
                    <a:pt x="1984837" y="2172867"/>
                  </a:lnTo>
                  <a:lnTo>
                    <a:pt x="1962746" y="2172110"/>
                  </a:lnTo>
                  <a:lnTo>
                    <a:pt x="1942920" y="2163269"/>
                  </a:lnTo>
                  <a:lnTo>
                    <a:pt x="1951334" y="2153515"/>
                  </a:lnTo>
                  <a:cubicBezTo>
                    <a:pt x="1961035" y="2152790"/>
                    <a:pt x="1970779" y="2152804"/>
                    <a:pt x="1980471" y="2153548"/>
                  </a:cubicBezTo>
                  <a:cubicBezTo>
                    <a:pt x="1989204" y="2154217"/>
                    <a:pt x="1997885" y="2155483"/>
                    <a:pt x="2006431" y="2157333"/>
                  </a:cubicBezTo>
                  <a:lnTo>
                    <a:pt x="2026680" y="2156605"/>
                  </a:lnTo>
                  <a:lnTo>
                    <a:pt x="2037586" y="2145748"/>
                  </a:lnTo>
                  <a:lnTo>
                    <a:pt x="2021273" y="2130433"/>
                  </a:lnTo>
                  <a:lnTo>
                    <a:pt x="2026135" y="2120963"/>
                  </a:lnTo>
                  <a:lnTo>
                    <a:pt x="2040718" y="2115582"/>
                  </a:lnTo>
                  <a:close/>
                  <a:moveTo>
                    <a:pt x="8100441" y="2112344"/>
                  </a:moveTo>
                  <a:lnTo>
                    <a:pt x="8120911" y="2114738"/>
                  </a:lnTo>
                  <a:lnTo>
                    <a:pt x="8124774" y="2131813"/>
                  </a:lnTo>
                  <a:lnTo>
                    <a:pt x="8101761" y="2155001"/>
                  </a:lnTo>
                  <a:lnTo>
                    <a:pt x="8095660" y="2174150"/>
                  </a:lnTo>
                  <a:lnTo>
                    <a:pt x="8077774" y="2176508"/>
                  </a:lnTo>
                  <a:lnTo>
                    <a:pt x="8068659" y="2158370"/>
                  </a:lnTo>
                  <a:lnTo>
                    <a:pt x="8063558" y="2142210"/>
                  </a:lnTo>
                  <a:lnTo>
                    <a:pt x="8068078" y="2129160"/>
                  </a:lnTo>
                  <a:lnTo>
                    <a:pt x="8075776" y="2119435"/>
                  </a:lnTo>
                  <a:close/>
                  <a:moveTo>
                    <a:pt x="1731689" y="2111876"/>
                  </a:moveTo>
                  <a:lnTo>
                    <a:pt x="1745357" y="2122451"/>
                  </a:lnTo>
                  <a:lnTo>
                    <a:pt x="1734743" y="2133027"/>
                  </a:lnTo>
                  <a:lnTo>
                    <a:pt x="1717483" y="2130249"/>
                  </a:lnTo>
                  <a:lnTo>
                    <a:pt x="1713666" y="2119510"/>
                  </a:lnTo>
                  <a:lnTo>
                    <a:pt x="1719007" y="2113482"/>
                  </a:lnTo>
                  <a:close/>
                  <a:moveTo>
                    <a:pt x="1993048" y="2026178"/>
                  </a:moveTo>
                  <a:lnTo>
                    <a:pt x="2008472" y="2031515"/>
                  </a:lnTo>
                  <a:lnTo>
                    <a:pt x="2008439" y="2045375"/>
                  </a:lnTo>
                  <a:lnTo>
                    <a:pt x="1994008" y="2043134"/>
                  </a:lnTo>
                  <a:lnTo>
                    <a:pt x="1976207" y="2042123"/>
                  </a:lnTo>
                  <a:lnTo>
                    <a:pt x="1968489" y="2039061"/>
                  </a:lnTo>
                  <a:lnTo>
                    <a:pt x="1980114" y="2029967"/>
                  </a:lnTo>
                  <a:close/>
                  <a:moveTo>
                    <a:pt x="2063974" y="1996442"/>
                  </a:moveTo>
                  <a:lnTo>
                    <a:pt x="2073318" y="1997439"/>
                  </a:lnTo>
                  <a:lnTo>
                    <a:pt x="2076880" y="2007161"/>
                  </a:lnTo>
                  <a:lnTo>
                    <a:pt x="2063244" y="2014770"/>
                  </a:lnTo>
                  <a:lnTo>
                    <a:pt x="2049006" y="2018527"/>
                  </a:lnTo>
                  <a:lnTo>
                    <a:pt x="2037084" y="2026069"/>
                  </a:lnTo>
                  <a:lnTo>
                    <a:pt x="2028200" y="2013254"/>
                  </a:lnTo>
                  <a:lnTo>
                    <a:pt x="2041107" y="1999287"/>
                  </a:lnTo>
                  <a:lnTo>
                    <a:pt x="2052069" y="1999317"/>
                  </a:lnTo>
                  <a:close/>
                  <a:moveTo>
                    <a:pt x="1754246" y="1991652"/>
                  </a:moveTo>
                  <a:lnTo>
                    <a:pt x="1781982" y="1995455"/>
                  </a:lnTo>
                  <a:lnTo>
                    <a:pt x="1803185" y="1999214"/>
                  </a:lnTo>
                  <a:lnTo>
                    <a:pt x="1834933" y="2004992"/>
                  </a:lnTo>
                  <a:lnTo>
                    <a:pt x="1868441" y="2025164"/>
                  </a:lnTo>
                  <a:lnTo>
                    <a:pt x="1905526" y="2049122"/>
                  </a:lnTo>
                  <a:cubicBezTo>
                    <a:pt x="1914781" y="2052566"/>
                    <a:pt x="1924006" y="2056016"/>
                    <a:pt x="1933246" y="2059477"/>
                  </a:cubicBezTo>
                  <a:cubicBezTo>
                    <a:pt x="1943343" y="2063252"/>
                    <a:pt x="1953422" y="2067039"/>
                    <a:pt x="1963503" y="2070837"/>
                  </a:cubicBezTo>
                  <a:lnTo>
                    <a:pt x="1986137" y="2084221"/>
                  </a:lnTo>
                  <a:lnTo>
                    <a:pt x="1985886" y="2097577"/>
                  </a:lnTo>
                  <a:lnTo>
                    <a:pt x="1976724" y="2098335"/>
                  </a:lnTo>
                  <a:lnTo>
                    <a:pt x="1960703" y="2104898"/>
                  </a:lnTo>
                  <a:cubicBezTo>
                    <a:pt x="1957715" y="2107759"/>
                    <a:pt x="1954060" y="2109834"/>
                    <a:pt x="1950063" y="2110928"/>
                  </a:cubicBezTo>
                  <a:cubicBezTo>
                    <a:pt x="1943156" y="2112818"/>
                    <a:pt x="1935767" y="2111719"/>
                    <a:pt x="1929715" y="2107893"/>
                  </a:cubicBezTo>
                  <a:lnTo>
                    <a:pt x="1915217" y="2100320"/>
                  </a:lnTo>
                  <a:lnTo>
                    <a:pt x="1892599" y="2100320"/>
                  </a:lnTo>
                  <a:lnTo>
                    <a:pt x="1873807" y="2102340"/>
                  </a:lnTo>
                  <a:lnTo>
                    <a:pt x="1855498" y="2097325"/>
                  </a:lnTo>
                  <a:lnTo>
                    <a:pt x="1861316" y="2085489"/>
                  </a:lnTo>
                  <a:lnTo>
                    <a:pt x="1859061" y="2067331"/>
                  </a:lnTo>
                  <a:lnTo>
                    <a:pt x="1847658" y="2052718"/>
                  </a:lnTo>
                  <a:lnTo>
                    <a:pt x="1806715" y="2037061"/>
                  </a:lnTo>
                  <a:lnTo>
                    <a:pt x="1773923" y="2025730"/>
                  </a:lnTo>
                  <a:lnTo>
                    <a:pt x="1739747" y="2018185"/>
                  </a:lnTo>
                  <a:lnTo>
                    <a:pt x="1683357" y="2028726"/>
                  </a:lnTo>
                  <a:lnTo>
                    <a:pt x="1650177" y="2036809"/>
                  </a:lnTo>
                  <a:lnTo>
                    <a:pt x="1650130" y="2017933"/>
                  </a:lnTo>
                  <a:lnTo>
                    <a:pt x="1679764" y="2002024"/>
                  </a:lnTo>
                  <a:lnTo>
                    <a:pt x="1712260" y="1993324"/>
                  </a:lnTo>
                  <a:close/>
                  <a:moveTo>
                    <a:pt x="1969238" y="1976647"/>
                  </a:moveTo>
                  <a:lnTo>
                    <a:pt x="1982521" y="1977978"/>
                  </a:lnTo>
                  <a:lnTo>
                    <a:pt x="1987453" y="1991533"/>
                  </a:lnTo>
                  <a:lnTo>
                    <a:pt x="1975206" y="1993017"/>
                  </a:lnTo>
                  <a:lnTo>
                    <a:pt x="1962442" y="1980513"/>
                  </a:lnTo>
                  <a:close/>
                  <a:moveTo>
                    <a:pt x="1966969" y="1937034"/>
                  </a:moveTo>
                  <a:lnTo>
                    <a:pt x="1974465" y="1944498"/>
                  </a:lnTo>
                  <a:lnTo>
                    <a:pt x="1974465" y="1961860"/>
                  </a:lnTo>
                  <a:lnTo>
                    <a:pt x="1960349" y="1958196"/>
                  </a:lnTo>
                  <a:lnTo>
                    <a:pt x="1958105" y="1943538"/>
                  </a:lnTo>
                  <a:close/>
                  <a:moveTo>
                    <a:pt x="8434348" y="1915720"/>
                  </a:moveTo>
                  <a:lnTo>
                    <a:pt x="8462493" y="1928029"/>
                  </a:lnTo>
                  <a:cubicBezTo>
                    <a:pt x="8462579" y="1938838"/>
                    <a:pt x="8461898" y="1949638"/>
                    <a:pt x="8460457" y="1960348"/>
                  </a:cubicBezTo>
                  <a:cubicBezTo>
                    <a:pt x="8459668" y="1966224"/>
                    <a:pt x="8458651" y="1972064"/>
                    <a:pt x="8457407" y="1977860"/>
                  </a:cubicBezTo>
                  <a:lnTo>
                    <a:pt x="8458424" y="1994988"/>
                  </a:lnTo>
                  <a:lnTo>
                    <a:pt x="8454354" y="2019566"/>
                  </a:lnTo>
                  <a:lnTo>
                    <a:pt x="8437786" y="2023270"/>
                  </a:lnTo>
                  <a:lnTo>
                    <a:pt x="8422528" y="2006102"/>
                  </a:lnTo>
                  <a:lnTo>
                    <a:pt x="8412681" y="1995367"/>
                  </a:lnTo>
                  <a:lnTo>
                    <a:pt x="8406697" y="1978239"/>
                  </a:lnTo>
                  <a:lnTo>
                    <a:pt x="8421231" y="1959522"/>
                  </a:lnTo>
                  <a:lnTo>
                    <a:pt x="8425234" y="1930792"/>
                  </a:lnTo>
                  <a:close/>
                  <a:moveTo>
                    <a:pt x="1872019" y="1893830"/>
                  </a:moveTo>
                  <a:lnTo>
                    <a:pt x="1885933" y="1898398"/>
                  </a:lnTo>
                  <a:lnTo>
                    <a:pt x="1885933" y="1916581"/>
                  </a:lnTo>
                  <a:lnTo>
                    <a:pt x="1882149" y="1925387"/>
                  </a:lnTo>
                  <a:lnTo>
                    <a:pt x="1892001" y="1932871"/>
                  </a:lnTo>
                  <a:lnTo>
                    <a:pt x="1888953" y="1946506"/>
                  </a:lnTo>
                  <a:lnTo>
                    <a:pt x="1879575" y="1942970"/>
                  </a:lnTo>
                  <a:lnTo>
                    <a:pt x="1863669" y="1924882"/>
                  </a:lnTo>
                  <a:lnTo>
                    <a:pt x="1876769" y="1917756"/>
                  </a:lnTo>
                  <a:lnTo>
                    <a:pt x="1863689" y="1899103"/>
                  </a:lnTo>
                  <a:close/>
                  <a:moveTo>
                    <a:pt x="1896326" y="1887212"/>
                  </a:moveTo>
                  <a:lnTo>
                    <a:pt x="1905697" y="1889304"/>
                  </a:lnTo>
                  <a:lnTo>
                    <a:pt x="1917150" y="1896515"/>
                  </a:lnTo>
                  <a:lnTo>
                    <a:pt x="1910284" y="1903572"/>
                  </a:lnTo>
                  <a:lnTo>
                    <a:pt x="1895313" y="1901021"/>
                  </a:lnTo>
                  <a:lnTo>
                    <a:pt x="1888239" y="1895097"/>
                  </a:lnTo>
                  <a:close/>
                  <a:moveTo>
                    <a:pt x="6118344" y="1859761"/>
                  </a:moveTo>
                  <a:lnTo>
                    <a:pt x="6121834" y="1886600"/>
                  </a:lnTo>
                  <a:lnTo>
                    <a:pt x="6105756" y="1890936"/>
                  </a:lnTo>
                  <a:lnTo>
                    <a:pt x="6099487" y="1869486"/>
                  </a:lnTo>
                  <a:close/>
                  <a:moveTo>
                    <a:pt x="1922448" y="1846325"/>
                  </a:moveTo>
                  <a:lnTo>
                    <a:pt x="1928490" y="1852605"/>
                  </a:lnTo>
                  <a:lnTo>
                    <a:pt x="1937083" y="1861885"/>
                  </a:lnTo>
                  <a:lnTo>
                    <a:pt x="1934030" y="1873752"/>
                  </a:lnTo>
                  <a:lnTo>
                    <a:pt x="1921599" y="1882623"/>
                  </a:lnTo>
                  <a:lnTo>
                    <a:pt x="1918501" y="1874036"/>
                  </a:lnTo>
                  <a:lnTo>
                    <a:pt x="1914848" y="1864948"/>
                  </a:lnTo>
                  <a:lnTo>
                    <a:pt x="1911855" y="1850835"/>
                  </a:lnTo>
                  <a:close/>
                  <a:moveTo>
                    <a:pt x="1887903" y="1844747"/>
                  </a:moveTo>
                  <a:lnTo>
                    <a:pt x="1899861" y="1849609"/>
                  </a:lnTo>
                  <a:lnTo>
                    <a:pt x="1893278" y="1857078"/>
                  </a:lnTo>
                  <a:lnTo>
                    <a:pt x="1884218" y="1863109"/>
                  </a:lnTo>
                  <a:lnTo>
                    <a:pt x="1882696" y="1873146"/>
                  </a:lnTo>
                  <a:lnTo>
                    <a:pt x="1872045" y="1879176"/>
                  </a:lnTo>
                  <a:lnTo>
                    <a:pt x="1866005" y="1875419"/>
                  </a:lnTo>
                  <a:lnTo>
                    <a:pt x="1870360" y="1868129"/>
                  </a:lnTo>
                  <a:lnTo>
                    <a:pt x="1875536" y="1859383"/>
                  </a:lnTo>
                  <a:lnTo>
                    <a:pt x="1870611" y="1849580"/>
                  </a:lnTo>
                  <a:close/>
                  <a:moveTo>
                    <a:pt x="2390869" y="1622753"/>
                  </a:moveTo>
                  <a:lnTo>
                    <a:pt x="2415123" y="1641269"/>
                  </a:lnTo>
                  <a:lnTo>
                    <a:pt x="2397317" y="1654275"/>
                  </a:lnTo>
                  <a:lnTo>
                    <a:pt x="2372008" y="1645974"/>
                  </a:lnTo>
                  <a:lnTo>
                    <a:pt x="2381012" y="1626542"/>
                  </a:lnTo>
                  <a:close/>
                  <a:moveTo>
                    <a:pt x="8645858" y="1611325"/>
                  </a:moveTo>
                  <a:lnTo>
                    <a:pt x="8659592" y="1621044"/>
                  </a:lnTo>
                  <a:lnTo>
                    <a:pt x="8675610" y="1629379"/>
                  </a:lnTo>
                  <a:lnTo>
                    <a:pt x="8686040" y="1636368"/>
                  </a:lnTo>
                  <a:lnTo>
                    <a:pt x="8685022" y="1654465"/>
                  </a:lnTo>
                  <a:lnTo>
                    <a:pt x="8688753" y="1668524"/>
                  </a:lnTo>
                  <a:lnTo>
                    <a:pt x="8690447" y="1685317"/>
                  </a:lnTo>
                  <a:lnTo>
                    <a:pt x="8682350" y="1694367"/>
                  </a:lnTo>
                  <a:lnTo>
                    <a:pt x="8662476" y="1688600"/>
                  </a:lnTo>
                  <a:lnTo>
                    <a:pt x="8663489" y="1669747"/>
                  </a:lnTo>
                  <a:lnTo>
                    <a:pt x="8644886" y="1653584"/>
                  </a:lnTo>
                  <a:lnTo>
                    <a:pt x="8635504" y="1644242"/>
                  </a:lnTo>
                  <a:lnTo>
                    <a:pt x="8631795" y="1628752"/>
                  </a:lnTo>
                  <a:close/>
                  <a:moveTo>
                    <a:pt x="8709171" y="1602695"/>
                  </a:moveTo>
                  <a:lnTo>
                    <a:pt x="8735536" y="1608253"/>
                  </a:lnTo>
                  <a:lnTo>
                    <a:pt x="8749805" y="1604526"/>
                  </a:lnTo>
                  <a:lnTo>
                    <a:pt x="8743659" y="1631799"/>
                  </a:lnTo>
                  <a:lnTo>
                    <a:pt x="8733492" y="1645266"/>
                  </a:lnTo>
                  <a:lnTo>
                    <a:pt x="8711875" y="1641565"/>
                  </a:lnTo>
                  <a:lnTo>
                    <a:pt x="8711498" y="1622832"/>
                  </a:lnTo>
                  <a:lnTo>
                    <a:pt x="8702169" y="1611803"/>
                  </a:lnTo>
                  <a:close/>
                  <a:moveTo>
                    <a:pt x="5539722" y="1538303"/>
                  </a:moveTo>
                  <a:lnTo>
                    <a:pt x="5556779" y="1541146"/>
                  </a:lnTo>
                  <a:lnTo>
                    <a:pt x="5549705" y="1552930"/>
                  </a:lnTo>
                  <a:lnTo>
                    <a:pt x="5539871" y="1559623"/>
                  </a:lnTo>
                  <a:lnTo>
                    <a:pt x="5530037" y="1570059"/>
                  </a:lnTo>
                  <a:lnTo>
                    <a:pt x="5521267" y="1582771"/>
                  </a:lnTo>
                  <a:lnTo>
                    <a:pt x="5499946" y="1571658"/>
                  </a:lnTo>
                  <a:lnTo>
                    <a:pt x="5489557" y="1564673"/>
                  </a:lnTo>
                  <a:lnTo>
                    <a:pt x="5491645" y="1550530"/>
                  </a:lnTo>
                  <a:lnTo>
                    <a:pt x="5516063" y="1551541"/>
                  </a:lnTo>
                  <a:lnTo>
                    <a:pt x="5529551" y="1547312"/>
                  </a:lnTo>
                  <a:close/>
                  <a:moveTo>
                    <a:pt x="5211866" y="1538133"/>
                  </a:moveTo>
                  <a:cubicBezTo>
                    <a:pt x="5215012" y="1537040"/>
                    <a:pt x="5218775" y="1537700"/>
                    <a:pt x="5221309" y="1540752"/>
                  </a:cubicBezTo>
                  <a:lnTo>
                    <a:pt x="5237747" y="1541120"/>
                  </a:lnTo>
                  <a:lnTo>
                    <a:pt x="5262246" y="1545126"/>
                  </a:lnTo>
                  <a:lnTo>
                    <a:pt x="5273805" y="1552058"/>
                  </a:lnTo>
                  <a:cubicBezTo>
                    <a:pt x="5278048" y="1553587"/>
                    <a:pt x="5282489" y="1554522"/>
                    <a:pt x="5286993" y="1554835"/>
                  </a:cubicBezTo>
                  <a:cubicBezTo>
                    <a:pt x="5292021" y="1555186"/>
                    <a:pt x="5297072" y="1554760"/>
                    <a:pt x="5301964" y="1553574"/>
                  </a:cubicBezTo>
                  <a:lnTo>
                    <a:pt x="5303458" y="1564936"/>
                  </a:lnTo>
                  <a:lnTo>
                    <a:pt x="5283658" y="1570996"/>
                  </a:lnTo>
                  <a:cubicBezTo>
                    <a:pt x="5277646" y="1571427"/>
                    <a:pt x="5271612" y="1571427"/>
                    <a:pt x="5265604" y="1570996"/>
                  </a:cubicBezTo>
                  <a:cubicBezTo>
                    <a:pt x="5258942" y="1570521"/>
                    <a:pt x="5252330" y="1569518"/>
                    <a:pt x="5245831" y="1567998"/>
                  </a:cubicBezTo>
                  <a:lnTo>
                    <a:pt x="5234421" y="1558908"/>
                  </a:lnTo>
                  <a:lnTo>
                    <a:pt x="5222988" y="1550572"/>
                  </a:lnTo>
                  <a:cubicBezTo>
                    <a:pt x="5218394" y="1558661"/>
                    <a:pt x="5205968" y="1555312"/>
                    <a:pt x="5206126" y="1546027"/>
                  </a:cubicBezTo>
                  <a:cubicBezTo>
                    <a:pt x="5206192" y="1542071"/>
                    <a:pt x="5208720" y="1539226"/>
                    <a:pt x="5211866" y="1538133"/>
                  </a:cubicBezTo>
                  <a:close/>
                  <a:moveTo>
                    <a:pt x="4906709" y="1521152"/>
                  </a:moveTo>
                  <a:lnTo>
                    <a:pt x="4919584" y="1521975"/>
                  </a:lnTo>
                  <a:lnTo>
                    <a:pt x="4924812" y="1538118"/>
                  </a:lnTo>
                  <a:lnTo>
                    <a:pt x="4905429" y="1535056"/>
                  </a:lnTo>
                  <a:close/>
                  <a:moveTo>
                    <a:pt x="4895811" y="1447799"/>
                  </a:moveTo>
                  <a:lnTo>
                    <a:pt x="4909501" y="1450912"/>
                  </a:lnTo>
                  <a:lnTo>
                    <a:pt x="4919130" y="1460700"/>
                  </a:lnTo>
                  <a:cubicBezTo>
                    <a:pt x="4922758" y="1451629"/>
                    <a:pt x="4933116" y="1447214"/>
                    <a:pt x="4942239" y="1450850"/>
                  </a:cubicBezTo>
                  <a:cubicBezTo>
                    <a:pt x="4946394" y="1452507"/>
                    <a:pt x="4949690" y="1455780"/>
                    <a:pt x="4951358" y="1459910"/>
                  </a:cubicBezTo>
                  <a:lnTo>
                    <a:pt x="4942523" y="1472282"/>
                  </a:lnTo>
                  <a:lnTo>
                    <a:pt x="4942523" y="1481091"/>
                  </a:lnTo>
                  <a:lnTo>
                    <a:pt x="4934955" y="1494758"/>
                  </a:lnTo>
                  <a:lnTo>
                    <a:pt x="4917442" y="1482890"/>
                  </a:lnTo>
                  <a:lnTo>
                    <a:pt x="4899900" y="1472282"/>
                  </a:lnTo>
                  <a:lnTo>
                    <a:pt x="4872467" y="1466225"/>
                  </a:lnTo>
                  <a:lnTo>
                    <a:pt x="4863894" y="1459437"/>
                  </a:lnTo>
                  <a:lnTo>
                    <a:pt x="4869920" y="1454132"/>
                  </a:lnTo>
                  <a:lnTo>
                    <a:pt x="4886914" y="1455373"/>
                  </a:lnTo>
                  <a:close/>
                  <a:moveTo>
                    <a:pt x="4571136" y="1370102"/>
                  </a:moveTo>
                  <a:lnTo>
                    <a:pt x="4570371" y="1392009"/>
                  </a:lnTo>
                  <a:cubicBezTo>
                    <a:pt x="4575397" y="1400081"/>
                    <a:pt x="4572179" y="1410697"/>
                    <a:pt x="4563505" y="1414675"/>
                  </a:cubicBezTo>
                  <a:cubicBezTo>
                    <a:pt x="4558611" y="1416920"/>
                    <a:pt x="4552872" y="1416339"/>
                    <a:pt x="4548533" y="1413160"/>
                  </a:cubicBezTo>
                  <a:lnTo>
                    <a:pt x="4534515" y="1410160"/>
                  </a:lnTo>
                  <a:lnTo>
                    <a:pt x="4533276" y="1400313"/>
                  </a:lnTo>
                  <a:lnTo>
                    <a:pt x="4545411" y="1401828"/>
                  </a:lnTo>
                  <a:lnTo>
                    <a:pt x="4550875" y="1390327"/>
                  </a:lnTo>
                  <a:lnTo>
                    <a:pt x="4556021" y="1380541"/>
                  </a:lnTo>
                  <a:close/>
                  <a:moveTo>
                    <a:pt x="8833189" y="1344494"/>
                  </a:moveTo>
                  <a:lnTo>
                    <a:pt x="8849985" y="1353750"/>
                  </a:lnTo>
                  <a:lnTo>
                    <a:pt x="8862916" y="1363793"/>
                  </a:lnTo>
                  <a:lnTo>
                    <a:pt x="8884151" y="1367793"/>
                  </a:lnTo>
                  <a:lnTo>
                    <a:pt x="8884151" y="1386858"/>
                  </a:lnTo>
                  <a:lnTo>
                    <a:pt x="8889529" y="1401628"/>
                  </a:lnTo>
                  <a:lnTo>
                    <a:pt x="8898646" y="1413628"/>
                  </a:lnTo>
                  <a:lnTo>
                    <a:pt x="8888512" y="1429407"/>
                  </a:lnTo>
                  <a:lnTo>
                    <a:pt x="8888512" y="1444177"/>
                  </a:lnTo>
                  <a:lnTo>
                    <a:pt x="8894615" y="1459882"/>
                  </a:lnTo>
                  <a:lnTo>
                    <a:pt x="8901659" y="1472928"/>
                  </a:lnTo>
                  <a:lnTo>
                    <a:pt x="8906466" y="1490861"/>
                  </a:lnTo>
                  <a:lnTo>
                    <a:pt x="8918240" y="1511317"/>
                  </a:lnTo>
                  <a:lnTo>
                    <a:pt x="8919257" y="1539551"/>
                  </a:lnTo>
                  <a:lnTo>
                    <a:pt x="8901036" y="1554666"/>
                  </a:lnTo>
                  <a:lnTo>
                    <a:pt x="8884125" y="1562666"/>
                  </a:lnTo>
                  <a:lnTo>
                    <a:pt x="8856750" y="1567380"/>
                  </a:lnTo>
                  <a:lnTo>
                    <a:pt x="8838821" y="1568352"/>
                  </a:lnTo>
                  <a:lnTo>
                    <a:pt x="8820931" y="1571331"/>
                  </a:lnTo>
                  <a:lnTo>
                    <a:pt x="8815782" y="1588168"/>
                  </a:lnTo>
                  <a:lnTo>
                    <a:pt x="8811992" y="1600624"/>
                  </a:lnTo>
                  <a:lnTo>
                    <a:pt x="8803219" y="1610347"/>
                  </a:lnTo>
                  <a:lnTo>
                    <a:pt x="8786537" y="1589510"/>
                  </a:lnTo>
                  <a:lnTo>
                    <a:pt x="8777051" y="1581436"/>
                  </a:lnTo>
                  <a:lnTo>
                    <a:pt x="8738487" y="1579749"/>
                  </a:lnTo>
                  <a:lnTo>
                    <a:pt x="8699655" y="1583122"/>
                  </a:lnTo>
                  <a:lnTo>
                    <a:pt x="8668859" y="1592796"/>
                  </a:lnTo>
                  <a:lnTo>
                    <a:pt x="8644611" y="1577399"/>
                  </a:lnTo>
                  <a:lnTo>
                    <a:pt x="8659577" y="1563626"/>
                  </a:lnTo>
                  <a:lnTo>
                    <a:pt x="8678611" y="1561952"/>
                  </a:lnTo>
                  <a:lnTo>
                    <a:pt x="8691403" y="1545533"/>
                  </a:lnTo>
                  <a:lnTo>
                    <a:pt x="8707678" y="1535773"/>
                  </a:lnTo>
                  <a:lnTo>
                    <a:pt x="8729001" y="1541828"/>
                  </a:lnTo>
                  <a:lnTo>
                    <a:pt x="8748913" y="1544856"/>
                  </a:lnTo>
                  <a:lnTo>
                    <a:pt x="8767858" y="1531096"/>
                  </a:lnTo>
                  <a:lnTo>
                    <a:pt x="8781006" y="1519022"/>
                  </a:lnTo>
                  <a:lnTo>
                    <a:pt x="8815578" y="1495193"/>
                  </a:lnTo>
                  <a:lnTo>
                    <a:pt x="8825712" y="1484165"/>
                  </a:lnTo>
                  <a:lnTo>
                    <a:pt x="8851130" y="1476424"/>
                  </a:lnTo>
                  <a:lnTo>
                    <a:pt x="8854181" y="1455303"/>
                  </a:lnTo>
                  <a:lnTo>
                    <a:pt x="8854181" y="1436435"/>
                  </a:lnTo>
                  <a:lnTo>
                    <a:pt x="8834867" y="1411524"/>
                  </a:lnTo>
                  <a:lnTo>
                    <a:pt x="8823004" y="1385271"/>
                  </a:lnTo>
                  <a:lnTo>
                    <a:pt x="8822317" y="1370119"/>
                  </a:lnTo>
                  <a:lnTo>
                    <a:pt x="8816265" y="1358033"/>
                  </a:lnTo>
                  <a:close/>
                  <a:moveTo>
                    <a:pt x="4747601" y="1343451"/>
                  </a:moveTo>
                  <a:lnTo>
                    <a:pt x="4766877" y="1346746"/>
                  </a:lnTo>
                  <a:lnTo>
                    <a:pt x="4767608" y="1363288"/>
                  </a:lnTo>
                  <a:cubicBezTo>
                    <a:pt x="4772530" y="1372578"/>
                    <a:pt x="4774143" y="1383244"/>
                    <a:pt x="4772187" y="1393559"/>
                  </a:cubicBezTo>
                  <a:cubicBezTo>
                    <a:pt x="4771265" y="1398416"/>
                    <a:pt x="4769557" y="1403096"/>
                    <a:pt x="4767132" y="1407412"/>
                  </a:cubicBezTo>
                  <a:lnTo>
                    <a:pt x="4759504" y="1409686"/>
                  </a:lnTo>
                  <a:cubicBezTo>
                    <a:pt x="4762700" y="1415212"/>
                    <a:pt x="4757936" y="1421926"/>
                    <a:pt x="4751620" y="1420796"/>
                  </a:cubicBezTo>
                  <a:cubicBezTo>
                    <a:pt x="4748740" y="1420284"/>
                    <a:pt x="4746565" y="1417915"/>
                    <a:pt x="4746310" y="1415019"/>
                  </a:cubicBezTo>
                  <a:lnTo>
                    <a:pt x="4744053" y="1402205"/>
                  </a:lnTo>
                  <a:lnTo>
                    <a:pt x="4739000" y="1395419"/>
                  </a:lnTo>
                  <a:lnTo>
                    <a:pt x="4739000" y="1379604"/>
                  </a:lnTo>
                  <a:lnTo>
                    <a:pt x="4728667" y="1371048"/>
                  </a:lnTo>
                  <a:lnTo>
                    <a:pt x="4729223" y="1358205"/>
                  </a:lnTo>
                  <a:lnTo>
                    <a:pt x="4738604" y="1351909"/>
                  </a:lnTo>
                  <a:close/>
                  <a:moveTo>
                    <a:pt x="4768764" y="1271832"/>
                  </a:moveTo>
                  <a:lnTo>
                    <a:pt x="4772579" y="1284175"/>
                  </a:lnTo>
                  <a:lnTo>
                    <a:pt x="4774105" y="1301538"/>
                  </a:lnTo>
                  <a:lnTo>
                    <a:pt x="4774105" y="1321172"/>
                  </a:lnTo>
                  <a:lnTo>
                    <a:pt x="4759451" y="1324233"/>
                  </a:lnTo>
                  <a:cubicBezTo>
                    <a:pt x="4757849" y="1320242"/>
                    <a:pt x="4755425" y="1316630"/>
                    <a:pt x="4752331" y="1313627"/>
                  </a:cubicBezTo>
                  <a:cubicBezTo>
                    <a:pt x="4749287" y="1310672"/>
                    <a:pt x="4745663" y="1308370"/>
                    <a:pt x="4741684" y="1306868"/>
                  </a:cubicBezTo>
                  <a:lnTo>
                    <a:pt x="4741430" y="1294782"/>
                  </a:lnTo>
                  <a:lnTo>
                    <a:pt x="4747793" y="1284207"/>
                  </a:lnTo>
                  <a:lnTo>
                    <a:pt x="4759361" y="1286131"/>
                  </a:lnTo>
                  <a:lnTo>
                    <a:pt x="4762096" y="1276031"/>
                  </a:lnTo>
                  <a:close/>
                  <a:moveTo>
                    <a:pt x="8771750" y="1189028"/>
                  </a:moveTo>
                  <a:lnTo>
                    <a:pt x="8786671" y="1207087"/>
                  </a:lnTo>
                  <a:lnTo>
                    <a:pt x="8799407" y="1212324"/>
                  </a:lnTo>
                  <a:lnTo>
                    <a:pt x="8805472" y="1225415"/>
                  </a:lnTo>
                  <a:lnTo>
                    <a:pt x="8826485" y="1243258"/>
                  </a:lnTo>
                  <a:lnTo>
                    <a:pt x="8856284" y="1243258"/>
                  </a:lnTo>
                  <a:lnTo>
                    <a:pt x="8877941" y="1243218"/>
                  </a:lnTo>
                  <a:lnTo>
                    <a:pt x="8905019" y="1252940"/>
                  </a:lnTo>
                  <a:lnTo>
                    <a:pt x="8915826" y="1268054"/>
                  </a:lnTo>
                  <a:lnTo>
                    <a:pt x="8892091" y="1278441"/>
                  </a:lnTo>
                  <a:lnTo>
                    <a:pt x="8877220" y="1282441"/>
                  </a:lnTo>
                  <a:lnTo>
                    <a:pt x="8882302" y="1305590"/>
                  </a:lnTo>
                  <a:lnTo>
                    <a:pt x="8862384" y="1304541"/>
                  </a:lnTo>
                  <a:lnTo>
                    <a:pt x="8853358" y="1297515"/>
                  </a:lnTo>
                  <a:cubicBezTo>
                    <a:pt x="8846757" y="1296500"/>
                    <a:pt x="8840204" y="1295162"/>
                    <a:pt x="8833737" y="1293515"/>
                  </a:cubicBezTo>
                  <a:cubicBezTo>
                    <a:pt x="8827503" y="1291921"/>
                    <a:pt x="8821354" y="1290039"/>
                    <a:pt x="8815296" y="1287874"/>
                  </a:cubicBezTo>
                  <a:lnTo>
                    <a:pt x="8804447" y="1289891"/>
                  </a:lnTo>
                  <a:lnTo>
                    <a:pt x="8805507" y="1317416"/>
                  </a:lnTo>
                  <a:lnTo>
                    <a:pt x="8797753" y="1334251"/>
                  </a:lnTo>
                  <a:lnTo>
                    <a:pt x="8781857" y="1313375"/>
                  </a:lnTo>
                  <a:lnTo>
                    <a:pt x="8778811" y="1301294"/>
                  </a:lnTo>
                  <a:lnTo>
                    <a:pt x="8766682" y="1289219"/>
                  </a:lnTo>
                  <a:lnTo>
                    <a:pt x="8763395" y="1274905"/>
                  </a:lnTo>
                  <a:cubicBezTo>
                    <a:pt x="8768732" y="1271698"/>
                    <a:pt x="8773467" y="1267603"/>
                    <a:pt x="8777397" y="1262789"/>
                  </a:cubicBezTo>
                  <a:cubicBezTo>
                    <a:pt x="8781398" y="1257881"/>
                    <a:pt x="8784501" y="1252308"/>
                    <a:pt x="8786550" y="1246331"/>
                  </a:cubicBezTo>
                  <a:lnTo>
                    <a:pt x="8774005" y="1225159"/>
                  </a:lnTo>
                  <a:lnTo>
                    <a:pt x="8763155" y="1212076"/>
                  </a:lnTo>
                  <a:close/>
                  <a:moveTo>
                    <a:pt x="6038231" y="1126064"/>
                  </a:moveTo>
                  <a:lnTo>
                    <a:pt x="6010238" y="1132728"/>
                  </a:lnTo>
                  <a:lnTo>
                    <a:pt x="5979508" y="1144019"/>
                  </a:lnTo>
                  <a:cubicBezTo>
                    <a:pt x="5973173" y="1147654"/>
                    <a:pt x="5967688" y="1152446"/>
                    <a:pt x="5963244" y="1158174"/>
                  </a:cubicBezTo>
                  <a:cubicBezTo>
                    <a:pt x="5960880" y="1161204"/>
                    <a:pt x="5958800" y="1164509"/>
                    <a:pt x="5957098" y="1167924"/>
                  </a:cubicBezTo>
                  <a:lnTo>
                    <a:pt x="5947265" y="1181528"/>
                  </a:lnTo>
                  <a:lnTo>
                    <a:pt x="5925423" y="1182299"/>
                  </a:lnTo>
                  <a:lnTo>
                    <a:pt x="5908687" y="1198217"/>
                  </a:lnTo>
                  <a:lnTo>
                    <a:pt x="5891383" y="1218377"/>
                  </a:lnTo>
                  <a:lnTo>
                    <a:pt x="5906134" y="1238040"/>
                  </a:lnTo>
                  <a:lnTo>
                    <a:pt x="5926652" y="1249111"/>
                  </a:lnTo>
                  <a:lnTo>
                    <a:pt x="5926652" y="1263542"/>
                  </a:lnTo>
                  <a:lnTo>
                    <a:pt x="5940173" y="1276431"/>
                  </a:lnTo>
                  <a:lnTo>
                    <a:pt x="5950669" y="1290751"/>
                  </a:lnTo>
                  <a:lnTo>
                    <a:pt x="5964379" y="1306614"/>
                  </a:lnTo>
                  <a:lnTo>
                    <a:pt x="5985181" y="1319228"/>
                  </a:lnTo>
                  <a:lnTo>
                    <a:pt x="5998891" y="1349466"/>
                  </a:lnTo>
                  <a:lnTo>
                    <a:pt x="6013831" y="1376235"/>
                  </a:lnTo>
                  <a:lnTo>
                    <a:pt x="6013136" y="1393587"/>
                  </a:lnTo>
                  <a:lnTo>
                    <a:pt x="6013194" y="1393614"/>
                  </a:lnTo>
                  <a:lnTo>
                    <a:pt x="6013131" y="1393715"/>
                  </a:lnTo>
                  <a:lnTo>
                    <a:pt x="6013074" y="1395127"/>
                  </a:lnTo>
                  <a:lnTo>
                    <a:pt x="6012401" y="1394894"/>
                  </a:lnTo>
                  <a:lnTo>
                    <a:pt x="6004370" y="1407858"/>
                  </a:lnTo>
                  <a:lnTo>
                    <a:pt x="5993669" y="1427013"/>
                  </a:lnTo>
                  <a:lnTo>
                    <a:pt x="5997236" y="1447396"/>
                  </a:lnTo>
                  <a:lnTo>
                    <a:pt x="6008313" y="1468761"/>
                  </a:lnTo>
                  <a:cubicBezTo>
                    <a:pt x="6019764" y="1474532"/>
                    <a:pt x="6031216" y="1480426"/>
                    <a:pt x="6042480" y="1486443"/>
                  </a:cubicBezTo>
                  <a:cubicBezTo>
                    <a:pt x="6050928" y="1491109"/>
                    <a:pt x="6059376" y="1495775"/>
                    <a:pt x="6068012" y="1499827"/>
                  </a:cubicBezTo>
                  <a:cubicBezTo>
                    <a:pt x="6074770" y="1503020"/>
                    <a:pt x="6081528" y="1505721"/>
                    <a:pt x="6088474" y="1508177"/>
                  </a:cubicBezTo>
                  <a:lnTo>
                    <a:pt x="6104620" y="1523526"/>
                  </a:lnTo>
                  <a:lnTo>
                    <a:pt x="6114945" y="1508668"/>
                  </a:lnTo>
                  <a:lnTo>
                    <a:pt x="6144419" y="1507931"/>
                  </a:lnTo>
                  <a:lnTo>
                    <a:pt x="6166571" y="1488653"/>
                  </a:lnTo>
                  <a:lnTo>
                    <a:pt x="6168636" y="1456114"/>
                  </a:lnTo>
                  <a:lnTo>
                    <a:pt x="6154181" y="1416207"/>
                  </a:lnTo>
                  <a:lnTo>
                    <a:pt x="6138975" y="1395333"/>
                  </a:lnTo>
                  <a:lnTo>
                    <a:pt x="6120577" y="1378388"/>
                  </a:lnTo>
                  <a:lnTo>
                    <a:pt x="6108937" y="1359847"/>
                  </a:lnTo>
                  <a:lnTo>
                    <a:pt x="6125270" y="1354567"/>
                  </a:lnTo>
                  <a:lnTo>
                    <a:pt x="6144794" y="1369670"/>
                  </a:lnTo>
                  <a:lnTo>
                    <a:pt x="6166196" y="1358128"/>
                  </a:lnTo>
                  <a:lnTo>
                    <a:pt x="6171077" y="1342533"/>
                  </a:lnTo>
                  <a:lnTo>
                    <a:pt x="6150614" y="1322887"/>
                  </a:lnTo>
                  <a:lnTo>
                    <a:pt x="6144982" y="1310363"/>
                  </a:lnTo>
                  <a:lnTo>
                    <a:pt x="6128086" y="1305328"/>
                  </a:lnTo>
                  <a:lnTo>
                    <a:pt x="6105370" y="1316502"/>
                  </a:lnTo>
                  <a:lnTo>
                    <a:pt x="6093731" y="1298329"/>
                  </a:lnTo>
                  <a:lnTo>
                    <a:pt x="6062943" y="1276841"/>
                  </a:lnTo>
                  <a:lnTo>
                    <a:pt x="6036848" y="1268000"/>
                  </a:lnTo>
                  <a:lnTo>
                    <a:pt x="6009439" y="1248599"/>
                  </a:lnTo>
                  <a:lnTo>
                    <a:pt x="6022393" y="1218270"/>
                  </a:lnTo>
                  <a:lnTo>
                    <a:pt x="6039101" y="1200834"/>
                  </a:lnTo>
                  <a:lnTo>
                    <a:pt x="6066510" y="1194817"/>
                  </a:lnTo>
                  <a:lnTo>
                    <a:pt x="6090352" y="1202185"/>
                  </a:lnTo>
                  <a:lnTo>
                    <a:pt x="6106121" y="1197887"/>
                  </a:lnTo>
                  <a:lnTo>
                    <a:pt x="6102930" y="1186959"/>
                  </a:lnTo>
                  <a:lnTo>
                    <a:pt x="6089225" y="1169031"/>
                  </a:lnTo>
                  <a:lnTo>
                    <a:pt x="6089225" y="1152946"/>
                  </a:lnTo>
                  <a:lnTo>
                    <a:pt x="6075521" y="1137352"/>
                  </a:lnTo>
                  <a:lnTo>
                    <a:pt x="6050365" y="1132072"/>
                  </a:lnTo>
                  <a:close/>
                  <a:moveTo>
                    <a:pt x="4431262" y="1039437"/>
                  </a:moveTo>
                  <a:lnTo>
                    <a:pt x="4427343" y="1055797"/>
                  </a:lnTo>
                  <a:lnTo>
                    <a:pt x="4414902" y="1052749"/>
                  </a:lnTo>
                  <a:lnTo>
                    <a:pt x="4418409" y="1040792"/>
                  </a:lnTo>
                  <a:close/>
                  <a:moveTo>
                    <a:pt x="4400370" y="1033884"/>
                  </a:moveTo>
                  <a:lnTo>
                    <a:pt x="4407266" y="1043685"/>
                  </a:lnTo>
                  <a:lnTo>
                    <a:pt x="4393390" y="1050244"/>
                  </a:lnTo>
                  <a:lnTo>
                    <a:pt x="4389502" y="1038532"/>
                  </a:lnTo>
                  <a:close/>
                  <a:moveTo>
                    <a:pt x="788533" y="997084"/>
                  </a:moveTo>
                  <a:lnTo>
                    <a:pt x="796037" y="1003587"/>
                  </a:lnTo>
                  <a:lnTo>
                    <a:pt x="800359" y="1010089"/>
                  </a:lnTo>
                  <a:lnTo>
                    <a:pt x="808432" y="1015615"/>
                  </a:lnTo>
                  <a:lnTo>
                    <a:pt x="821144" y="1015615"/>
                  </a:lnTo>
                  <a:lnTo>
                    <a:pt x="828014" y="1031491"/>
                  </a:lnTo>
                  <a:lnTo>
                    <a:pt x="829538" y="1041845"/>
                  </a:lnTo>
                  <a:lnTo>
                    <a:pt x="837419" y="1055733"/>
                  </a:lnTo>
                  <a:lnTo>
                    <a:pt x="836625" y="1066816"/>
                  </a:lnTo>
                  <a:lnTo>
                    <a:pt x="828297" y="1071358"/>
                  </a:lnTo>
                  <a:lnTo>
                    <a:pt x="816217" y="1071358"/>
                  </a:lnTo>
                  <a:lnTo>
                    <a:pt x="806558" y="1065836"/>
                  </a:lnTo>
                  <a:lnTo>
                    <a:pt x="796159" y="1054502"/>
                  </a:lnTo>
                  <a:lnTo>
                    <a:pt x="788309" y="1052986"/>
                  </a:lnTo>
                  <a:lnTo>
                    <a:pt x="776137" y="1043897"/>
                  </a:lnTo>
                  <a:lnTo>
                    <a:pt x="770827" y="1031078"/>
                  </a:lnTo>
                  <a:lnTo>
                    <a:pt x="756942" y="1019084"/>
                  </a:lnTo>
                  <a:lnTo>
                    <a:pt x="754214" y="1007245"/>
                  </a:lnTo>
                  <a:lnTo>
                    <a:pt x="767705" y="1003174"/>
                  </a:lnTo>
                  <a:lnTo>
                    <a:pt x="777778" y="997586"/>
                  </a:lnTo>
                  <a:close/>
                  <a:moveTo>
                    <a:pt x="2860403" y="985446"/>
                  </a:moveTo>
                  <a:lnTo>
                    <a:pt x="2866443" y="990150"/>
                  </a:lnTo>
                  <a:cubicBezTo>
                    <a:pt x="2865263" y="993705"/>
                    <a:pt x="2863471" y="997027"/>
                    <a:pt x="2861139" y="999968"/>
                  </a:cubicBezTo>
                  <a:cubicBezTo>
                    <a:pt x="2858434" y="1003367"/>
                    <a:pt x="2855073" y="1006195"/>
                    <a:pt x="2851251" y="1008276"/>
                  </a:cubicBezTo>
                  <a:cubicBezTo>
                    <a:pt x="2844980" y="1010695"/>
                    <a:pt x="2840388" y="1016118"/>
                    <a:pt x="2839048" y="1022663"/>
                  </a:cubicBezTo>
                  <a:cubicBezTo>
                    <a:pt x="2838091" y="1027325"/>
                    <a:pt x="2838906" y="1032170"/>
                    <a:pt x="2841335" y="1036268"/>
                  </a:cubicBezTo>
                  <a:lnTo>
                    <a:pt x="2847339" y="1044541"/>
                  </a:lnTo>
                  <a:lnTo>
                    <a:pt x="2866097" y="1049590"/>
                  </a:lnTo>
                  <a:lnTo>
                    <a:pt x="2883577" y="1055585"/>
                  </a:lnTo>
                  <a:lnTo>
                    <a:pt x="2893652" y="1064683"/>
                  </a:lnTo>
                  <a:lnTo>
                    <a:pt x="2918066" y="1088641"/>
                  </a:lnTo>
                  <a:lnTo>
                    <a:pt x="2906910" y="1092929"/>
                  </a:lnTo>
                  <a:lnTo>
                    <a:pt x="2893430" y="1099749"/>
                  </a:lnTo>
                  <a:lnTo>
                    <a:pt x="2867276" y="1102020"/>
                  </a:lnTo>
                  <a:lnTo>
                    <a:pt x="2848456" y="1108085"/>
                  </a:lnTo>
                  <a:lnTo>
                    <a:pt x="2830658" y="1108085"/>
                  </a:lnTo>
                  <a:lnTo>
                    <a:pt x="2809046" y="1112373"/>
                  </a:lnTo>
                  <a:lnTo>
                    <a:pt x="2814101" y="1129737"/>
                  </a:lnTo>
                  <a:lnTo>
                    <a:pt x="2799672" y="1137784"/>
                  </a:lnTo>
                  <a:lnTo>
                    <a:pt x="2795628" y="1124433"/>
                  </a:lnTo>
                  <a:lnTo>
                    <a:pt x="2800461" y="1110829"/>
                  </a:lnTo>
                  <a:lnTo>
                    <a:pt x="2788258" y="1108050"/>
                  </a:lnTo>
                  <a:lnTo>
                    <a:pt x="2767914" y="1103000"/>
                  </a:lnTo>
                  <a:lnTo>
                    <a:pt x="2752722" y="1103000"/>
                  </a:lnTo>
                  <a:lnTo>
                    <a:pt x="2726507" y="1104517"/>
                  </a:lnTo>
                  <a:lnTo>
                    <a:pt x="2727501" y="1093684"/>
                  </a:lnTo>
                  <a:lnTo>
                    <a:pt x="2746585" y="1089142"/>
                  </a:lnTo>
                  <a:lnTo>
                    <a:pt x="2755223" y="1074239"/>
                  </a:lnTo>
                  <a:lnTo>
                    <a:pt x="2763009" y="1056848"/>
                  </a:lnTo>
                  <a:lnTo>
                    <a:pt x="2784206" y="1053060"/>
                  </a:lnTo>
                  <a:lnTo>
                    <a:pt x="2803760" y="1037410"/>
                  </a:lnTo>
                  <a:lnTo>
                    <a:pt x="2812842" y="1022254"/>
                  </a:lnTo>
                  <a:lnTo>
                    <a:pt x="2819271" y="1010201"/>
                  </a:lnTo>
                  <a:lnTo>
                    <a:pt x="2834330" y="995531"/>
                  </a:lnTo>
                  <a:lnTo>
                    <a:pt x="2847267" y="990475"/>
                  </a:lnTo>
                  <a:close/>
                  <a:moveTo>
                    <a:pt x="8583641" y="900751"/>
                  </a:moveTo>
                  <a:lnTo>
                    <a:pt x="8600886" y="918191"/>
                  </a:lnTo>
                  <a:lnTo>
                    <a:pt x="8604961" y="935323"/>
                  </a:lnTo>
                  <a:lnTo>
                    <a:pt x="8612716" y="953462"/>
                  </a:lnTo>
                  <a:lnTo>
                    <a:pt x="8631020" y="976360"/>
                  </a:lnTo>
                  <a:lnTo>
                    <a:pt x="8650343" y="984399"/>
                  </a:lnTo>
                  <a:lnTo>
                    <a:pt x="8679962" y="1003213"/>
                  </a:lnTo>
                  <a:lnTo>
                    <a:pt x="8709804" y="1020333"/>
                  </a:lnTo>
                  <a:lnTo>
                    <a:pt x="8723993" y="1031368"/>
                  </a:lnTo>
                  <a:lnTo>
                    <a:pt x="8731073" y="1044415"/>
                  </a:lnTo>
                  <a:lnTo>
                    <a:pt x="8733110" y="1058765"/>
                  </a:lnTo>
                  <a:lnTo>
                    <a:pt x="8718568" y="1054728"/>
                  </a:lnTo>
                  <a:lnTo>
                    <a:pt x="8702381" y="1059440"/>
                  </a:lnTo>
                  <a:lnTo>
                    <a:pt x="8704459" y="1073541"/>
                  </a:lnTo>
                  <a:lnTo>
                    <a:pt x="8724457" y="1089703"/>
                  </a:lnTo>
                  <a:lnTo>
                    <a:pt x="8740734" y="1111796"/>
                  </a:lnTo>
                  <a:lnTo>
                    <a:pt x="8768619" y="1138980"/>
                  </a:lnTo>
                  <a:lnTo>
                    <a:pt x="8774761" y="1156491"/>
                  </a:lnTo>
                  <a:lnTo>
                    <a:pt x="8747088" y="1156491"/>
                  </a:lnTo>
                  <a:lnTo>
                    <a:pt x="8725264" y="1138435"/>
                  </a:lnTo>
                  <a:cubicBezTo>
                    <a:pt x="8718558" y="1133250"/>
                    <a:pt x="8713031" y="1126726"/>
                    <a:pt x="8709027" y="1119290"/>
                  </a:cubicBezTo>
                  <a:cubicBezTo>
                    <a:pt x="8706143" y="1113927"/>
                    <a:pt x="8704106" y="1108161"/>
                    <a:pt x="8702966" y="1102194"/>
                  </a:cubicBezTo>
                  <a:lnTo>
                    <a:pt x="8690763" y="1079982"/>
                  </a:lnTo>
                  <a:lnTo>
                    <a:pt x="8680588" y="1054728"/>
                  </a:lnTo>
                  <a:lnTo>
                    <a:pt x="8666691" y="1031830"/>
                  </a:lnTo>
                  <a:lnTo>
                    <a:pt x="8648467" y="1009689"/>
                  </a:lnTo>
                  <a:lnTo>
                    <a:pt x="8630244" y="988520"/>
                  </a:lnTo>
                  <a:lnTo>
                    <a:pt x="8609055" y="972489"/>
                  </a:lnTo>
                  <a:lnTo>
                    <a:pt x="8598244" y="957002"/>
                  </a:lnTo>
                  <a:lnTo>
                    <a:pt x="8584004" y="940201"/>
                  </a:lnTo>
                  <a:lnTo>
                    <a:pt x="8556926" y="920760"/>
                  </a:lnTo>
                  <a:lnTo>
                    <a:pt x="8566184" y="904374"/>
                  </a:lnTo>
                  <a:close/>
                  <a:moveTo>
                    <a:pt x="4382168" y="865781"/>
                  </a:moveTo>
                  <a:lnTo>
                    <a:pt x="4384242" y="875632"/>
                  </a:lnTo>
                  <a:lnTo>
                    <a:pt x="4380416" y="886931"/>
                  </a:lnTo>
                  <a:lnTo>
                    <a:pt x="4372149" y="883901"/>
                  </a:lnTo>
                  <a:lnTo>
                    <a:pt x="4367882" y="874451"/>
                  </a:lnTo>
                  <a:lnTo>
                    <a:pt x="4371219" y="866621"/>
                  </a:lnTo>
                  <a:close/>
                  <a:moveTo>
                    <a:pt x="4279249" y="842903"/>
                  </a:moveTo>
                  <a:lnTo>
                    <a:pt x="4305602" y="843632"/>
                  </a:lnTo>
                  <a:lnTo>
                    <a:pt x="4315690" y="843930"/>
                  </a:lnTo>
                  <a:lnTo>
                    <a:pt x="4333908" y="848417"/>
                  </a:lnTo>
                  <a:lnTo>
                    <a:pt x="4346334" y="859748"/>
                  </a:lnTo>
                  <a:lnTo>
                    <a:pt x="4338198" y="872879"/>
                  </a:lnTo>
                  <a:lnTo>
                    <a:pt x="4327010" y="878937"/>
                  </a:lnTo>
                  <a:lnTo>
                    <a:pt x="4317852" y="890015"/>
                  </a:lnTo>
                  <a:lnTo>
                    <a:pt x="4315566" y="904350"/>
                  </a:lnTo>
                  <a:cubicBezTo>
                    <a:pt x="4320387" y="912836"/>
                    <a:pt x="4321121" y="923014"/>
                    <a:pt x="4317570" y="932095"/>
                  </a:cubicBezTo>
                  <a:cubicBezTo>
                    <a:pt x="4316018" y="936050"/>
                    <a:pt x="4313686" y="939656"/>
                    <a:pt x="4310705" y="942704"/>
                  </a:cubicBezTo>
                  <a:cubicBezTo>
                    <a:pt x="4307227" y="946101"/>
                    <a:pt x="4303087" y="948756"/>
                    <a:pt x="4298527" y="950499"/>
                  </a:cubicBezTo>
                  <a:cubicBezTo>
                    <a:pt x="4290968" y="953389"/>
                    <a:pt x="4282648" y="953655"/>
                    <a:pt x="4274912" y="951253"/>
                  </a:cubicBezTo>
                  <a:lnTo>
                    <a:pt x="4259433" y="958579"/>
                  </a:lnTo>
                  <a:lnTo>
                    <a:pt x="4242656" y="970696"/>
                  </a:lnTo>
                  <a:lnTo>
                    <a:pt x="4227655" y="979790"/>
                  </a:lnTo>
                  <a:lnTo>
                    <a:pt x="4215792" y="974517"/>
                  </a:lnTo>
                  <a:lnTo>
                    <a:pt x="4211220" y="957850"/>
                  </a:lnTo>
                  <a:lnTo>
                    <a:pt x="4204839" y="951285"/>
                  </a:lnTo>
                  <a:lnTo>
                    <a:pt x="4205114" y="941690"/>
                  </a:lnTo>
                  <a:lnTo>
                    <a:pt x="4220371" y="937932"/>
                  </a:lnTo>
                  <a:lnTo>
                    <a:pt x="4224183" y="922342"/>
                  </a:lnTo>
                  <a:lnTo>
                    <a:pt x="4228697" y="916309"/>
                  </a:lnTo>
                  <a:lnTo>
                    <a:pt x="4234036" y="905738"/>
                  </a:lnTo>
                  <a:lnTo>
                    <a:pt x="4228762" y="896175"/>
                  </a:lnTo>
                  <a:lnTo>
                    <a:pt x="4216630" y="890902"/>
                  </a:lnTo>
                  <a:lnTo>
                    <a:pt x="4214272" y="875053"/>
                  </a:lnTo>
                  <a:lnTo>
                    <a:pt x="4234029" y="868265"/>
                  </a:lnTo>
                  <a:lnTo>
                    <a:pt x="4250602" y="870540"/>
                  </a:lnTo>
                  <a:lnTo>
                    <a:pt x="4264798" y="859177"/>
                  </a:lnTo>
                  <a:close/>
                  <a:moveTo>
                    <a:pt x="785315" y="809481"/>
                  </a:moveTo>
                  <a:lnTo>
                    <a:pt x="795840" y="820559"/>
                  </a:lnTo>
                  <a:lnTo>
                    <a:pt x="789739" y="833439"/>
                  </a:lnTo>
                  <a:lnTo>
                    <a:pt x="781348" y="840981"/>
                  </a:lnTo>
                  <a:lnTo>
                    <a:pt x="785893" y="852820"/>
                  </a:lnTo>
                  <a:lnTo>
                    <a:pt x="778928" y="858283"/>
                  </a:lnTo>
                  <a:lnTo>
                    <a:pt x="771141" y="850800"/>
                  </a:lnTo>
                  <a:lnTo>
                    <a:pt x="766085" y="842750"/>
                  </a:lnTo>
                  <a:lnTo>
                    <a:pt x="751612" y="835207"/>
                  </a:lnTo>
                  <a:lnTo>
                    <a:pt x="759839" y="824662"/>
                  </a:lnTo>
                  <a:lnTo>
                    <a:pt x="771931" y="813774"/>
                  </a:lnTo>
                  <a:close/>
                  <a:moveTo>
                    <a:pt x="789711" y="773563"/>
                  </a:moveTo>
                  <a:lnTo>
                    <a:pt x="799153" y="778084"/>
                  </a:lnTo>
                  <a:lnTo>
                    <a:pt x="800823" y="785406"/>
                  </a:lnTo>
                  <a:lnTo>
                    <a:pt x="792263" y="792133"/>
                  </a:lnTo>
                  <a:lnTo>
                    <a:pt x="784462" y="782937"/>
                  </a:lnTo>
                  <a:close/>
                  <a:moveTo>
                    <a:pt x="768189" y="753613"/>
                  </a:moveTo>
                  <a:lnTo>
                    <a:pt x="775593" y="760959"/>
                  </a:lnTo>
                  <a:lnTo>
                    <a:pt x="766247" y="769516"/>
                  </a:lnTo>
                  <a:lnTo>
                    <a:pt x="765484" y="781068"/>
                  </a:lnTo>
                  <a:lnTo>
                    <a:pt x="762717" y="795938"/>
                  </a:lnTo>
                  <a:lnTo>
                    <a:pt x="752245" y="784573"/>
                  </a:lnTo>
                  <a:lnTo>
                    <a:pt x="747533" y="771821"/>
                  </a:lnTo>
                  <a:lnTo>
                    <a:pt x="754941" y="761755"/>
                  </a:lnTo>
                  <a:close/>
                  <a:moveTo>
                    <a:pt x="4395660" y="745976"/>
                  </a:moveTo>
                  <a:lnTo>
                    <a:pt x="4406609" y="747372"/>
                  </a:lnTo>
                  <a:lnTo>
                    <a:pt x="4402279" y="759456"/>
                  </a:lnTo>
                  <a:lnTo>
                    <a:pt x="4396216" y="767731"/>
                  </a:lnTo>
                  <a:lnTo>
                    <a:pt x="4416551" y="773025"/>
                  </a:lnTo>
                  <a:lnTo>
                    <a:pt x="4434099" y="779790"/>
                  </a:lnTo>
                  <a:lnTo>
                    <a:pt x="4418869" y="793422"/>
                  </a:lnTo>
                  <a:cubicBezTo>
                    <a:pt x="4411111" y="793346"/>
                    <a:pt x="4404549" y="799118"/>
                    <a:pt x="4403678" y="806776"/>
                  </a:cubicBezTo>
                  <a:cubicBezTo>
                    <a:pt x="4403160" y="811316"/>
                    <a:pt x="4404865" y="815817"/>
                    <a:pt x="4408256" y="818898"/>
                  </a:cubicBezTo>
                  <a:lnTo>
                    <a:pt x="4419894" y="822646"/>
                  </a:lnTo>
                  <a:lnTo>
                    <a:pt x="4436418" y="822646"/>
                  </a:lnTo>
                  <a:lnTo>
                    <a:pt x="4463085" y="843797"/>
                  </a:lnTo>
                  <a:lnTo>
                    <a:pt x="4473516" y="864759"/>
                  </a:lnTo>
                  <a:cubicBezTo>
                    <a:pt x="4478430" y="869349"/>
                    <a:pt x="4482558" y="874719"/>
                    <a:pt x="4485719" y="880641"/>
                  </a:cubicBezTo>
                  <a:cubicBezTo>
                    <a:pt x="4488631" y="886086"/>
                    <a:pt x="4490681" y="891959"/>
                    <a:pt x="4491821" y="898032"/>
                  </a:cubicBezTo>
                  <a:cubicBezTo>
                    <a:pt x="4490365" y="904773"/>
                    <a:pt x="4490365" y="911739"/>
                    <a:pt x="4491821" y="918479"/>
                  </a:cubicBezTo>
                  <a:cubicBezTo>
                    <a:pt x="4492961" y="923799"/>
                    <a:pt x="4494991" y="928891"/>
                    <a:pt x="4497827" y="933544"/>
                  </a:cubicBezTo>
                  <a:lnTo>
                    <a:pt x="4515250" y="936575"/>
                  </a:lnTo>
                  <a:lnTo>
                    <a:pt x="4524082" y="923534"/>
                  </a:lnTo>
                  <a:lnTo>
                    <a:pt x="4536984" y="925018"/>
                  </a:lnTo>
                  <a:lnTo>
                    <a:pt x="4542329" y="945189"/>
                  </a:lnTo>
                  <a:lnTo>
                    <a:pt x="4541563" y="953488"/>
                  </a:lnTo>
                  <a:lnTo>
                    <a:pt x="4495030" y="969395"/>
                  </a:lnTo>
                  <a:lnTo>
                    <a:pt x="4511055" y="979216"/>
                  </a:lnTo>
                  <a:lnTo>
                    <a:pt x="4524024" y="985278"/>
                  </a:lnTo>
                  <a:lnTo>
                    <a:pt x="4494273" y="989817"/>
                  </a:lnTo>
                  <a:lnTo>
                    <a:pt x="4477999" y="985529"/>
                  </a:lnTo>
                  <a:lnTo>
                    <a:pt x="4456667" y="994369"/>
                  </a:lnTo>
                  <a:lnTo>
                    <a:pt x="4443448" y="995878"/>
                  </a:lnTo>
                  <a:lnTo>
                    <a:pt x="4418017" y="999663"/>
                  </a:lnTo>
                  <a:lnTo>
                    <a:pt x="4401752" y="1001185"/>
                  </a:lnTo>
                  <a:cubicBezTo>
                    <a:pt x="4393582" y="1002329"/>
                    <a:pt x="4385564" y="1004354"/>
                    <a:pt x="4377844" y="1007246"/>
                  </a:cubicBezTo>
                  <a:cubicBezTo>
                    <a:pt x="4372413" y="1009271"/>
                    <a:pt x="4367135" y="1011723"/>
                    <a:pt x="4362077" y="1014565"/>
                  </a:cubicBezTo>
                  <a:lnTo>
                    <a:pt x="4340238" y="1017595"/>
                  </a:lnTo>
                  <a:lnTo>
                    <a:pt x="4335429" y="1010805"/>
                  </a:lnTo>
                  <a:lnTo>
                    <a:pt x="4342470" y="1001751"/>
                  </a:lnTo>
                  <a:lnTo>
                    <a:pt x="4360736" y="998720"/>
                  </a:lnTo>
                  <a:lnTo>
                    <a:pt x="4375966" y="991930"/>
                  </a:lnTo>
                  <a:lnTo>
                    <a:pt x="4404702" y="988145"/>
                  </a:lnTo>
                  <a:lnTo>
                    <a:pt x="4416139" y="980159"/>
                  </a:lnTo>
                  <a:lnTo>
                    <a:pt x="4413342" y="970816"/>
                  </a:lnTo>
                  <a:lnTo>
                    <a:pt x="4390267" y="966516"/>
                  </a:lnTo>
                  <a:lnTo>
                    <a:pt x="4379146" y="966516"/>
                  </a:lnTo>
                  <a:lnTo>
                    <a:pt x="4364376" y="957751"/>
                  </a:lnTo>
                  <a:lnTo>
                    <a:pt x="4355458" y="948722"/>
                  </a:lnTo>
                  <a:lnTo>
                    <a:pt x="4364357" y="945717"/>
                  </a:lnTo>
                  <a:lnTo>
                    <a:pt x="4380085" y="940448"/>
                  </a:lnTo>
                  <a:lnTo>
                    <a:pt x="4382374" y="928678"/>
                  </a:lnTo>
                  <a:lnTo>
                    <a:pt x="4373505" y="926653"/>
                  </a:lnTo>
                  <a:lnTo>
                    <a:pt x="4371790" y="915788"/>
                  </a:lnTo>
                  <a:lnTo>
                    <a:pt x="4391273" y="909828"/>
                  </a:lnTo>
                  <a:lnTo>
                    <a:pt x="4400143" y="909073"/>
                  </a:lnTo>
                  <a:lnTo>
                    <a:pt x="4416637" y="905276"/>
                  </a:lnTo>
                  <a:cubicBezTo>
                    <a:pt x="4419185" y="898259"/>
                    <a:pt x="4420220" y="890789"/>
                    <a:pt x="4419664" y="883345"/>
                  </a:cubicBezTo>
                  <a:cubicBezTo>
                    <a:pt x="4419300" y="878516"/>
                    <a:pt x="4418275" y="873750"/>
                    <a:pt x="4416609" y="869198"/>
                  </a:cubicBezTo>
                  <a:lnTo>
                    <a:pt x="4416609" y="854812"/>
                  </a:lnTo>
                  <a:lnTo>
                    <a:pt x="4405737" y="845029"/>
                  </a:lnTo>
                  <a:lnTo>
                    <a:pt x="4393026" y="844262"/>
                  </a:lnTo>
                  <a:lnTo>
                    <a:pt x="4386953" y="855630"/>
                  </a:lnTo>
                  <a:cubicBezTo>
                    <a:pt x="4382154" y="854423"/>
                    <a:pt x="4377614" y="852373"/>
                    <a:pt x="4373543" y="849607"/>
                  </a:cubicBezTo>
                  <a:cubicBezTo>
                    <a:pt x="4370516" y="847544"/>
                    <a:pt x="4367786" y="845104"/>
                    <a:pt x="4365401" y="842338"/>
                  </a:cubicBezTo>
                  <a:lnTo>
                    <a:pt x="4366924" y="832743"/>
                  </a:lnTo>
                  <a:lnTo>
                    <a:pt x="4376053" y="825236"/>
                  </a:lnTo>
                  <a:lnTo>
                    <a:pt x="4366924" y="813139"/>
                  </a:lnTo>
                  <a:lnTo>
                    <a:pt x="4357039" y="803330"/>
                  </a:lnTo>
                  <a:lnTo>
                    <a:pt x="4355583" y="791523"/>
                  </a:lnTo>
                  <a:lnTo>
                    <a:pt x="4365181" y="779489"/>
                  </a:lnTo>
                  <a:lnTo>
                    <a:pt x="4364616" y="768473"/>
                  </a:lnTo>
                  <a:lnTo>
                    <a:pt x="4370918" y="756388"/>
                  </a:lnTo>
                  <a:lnTo>
                    <a:pt x="4383581" y="756112"/>
                  </a:lnTo>
                  <a:close/>
                  <a:moveTo>
                    <a:pt x="307402" y="740537"/>
                  </a:moveTo>
                  <a:lnTo>
                    <a:pt x="315697" y="740858"/>
                  </a:lnTo>
                  <a:lnTo>
                    <a:pt x="314170" y="751403"/>
                  </a:lnTo>
                  <a:lnTo>
                    <a:pt x="301235" y="766554"/>
                  </a:lnTo>
                  <a:lnTo>
                    <a:pt x="285756" y="767817"/>
                  </a:lnTo>
                  <a:lnTo>
                    <a:pt x="272056" y="769331"/>
                  </a:lnTo>
                  <a:lnTo>
                    <a:pt x="261662" y="770848"/>
                  </a:lnTo>
                  <a:lnTo>
                    <a:pt x="246661" y="772363"/>
                  </a:lnTo>
                  <a:lnTo>
                    <a:pt x="238524" y="783473"/>
                  </a:lnTo>
                  <a:lnTo>
                    <a:pt x="224392" y="778960"/>
                  </a:lnTo>
                  <a:lnTo>
                    <a:pt x="229341" y="768952"/>
                  </a:lnTo>
                  <a:lnTo>
                    <a:pt x="246673" y="759103"/>
                  </a:lnTo>
                  <a:lnTo>
                    <a:pt x="267344" y="756486"/>
                  </a:lnTo>
                  <a:lnTo>
                    <a:pt x="298521" y="746164"/>
                  </a:lnTo>
                  <a:close/>
                  <a:moveTo>
                    <a:pt x="5056006" y="663944"/>
                  </a:moveTo>
                  <a:cubicBezTo>
                    <a:pt x="5063761" y="666443"/>
                    <a:pt x="5068050" y="674673"/>
                    <a:pt x="5065625" y="682404"/>
                  </a:cubicBezTo>
                  <a:cubicBezTo>
                    <a:pt x="5064267" y="686732"/>
                    <a:pt x="5060864" y="690128"/>
                    <a:pt x="5056512" y="691496"/>
                  </a:cubicBezTo>
                  <a:lnTo>
                    <a:pt x="5043331" y="686445"/>
                  </a:lnTo>
                  <a:lnTo>
                    <a:pt x="5033906" y="678446"/>
                  </a:lnTo>
                  <a:lnTo>
                    <a:pt x="5042946" y="665037"/>
                  </a:lnTo>
                  <a:close/>
                  <a:moveTo>
                    <a:pt x="4361411" y="616037"/>
                  </a:moveTo>
                  <a:lnTo>
                    <a:pt x="4370721" y="617813"/>
                  </a:lnTo>
                  <a:lnTo>
                    <a:pt x="4380040" y="624271"/>
                  </a:lnTo>
                  <a:lnTo>
                    <a:pt x="4374730" y="632397"/>
                  </a:lnTo>
                  <a:lnTo>
                    <a:pt x="4358694" y="629244"/>
                  </a:lnTo>
                  <a:close/>
                  <a:moveTo>
                    <a:pt x="4370654" y="590559"/>
                  </a:moveTo>
                  <a:lnTo>
                    <a:pt x="4384784" y="595971"/>
                  </a:lnTo>
                  <a:lnTo>
                    <a:pt x="4389901" y="613554"/>
                  </a:lnTo>
                  <a:lnTo>
                    <a:pt x="4371084" y="607526"/>
                  </a:lnTo>
                  <a:lnTo>
                    <a:pt x="4355540" y="606012"/>
                  </a:lnTo>
                  <a:lnTo>
                    <a:pt x="4354731" y="592580"/>
                  </a:lnTo>
                  <a:close/>
                  <a:moveTo>
                    <a:pt x="2360890" y="507633"/>
                  </a:moveTo>
                  <a:lnTo>
                    <a:pt x="2385590" y="515902"/>
                  </a:lnTo>
                  <a:lnTo>
                    <a:pt x="2397255" y="528306"/>
                  </a:lnTo>
                  <a:lnTo>
                    <a:pt x="2419312" y="540079"/>
                  </a:lnTo>
                  <a:cubicBezTo>
                    <a:pt x="2426645" y="542465"/>
                    <a:pt x="2431303" y="549604"/>
                    <a:pt x="2430503" y="557223"/>
                  </a:cubicBezTo>
                  <a:cubicBezTo>
                    <a:pt x="2429827" y="563642"/>
                    <a:pt x="2425320" y="569025"/>
                    <a:pt x="2419094" y="570857"/>
                  </a:cubicBezTo>
                  <a:lnTo>
                    <a:pt x="2396206" y="563282"/>
                  </a:lnTo>
                  <a:cubicBezTo>
                    <a:pt x="2390816" y="557422"/>
                    <a:pt x="2383839" y="553225"/>
                    <a:pt x="2376118" y="551193"/>
                  </a:cubicBezTo>
                  <a:cubicBezTo>
                    <a:pt x="2369141" y="549355"/>
                    <a:pt x="2361796" y="549355"/>
                    <a:pt x="2354819" y="551193"/>
                  </a:cubicBezTo>
                  <a:lnTo>
                    <a:pt x="2335239" y="556497"/>
                  </a:lnTo>
                  <a:lnTo>
                    <a:pt x="2320809" y="562553"/>
                  </a:lnTo>
                  <a:lnTo>
                    <a:pt x="2299421" y="558798"/>
                  </a:lnTo>
                  <a:lnTo>
                    <a:pt x="2296265" y="547277"/>
                  </a:lnTo>
                  <a:lnTo>
                    <a:pt x="2302036" y="539479"/>
                  </a:lnTo>
                  <a:lnTo>
                    <a:pt x="2322904" y="523822"/>
                  </a:lnTo>
                  <a:lnTo>
                    <a:pt x="2339677" y="509491"/>
                  </a:lnTo>
                  <a:close/>
                  <a:moveTo>
                    <a:pt x="4111113" y="482080"/>
                  </a:moveTo>
                  <a:lnTo>
                    <a:pt x="4129103" y="483251"/>
                  </a:lnTo>
                  <a:lnTo>
                    <a:pt x="4143736" y="489257"/>
                  </a:lnTo>
                  <a:lnTo>
                    <a:pt x="4152577" y="495285"/>
                  </a:lnTo>
                  <a:lnTo>
                    <a:pt x="4163483" y="503338"/>
                  </a:lnTo>
                  <a:lnTo>
                    <a:pt x="4173139" y="518173"/>
                  </a:lnTo>
                  <a:lnTo>
                    <a:pt x="4166310" y="525623"/>
                  </a:lnTo>
                  <a:lnTo>
                    <a:pt x="4142656" y="529409"/>
                  </a:lnTo>
                  <a:lnTo>
                    <a:pt x="4125937" y="540679"/>
                  </a:lnTo>
                  <a:lnTo>
                    <a:pt x="4108900" y="554569"/>
                  </a:lnTo>
                  <a:lnTo>
                    <a:pt x="4077665" y="555323"/>
                  </a:lnTo>
                  <a:lnTo>
                    <a:pt x="4058649" y="555323"/>
                  </a:lnTo>
                  <a:lnTo>
                    <a:pt x="4037832" y="575748"/>
                  </a:lnTo>
                  <a:lnTo>
                    <a:pt x="4021336" y="575748"/>
                  </a:lnTo>
                  <a:cubicBezTo>
                    <a:pt x="4015311" y="570965"/>
                    <a:pt x="4009043" y="566499"/>
                    <a:pt x="4002552" y="562366"/>
                  </a:cubicBezTo>
                  <a:cubicBezTo>
                    <a:pt x="3996242" y="558346"/>
                    <a:pt x="3989730" y="554647"/>
                    <a:pt x="3983038" y="551286"/>
                  </a:cubicBezTo>
                  <a:lnTo>
                    <a:pt x="3966319" y="538407"/>
                  </a:lnTo>
                  <a:lnTo>
                    <a:pt x="3952618" y="549486"/>
                  </a:lnTo>
                  <a:lnTo>
                    <a:pt x="3945407" y="539703"/>
                  </a:lnTo>
                  <a:lnTo>
                    <a:pt x="3944433" y="523320"/>
                  </a:lnTo>
                  <a:lnTo>
                    <a:pt x="3957478" y="514291"/>
                  </a:lnTo>
                  <a:lnTo>
                    <a:pt x="3965059" y="514291"/>
                  </a:lnTo>
                  <a:lnTo>
                    <a:pt x="4000509" y="500150"/>
                  </a:lnTo>
                  <a:lnTo>
                    <a:pt x="4015629" y="491057"/>
                  </a:lnTo>
                  <a:lnTo>
                    <a:pt x="4035789" y="488785"/>
                  </a:lnTo>
                  <a:lnTo>
                    <a:pt x="4059813" y="499864"/>
                  </a:lnTo>
                  <a:lnTo>
                    <a:pt x="4073472" y="499864"/>
                  </a:lnTo>
                  <a:lnTo>
                    <a:pt x="4096957" y="488503"/>
                  </a:lnTo>
                  <a:close/>
                  <a:moveTo>
                    <a:pt x="2169883" y="368008"/>
                  </a:moveTo>
                  <a:lnTo>
                    <a:pt x="2179449" y="373281"/>
                  </a:lnTo>
                  <a:lnTo>
                    <a:pt x="2194679" y="376058"/>
                  </a:lnTo>
                  <a:lnTo>
                    <a:pt x="2196966" y="387168"/>
                  </a:lnTo>
                  <a:cubicBezTo>
                    <a:pt x="2189613" y="388727"/>
                    <a:pt x="2182457" y="391099"/>
                    <a:pt x="2175636" y="394241"/>
                  </a:cubicBezTo>
                  <a:cubicBezTo>
                    <a:pt x="2167998" y="397759"/>
                    <a:pt x="2160821" y="402227"/>
                    <a:pt x="2153008" y="405351"/>
                  </a:cubicBezTo>
                  <a:cubicBezTo>
                    <a:pt x="2147388" y="407599"/>
                    <a:pt x="2141502" y="409125"/>
                    <a:pt x="2135494" y="409896"/>
                  </a:cubicBezTo>
                  <a:lnTo>
                    <a:pt x="2122623" y="402320"/>
                  </a:lnTo>
                  <a:lnTo>
                    <a:pt x="2112662" y="389251"/>
                  </a:lnTo>
                  <a:lnTo>
                    <a:pt x="2120534" y="381674"/>
                  </a:lnTo>
                  <a:lnTo>
                    <a:pt x="2133586" y="376084"/>
                  </a:lnTo>
                  <a:lnTo>
                    <a:pt x="2154308" y="372804"/>
                  </a:lnTo>
                  <a:close/>
                  <a:moveTo>
                    <a:pt x="4372184" y="353959"/>
                  </a:moveTo>
                  <a:lnTo>
                    <a:pt x="4384240" y="356137"/>
                  </a:lnTo>
                  <a:lnTo>
                    <a:pt x="4384463" y="369489"/>
                  </a:lnTo>
                  <a:lnTo>
                    <a:pt x="4364375" y="374004"/>
                  </a:lnTo>
                  <a:lnTo>
                    <a:pt x="4343208" y="371226"/>
                  </a:lnTo>
                  <a:lnTo>
                    <a:pt x="4343175" y="359358"/>
                  </a:lnTo>
                  <a:lnTo>
                    <a:pt x="4354489" y="357843"/>
                  </a:lnTo>
                  <a:lnTo>
                    <a:pt x="4364169" y="358281"/>
                  </a:lnTo>
                  <a:close/>
                  <a:moveTo>
                    <a:pt x="2292842" y="312932"/>
                  </a:moveTo>
                  <a:lnTo>
                    <a:pt x="2304895" y="317290"/>
                  </a:lnTo>
                  <a:lnTo>
                    <a:pt x="2314001" y="327148"/>
                  </a:lnTo>
                  <a:lnTo>
                    <a:pt x="2311724" y="338875"/>
                  </a:lnTo>
                  <a:lnTo>
                    <a:pt x="2297796" y="353714"/>
                  </a:lnTo>
                  <a:lnTo>
                    <a:pt x="2297796" y="362120"/>
                  </a:lnTo>
                  <a:lnTo>
                    <a:pt x="2301815" y="370006"/>
                  </a:lnTo>
                  <a:lnTo>
                    <a:pt x="2306502" y="387544"/>
                  </a:lnTo>
                  <a:lnTo>
                    <a:pt x="2313466" y="400412"/>
                  </a:lnTo>
                  <a:lnTo>
                    <a:pt x="2327125" y="392837"/>
                  </a:lnTo>
                  <a:lnTo>
                    <a:pt x="2328733" y="382355"/>
                  </a:lnTo>
                  <a:lnTo>
                    <a:pt x="2340919" y="386922"/>
                  </a:lnTo>
                  <a:lnTo>
                    <a:pt x="2354312" y="390346"/>
                  </a:lnTo>
                  <a:lnTo>
                    <a:pt x="2359668" y="400931"/>
                  </a:lnTo>
                  <a:lnTo>
                    <a:pt x="2354177" y="415355"/>
                  </a:lnTo>
                  <a:lnTo>
                    <a:pt x="2340652" y="429468"/>
                  </a:lnTo>
                  <a:lnTo>
                    <a:pt x="2337706" y="438496"/>
                  </a:lnTo>
                  <a:lnTo>
                    <a:pt x="2353642" y="447525"/>
                  </a:lnTo>
                  <a:lnTo>
                    <a:pt x="2361008" y="450327"/>
                  </a:lnTo>
                  <a:lnTo>
                    <a:pt x="2371454" y="446072"/>
                  </a:lnTo>
                  <a:lnTo>
                    <a:pt x="2380293" y="437770"/>
                  </a:lnTo>
                  <a:lnTo>
                    <a:pt x="2402389" y="424176"/>
                  </a:lnTo>
                  <a:lnTo>
                    <a:pt x="2415247" y="419714"/>
                  </a:lnTo>
                  <a:lnTo>
                    <a:pt x="2436808" y="397195"/>
                  </a:lnTo>
                  <a:lnTo>
                    <a:pt x="2451136" y="383289"/>
                  </a:lnTo>
                  <a:lnTo>
                    <a:pt x="2460243" y="379554"/>
                  </a:lnTo>
                  <a:lnTo>
                    <a:pt x="2492382" y="379554"/>
                  </a:lnTo>
                  <a:lnTo>
                    <a:pt x="2505104" y="381629"/>
                  </a:lnTo>
                  <a:lnTo>
                    <a:pt x="2523318" y="383808"/>
                  </a:lnTo>
                  <a:lnTo>
                    <a:pt x="2526396" y="393148"/>
                  </a:lnTo>
                  <a:lnTo>
                    <a:pt x="2521309" y="404978"/>
                  </a:lnTo>
                  <a:lnTo>
                    <a:pt x="2509658" y="420129"/>
                  </a:lnTo>
                  <a:lnTo>
                    <a:pt x="2501488" y="430506"/>
                  </a:lnTo>
                  <a:lnTo>
                    <a:pt x="2487695" y="444619"/>
                  </a:lnTo>
                  <a:lnTo>
                    <a:pt x="2475776" y="453751"/>
                  </a:lnTo>
                  <a:cubicBezTo>
                    <a:pt x="2469081" y="459355"/>
                    <a:pt x="2461313" y="463713"/>
                    <a:pt x="2452876" y="466515"/>
                  </a:cubicBezTo>
                  <a:cubicBezTo>
                    <a:pt x="2447252" y="468487"/>
                    <a:pt x="2441361" y="469628"/>
                    <a:pt x="2435468" y="470355"/>
                  </a:cubicBezTo>
                  <a:cubicBezTo>
                    <a:pt x="2424754" y="471704"/>
                    <a:pt x="2413907" y="471704"/>
                    <a:pt x="2403194" y="470355"/>
                  </a:cubicBezTo>
                  <a:lnTo>
                    <a:pt x="2383372" y="473364"/>
                  </a:lnTo>
                  <a:lnTo>
                    <a:pt x="2359267" y="473883"/>
                  </a:lnTo>
                  <a:lnTo>
                    <a:pt x="2338643" y="476892"/>
                  </a:lnTo>
                  <a:lnTo>
                    <a:pt x="2326054" y="486751"/>
                  </a:lnTo>
                  <a:lnTo>
                    <a:pt x="2312796" y="492977"/>
                  </a:lnTo>
                  <a:cubicBezTo>
                    <a:pt x="2307706" y="494326"/>
                    <a:pt x="2302484" y="494949"/>
                    <a:pt x="2297260" y="494949"/>
                  </a:cubicBezTo>
                  <a:cubicBezTo>
                    <a:pt x="2291235" y="494949"/>
                    <a:pt x="2285341" y="494015"/>
                    <a:pt x="2279583" y="492251"/>
                  </a:cubicBezTo>
                  <a:lnTo>
                    <a:pt x="2262442" y="484053"/>
                  </a:lnTo>
                  <a:lnTo>
                    <a:pt x="2247979" y="487788"/>
                  </a:lnTo>
                  <a:lnTo>
                    <a:pt x="2242623" y="497128"/>
                  </a:lnTo>
                  <a:lnTo>
                    <a:pt x="2253604" y="505119"/>
                  </a:lnTo>
                  <a:lnTo>
                    <a:pt x="2266994" y="519854"/>
                  </a:lnTo>
                  <a:lnTo>
                    <a:pt x="2271013" y="529609"/>
                  </a:lnTo>
                  <a:lnTo>
                    <a:pt x="2250255" y="536458"/>
                  </a:lnTo>
                  <a:lnTo>
                    <a:pt x="2231374" y="542580"/>
                  </a:lnTo>
                  <a:lnTo>
                    <a:pt x="2211687" y="545590"/>
                  </a:lnTo>
                  <a:lnTo>
                    <a:pt x="2187984" y="554618"/>
                  </a:lnTo>
                  <a:lnTo>
                    <a:pt x="2157584" y="555345"/>
                  </a:lnTo>
                  <a:lnTo>
                    <a:pt x="2146603" y="549118"/>
                  </a:lnTo>
                  <a:lnTo>
                    <a:pt x="2134951" y="553684"/>
                  </a:lnTo>
                  <a:lnTo>
                    <a:pt x="2129594" y="570288"/>
                  </a:lnTo>
                  <a:lnTo>
                    <a:pt x="2136424" y="576929"/>
                  </a:lnTo>
                  <a:lnTo>
                    <a:pt x="2129594" y="584401"/>
                  </a:lnTo>
                  <a:lnTo>
                    <a:pt x="2116068" y="590212"/>
                  </a:lnTo>
                  <a:lnTo>
                    <a:pt x="2092767" y="599344"/>
                  </a:lnTo>
                  <a:lnTo>
                    <a:pt x="2072947" y="606920"/>
                  </a:lnTo>
                  <a:lnTo>
                    <a:pt x="2057947" y="612939"/>
                  </a:lnTo>
                  <a:lnTo>
                    <a:pt x="2044287" y="621240"/>
                  </a:lnTo>
                  <a:lnTo>
                    <a:pt x="2024466" y="631307"/>
                  </a:lnTo>
                  <a:lnTo>
                    <a:pt x="2003441" y="647495"/>
                  </a:lnTo>
                  <a:lnTo>
                    <a:pt x="1988174" y="654344"/>
                  </a:lnTo>
                  <a:lnTo>
                    <a:pt x="1970229" y="661089"/>
                  </a:lnTo>
                  <a:lnTo>
                    <a:pt x="1961123" y="667834"/>
                  </a:lnTo>
                  <a:lnTo>
                    <a:pt x="1953758" y="679145"/>
                  </a:lnTo>
                  <a:lnTo>
                    <a:pt x="1941303" y="690560"/>
                  </a:lnTo>
                  <a:lnTo>
                    <a:pt x="1933402" y="701353"/>
                  </a:lnTo>
                  <a:lnTo>
                    <a:pt x="1925769" y="715051"/>
                  </a:lnTo>
                  <a:lnTo>
                    <a:pt x="1926304" y="726155"/>
                  </a:lnTo>
                  <a:lnTo>
                    <a:pt x="1935276" y="733004"/>
                  </a:lnTo>
                  <a:lnTo>
                    <a:pt x="1946393" y="735287"/>
                  </a:lnTo>
                  <a:lnTo>
                    <a:pt x="1952685" y="746079"/>
                  </a:lnTo>
                  <a:lnTo>
                    <a:pt x="1956971" y="762787"/>
                  </a:lnTo>
                  <a:lnTo>
                    <a:pt x="1962730" y="773787"/>
                  </a:lnTo>
                  <a:lnTo>
                    <a:pt x="1970097" y="783333"/>
                  </a:lnTo>
                  <a:lnTo>
                    <a:pt x="1989113" y="789871"/>
                  </a:lnTo>
                  <a:lnTo>
                    <a:pt x="2012817" y="791116"/>
                  </a:lnTo>
                  <a:lnTo>
                    <a:pt x="2022325" y="791843"/>
                  </a:lnTo>
                  <a:lnTo>
                    <a:pt x="2048303" y="800975"/>
                  </a:lnTo>
                  <a:lnTo>
                    <a:pt x="2066114" y="811767"/>
                  </a:lnTo>
                  <a:lnTo>
                    <a:pt x="2078305" y="821314"/>
                  </a:lnTo>
                  <a:lnTo>
                    <a:pt x="2095712" y="833455"/>
                  </a:lnTo>
                  <a:lnTo>
                    <a:pt x="2121559" y="838644"/>
                  </a:lnTo>
                  <a:lnTo>
                    <a:pt x="2148610" y="845701"/>
                  </a:lnTo>
                  <a:lnTo>
                    <a:pt x="2158788" y="847257"/>
                  </a:lnTo>
                  <a:lnTo>
                    <a:pt x="2163877" y="853795"/>
                  </a:lnTo>
                  <a:lnTo>
                    <a:pt x="2165217" y="862823"/>
                  </a:lnTo>
                  <a:lnTo>
                    <a:pt x="2160127" y="873097"/>
                  </a:lnTo>
                  <a:lnTo>
                    <a:pt x="2153300" y="888974"/>
                  </a:lnTo>
                  <a:lnTo>
                    <a:pt x="2150218" y="901011"/>
                  </a:lnTo>
                  <a:lnTo>
                    <a:pt x="2140308" y="918238"/>
                  </a:lnTo>
                  <a:lnTo>
                    <a:pt x="2135754" y="937021"/>
                  </a:lnTo>
                  <a:lnTo>
                    <a:pt x="2138030" y="948955"/>
                  </a:lnTo>
                  <a:lnTo>
                    <a:pt x="2146200" y="961407"/>
                  </a:lnTo>
                  <a:lnTo>
                    <a:pt x="2157180" y="978841"/>
                  </a:lnTo>
                  <a:lnTo>
                    <a:pt x="2172181" y="978115"/>
                  </a:lnTo>
                  <a:lnTo>
                    <a:pt x="2188922" y="971992"/>
                  </a:lnTo>
                  <a:lnTo>
                    <a:pt x="2207268" y="964520"/>
                  </a:lnTo>
                  <a:lnTo>
                    <a:pt x="2223207" y="955388"/>
                  </a:lnTo>
                  <a:lnTo>
                    <a:pt x="2230035" y="943455"/>
                  </a:lnTo>
                  <a:lnTo>
                    <a:pt x="2237668" y="929757"/>
                  </a:lnTo>
                  <a:lnTo>
                    <a:pt x="2239946" y="922181"/>
                  </a:lnTo>
                  <a:lnTo>
                    <a:pt x="2242220" y="909625"/>
                  </a:lnTo>
                  <a:lnTo>
                    <a:pt x="2245971" y="893229"/>
                  </a:lnTo>
                  <a:lnTo>
                    <a:pt x="2251328" y="882332"/>
                  </a:lnTo>
                  <a:lnTo>
                    <a:pt x="2259630" y="871021"/>
                  </a:lnTo>
                  <a:lnTo>
                    <a:pt x="2270075" y="859710"/>
                  </a:lnTo>
                  <a:lnTo>
                    <a:pt x="2289092" y="852238"/>
                  </a:lnTo>
                  <a:lnTo>
                    <a:pt x="2299672" y="849955"/>
                  </a:lnTo>
                  <a:lnTo>
                    <a:pt x="2322840" y="839267"/>
                  </a:lnTo>
                  <a:lnTo>
                    <a:pt x="2329402" y="834701"/>
                  </a:lnTo>
                  <a:lnTo>
                    <a:pt x="2340785" y="825673"/>
                  </a:lnTo>
                  <a:lnTo>
                    <a:pt x="2352973" y="811767"/>
                  </a:lnTo>
                  <a:lnTo>
                    <a:pt x="2358062" y="803050"/>
                  </a:lnTo>
                  <a:lnTo>
                    <a:pt x="2373998" y="787173"/>
                  </a:lnTo>
                  <a:lnTo>
                    <a:pt x="2384710" y="771504"/>
                  </a:lnTo>
                  <a:lnTo>
                    <a:pt x="2385515" y="762267"/>
                  </a:lnTo>
                  <a:lnTo>
                    <a:pt x="2384710" y="750852"/>
                  </a:lnTo>
                  <a:lnTo>
                    <a:pt x="2382436" y="738919"/>
                  </a:lnTo>
                  <a:lnTo>
                    <a:pt x="2382436" y="726777"/>
                  </a:lnTo>
                  <a:lnTo>
                    <a:pt x="2385515" y="718475"/>
                  </a:lnTo>
                  <a:lnTo>
                    <a:pt x="2392345" y="707891"/>
                  </a:lnTo>
                  <a:lnTo>
                    <a:pt x="2406005" y="703636"/>
                  </a:lnTo>
                  <a:lnTo>
                    <a:pt x="2418192" y="693258"/>
                  </a:lnTo>
                  <a:lnTo>
                    <a:pt x="2425826" y="681947"/>
                  </a:lnTo>
                  <a:lnTo>
                    <a:pt x="2441092" y="659947"/>
                  </a:lnTo>
                  <a:lnTo>
                    <a:pt x="2447654" y="638051"/>
                  </a:lnTo>
                  <a:lnTo>
                    <a:pt x="2455287" y="623938"/>
                  </a:lnTo>
                  <a:lnTo>
                    <a:pt x="2466270" y="617401"/>
                  </a:lnTo>
                  <a:lnTo>
                    <a:pt x="2480731" y="610033"/>
                  </a:lnTo>
                  <a:lnTo>
                    <a:pt x="2498676" y="605467"/>
                  </a:lnTo>
                  <a:lnTo>
                    <a:pt x="2516755" y="605467"/>
                  </a:lnTo>
                  <a:lnTo>
                    <a:pt x="2534298" y="607024"/>
                  </a:lnTo>
                  <a:lnTo>
                    <a:pt x="2546352" y="615844"/>
                  </a:lnTo>
                  <a:lnTo>
                    <a:pt x="2563895" y="615118"/>
                  </a:lnTo>
                  <a:lnTo>
                    <a:pt x="2580366" y="619891"/>
                  </a:lnTo>
                  <a:lnTo>
                    <a:pt x="2595635" y="629750"/>
                  </a:lnTo>
                  <a:lnTo>
                    <a:pt x="2609295" y="636495"/>
                  </a:lnTo>
                  <a:lnTo>
                    <a:pt x="2626836" y="651749"/>
                  </a:lnTo>
                  <a:lnTo>
                    <a:pt x="2634203" y="661816"/>
                  </a:lnTo>
                  <a:lnTo>
                    <a:pt x="2637015" y="682570"/>
                  </a:lnTo>
                  <a:lnTo>
                    <a:pt x="2627106" y="697410"/>
                  </a:lnTo>
                  <a:lnTo>
                    <a:pt x="2620007" y="713287"/>
                  </a:lnTo>
                  <a:lnTo>
                    <a:pt x="2631390" y="723041"/>
                  </a:lnTo>
                  <a:lnTo>
                    <a:pt x="2644113" y="735702"/>
                  </a:lnTo>
                  <a:lnTo>
                    <a:pt x="2654559" y="737466"/>
                  </a:lnTo>
                  <a:lnTo>
                    <a:pt x="2671166" y="738192"/>
                  </a:lnTo>
                  <a:lnTo>
                    <a:pt x="2693799" y="729891"/>
                  </a:lnTo>
                  <a:lnTo>
                    <a:pt x="2711878" y="716815"/>
                  </a:lnTo>
                  <a:lnTo>
                    <a:pt x="2730894" y="702702"/>
                  </a:lnTo>
                  <a:lnTo>
                    <a:pt x="2749107" y="689834"/>
                  </a:lnTo>
                  <a:lnTo>
                    <a:pt x="2762097" y="675410"/>
                  </a:lnTo>
                  <a:lnTo>
                    <a:pt x="2774820" y="679976"/>
                  </a:lnTo>
                  <a:lnTo>
                    <a:pt x="2778168" y="691391"/>
                  </a:lnTo>
                  <a:lnTo>
                    <a:pt x="2784998" y="701975"/>
                  </a:lnTo>
                  <a:cubicBezTo>
                    <a:pt x="2786873" y="707268"/>
                    <a:pt x="2786604" y="713183"/>
                    <a:pt x="2784195" y="718372"/>
                  </a:cubicBezTo>
                  <a:cubicBezTo>
                    <a:pt x="2782320" y="722523"/>
                    <a:pt x="2779105" y="725947"/>
                    <a:pt x="2775088" y="728126"/>
                  </a:cubicBezTo>
                  <a:lnTo>
                    <a:pt x="2780445" y="739749"/>
                  </a:lnTo>
                  <a:lnTo>
                    <a:pt x="2789952" y="747013"/>
                  </a:lnTo>
                  <a:lnTo>
                    <a:pt x="2793032" y="763824"/>
                  </a:lnTo>
                  <a:lnTo>
                    <a:pt x="2791693" y="777418"/>
                  </a:lnTo>
                  <a:lnTo>
                    <a:pt x="2778302" y="786446"/>
                  </a:lnTo>
                  <a:lnTo>
                    <a:pt x="2776694" y="801909"/>
                  </a:lnTo>
                  <a:lnTo>
                    <a:pt x="2787408" y="812493"/>
                  </a:lnTo>
                  <a:lnTo>
                    <a:pt x="2795041" y="825776"/>
                  </a:lnTo>
                  <a:lnTo>
                    <a:pt x="2801603" y="844248"/>
                  </a:lnTo>
                  <a:lnTo>
                    <a:pt x="2813791" y="857634"/>
                  </a:lnTo>
                  <a:cubicBezTo>
                    <a:pt x="2810309" y="859399"/>
                    <a:pt x="2806827" y="861474"/>
                    <a:pt x="2803478" y="863653"/>
                  </a:cubicBezTo>
                  <a:cubicBezTo>
                    <a:pt x="2798389" y="866974"/>
                    <a:pt x="2793569" y="870814"/>
                    <a:pt x="2789283" y="874965"/>
                  </a:cubicBezTo>
                  <a:lnTo>
                    <a:pt x="2789283" y="886068"/>
                  </a:lnTo>
                  <a:lnTo>
                    <a:pt x="2798925" y="890634"/>
                  </a:lnTo>
                  <a:lnTo>
                    <a:pt x="2811648" y="888559"/>
                  </a:lnTo>
                  <a:lnTo>
                    <a:pt x="2824504" y="878804"/>
                  </a:lnTo>
                  <a:lnTo>
                    <a:pt x="2838566" y="878078"/>
                  </a:lnTo>
                  <a:lnTo>
                    <a:pt x="2856109" y="878078"/>
                  </a:lnTo>
                  <a:lnTo>
                    <a:pt x="2866287" y="880257"/>
                  </a:lnTo>
                  <a:lnTo>
                    <a:pt x="2875394" y="886380"/>
                  </a:lnTo>
                  <a:lnTo>
                    <a:pt x="2891865" y="898728"/>
                  </a:lnTo>
                  <a:lnTo>
                    <a:pt x="2892670" y="906096"/>
                  </a:lnTo>
                  <a:lnTo>
                    <a:pt x="2890393" y="919172"/>
                  </a:lnTo>
                  <a:lnTo>
                    <a:pt x="2881688" y="931832"/>
                  </a:lnTo>
                  <a:cubicBezTo>
                    <a:pt x="2878876" y="936087"/>
                    <a:pt x="2875394" y="939926"/>
                    <a:pt x="2871376" y="943143"/>
                  </a:cubicBezTo>
                  <a:cubicBezTo>
                    <a:pt x="2868564" y="945530"/>
                    <a:pt x="2865483" y="947502"/>
                    <a:pt x="2862269" y="949162"/>
                  </a:cubicBezTo>
                  <a:lnTo>
                    <a:pt x="2849278" y="957256"/>
                  </a:lnTo>
                  <a:lnTo>
                    <a:pt x="2841377" y="962549"/>
                  </a:lnTo>
                  <a:cubicBezTo>
                    <a:pt x="2836289" y="965454"/>
                    <a:pt x="2831066" y="968049"/>
                    <a:pt x="2825575" y="970435"/>
                  </a:cubicBezTo>
                  <a:cubicBezTo>
                    <a:pt x="2818344" y="973549"/>
                    <a:pt x="2810711" y="976039"/>
                    <a:pt x="2802943" y="978011"/>
                  </a:cubicBezTo>
                  <a:lnTo>
                    <a:pt x="2785935" y="985067"/>
                  </a:lnTo>
                  <a:lnTo>
                    <a:pt x="2744018" y="999388"/>
                  </a:lnTo>
                  <a:lnTo>
                    <a:pt x="2710806" y="999699"/>
                  </a:lnTo>
                  <a:lnTo>
                    <a:pt x="2688442" y="1004058"/>
                  </a:lnTo>
                  <a:lnTo>
                    <a:pt x="2667819" y="1006860"/>
                  </a:lnTo>
                  <a:lnTo>
                    <a:pt x="2631792" y="1003850"/>
                  </a:lnTo>
                  <a:lnTo>
                    <a:pt x="2599785" y="1001567"/>
                  </a:lnTo>
                  <a:lnTo>
                    <a:pt x="2575679" y="1004577"/>
                  </a:lnTo>
                  <a:lnTo>
                    <a:pt x="2557602" y="1008831"/>
                  </a:lnTo>
                  <a:cubicBezTo>
                    <a:pt x="2548630" y="1010699"/>
                    <a:pt x="2539790" y="1013294"/>
                    <a:pt x="2531218" y="1016614"/>
                  </a:cubicBezTo>
                  <a:cubicBezTo>
                    <a:pt x="2524924" y="1019105"/>
                    <a:pt x="2518899" y="1021803"/>
                    <a:pt x="2513006" y="1025020"/>
                  </a:cubicBezTo>
                  <a:lnTo>
                    <a:pt x="2487828" y="1040067"/>
                  </a:lnTo>
                  <a:lnTo>
                    <a:pt x="2430647" y="1064039"/>
                  </a:lnTo>
                  <a:lnTo>
                    <a:pt x="2416987" y="1070888"/>
                  </a:lnTo>
                  <a:lnTo>
                    <a:pt x="2410156" y="1081472"/>
                  </a:lnTo>
                  <a:lnTo>
                    <a:pt x="2417657" y="1093510"/>
                  </a:lnTo>
                  <a:lnTo>
                    <a:pt x="2425960" y="1090708"/>
                  </a:lnTo>
                  <a:lnTo>
                    <a:pt x="2448860" y="1086972"/>
                  </a:lnTo>
                  <a:lnTo>
                    <a:pt x="2465063" y="1075038"/>
                  </a:lnTo>
                  <a:lnTo>
                    <a:pt x="2498810" y="1063001"/>
                  </a:lnTo>
                  <a:lnTo>
                    <a:pt x="2530014" y="1056256"/>
                  </a:lnTo>
                  <a:lnTo>
                    <a:pt x="2558672" y="1054284"/>
                  </a:lnTo>
                  <a:lnTo>
                    <a:pt x="2576214" y="1058020"/>
                  </a:lnTo>
                  <a:lnTo>
                    <a:pt x="2569519" y="1075142"/>
                  </a:lnTo>
                  <a:lnTo>
                    <a:pt x="2563225" y="1083755"/>
                  </a:lnTo>
                  <a:lnTo>
                    <a:pt x="2545280" y="1102642"/>
                  </a:lnTo>
                  <a:lnTo>
                    <a:pt x="2536977" y="1110944"/>
                  </a:lnTo>
                  <a:lnTo>
                    <a:pt x="2536173" y="1126510"/>
                  </a:lnTo>
                  <a:lnTo>
                    <a:pt x="2535505" y="1140830"/>
                  </a:lnTo>
                  <a:lnTo>
                    <a:pt x="2543540" y="1154736"/>
                  </a:lnTo>
                  <a:lnTo>
                    <a:pt x="2567777" y="1164594"/>
                  </a:lnTo>
                  <a:lnTo>
                    <a:pt x="2590141" y="1175698"/>
                  </a:lnTo>
                  <a:lnTo>
                    <a:pt x="2609828" y="1175698"/>
                  </a:lnTo>
                  <a:lnTo>
                    <a:pt x="2618667" y="1173415"/>
                  </a:lnTo>
                  <a:lnTo>
                    <a:pt x="2637951" y="1164075"/>
                  </a:lnTo>
                  <a:lnTo>
                    <a:pt x="2656033" y="1163349"/>
                  </a:lnTo>
                  <a:lnTo>
                    <a:pt x="2660853" y="1173623"/>
                  </a:lnTo>
                  <a:lnTo>
                    <a:pt x="2631926" y="1185556"/>
                  </a:lnTo>
                  <a:lnTo>
                    <a:pt x="2616928" y="1193858"/>
                  </a:lnTo>
                  <a:cubicBezTo>
                    <a:pt x="2609828" y="1197387"/>
                    <a:pt x="2602596" y="1200500"/>
                    <a:pt x="2595231" y="1203198"/>
                  </a:cubicBezTo>
                  <a:cubicBezTo>
                    <a:pt x="2589338" y="1205377"/>
                    <a:pt x="2583311" y="1207349"/>
                    <a:pt x="2577153" y="1209009"/>
                  </a:cubicBezTo>
                  <a:lnTo>
                    <a:pt x="2554389" y="1210566"/>
                  </a:lnTo>
                  <a:lnTo>
                    <a:pt x="2535103" y="1218556"/>
                  </a:lnTo>
                  <a:lnTo>
                    <a:pt x="2516487" y="1228933"/>
                  </a:lnTo>
                  <a:lnTo>
                    <a:pt x="2492382" y="1239726"/>
                  </a:lnTo>
                  <a:lnTo>
                    <a:pt x="2478991" y="1239726"/>
                  </a:lnTo>
                  <a:lnTo>
                    <a:pt x="2470822" y="1230179"/>
                  </a:lnTo>
                  <a:lnTo>
                    <a:pt x="2476848" y="1221047"/>
                  </a:lnTo>
                  <a:lnTo>
                    <a:pt x="2490240" y="1214820"/>
                  </a:lnTo>
                  <a:lnTo>
                    <a:pt x="2505104" y="1209009"/>
                  </a:lnTo>
                  <a:lnTo>
                    <a:pt x="2527469" y="1196349"/>
                  </a:lnTo>
                  <a:lnTo>
                    <a:pt x="2546622" y="1192094"/>
                  </a:lnTo>
                  <a:lnTo>
                    <a:pt x="2545816" y="1179434"/>
                  </a:lnTo>
                  <a:lnTo>
                    <a:pt x="2532826" y="1175179"/>
                  </a:lnTo>
                  <a:lnTo>
                    <a:pt x="2512604" y="1175179"/>
                  </a:lnTo>
                  <a:lnTo>
                    <a:pt x="2495329" y="1180990"/>
                  </a:lnTo>
                  <a:lnTo>
                    <a:pt x="2476045" y="1187528"/>
                  </a:lnTo>
                  <a:lnTo>
                    <a:pt x="2455957" y="1196660"/>
                  </a:lnTo>
                  <a:lnTo>
                    <a:pt x="2436273" y="1206726"/>
                  </a:lnTo>
                  <a:lnTo>
                    <a:pt x="2406005" y="1214094"/>
                  </a:lnTo>
                  <a:lnTo>
                    <a:pt x="2382167" y="1228933"/>
                  </a:lnTo>
                  <a:lnTo>
                    <a:pt x="2354177" y="1243254"/>
                  </a:lnTo>
                  <a:lnTo>
                    <a:pt x="2341187" y="1251556"/>
                  </a:lnTo>
                  <a:lnTo>
                    <a:pt x="2324314" y="1260792"/>
                  </a:lnTo>
                  <a:lnTo>
                    <a:pt x="2309046" y="1272829"/>
                  </a:lnTo>
                  <a:lnTo>
                    <a:pt x="2302216" y="1303650"/>
                  </a:lnTo>
                  <a:lnTo>
                    <a:pt x="2290029" y="1310499"/>
                  </a:lnTo>
                  <a:lnTo>
                    <a:pt x="2273289" y="1317452"/>
                  </a:lnTo>
                  <a:lnTo>
                    <a:pt x="2253470" y="1325857"/>
                  </a:lnTo>
                  <a:lnTo>
                    <a:pt x="2223071" y="1329593"/>
                  </a:lnTo>
                  <a:lnTo>
                    <a:pt x="2201644" y="1334159"/>
                  </a:lnTo>
                  <a:lnTo>
                    <a:pt x="2176599" y="1354291"/>
                  </a:lnTo>
                  <a:lnTo>
                    <a:pt x="2167225" y="1363112"/>
                  </a:lnTo>
                  <a:lnTo>
                    <a:pt x="2158387" y="1380649"/>
                  </a:lnTo>
                  <a:lnTo>
                    <a:pt x="2145933" y="1390196"/>
                  </a:lnTo>
                  <a:lnTo>
                    <a:pt x="2110845" y="1395489"/>
                  </a:lnTo>
                  <a:lnTo>
                    <a:pt x="2095846" y="1409706"/>
                  </a:lnTo>
                  <a:lnTo>
                    <a:pt x="2080445" y="1426102"/>
                  </a:lnTo>
                  <a:lnTo>
                    <a:pt x="2091024" y="1451007"/>
                  </a:lnTo>
                  <a:lnTo>
                    <a:pt x="2081917" y="1456611"/>
                  </a:lnTo>
                  <a:lnTo>
                    <a:pt x="2075624" y="1441979"/>
                  </a:lnTo>
                  <a:lnTo>
                    <a:pt x="2073348" y="1429630"/>
                  </a:lnTo>
                  <a:lnTo>
                    <a:pt x="2060893" y="1429630"/>
                  </a:lnTo>
                  <a:lnTo>
                    <a:pt x="2049375" y="1447583"/>
                  </a:lnTo>
                  <a:lnTo>
                    <a:pt x="2046429" y="1466469"/>
                  </a:lnTo>
                  <a:lnTo>
                    <a:pt x="2046429" y="1483073"/>
                  </a:lnTo>
                  <a:lnTo>
                    <a:pt x="2049375" y="1499469"/>
                  </a:lnTo>
                  <a:lnTo>
                    <a:pt x="2046295" y="1516177"/>
                  </a:lnTo>
                  <a:lnTo>
                    <a:pt x="2044019" y="1532573"/>
                  </a:lnTo>
                  <a:lnTo>
                    <a:pt x="2029154" y="1552497"/>
                  </a:lnTo>
                  <a:lnTo>
                    <a:pt x="2016164" y="1561525"/>
                  </a:lnTo>
                  <a:lnTo>
                    <a:pt x="2000094" y="1571384"/>
                  </a:lnTo>
                  <a:lnTo>
                    <a:pt x="1988978" y="1583733"/>
                  </a:lnTo>
                  <a:lnTo>
                    <a:pt x="1971704" y="1593591"/>
                  </a:lnTo>
                  <a:lnTo>
                    <a:pt x="1952151" y="1600129"/>
                  </a:lnTo>
                  <a:lnTo>
                    <a:pt x="1935544" y="1606770"/>
                  </a:lnTo>
                  <a:lnTo>
                    <a:pt x="1918537" y="1616629"/>
                  </a:lnTo>
                  <a:lnTo>
                    <a:pt x="1904073" y="1630949"/>
                  </a:lnTo>
                  <a:lnTo>
                    <a:pt x="1865103" y="1658553"/>
                  </a:lnTo>
                  <a:lnTo>
                    <a:pt x="1851443" y="1671421"/>
                  </a:lnTo>
                  <a:lnTo>
                    <a:pt x="1838453" y="1682732"/>
                  </a:lnTo>
                  <a:lnTo>
                    <a:pt x="1829079" y="1698609"/>
                  </a:lnTo>
                  <a:lnTo>
                    <a:pt x="1820374" y="1714486"/>
                  </a:lnTo>
                  <a:lnTo>
                    <a:pt x="1818901" y="1733373"/>
                  </a:lnTo>
                  <a:lnTo>
                    <a:pt x="1821177" y="1762948"/>
                  </a:lnTo>
                  <a:lnTo>
                    <a:pt x="1823454" y="1783391"/>
                  </a:lnTo>
                  <a:lnTo>
                    <a:pt x="1828007" y="1796156"/>
                  </a:lnTo>
                  <a:lnTo>
                    <a:pt x="1832159" y="1828221"/>
                  </a:lnTo>
                  <a:lnTo>
                    <a:pt x="1828544" y="1850221"/>
                  </a:lnTo>
                  <a:lnTo>
                    <a:pt x="1828544" y="1873362"/>
                  </a:lnTo>
                  <a:lnTo>
                    <a:pt x="1821714" y="1892560"/>
                  </a:lnTo>
                  <a:lnTo>
                    <a:pt x="1814346" y="1907400"/>
                  </a:lnTo>
                  <a:lnTo>
                    <a:pt x="1801492" y="1913523"/>
                  </a:lnTo>
                  <a:lnTo>
                    <a:pt x="1785690" y="1899617"/>
                  </a:lnTo>
                  <a:lnTo>
                    <a:pt x="1778858" y="1880730"/>
                  </a:lnTo>
                  <a:lnTo>
                    <a:pt x="1776448" y="1854268"/>
                  </a:lnTo>
                  <a:lnTo>
                    <a:pt x="1769485" y="1842957"/>
                  </a:lnTo>
                  <a:lnTo>
                    <a:pt x="1761047" y="1834344"/>
                  </a:lnTo>
                  <a:lnTo>
                    <a:pt x="1761047" y="1819193"/>
                  </a:lnTo>
                  <a:lnTo>
                    <a:pt x="1766136" y="1805391"/>
                  </a:lnTo>
                  <a:lnTo>
                    <a:pt x="1773770" y="1792731"/>
                  </a:lnTo>
                  <a:lnTo>
                    <a:pt x="1771494" y="1778618"/>
                  </a:lnTo>
                  <a:lnTo>
                    <a:pt x="1763458" y="1765335"/>
                  </a:lnTo>
                  <a:lnTo>
                    <a:pt x="1751807" y="1754335"/>
                  </a:lnTo>
                  <a:lnTo>
                    <a:pt x="1740692" y="1739392"/>
                  </a:lnTo>
                  <a:lnTo>
                    <a:pt x="1724221" y="1735656"/>
                  </a:lnTo>
                  <a:lnTo>
                    <a:pt x="1711229" y="1738769"/>
                  </a:lnTo>
                  <a:lnTo>
                    <a:pt x="1700918" y="1746241"/>
                  </a:lnTo>
                  <a:lnTo>
                    <a:pt x="1687928" y="1743024"/>
                  </a:lnTo>
                  <a:lnTo>
                    <a:pt x="1673598" y="1735033"/>
                  </a:lnTo>
                  <a:lnTo>
                    <a:pt x="1656992" y="1729015"/>
                  </a:lnTo>
                  <a:lnTo>
                    <a:pt x="1646814" y="1718845"/>
                  </a:lnTo>
                  <a:lnTo>
                    <a:pt x="1630879" y="1714279"/>
                  </a:lnTo>
                  <a:lnTo>
                    <a:pt x="1608915" y="1718845"/>
                  </a:lnTo>
                  <a:lnTo>
                    <a:pt x="1590301" y="1725382"/>
                  </a:lnTo>
                  <a:lnTo>
                    <a:pt x="1568339" y="1738250"/>
                  </a:lnTo>
                  <a:lnTo>
                    <a:pt x="1554276" y="1762637"/>
                  </a:lnTo>
                  <a:lnTo>
                    <a:pt x="1540616" y="1770212"/>
                  </a:lnTo>
                  <a:lnTo>
                    <a:pt x="1528430" y="1770212"/>
                  </a:lnTo>
                  <a:lnTo>
                    <a:pt x="1512760" y="1765024"/>
                  </a:lnTo>
                  <a:lnTo>
                    <a:pt x="1493208" y="1753920"/>
                  </a:lnTo>
                  <a:lnTo>
                    <a:pt x="1472184" y="1738977"/>
                  </a:lnTo>
                  <a:lnTo>
                    <a:pt x="1455712" y="1732958"/>
                  </a:lnTo>
                  <a:lnTo>
                    <a:pt x="1438169" y="1732958"/>
                  </a:lnTo>
                  <a:lnTo>
                    <a:pt x="1419955" y="1736694"/>
                  </a:lnTo>
                  <a:lnTo>
                    <a:pt x="1403483" y="1748731"/>
                  </a:lnTo>
                  <a:lnTo>
                    <a:pt x="1386609" y="1756514"/>
                  </a:lnTo>
                  <a:lnTo>
                    <a:pt x="1364512" y="1770939"/>
                  </a:lnTo>
                  <a:lnTo>
                    <a:pt x="1313223" y="1795222"/>
                  </a:lnTo>
                  <a:lnTo>
                    <a:pt x="1290321" y="1813174"/>
                  </a:lnTo>
                  <a:lnTo>
                    <a:pt x="1273046" y="1827495"/>
                  </a:lnTo>
                  <a:lnTo>
                    <a:pt x="1264743" y="1847731"/>
                  </a:lnTo>
                  <a:lnTo>
                    <a:pt x="1259655" y="1867136"/>
                  </a:lnTo>
                  <a:lnTo>
                    <a:pt x="1258850" y="1888513"/>
                  </a:lnTo>
                  <a:lnTo>
                    <a:pt x="1256575" y="1911136"/>
                  </a:lnTo>
                  <a:lnTo>
                    <a:pt x="1243583" y="1937494"/>
                  </a:lnTo>
                  <a:lnTo>
                    <a:pt x="1227646" y="1976616"/>
                  </a:lnTo>
                  <a:lnTo>
                    <a:pt x="1222558" y="2009097"/>
                  </a:lnTo>
                  <a:lnTo>
                    <a:pt x="1224835" y="2038050"/>
                  </a:lnTo>
                  <a:lnTo>
                    <a:pt x="1231531" y="2068144"/>
                  </a:lnTo>
                  <a:lnTo>
                    <a:pt x="1242646" y="2106644"/>
                  </a:lnTo>
                  <a:lnTo>
                    <a:pt x="1250012" y="2127606"/>
                  </a:lnTo>
                  <a:lnTo>
                    <a:pt x="1265144" y="2144936"/>
                  </a:lnTo>
                  <a:lnTo>
                    <a:pt x="1286438" y="2163304"/>
                  </a:lnTo>
                  <a:lnTo>
                    <a:pt x="1311347" y="2168285"/>
                  </a:lnTo>
                  <a:lnTo>
                    <a:pt x="1339069" y="2170256"/>
                  </a:lnTo>
                  <a:lnTo>
                    <a:pt x="1357281" y="2170256"/>
                  </a:lnTo>
                  <a:lnTo>
                    <a:pt x="1380985" y="2161955"/>
                  </a:lnTo>
                  <a:lnTo>
                    <a:pt x="1400001" y="2155832"/>
                  </a:lnTo>
                  <a:lnTo>
                    <a:pt x="1426115" y="2138917"/>
                  </a:lnTo>
                  <a:lnTo>
                    <a:pt x="1439775" y="2129889"/>
                  </a:lnTo>
                  <a:lnTo>
                    <a:pt x="1450756" y="2113078"/>
                  </a:lnTo>
                  <a:lnTo>
                    <a:pt x="1457586" y="2093361"/>
                  </a:lnTo>
                  <a:lnTo>
                    <a:pt x="1458390" y="2080078"/>
                  </a:lnTo>
                  <a:lnTo>
                    <a:pt x="1462943" y="2072502"/>
                  </a:lnTo>
                  <a:lnTo>
                    <a:pt x="1476871" y="2065342"/>
                  </a:lnTo>
                  <a:lnTo>
                    <a:pt x="1487049" y="2060361"/>
                  </a:lnTo>
                  <a:lnTo>
                    <a:pt x="1504458" y="2056521"/>
                  </a:lnTo>
                  <a:lnTo>
                    <a:pt x="1522001" y="2054238"/>
                  </a:lnTo>
                  <a:lnTo>
                    <a:pt x="1537001" y="2054238"/>
                  </a:lnTo>
                  <a:lnTo>
                    <a:pt x="1546910" y="2056521"/>
                  </a:lnTo>
                  <a:lnTo>
                    <a:pt x="1557758" y="2058078"/>
                  </a:lnTo>
                  <a:lnTo>
                    <a:pt x="1565392" y="2065342"/>
                  </a:lnTo>
                  <a:lnTo>
                    <a:pt x="1564588" y="2079559"/>
                  </a:lnTo>
                  <a:lnTo>
                    <a:pt x="1554009" y="2097408"/>
                  </a:lnTo>
                  <a:lnTo>
                    <a:pt x="1540750" y="2127191"/>
                  </a:lnTo>
                  <a:lnTo>
                    <a:pt x="1534724" y="2145870"/>
                  </a:lnTo>
                  <a:lnTo>
                    <a:pt x="1519591" y="2171709"/>
                  </a:lnTo>
                  <a:lnTo>
                    <a:pt x="1504860" y="2195888"/>
                  </a:lnTo>
                  <a:lnTo>
                    <a:pt x="1493744" y="2229303"/>
                  </a:lnTo>
                  <a:lnTo>
                    <a:pt x="1490933" y="2249124"/>
                  </a:lnTo>
                  <a:lnTo>
                    <a:pt x="1495218" y="2265520"/>
                  </a:lnTo>
                  <a:lnTo>
                    <a:pt x="1527492" y="2265520"/>
                  </a:lnTo>
                  <a:lnTo>
                    <a:pt x="1557221" y="2260227"/>
                  </a:lnTo>
                  <a:lnTo>
                    <a:pt x="1573694" y="2254935"/>
                  </a:lnTo>
                  <a:lnTo>
                    <a:pt x="1596863" y="2254935"/>
                  </a:lnTo>
                  <a:lnTo>
                    <a:pt x="1621370" y="2256388"/>
                  </a:lnTo>
                  <a:lnTo>
                    <a:pt x="1644404" y="2262095"/>
                  </a:lnTo>
                  <a:lnTo>
                    <a:pt x="1650430" y="2276727"/>
                  </a:lnTo>
                  <a:lnTo>
                    <a:pt x="1655787" y="2292189"/>
                  </a:lnTo>
                  <a:lnTo>
                    <a:pt x="1651234" y="2308482"/>
                  </a:lnTo>
                  <a:lnTo>
                    <a:pt x="1647485" y="2323633"/>
                  </a:lnTo>
                  <a:lnTo>
                    <a:pt x="1645476" y="2340029"/>
                  </a:lnTo>
                  <a:lnTo>
                    <a:pt x="1642395" y="2356425"/>
                  </a:lnTo>
                  <a:lnTo>
                    <a:pt x="1638645" y="2373132"/>
                  </a:lnTo>
                  <a:lnTo>
                    <a:pt x="1637172" y="2391292"/>
                  </a:lnTo>
                  <a:lnTo>
                    <a:pt x="1633556" y="2414226"/>
                  </a:lnTo>
                  <a:lnTo>
                    <a:pt x="1632084" y="2430934"/>
                  </a:lnTo>
                  <a:lnTo>
                    <a:pt x="1635030" y="2447537"/>
                  </a:lnTo>
                  <a:lnTo>
                    <a:pt x="1642127" y="2456462"/>
                  </a:lnTo>
                  <a:lnTo>
                    <a:pt x="1653913" y="2471094"/>
                  </a:lnTo>
                  <a:lnTo>
                    <a:pt x="1662215" y="2490707"/>
                  </a:lnTo>
                  <a:lnTo>
                    <a:pt x="1678954" y="2502018"/>
                  </a:lnTo>
                  <a:lnTo>
                    <a:pt x="1694891" y="2508140"/>
                  </a:lnTo>
                  <a:lnTo>
                    <a:pt x="1709087" y="2513122"/>
                  </a:lnTo>
                  <a:lnTo>
                    <a:pt x="1714577" y="2521735"/>
                  </a:lnTo>
                  <a:lnTo>
                    <a:pt x="1725827" y="2517169"/>
                  </a:lnTo>
                  <a:lnTo>
                    <a:pt x="1737075" y="2507622"/>
                  </a:lnTo>
                  <a:lnTo>
                    <a:pt x="1751807" y="2501810"/>
                  </a:lnTo>
                  <a:lnTo>
                    <a:pt x="1769485" y="2497971"/>
                  </a:lnTo>
                  <a:lnTo>
                    <a:pt x="1769729" y="2498322"/>
                  </a:lnTo>
                  <a:lnTo>
                    <a:pt x="1789980" y="2493825"/>
                  </a:lnTo>
                  <a:lnTo>
                    <a:pt x="1809094" y="2498536"/>
                  </a:lnTo>
                  <a:lnTo>
                    <a:pt x="1830323" y="2510369"/>
                  </a:lnTo>
                  <a:lnTo>
                    <a:pt x="1849144" y="2522749"/>
                  </a:lnTo>
                  <a:lnTo>
                    <a:pt x="1864392" y="2535568"/>
                  </a:lnTo>
                  <a:lnTo>
                    <a:pt x="1877305" y="2528665"/>
                  </a:lnTo>
                  <a:lnTo>
                    <a:pt x="1882120" y="2517819"/>
                  </a:lnTo>
                  <a:lnTo>
                    <a:pt x="1898681" y="2511793"/>
                  </a:lnTo>
                  <a:lnTo>
                    <a:pt x="1907799" y="2489114"/>
                  </a:lnTo>
                  <a:lnTo>
                    <a:pt x="1917503" y="2470159"/>
                  </a:lnTo>
                  <a:lnTo>
                    <a:pt x="1930197" y="2451095"/>
                  </a:lnTo>
                  <a:lnTo>
                    <a:pt x="1940629" y="2441016"/>
                  </a:lnTo>
                  <a:lnTo>
                    <a:pt x="1957920" y="2431484"/>
                  </a:lnTo>
                  <a:lnTo>
                    <a:pt x="1982795" y="2431484"/>
                  </a:lnTo>
                  <a:lnTo>
                    <a:pt x="1998117" y="2424801"/>
                  </a:lnTo>
                  <a:lnTo>
                    <a:pt x="2008986" y="2408804"/>
                  </a:lnTo>
                  <a:lnTo>
                    <a:pt x="2020148" y="2398177"/>
                  </a:lnTo>
                  <a:lnTo>
                    <a:pt x="2028539" y="2390836"/>
                  </a:lnTo>
                  <a:lnTo>
                    <a:pt x="2047579" y="2387111"/>
                  </a:lnTo>
                  <a:lnTo>
                    <a:pt x="2056699" y="2388755"/>
                  </a:lnTo>
                  <a:lnTo>
                    <a:pt x="2055895" y="2398506"/>
                  </a:lnTo>
                  <a:lnTo>
                    <a:pt x="2045537" y="2406065"/>
                  </a:lnTo>
                  <a:lnTo>
                    <a:pt x="2035470" y="2416474"/>
                  </a:lnTo>
                  <a:lnTo>
                    <a:pt x="2031675" y="2429293"/>
                  </a:lnTo>
                  <a:lnTo>
                    <a:pt x="2032915" y="2456793"/>
                  </a:lnTo>
                  <a:lnTo>
                    <a:pt x="2028393" y="2469611"/>
                  </a:lnTo>
                  <a:lnTo>
                    <a:pt x="2024306" y="2478924"/>
                  </a:lnTo>
                  <a:lnTo>
                    <a:pt x="2025035" y="2492510"/>
                  </a:lnTo>
                  <a:lnTo>
                    <a:pt x="2029340" y="2505438"/>
                  </a:lnTo>
                  <a:lnTo>
                    <a:pt x="2043348" y="2509930"/>
                  </a:lnTo>
                  <a:lnTo>
                    <a:pt x="2057573" y="2505110"/>
                  </a:lnTo>
                  <a:lnTo>
                    <a:pt x="2064139" y="2492729"/>
                  </a:lnTo>
                  <a:lnTo>
                    <a:pt x="2071508" y="2481663"/>
                  </a:lnTo>
                  <a:lnTo>
                    <a:pt x="2070778" y="2471803"/>
                  </a:lnTo>
                  <a:lnTo>
                    <a:pt x="2062461" y="2462819"/>
                  </a:lnTo>
                  <a:lnTo>
                    <a:pt x="2057136" y="2452191"/>
                  </a:lnTo>
                  <a:cubicBezTo>
                    <a:pt x="2056772" y="2449452"/>
                    <a:pt x="2057355" y="2446603"/>
                    <a:pt x="2058594" y="2444193"/>
                  </a:cubicBezTo>
                  <a:cubicBezTo>
                    <a:pt x="2060710" y="2440139"/>
                    <a:pt x="2064577" y="2437400"/>
                    <a:pt x="2068954" y="2436633"/>
                  </a:cubicBezTo>
                  <a:lnTo>
                    <a:pt x="2083692" y="2427101"/>
                  </a:lnTo>
                  <a:lnTo>
                    <a:pt x="2094344" y="2412749"/>
                  </a:lnTo>
                  <a:lnTo>
                    <a:pt x="2099668" y="2406942"/>
                  </a:lnTo>
                  <a:lnTo>
                    <a:pt x="2108057" y="2406175"/>
                  </a:lnTo>
                  <a:lnTo>
                    <a:pt x="2118636" y="2406832"/>
                  </a:lnTo>
                  <a:lnTo>
                    <a:pt x="2132278" y="2417679"/>
                  </a:lnTo>
                  <a:lnTo>
                    <a:pt x="2145264" y="2427540"/>
                  </a:lnTo>
                  <a:lnTo>
                    <a:pt x="2155113" y="2440358"/>
                  </a:lnTo>
                  <a:lnTo>
                    <a:pt x="2161971" y="2448795"/>
                  </a:lnTo>
                  <a:lnTo>
                    <a:pt x="2174445" y="2453068"/>
                  </a:lnTo>
                  <a:lnTo>
                    <a:pt x="2199030" y="2453068"/>
                  </a:lnTo>
                  <a:lnTo>
                    <a:pt x="2210412" y="2456026"/>
                  </a:lnTo>
                  <a:lnTo>
                    <a:pt x="2228141" y="2459203"/>
                  </a:lnTo>
                  <a:lnTo>
                    <a:pt x="2241637" y="2463586"/>
                  </a:lnTo>
                  <a:lnTo>
                    <a:pt x="2253017" y="2473117"/>
                  </a:lnTo>
                  <a:lnTo>
                    <a:pt x="2274319" y="2474651"/>
                  </a:lnTo>
                  <a:lnTo>
                    <a:pt x="2285481" y="2466544"/>
                  </a:lnTo>
                  <a:lnTo>
                    <a:pt x="2298978" y="2465996"/>
                  </a:lnTo>
                  <a:lnTo>
                    <a:pt x="2314517" y="2468297"/>
                  </a:lnTo>
                  <a:lnTo>
                    <a:pt x="2326554" y="2474651"/>
                  </a:lnTo>
                  <a:lnTo>
                    <a:pt x="2345231" y="2483745"/>
                  </a:lnTo>
                  <a:lnTo>
                    <a:pt x="2363543" y="2492072"/>
                  </a:lnTo>
                  <a:lnTo>
                    <a:pt x="2399072" y="2503466"/>
                  </a:lnTo>
                  <a:lnTo>
                    <a:pt x="2421980" y="2517819"/>
                  </a:lnTo>
                  <a:lnTo>
                    <a:pt x="2429567" y="2531405"/>
                  </a:lnTo>
                  <a:lnTo>
                    <a:pt x="2440146" y="2540389"/>
                  </a:lnTo>
                  <a:lnTo>
                    <a:pt x="2449045" y="2548496"/>
                  </a:lnTo>
                  <a:lnTo>
                    <a:pt x="2457142" y="2559781"/>
                  </a:lnTo>
                  <a:lnTo>
                    <a:pt x="2460135" y="2571066"/>
                  </a:lnTo>
                  <a:lnTo>
                    <a:pt x="2466043" y="2580927"/>
                  </a:lnTo>
                  <a:lnTo>
                    <a:pt x="2479613" y="2593855"/>
                  </a:lnTo>
                  <a:lnTo>
                    <a:pt x="2495078" y="2606235"/>
                  </a:lnTo>
                  <a:lnTo>
                    <a:pt x="2517912" y="2619712"/>
                  </a:lnTo>
                  <a:lnTo>
                    <a:pt x="2535933" y="2625738"/>
                  </a:lnTo>
                  <a:lnTo>
                    <a:pt x="2554755" y="2632859"/>
                  </a:lnTo>
                  <a:lnTo>
                    <a:pt x="2570729" y="2632859"/>
                  </a:lnTo>
                  <a:lnTo>
                    <a:pt x="2580578" y="2626066"/>
                  </a:lnTo>
                  <a:lnTo>
                    <a:pt x="2592324" y="2623765"/>
                  </a:lnTo>
                  <a:lnTo>
                    <a:pt x="2607280" y="2624532"/>
                  </a:lnTo>
                  <a:lnTo>
                    <a:pt x="2623257" y="2629024"/>
                  </a:lnTo>
                  <a:lnTo>
                    <a:pt x="2632886" y="2632092"/>
                  </a:lnTo>
                  <a:lnTo>
                    <a:pt x="2643320" y="2634064"/>
                  </a:lnTo>
                  <a:lnTo>
                    <a:pt x="2651636" y="2638885"/>
                  </a:lnTo>
                  <a:lnTo>
                    <a:pt x="2665353" y="2652361"/>
                  </a:lnTo>
                  <a:lnTo>
                    <a:pt x="2680383" y="2663756"/>
                  </a:lnTo>
                  <a:lnTo>
                    <a:pt x="2692492" y="2671315"/>
                  </a:lnTo>
                  <a:lnTo>
                    <a:pt x="2702852" y="2677560"/>
                  </a:lnTo>
                  <a:lnTo>
                    <a:pt x="2715036" y="2687531"/>
                  </a:lnTo>
                  <a:lnTo>
                    <a:pt x="2717297" y="2703855"/>
                  </a:lnTo>
                  <a:lnTo>
                    <a:pt x="2723132" y="2718537"/>
                  </a:lnTo>
                  <a:lnTo>
                    <a:pt x="2731522" y="2729603"/>
                  </a:lnTo>
                  <a:lnTo>
                    <a:pt x="2732251" y="2742750"/>
                  </a:lnTo>
                  <a:lnTo>
                    <a:pt x="2732251" y="2757760"/>
                  </a:lnTo>
                  <a:lnTo>
                    <a:pt x="2736848" y="2768935"/>
                  </a:lnTo>
                  <a:lnTo>
                    <a:pt x="2745530" y="2775399"/>
                  </a:lnTo>
                  <a:lnTo>
                    <a:pt x="2754649" y="2777700"/>
                  </a:lnTo>
                  <a:lnTo>
                    <a:pt x="2754649" y="2787451"/>
                  </a:lnTo>
                  <a:lnTo>
                    <a:pt x="2744727" y="2795011"/>
                  </a:lnTo>
                  <a:lnTo>
                    <a:pt x="2737943" y="2804105"/>
                  </a:lnTo>
                  <a:lnTo>
                    <a:pt x="2733347" y="2814185"/>
                  </a:lnTo>
                  <a:lnTo>
                    <a:pt x="2728750" y="2827003"/>
                  </a:lnTo>
                  <a:lnTo>
                    <a:pt x="2719340" y="2830838"/>
                  </a:lnTo>
                  <a:lnTo>
                    <a:pt x="2708688" y="2833139"/>
                  </a:lnTo>
                  <a:lnTo>
                    <a:pt x="2681184" y="2860091"/>
                  </a:lnTo>
                  <a:lnTo>
                    <a:pt x="2675858" y="2870719"/>
                  </a:lnTo>
                  <a:lnTo>
                    <a:pt x="2672065" y="2884962"/>
                  </a:lnTo>
                  <a:lnTo>
                    <a:pt x="2683519" y="2895480"/>
                  </a:lnTo>
                  <a:lnTo>
                    <a:pt x="2700809" y="2893617"/>
                  </a:lnTo>
                  <a:lnTo>
                    <a:pt x="2712700" y="2877402"/>
                  </a:lnTo>
                  <a:lnTo>
                    <a:pt x="2731450" y="2860310"/>
                  </a:lnTo>
                  <a:lnTo>
                    <a:pt x="2744216" y="2848477"/>
                  </a:lnTo>
                  <a:lnTo>
                    <a:pt x="2756837" y="2838946"/>
                  </a:lnTo>
                  <a:lnTo>
                    <a:pt x="2771063" y="2832043"/>
                  </a:lnTo>
                  <a:lnTo>
                    <a:pt x="2787331" y="2832810"/>
                  </a:lnTo>
                  <a:lnTo>
                    <a:pt x="2796524" y="2840151"/>
                  </a:lnTo>
                  <a:lnTo>
                    <a:pt x="2804112" y="2852203"/>
                  </a:lnTo>
                  <a:lnTo>
                    <a:pt x="2804112" y="2865898"/>
                  </a:lnTo>
                  <a:lnTo>
                    <a:pt x="2783538" y="2880141"/>
                  </a:lnTo>
                  <a:lnTo>
                    <a:pt x="2778724" y="2892741"/>
                  </a:lnTo>
                  <a:lnTo>
                    <a:pt x="2768145" y="2895808"/>
                  </a:lnTo>
                  <a:lnTo>
                    <a:pt x="2754139" y="2895041"/>
                  </a:lnTo>
                  <a:lnTo>
                    <a:pt x="2748885" y="2903478"/>
                  </a:lnTo>
                  <a:lnTo>
                    <a:pt x="2766394" y="2907970"/>
                  </a:lnTo>
                  <a:lnTo>
                    <a:pt x="2779234" y="2909723"/>
                  </a:lnTo>
                  <a:lnTo>
                    <a:pt x="2790105" y="2917502"/>
                  </a:lnTo>
                  <a:lnTo>
                    <a:pt x="2801485" y="2909723"/>
                  </a:lnTo>
                  <a:lnTo>
                    <a:pt x="2815419" y="2901177"/>
                  </a:lnTo>
                  <a:lnTo>
                    <a:pt x="2825049" y="2887372"/>
                  </a:lnTo>
                  <a:lnTo>
                    <a:pt x="2835991" y="2876416"/>
                  </a:lnTo>
                  <a:lnTo>
                    <a:pt x="2842850" y="2865788"/>
                  </a:lnTo>
                  <a:lnTo>
                    <a:pt x="2861891" y="2862830"/>
                  </a:lnTo>
                  <a:lnTo>
                    <a:pt x="2882245" y="2865898"/>
                  </a:lnTo>
                  <a:lnTo>
                    <a:pt x="2902088" y="2881017"/>
                  </a:lnTo>
                  <a:lnTo>
                    <a:pt x="2914272" y="2898328"/>
                  </a:lnTo>
                  <a:lnTo>
                    <a:pt x="2925871" y="2903587"/>
                  </a:lnTo>
                  <a:lnTo>
                    <a:pt x="2934698" y="2911585"/>
                  </a:lnTo>
                  <a:lnTo>
                    <a:pt x="2932730" y="2924404"/>
                  </a:lnTo>
                  <a:lnTo>
                    <a:pt x="2927914" y="2932950"/>
                  </a:lnTo>
                  <a:lnTo>
                    <a:pt x="2927914" y="2941277"/>
                  </a:lnTo>
                  <a:lnTo>
                    <a:pt x="2942359" y="2951795"/>
                  </a:lnTo>
                  <a:lnTo>
                    <a:pt x="2954542" y="2944235"/>
                  </a:lnTo>
                  <a:lnTo>
                    <a:pt x="2970301" y="2937442"/>
                  </a:lnTo>
                  <a:lnTo>
                    <a:pt x="2987590" y="2932950"/>
                  </a:lnTo>
                  <a:lnTo>
                    <a:pt x="3000503" y="2933607"/>
                  </a:lnTo>
                  <a:lnTo>
                    <a:pt x="3027933" y="2942701"/>
                  </a:lnTo>
                  <a:lnTo>
                    <a:pt x="3053759" y="2942701"/>
                  </a:lnTo>
                  <a:lnTo>
                    <a:pt x="3085713" y="2944235"/>
                  </a:lnTo>
                  <a:lnTo>
                    <a:pt x="3108474" y="2944235"/>
                  </a:lnTo>
                  <a:lnTo>
                    <a:pt x="3116572" y="2950809"/>
                  </a:lnTo>
                  <a:lnTo>
                    <a:pt x="3122409" y="2961765"/>
                  </a:lnTo>
                  <a:lnTo>
                    <a:pt x="3128522" y="2976994"/>
                  </a:lnTo>
                  <a:lnTo>
                    <a:pt x="3147490" y="2991347"/>
                  </a:lnTo>
                  <a:lnTo>
                    <a:pt x="3168866" y="3004165"/>
                  </a:lnTo>
                  <a:lnTo>
                    <a:pt x="3189511" y="3018518"/>
                  </a:lnTo>
                  <a:lnTo>
                    <a:pt x="3222049" y="3024544"/>
                  </a:lnTo>
                  <a:lnTo>
                    <a:pt x="3247218" y="3026078"/>
                  </a:lnTo>
                  <a:lnTo>
                    <a:pt x="3259182" y="3035938"/>
                  </a:lnTo>
                  <a:lnTo>
                    <a:pt x="3268010" y="3044484"/>
                  </a:lnTo>
                  <a:lnTo>
                    <a:pt x="3268739" y="3056536"/>
                  </a:lnTo>
                  <a:lnTo>
                    <a:pt x="3274065" y="3070012"/>
                  </a:lnTo>
                  <a:lnTo>
                    <a:pt x="3277859" y="3081188"/>
                  </a:lnTo>
                  <a:lnTo>
                    <a:pt x="3281652" y="3094773"/>
                  </a:lnTo>
                  <a:lnTo>
                    <a:pt x="3278588" y="3106606"/>
                  </a:lnTo>
                  <a:lnTo>
                    <a:pt x="3277859" y="3125999"/>
                  </a:lnTo>
                  <a:lnTo>
                    <a:pt x="3268229" y="3140022"/>
                  </a:lnTo>
                  <a:lnTo>
                    <a:pt x="3265165" y="3153937"/>
                  </a:lnTo>
                  <a:lnTo>
                    <a:pt x="3257067" y="3169495"/>
                  </a:lnTo>
                  <a:lnTo>
                    <a:pt x="3232627" y="3182204"/>
                  </a:lnTo>
                  <a:lnTo>
                    <a:pt x="3221976" y="3208608"/>
                  </a:lnTo>
                  <a:lnTo>
                    <a:pt x="3212054" y="3224495"/>
                  </a:lnTo>
                  <a:lnTo>
                    <a:pt x="3203665" y="3235889"/>
                  </a:lnTo>
                  <a:lnTo>
                    <a:pt x="3190022" y="3253748"/>
                  </a:lnTo>
                  <a:lnTo>
                    <a:pt x="3181122" y="3275551"/>
                  </a:lnTo>
                  <a:lnTo>
                    <a:pt x="3158798" y="3285083"/>
                  </a:lnTo>
                  <a:lnTo>
                    <a:pt x="3143040" y="3303051"/>
                  </a:lnTo>
                  <a:lnTo>
                    <a:pt x="3138006" y="3318171"/>
                  </a:lnTo>
                  <a:lnTo>
                    <a:pt x="3136839" y="3358599"/>
                  </a:lnTo>
                  <a:lnTo>
                    <a:pt x="3142164" y="3382922"/>
                  </a:lnTo>
                  <a:lnTo>
                    <a:pt x="3142164" y="3406259"/>
                  </a:lnTo>
                  <a:lnTo>
                    <a:pt x="3143405" y="3432992"/>
                  </a:lnTo>
                  <a:lnTo>
                    <a:pt x="3139611" y="3457753"/>
                  </a:lnTo>
                  <a:lnTo>
                    <a:pt x="3136620" y="3477255"/>
                  </a:lnTo>
                  <a:lnTo>
                    <a:pt x="3134285" y="3494127"/>
                  </a:lnTo>
                  <a:lnTo>
                    <a:pt x="3132753" y="3513520"/>
                  </a:lnTo>
                  <a:lnTo>
                    <a:pt x="3125896" y="3531926"/>
                  </a:lnTo>
                  <a:lnTo>
                    <a:pt x="3124364" y="3555154"/>
                  </a:lnTo>
                  <a:lnTo>
                    <a:pt x="3120585" y="3570054"/>
                  </a:lnTo>
                  <a:lnTo>
                    <a:pt x="3115478" y="3585174"/>
                  </a:lnTo>
                  <a:lnTo>
                    <a:pt x="3104316" y="3599307"/>
                  </a:lnTo>
                  <a:lnTo>
                    <a:pt x="3094395" y="3622753"/>
                  </a:lnTo>
                  <a:lnTo>
                    <a:pt x="3087537" y="3635353"/>
                  </a:lnTo>
                  <a:lnTo>
                    <a:pt x="3079877" y="3648281"/>
                  </a:lnTo>
                  <a:lnTo>
                    <a:pt x="3060033" y="3665154"/>
                  </a:lnTo>
                  <a:lnTo>
                    <a:pt x="3046319" y="3675782"/>
                  </a:lnTo>
                  <a:lnTo>
                    <a:pt x="3033916" y="3675015"/>
                  </a:lnTo>
                  <a:lnTo>
                    <a:pt x="3022535" y="3672823"/>
                  </a:lnTo>
                  <a:lnTo>
                    <a:pt x="3011665" y="3662196"/>
                  </a:lnTo>
                  <a:lnTo>
                    <a:pt x="2992916" y="3669756"/>
                  </a:lnTo>
                  <a:lnTo>
                    <a:pt x="2981535" y="3679507"/>
                  </a:lnTo>
                  <a:lnTo>
                    <a:pt x="2967017" y="3695393"/>
                  </a:lnTo>
                  <a:lnTo>
                    <a:pt x="2955855" y="3698461"/>
                  </a:lnTo>
                  <a:lnTo>
                    <a:pt x="2933968" y="3703501"/>
                  </a:lnTo>
                  <a:lnTo>
                    <a:pt x="2912083" y="3710294"/>
                  </a:lnTo>
                  <a:lnTo>
                    <a:pt x="2897638" y="3720154"/>
                  </a:lnTo>
                  <a:lnTo>
                    <a:pt x="2891583" y="3731439"/>
                  </a:lnTo>
                  <a:lnTo>
                    <a:pt x="2886476" y="3737465"/>
                  </a:lnTo>
                  <a:lnTo>
                    <a:pt x="2875096" y="3743491"/>
                  </a:lnTo>
                  <a:lnTo>
                    <a:pt x="2866997" y="3751051"/>
                  </a:lnTo>
                  <a:lnTo>
                    <a:pt x="2858826" y="3758611"/>
                  </a:lnTo>
                  <a:lnTo>
                    <a:pt x="2855034" y="3770772"/>
                  </a:lnTo>
                  <a:lnTo>
                    <a:pt x="2860359" y="3781180"/>
                  </a:lnTo>
                  <a:lnTo>
                    <a:pt x="2869550" y="3794876"/>
                  </a:lnTo>
                  <a:lnTo>
                    <a:pt x="2870280" y="3812296"/>
                  </a:lnTo>
                  <a:lnTo>
                    <a:pt x="2866486" y="3832455"/>
                  </a:lnTo>
                  <a:cubicBezTo>
                    <a:pt x="2864371" y="3836400"/>
                    <a:pt x="2862619" y="3840563"/>
                    <a:pt x="2861452" y="3844836"/>
                  </a:cubicBezTo>
                  <a:cubicBezTo>
                    <a:pt x="2859410" y="3851848"/>
                    <a:pt x="2858606" y="3859189"/>
                    <a:pt x="2859191" y="3866529"/>
                  </a:cubicBezTo>
                  <a:lnTo>
                    <a:pt x="2843945" y="3882854"/>
                  </a:lnTo>
                  <a:lnTo>
                    <a:pt x="2837086" y="3892715"/>
                  </a:lnTo>
                  <a:lnTo>
                    <a:pt x="2834022" y="3904109"/>
                  </a:lnTo>
                  <a:cubicBezTo>
                    <a:pt x="2834022" y="3907506"/>
                    <a:pt x="2834022" y="3911011"/>
                    <a:pt x="2834022" y="3914408"/>
                  </a:cubicBezTo>
                  <a:cubicBezTo>
                    <a:pt x="2834022" y="3918900"/>
                    <a:pt x="2834022" y="3923392"/>
                    <a:pt x="2834022" y="3927775"/>
                  </a:cubicBezTo>
                  <a:lnTo>
                    <a:pt x="2830228" y="3940374"/>
                  </a:lnTo>
                  <a:lnTo>
                    <a:pt x="2813523" y="3954727"/>
                  </a:lnTo>
                  <a:lnTo>
                    <a:pt x="2803674" y="3969518"/>
                  </a:lnTo>
                  <a:lnTo>
                    <a:pt x="2794554" y="3984309"/>
                  </a:lnTo>
                  <a:lnTo>
                    <a:pt x="2788500" y="3998442"/>
                  </a:lnTo>
                  <a:lnTo>
                    <a:pt x="2782663" y="4016082"/>
                  </a:lnTo>
                  <a:cubicBezTo>
                    <a:pt x="2781204" y="4021012"/>
                    <a:pt x="2779453" y="4025833"/>
                    <a:pt x="2777337" y="4030434"/>
                  </a:cubicBezTo>
                  <a:cubicBezTo>
                    <a:pt x="2775367" y="4034926"/>
                    <a:pt x="2773105" y="4039199"/>
                    <a:pt x="2770480" y="4043253"/>
                  </a:cubicBezTo>
                  <a:cubicBezTo>
                    <a:pt x="2768437" y="4045992"/>
                    <a:pt x="2766467" y="4048841"/>
                    <a:pt x="2764424" y="4051580"/>
                  </a:cubicBezTo>
                  <a:cubicBezTo>
                    <a:pt x="2761433" y="4055743"/>
                    <a:pt x="2758516" y="4059906"/>
                    <a:pt x="2755670" y="4064179"/>
                  </a:cubicBezTo>
                  <a:lnTo>
                    <a:pt x="2744216" y="4077765"/>
                  </a:lnTo>
                  <a:lnTo>
                    <a:pt x="2736192" y="4087297"/>
                  </a:lnTo>
                  <a:lnTo>
                    <a:pt x="2717880" y="4099349"/>
                  </a:lnTo>
                  <a:lnTo>
                    <a:pt x="2704238" y="4103184"/>
                  </a:lnTo>
                  <a:lnTo>
                    <a:pt x="2677829" y="4103950"/>
                  </a:lnTo>
                  <a:cubicBezTo>
                    <a:pt x="2675128" y="4100883"/>
                    <a:pt x="2672137" y="4098034"/>
                    <a:pt x="2668928" y="4095624"/>
                  </a:cubicBezTo>
                  <a:cubicBezTo>
                    <a:pt x="2663164" y="4091132"/>
                    <a:pt x="2656743" y="4087626"/>
                    <a:pt x="2649813" y="4085215"/>
                  </a:cubicBezTo>
                  <a:cubicBezTo>
                    <a:pt x="2643393" y="4083572"/>
                    <a:pt x="2637046" y="4081709"/>
                    <a:pt x="2630771" y="4079409"/>
                  </a:cubicBezTo>
                  <a:cubicBezTo>
                    <a:pt x="2623986" y="4076998"/>
                    <a:pt x="2617420" y="4074259"/>
                    <a:pt x="2610929" y="4071082"/>
                  </a:cubicBezTo>
                  <a:lnTo>
                    <a:pt x="2595462" y="4077217"/>
                  </a:lnTo>
                  <a:lnTo>
                    <a:pt x="2590866" y="4089817"/>
                  </a:lnTo>
                  <a:lnTo>
                    <a:pt x="2599913" y="4097925"/>
                  </a:lnTo>
                  <a:lnTo>
                    <a:pt x="2615378" y="4107237"/>
                  </a:lnTo>
                  <a:lnTo>
                    <a:pt x="2623768" y="4114030"/>
                  </a:lnTo>
                  <a:lnTo>
                    <a:pt x="2637339" y="4127616"/>
                  </a:lnTo>
                  <a:lnTo>
                    <a:pt x="2652586" y="4147228"/>
                  </a:lnTo>
                  <a:lnTo>
                    <a:pt x="2661779" y="4162128"/>
                  </a:lnTo>
                  <a:lnTo>
                    <a:pt x="2665571" y="4180863"/>
                  </a:lnTo>
                  <a:lnTo>
                    <a:pt x="2666375" y="4199817"/>
                  </a:lnTo>
                  <a:lnTo>
                    <a:pt x="2659006" y="4214170"/>
                  </a:lnTo>
                  <a:lnTo>
                    <a:pt x="2650689" y="4225455"/>
                  </a:lnTo>
                  <a:lnTo>
                    <a:pt x="2638724" y="4234549"/>
                  </a:lnTo>
                  <a:lnTo>
                    <a:pt x="2618151" y="4241341"/>
                  </a:lnTo>
                  <a:lnTo>
                    <a:pt x="2590207" y="4246381"/>
                  </a:lnTo>
                  <a:lnTo>
                    <a:pt x="2574961" y="4247148"/>
                  </a:lnTo>
                  <a:lnTo>
                    <a:pt x="2561831" y="4247696"/>
                  </a:lnTo>
                  <a:lnTo>
                    <a:pt x="2539726" y="4247696"/>
                  </a:lnTo>
                  <a:lnTo>
                    <a:pt x="2527543" y="4254489"/>
                  </a:lnTo>
                  <a:lnTo>
                    <a:pt x="2525281" y="4262377"/>
                  </a:lnTo>
                  <a:lnTo>
                    <a:pt x="2526740" y="4275415"/>
                  </a:lnTo>
                  <a:lnTo>
                    <a:pt x="2532065" y="4286043"/>
                  </a:lnTo>
                  <a:lnTo>
                    <a:pt x="2538412" y="4291302"/>
                  </a:lnTo>
                  <a:lnTo>
                    <a:pt x="2540747" y="4304230"/>
                  </a:lnTo>
                  <a:lnTo>
                    <a:pt x="2536224" y="4311790"/>
                  </a:lnTo>
                  <a:cubicBezTo>
                    <a:pt x="2531846" y="4315296"/>
                    <a:pt x="2528709" y="4320007"/>
                    <a:pt x="2527104" y="4325376"/>
                  </a:cubicBezTo>
                  <a:cubicBezTo>
                    <a:pt x="2525864" y="4329539"/>
                    <a:pt x="2525573" y="4333921"/>
                    <a:pt x="2526302" y="4338194"/>
                  </a:cubicBezTo>
                  <a:lnTo>
                    <a:pt x="2511055" y="4337537"/>
                  </a:lnTo>
                  <a:lnTo>
                    <a:pt x="2499674" y="4329210"/>
                  </a:lnTo>
                  <a:lnTo>
                    <a:pt x="2481435" y="4317816"/>
                  </a:lnTo>
                  <a:lnTo>
                    <a:pt x="2460864" y="4313324"/>
                  </a:lnTo>
                  <a:lnTo>
                    <a:pt x="2445690" y="4323842"/>
                  </a:lnTo>
                  <a:lnTo>
                    <a:pt x="2455319" y="4338961"/>
                  </a:lnTo>
                  <a:cubicBezTo>
                    <a:pt x="2461592" y="4338852"/>
                    <a:pt x="2467283" y="4342467"/>
                    <a:pt x="2469836" y="4348055"/>
                  </a:cubicBezTo>
                  <a:cubicBezTo>
                    <a:pt x="2472172" y="4353095"/>
                    <a:pt x="2471587" y="4358902"/>
                    <a:pt x="2468305" y="4363394"/>
                  </a:cubicBezTo>
                  <a:lnTo>
                    <a:pt x="2471368" y="4374788"/>
                  </a:lnTo>
                  <a:cubicBezTo>
                    <a:pt x="2474433" y="4377527"/>
                    <a:pt x="2477935" y="4379718"/>
                    <a:pt x="2481800" y="4381252"/>
                  </a:cubicBezTo>
                  <a:cubicBezTo>
                    <a:pt x="2484864" y="4382567"/>
                    <a:pt x="2488148" y="4383334"/>
                    <a:pt x="2491430" y="4383553"/>
                  </a:cubicBezTo>
                  <a:cubicBezTo>
                    <a:pt x="2495516" y="4379499"/>
                    <a:pt x="2502373" y="4380485"/>
                    <a:pt x="2505145" y="4385525"/>
                  </a:cubicBezTo>
                  <a:cubicBezTo>
                    <a:pt x="2507115" y="4389031"/>
                    <a:pt x="2506093" y="4393523"/>
                    <a:pt x="2502883" y="4395934"/>
                  </a:cubicBezTo>
                  <a:lnTo>
                    <a:pt x="2492524" y="4401960"/>
                  </a:lnTo>
                  <a:lnTo>
                    <a:pt x="2479538" y="4408314"/>
                  </a:lnTo>
                  <a:lnTo>
                    <a:pt x="2480269" y="4423762"/>
                  </a:lnTo>
                  <a:lnTo>
                    <a:pt x="2483770" y="4430555"/>
                  </a:lnTo>
                  <a:lnTo>
                    <a:pt x="2486323" y="4440306"/>
                  </a:lnTo>
                  <a:lnTo>
                    <a:pt x="2470347" y="4453454"/>
                  </a:lnTo>
                  <a:lnTo>
                    <a:pt x="2462687" y="4473723"/>
                  </a:lnTo>
                  <a:lnTo>
                    <a:pt x="2454297" y="4488514"/>
                  </a:lnTo>
                  <a:lnTo>
                    <a:pt x="2451307" y="4497607"/>
                  </a:lnTo>
                  <a:lnTo>
                    <a:pt x="2456048" y="4509002"/>
                  </a:lnTo>
                  <a:lnTo>
                    <a:pt x="2460936" y="4528394"/>
                  </a:lnTo>
                  <a:lnTo>
                    <a:pt x="2472317" y="4532229"/>
                  </a:lnTo>
                  <a:lnTo>
                    <a:pt x="2481874" y="4544281"/>
                  </a:lnTo>
                  <a:lnTo>
                    <a:pt x="2502009" y="4552827"/>
                  </a:lnTo>
                  <a:lnTo>
                    <a:pt x="2513171" y="4572000"/>
                  </a:lnTo>
                  <a:lnTo>
                    <a:pt x="2513899" y="4585914"/>
                  </a:lnTo>
                  <a:lnTo>
                    <a:pt x="2507042" y="4604759"/>
                  </a:lnTo>
                  <a:lnTo>
                    <a:pt x="2500184" y="4618126"/>
                  </a:lnTo>
                  <a:lnTo>
                    <a:pt x="2493328" y="4636094"/>
                  </a:lnTo>
                  <a:cubicBezTo>
                    <a:pt x="2487345" y="4641134"/>
                    <a:pt x="2482531" y="4647488"/>
                    <a:pt x="2479174" y="4654500"/>
                  </a:cubicBezTo>
                  <a:cubicBezTo>
                    <a:pt x="2475746" y="4661622"/>
                    <a:pt x="2473922" y="4669291"/>
                    <a:pt x="2473777" y="4677180"/>
                  </a:cubicBezTo>
                  <a:lnTo>
                    <a:pt x="2480123" y="4693504"/>
                  </a:lnTo>
                  <a:lnTo>
                    <a:pt x="2491796" y="4706871"/>
                  </a:lnTo>
                  <a:lnTo>
                    <a:pt x="2497120" y="4715746"/>
                  </a:lnTo>
                  <a:lnTo>
                    <a:pt x="2491284" y="4727250"/>
                  </a:lnTo>
                  <a:lnTo>
                    <a:pt x="2474505" y="4736124"/>
                  </a:lnTo>
                  <a:lnTo>
                    <a:pt x="2467575" y="4746642"/>
                  </a:lnTo>
                  <a:lnTo>
                    <a:pt x="2461885" y="4753654"/>
                  </a:lnTo>
                  <a:lnTo>
                    <a:pt x="2451817" y="4753106"/>
                  </a:lnTo>
                  <a:lnTo>
                    <a:pt x="2425628" y="4740507"/>
                  </a:lnTo>
                  <a:lnTo>
                    <a:pt x="2411182" y="4743355"/>
                  </a:lnTo>
                  <a:lnTo>
                    <a:pt x="2392943" y="4746094"/>
                  </a:lnTo>
                  <a:cubicBezTo>
                    <a:pt x="2393673" y="4739740"/>
                    <a:pt x="2392870" y="4733166"/>
                    <a:pt x="2390610" y="4727140"/>
                  </a:cubicBezTo>
                  <a:cubicBezTo>
                    <a:pt x="2387984" y="4720019"/>
                    <a:pt x="2383314" y="4713664"/>
                    <a:pt x="2377186" y="4709062"/>
                  </a:cubicBezTo>
                  <a:lnTo>
                    <a:pt x="2358874" y="4706762"/>
                  </a:lnTo>
                  <a:lnTo>
                    <a:pt x="2345449" y="4698435"/>
                  </a:lnTo>
                  <a:lnTo>
                    <a:pt x="2345449" y="4684192"/>
                  </a:lnTo>
                  <a:lnTo>
                    <a:pt x="2339322" y="4667538"/>
                  </a:lnTo>
                  <a:cubicBezTo>
                    <a:pt x="2335091" y="4662389"/>
                    <a:pt x="2330348" y="4657678"/>
                    <a:pt x="2325168" y="4653624"/>
                  </a:cubicBezTo>
                  <a:cubicBezTo>
                    <a:pt x="2318821" y="4648584"/>
                    <a:pt x="2311890" y="4644421"/>
                    <a:pt x="2304522" y="4641243"/>
                  </a:cubicBezTo>
                  <a:lnTo>
                    <a:pt x="2302990" y="4615606"/>
                  </a:lnTo>
                  <a:lnTo>
                    <a:pt x="2302260" y="4588325"/>
                  </a:lnTo>
                  <a:cubicBezTo>
                    <a:pt x="2298103" y="4579889"/>
                    <a:pt x="2293286" y="4571781"/>
                    <a:pt x="2287815" y="4564112"/>
                  </a:cubicBezTo>
                  <a:cubicBezTo>
                    <a:pt x="2280301" y="4553703"/>
                    <a:pt x="2271620" y="4544062"/>
                    <a:pt x="2261918" y="4535625"/>
                  </a:cubicBezTo>
                  <a:lnTo>
                    <a:pt x="2239887" y="4533544"/>
                  </a:lnTo>
                  <a:lnTo>
                    <a:pt x="2236166" y="4522587"/>
                  </a:lnTo>
                  <a:lnTo>
                    <a:pt x="2250318" y="4515028"/>
                  </a:lnTo>
                  <a:lnTo>
                    <a:pt x="2264979" y="4500894"/>
                  </a:lnTo>
                  <a:lnTo>
                    <a:pt x="2271035" y="4485775"/>
                  </a:lnTo>
                  <a:lnTo>
                    <a:pt x="2279425" y="4462986"/>
                  </a:lnTo>
                  <a:cubicBezTo>
                    <a:pt x="2279206" y="4458275"/>
                    <a:pt x="2277893" y="4453673"/>
                    <a:pt x="2275632" y="4449400"/>
                  </a:cubicBezTo>
                  <a:cubicBezTo>
                    <a:pt x="2272204" y="4442826"/>
                    <a:pt x="2266660" y="4437567"/>
                    <a:pt x="2259876" y="4434500"/>
                  </a:cubicBezTo>
                  <a:lnTo>
                    <a:pt x="2243752" y="4417408"/>
                  </a:lnTo>
                  <a:lnTo>
                    <a:pt x="2241637" y="4406013"/>
                  </a:lnTo>
                  <a:lnTo>
                    <a:pt x="2248567" y="4391113"/>
                  </a:lnTo>
                  <a:lnTo>
                    <a:pt x="2244702" y="4373254"/>
                  </a:lnTo>
                  <a:lnTo>
                    <a:pt x="2230477" y="4363175"/>
                  </a:lnTo>
                  <a:lnTo>
                    <a:pt x="2212456" y="4345206"/>
                  </a:lnTo>
                  <a:lnTo>
                    <a:pt x="2195677" y="4328772"/>
                  </a:lnTo>
                  <a:lnTo>
                    <a:pt x="2186995" y="4321431"/>
                  </a:lnTo>
                  <a:lnTo>
                    <a:pt x="2184441" y="4302806"/>
                  </a:lnTo>
                  <a:lnTo>
                    <a:pt x="2173789" y="4290425"/>
                  </a:lnTo>
                  <a:lnTo>
                    <a:pt x="2181377" y="4271471"/>
                  </a:lnTo>
                  <a:cubicBezTo>
                    <a:pt x="2185170" y="4266541"/>
                    <a:pt x="2186849" y="4260296"/>
                    <a:pt x="2185974" y="4254160"/>
                  </a:cubicBezTo>
                  <a:cubicBezTo>
                    <a:pt x="2184515" y="4243971"/>
                    <a:pt x="2176927" y="4235863"/>
                    <a:pt x="2166931" y="4233672"/>
                  </a:cubicBezTo>
                  <a:cubicBezTo>
                    <a:pt x="2163429" y="4229399"/>
                    <a:pt x="2160876" y="4224578"/>
                    <a:pt x="2159271" y="4219319"/>
                  </a:cubicBezTo>
                  <a:cubicBezTo>
                    <a:pt x="2155187" y="4205405"/>
                    <a:pt x="2158324" y="4190505"/>
                    <a:pt x="2167660" y="4179439"/>
                  </a:cubicBezTo>
                  <a:lnTo>
                    <a:pt x="2168463" y="4162785"/>
                  </a:lnTo>
                  <a:lnTo>
                    <a:pt x="2169192" y="4140654"/>
                  </a:lnTo>
                  <a:lnTo>
                    <a:pt x="2171454" y="4089050"/>
                  </a:lnTo>
                  <a:lnTo>
                    <a:pt x="2167660" y="4026161"/>
                  </a:lnTo>
                  <a:lnTo>
                    <a:pt x="2152706" y="3989348"/>
                  </a:lnTo>
                  <a:lnTo>
                    <a:pt x="2145556" y="3954946"/>
                  </a:lnTo>
                  <a:lnTo>
                    <a:pt x="2141763" y="3935334"/>
                  </a:lnTo>
                  <a:lnTo>
                    <a:pt x="2138114" y="3865324"/>
                  </a:lnTo>
                  <a:lnTo>
                    <a:pt x="2138114" y="3838043"/>
                  </a:lnTo>
                  <a:lnTo>
                    <a:pt x="2145046" y="3811529"/>
                  </a:lnTo>
                  <a:lnTo>
                    <a:pt x="2145046" y="3784577"/>
                  </a:lnTo>
                  <a:lnTo>
                    <a:pt x="2142711" y="3753242"/>
                  </a:lnTo>
                  <a:lnTo>
                    <a:pt x="2132060" y="3736589"/>
                  </a:lnTo>
                  <a:lnTo>
                    <a:pt x="2132789" y="3706349"/>
                  </a:lnTo>
                  <a:lnTo>
                    <a:pt x="2138916" y="3675015"/>
                  </a:lnTo>
                  <a:cubicBezTo>
                    <a:pt x="2140887" y="3665154"/>
                    <a:pt x="2141908" y="3655074"/>
                    <a:pt x="2141981" y="3644995"/>
                  </a:cubicBezTo>
                  <a:cubicBezTo>
                    <a:pt x="2142054" y="3635682"/>
                    <a:pt x="2141252" y="3626259"/>
                    <a:pt x="2139647" y="3617056"/>
                  </a:cubicBezTo>
                  <a:cubicBezTo>
                    <a:pt x="2137750" y="3605662"/>
                    <a:pt x="2134614" y="3594596"/>
                    <a:pt x="2130236" y="3583968"/>
                  </a:cubicBezTo>
                  <a:lnTo>
                    <a:pt x="2128268" y="3554715"/>
                  </a:lnTo>
                  <a:lnTo>
                    <a:pt x="2127464" y="3547156"/>
                  </a:lnTo>
                  <a:lnTo>
                    <a:pt x="2107765" y="3512643"/>
                  </a:lnTo>
                  <a:lnTo>
                    <a:pt x="2094344" y="3485472"/>
                  </a:lnTo>
                  <a:lnTo>
                    <a:pt x="2076542" y="3471886"/>
                  </a:lnTo>
                  <a:lnTo>
                    <a:pt x="2054655" y="3458958"/>
                  </a:lnTo>
                  <a:lnTo>
                    <a:pt x="2036417" y="3440113"/>
                  </a:lnTo>
                  <a:lnTo>
                    <a:pt x="2002493" y="3428609"/>
                  </a:lnTo>
                  <a:lnTo>
                    <a:pt x="1986736" y="3418749"/>
                  </a:lnTo>
                  <a:lnTo>
                    <a:pt x="1945517" y="3401219"/>
                  </a:lnTo>
                  <a:lnTo>
                    <a:pt x="1926184" y="3391139"/>
                  </a:lnTo>
                  <a:lnTo>
                    <a:pt x="1917065" y="3363639"/>
                  </a:lnTo>
                  <a:lnTo>
                    <a:pt x="1906633" y="3346547"/>
                  </a:lnTo>
                  <a:lnTo>
                    <a:pt x="1897440" y="3319704"/>
                  </a:lnTo>
                  <a:lnTo>
                    <a:pt x="1887811" y="3302503"/>
                  </a:lnTo>
                  <a:lnTo>
                    <a:pt x="1875846" y="3287603"/>
                  </a:lnTo>
                  <a:lnTo>
                    <a:pt x="1858191" y="3268758"/>
                  </a:lnTo>
                  <a:lnTo>
                    <a:pt x="1850021" y="3255830"/>
                  </a:lnTo>
                  <a:lnTo>
                    <a:pt x="1842141" y="3238957"/>
                  </a:lnTo>
                  <a:lnTo>
                    <a:pt x="1830761" y="3232164"/>
                  </a:lnTo>
                  <a:lnTo>
                    <a:pt x="1826457" y="3223071"/>
                  </a:lnTo>
                  <a:lnTo>
                    <a:pt x="1819599" y="3206746"/>
                  </a:lnTo>
                  <a:lnTo>
                    <a:pt x="1815222" y="3193818"/>
                  </a:lnTo>
                  <a:lnTo>
                    <a:pt x="1803038" y="3155799"/>
                  </a:lnTo>
                  <a:lnTo>
                    <a:pt x="1793920" y="3133558"/>
                  </a:lnTo>
                  <a:lnTo>
                    <a:pt x="1784071" y="3116138"/>
                  </a:lnTo>
                  <a:lnTo>
                    <a:pt x="1775754" y="3098718"/>
                  </a:lnTo>
                  <a:lnTo>
                    <a:pt x="1769698" y="3090500"/>
                  </a:lnTo>
                  <a:lnTo>
                    <a:pt x="1755692" y="3083708"/>
                  </a:lnTo>
                  <a:lnTo>
                    <a:pt x="1747959" y="3067492"/>
                  </a:lnTo>
                  <a:lnTo>
                    <a:pt x="1734462" y="3064534"/>
                  </a:lnTo>
                  <a:lnTo>
                    <a:pt x="1725562" y="3053687"/>
                  </a:lnTo>
                  <a:lnTo>
                    <a:pt x="1715421" y="3041307"/>
                  </a:lnTo>
                  <a:lnTo>
                    <a:pt x="1711627" y="3023996"/>
                  </a:lnTo>
                  <a:lnTo>
                    <a:pt x="1708637" y="3011944"/>
                  </a:lnTo>
                  <a:lnTo>
                    <a:pt x="1705864" y="3000879"/>
                  </a:lnTo>
                  <a:lnTo>
                    <a:pt x="1714254" y="2988717"/>
                  </a:lnTo>
                  <a:lnTo>
                    <a:pt x="1725416" y="2973050"/>
                  </a:lnTo>
                  <a:lnTo>
                    <a:pt x="1729939" y="2959464"/>
                  </a:lnTo>
                  <a:lnTo>
                    <a:pt x="1735994" y="2951685"/>
                  </a:lnTo>
                  <a:lnTo>
                    <a:pt x="1749783" y="2938538"/>
                  </a:lnTo>
                  <a:lnTo>
                    <a:pt x="1753502" y="2925719"/>
                  </a:lnTo>
                  <a:lnTo>
                    <a:pt x="1745405" y="2921227"/>
                  </a:lnTo>
                  <a:lnTo>
                    <a:pt x="1731398" y="2918378"/>
                  </a:lnTo>
                  <a:lnTo>
                    <a:pt x="1722862" y="2914105"/>
                  </a:lnTo>
                  <a:lnTo>
                    <a:pt x="1718485" y="2901286"/>
                  </a:lnTo>
                  <a:lnTo>
                    <a:pt x="1715495" y="2889892"/>
                  </a:lnTo>
                  <a:lnTo>
                    <a:pt x="1723082" y="2873019"/>
                  </a:lnTo>
                  <a:lnTo>
                    <a:pt x="1732346" y="2855928"/>
                  </a:lnTo>
                  <a:lnTo>
                    <a:pt x="1739715" y="2840808"/>
                  </a:lnTo>
                  <a:lnTo>
                    <a:pt x="1758537" y="2812322"/>
                  </a:lnTo>
                  <a:lnTo>
                    <a:pt x="1766926" y="2795230"/>
                  </a:lnTo>
                  <a:lnTo>
                    <a:pt x="1769918" y="2787890"/>
                  </a:lnTo>
                  <a:lnTo>
                    <a:pt x="1786478" y="2777919"/>
                  </a:lnTo>
                  <a:lnTo>
                    <a:pt x="1798880" y="2768278"/>
                  </a:lnTo>
                  <a:lnTo>
                    <a:pt x="1803476" y="2757979"/>
                  </a:lnTo>
                  <a:lnTo>
                    <a:pt x="1805008" y="2748119"/>
                  </a:lnTo>
                  <a:lnTo>
                    <a:pt x="1816972" y="2737820"/>
                  </a:lnTo>
                  <a:lnTo>
                    <a:pt x="1830397" y="2723686"/>
                  </a:lnTo>
                  <a:cubicBezTo>
                    <a:pt x="1830177" y="2717551"/>
                    <a:pt x="1830687" y="2711415"/>
                    <a:pt x="1831928" y="2705499"/>
                  </a:cubicBezTo>
                  <a:cubicBezTo>
                    <a:pt x="1834044" y="2695419"/>
                    <a:pt x="1838203" y="2685887"/>
                    <a:pt x="1844184" y="2677451"/>
                  </a:cubicBezTo>
                  <a:cubicBezTo>
                    <a:pt x="1846956" y="2668905"/>
                    <a:pt x="1847248" y="2659702"/>
                    <a:pt x="1844914" y="2650937"/>
                  </a:cubicBezTo>
                  <a:cubicBezTo>
                    <a:pt x="1843235" y="2644801"/>
                    <a:pt x="1840318" y="2638885"/>
                    <a:pt x="1838275" y="2632750"/>
                  </a:cubicBezTo>
                  <a:cubicBezTo>
                    <a:pt x="1836452" y="2627162"/>
                    <a:pt x="1835430" y="2621355"/>
                    <a:pt x="1835284" y="2615329"/>
                  </a:cubicBezTo>
                  <a:lnTo>
                    <a:pt x="1835284" y="2597251"/>
                  </a:lnTo>
                  <a:lnTo>
                    <a:pt x="1833752" y="2585200"/>
                  </a:lnTo>
                  <a:lnTo>
                    <a:pt x="1825362" y="2568546"/>
                  </a:lnTo>
                  <a:lnTo>
                    <a:pt x="1814784" y="2556494"/>
                  </a:lnTo>
                  <a:lnTo>
                    <a:pt x="1821642" y="2545209"/>
                  </a:lnTo>
                  <a:lnTo>
                    <a:pt x="1826676" y="2530638"/>
                  </a:lnTo>
                  <a:lnTo>
                    <a:pt x="1812303" y="2518476"/>
                  </a:lnTo>
                  <a:lnTo>
                    <a:pt x="1799245" y="2509273"/>
                  </a:lnTo>
                  <a:lnTo>
                    <a:pt x="1784873" y="2505000"/>
                  </a:lnTo>
                  <a:lnTo>
                    <a:pt x="1776482" y="2507958"/>
                  </a:lnTo>
                  <a:lnTo>
                    <a:pt x="1775887" y="2507170"/>
                  </a:lnTo>
                  <a:lnTo>
                    <a:pt x="1776850" y="2508556"/>
                  </a:lnTo>
                  <a:lnTo>
                    <a:pt x="1765467" y="2515301"/>
                  </a:lnTo>
                  <a:lnTo>
                    <a:pt x="1754753" y="2523706"/>
                  </a:lnTo>
                  <a:lnTo>
                    <a:pt x="1740291" y="2534291"/>
                  </a:lnTo>
                  <a:lnTo>
                    <a:pt x="1745379" y="2547055"/>
                  </a:lnTo>
                  <a:lnTo>
                    <a:pt x="1739486" y="2554423"/>
                  </a:lnTo>
                  <a:lnTo>
                    <a:pt x="1722747" y="2551414"/>
                  </a:lnTo>
                  <a:lnTo>
                    <a:pt x="1704667" y="2545084"/>
                  </a:lnTo>
                  <a:lnTo>
                    <a:pt x="1696365" y="2539999"/>
                  </a:lnTo>
                  <a:lnTo>
                    <a:pt x="1680562" y="2532735"/>
                  </a:lnTo>
                  <a:lnTo>
                    <a:pt x="1665296" y="2524329"/>
                  </a:lnTo>
                  <a:lnTo>
                    <a:pt x="1646547" y="2522876"/>
                  </a:lnTo>
                  <a:lnTo>
                    <a:pt x="1631012" y="2510527"/>
                  </a:lnTo>
                  <a:lnTo>
                    <a:pt x="1619629" y="2500876"/>
                  </a:lnTo>
                  <a:lnTo>
                    <a:pt x="1610387" y="2487282"/>
                  </a:lnTo>
                  <a:lnTo>
                    <a:pt x="1593916" y="2476386"/>
                  </a:lnTo>
                  <a:lnTo>
                    <a:pt x="1576507" y="2473377"/>
                  </a:lnTo>
                  <a:lnTo>
                    <a:pt x="1564454" y="2458537"/>
                  </a:lnTo>
                  <a:lnTo>
                    <a:pt x="1562044" y="2440896"/>
                  </a:lnTo>
                  <a:lnTo>
                    <a:pt x="1560570" y="2428028"/>
                  </a:lnTo>
                  <a:lnTo>
                    <a:pt x="1551999" y="2413603"/>
                  </a:lnTo>
                  <a:lnTo>
                    <a:pt x="1540081" y="2400217"/>
                  </a:lnTo>
                  <a:lnTo>
                    <a:pt x="1530171" y="2387453"/>
                  </a:lnTo>
                  <a:lnTo>
                    <a:pt x="1525617" y="2373340"/>
                  </a:lnTo>
                  <a:lnTo>
                    <a:pt x="1521867" y="2357981"/>
                  </a:lnTo>
                  <a:lnTo>
                    <a:pt x="1517984" y="2341378"/>
                  </a:lnTo>
                  <a:lnTo>
                    <a:pt x="1505395" y="2339821"/>
                  </a:lnTo>
                  <a:lnTo>
                    <a:pt x="1494013" y="2348123"/>
                  </a:lnTo>
                  <a:lnTo>
                    <a:pt x="1473389" y="2347604"/>
                  </a:lnTo>
                  <a:lnTo>
                    <a:pt x="1456649" y="2344595"/>
                  </a:lnTo>
                  <a:lnTo>
                    <a:pt x="1440311" y="2335774"/>
                  </a:lnTo>
                  <a:lnTo>
                    <a:pt x="1422365" y="2328199"/>
                  </a:lnTo>
                  <a:lnTo>
                    <a:pt x="1409375" y="2320416"/>
                  </a:lnTo>
                  <a:lnTo>
                    <a:pt x="1392636" y="2313567"/>
                  </a:lnTo>
                  <a:lnTo>
                    <a:pt x="1376699" y="2304746"/>
                  </a:lnTo>
                  <a:lnTo>
                    <a:pt x="1363709" y="2291359"/>
                  </a:lnTo>
                  <a:lnTo>
                    <a:pt x="1352995" y="2273925"/>
                  </a:lnTo>
                  <a:lnTo>
                    <a:pt x="1339336" y="2263756"/>
                  </a:lnTo>
                  <a:lnTo>
                    <a:pt x="1316436" y="2250369"/>
                  </a:lnTo>
                  <a:lnTo>
                    <a:pt x="1298222" y="2239680"/>
                  </a:lnTo>
                  <a:lnTo>
                    <a:pt x="1279072" y="2239680"/>
                  </a:lnTo>
                  <a:lnTo>
                    <a:pt x="1264609" y="2244973"/>
                  </a:lnTo>
                  <a:lnTo>
                    <a:pt x="1243315" y="2253275"/>
                  </a:lnTo>
                  <a:lnTo>
                    <a:pt x="1233673" y="2256076"/>
                  </a:lnTo>
                  <a:lnTo>
                    <a:pt x="1224300" y="2260642"/>
                  </a:lnTo>
                  <a:lnTo>
                    <a:pt x="1211577" y="2254831"/>
                  </a:lnTo>
                  <a:lnTo>
                    <a:pt x="1197649" y="2249331"/>
                  </a:lnTo>
                  <a:lnTo>
                    <a:pt x="1184123" y="2242690"/>
                  </a:lnTo>
                  <a:lnTo>
                    <a:pt x="1165911" y="2234388"/>
                  </a:lnTo>
                  <a:lnTo>
                    <a:pt x="1139261" y="2222350"/>
                  </a:lnTo>
                  <a:lnTo>
                    <a:pt x="1121181" y="2213530"/>
                  </a:lnTo>
                  <a:lnTo>
                    <a:pt x="1103638" y="2203671"/>
                  </a:lnTo>
                  <a:lnTo>
                    <a:pt x="1083416" y="2192360"/>
                  </a:lnTo>
                  <a:lnTo>
                    <a:pt x="1061320" y="2181775"/>
                  </a:lnTo>
                  <a:lnTo>
                    <a:pt x="1044579" y="2169738"/>
                  </a:lnTo>
                  <a:lnTo>
                    <a:pt x="1016591" y="2162162"/>
                  </a:lnTo>
                  <a:lnTo>
                    <a:pt x="1004405" y="2155521"/>
                  </a:lnTo>
                  <a:lnTo>
                    <a:pt x="993288" y="2140474"/>
                  </a:lnTo>
                  <a:lnTo>
                    <a:pt x="976549" y="2123040"/>
                  </a:lnTo>
                  <a:lnTo>
                    <a:pt x="964762" y="2114738"/>
                  </a:lnTo>
                  <a:lnTo>
                    <a:pt x="956462" y="2107266"/>
                  </a:lnTo>
                  <a:lnTo>
                    <a:pt x="954184" y="2095021"/>
                  </a:lnTo>
                  <a:lnTo>
                    <a:pt x="960746" y="2080078"/>
                  </a:lnTo>
                  <a:lnTo>
                    <a:pt x="967442" y="2063578"/>
                  </a:lnTo>
                  <a:lnTo>
                    <a:pt x="968245" y="2042616"/>
                  </a:lnTo>
                  <a:lnTo>
                    <a:pt x="963289" y="2019682"/>
                  </a:lnTo>
                  <a:lnTo>
                    <a:pt x="956326" y="1995711"/>
                  </a:lnTo>
                  <a:lnTo>
                    <a:pt x="946685" y="1981390"/>
                  </a:lnTo>
                  <a:lnTo>
                    <a:pt x="937578" y="1966239"/>
                  </a:lnTo>
                  <a:lnTo>
                    <a:pt x="930213" y="1947871"/>
                  </a:lnTo>
                  <a:lnTo>
                    <a:pt x="914945" y="1938013"/>
                  </a:lnTo>
                  <a:lnTo>
                    <a:pt x="905036" y="1920372"/>
                  </a:lnTo>
                  <a:lnTo>
                    <a:pt x="887357" y="1902004"/>
                  </a:lnTo>
                  <a:lnTo>
                    <a:pt x="871286" y="1892872"/>
                  </a:lnTo>
                  <a:lnTo>
                    <a:pt x="875038" y="1880108"/>
                  </a:lnTo>
                  <a:lnTo>
                    <a:pt x="880929" y="1873985"/>
                  </a:lnTo>
                  <a:lnTo>
                    <a:pt x="878519" y="1855202"/>
                  </a:lnTo>
                  <a:lnTo>
                    <a:pt x="861914" y="1840882"/>
                  </a:lnTo>
                  <a:lnTo>
                    <a:pt x="852270" y="1827495"/>
                  </a:lnTo>
                  <a:lnTo>
                    <a:pt x="841558" y="1810372"/>
                  </a:lnTo>
                  <a:lnTo>
                    <a:pt x="832183" y="1791486"/>
                  </a:lnTo>
                  <a:lnTo>
                    <a:pt x="819996" y="1770316"/>
                  </a:lnTo>
                  <a:lnTo>
                    <a:pt x="814639" y="1749354"/>
                  </a:lnTo>
                  <a:lnTo>
                    <a:pt x="806335" y="1731401"/>
                  </a:lnTo>
                  <a:lnTo>
                    <a:pt x="809015" y="1710335"/>
                  </a:lnTo>
                  <a:lnTo>
                    <a:pt x="803790" y="1692902"/>
                  </a:lnTo>
                  <a:lnTo>
                    <a:pt x="781695" y="1683147"/>
                  </a:lnTo>
                  <a:lnTo>
                    <a:pt x="768571" y="1680449"/>
                  </a:lnTo>
                  <a:lnTo>
                    <a:pt x="757589" y="1684185"/>
                  </a:lnTo>
                  <a:lnTo>
                    <a:pt x="747679" y="1694562"/>
                  </a:lnTo>
                  <a:lnTo>
                    <a:pt x="741652" y="1712722"/>
                  </a:lnTo>
                  <a:lnTo>
                    <a:pt x="743125" y="1729845"/>
                  </a:lnTo>
                  <a:lnTo>
                    <a:pt x="756115" y="1756307"/>
                  </a:lnTo>
                  <a:lnTo>
                    <a:pt x="766025" y="1792108"/>
                  </a:lnTo>
                  <a:lnTo>
                    <a:pt x="780222" y="1821165"/>
                  </a:lnTo>
                  <a:lnTo>
                    <a:pt x="792409" y="1846900"/>
                  </a:lnTo>
                  <a:lnTo>
                    <a:pt x="793211" y="1856759"/>
                  </a:lnTo>
                  <a:lnTo>
                    <a:pt x="793882" y="1874919"/>
                  </a:lnTo>
                  <a:lnTo>
                    <a:pt x="796023" y="1887476"/>
                  </a:lnTo>
                  <a:lnTo>
                    <a:pt x="804325" y="1896504"/>
                  </a:lnTo>
                  <a:lnTo>
                    <a:pt x="807942" y="1909890"/>
                  </a:lnTo>
                  <a:lnTo>
                    <a:pt x="807942" y="1925041"/>
                  </a:lnTo>
                  <a:lnTo>
                    <a:pt x="810085" y="1936456"/>
                  </a:lnTo>
                  <a:lnTo>
                    <a:pt x="814639" y="1946937"/>
                  </a:lnTo>
                  <a:lnTo>
                    <a:pt x="825887" y="1964579"/>
                  </a:lnTo>
                  <a:lnTo>
                    <a:pt x="833388" y="1977965"/>
                  </a:lnTo>
                  <a:lnTo>
                    <a:pt x="835799" y="1987928"/>
                  </a:lnTo>
                  <a:lnTo>
                    <a:pt x="825620" y="1983154"/>
                  </a:lnTo>
                  <a:lnTo>
                    <a:pt x="813433" y="1970494"/>
                  </a:lnTo>
                  <a:lnTo>
                    <a:pt x="801246" y="1956900"/>
                  </a:lnTo>
                  <a:lnTo>
                    <a:pt x="786916" y="1941126"/>
                  </a:lnTo>
                  <a:lnTo>
                    <a:pt x="774731" y="1928466"/>
                  </a:lnTo>
                  <a:lnTo>
                    <a:pt x="774731" y="1919230"/>
                  </a:lnTo>
                  <a:lnTo>
                    <a:pt x="777543" y="1911966"/>
                  </a:lnTo>
                  <a:lnTo>
                    <a:pt x="783301" y="1898579"/>
                  </a:lnTo>
                  <a:lnTo>
                    <a:pt x="781024" y="1883740"/>
                  </a:lnTo>
                  <a:lnTo>
                    <a:pt x="764017" y="1865061"/>
                  </a:lnTo>
                  <a:lnTo>
                    <a:pt x="749554" y="1856344"/>
                  </a:lnTo>
                  <a:lnTo>
                    <a:pt x="743661" y="1847731"/>
                  </a:lnTo>
                  <a:lnTo>
                    <a:pt x="741652" y="1838910"/>
                  </a:lnTo>
                  <a:lnTo>
                    <a:pt x="729064" y="1830089"/>
                  </a:lnTo>
                  <a:lnTo>
                    <a:pt x="730537" y="1816495"/>
                  </a:lnTo>
                  <a:lnTo>
                    <a:pt x="741117" y="1805184"/>
                  </a:lnTo>
                  <a:lnTo>
                    <a:pt x="743125" y="1790344"/>
                  </a:lnTo>
                  <a:lnTo>
                    <a:pt x="733215" y="1767618"/>
                  </a:lnTo>
                  <a:lnTo>
                    <a:pt x="717947" y="1737835"/>
                  </a:lnTo>
                  <a:lnTo>
                    <a:pt x="702145" y="1719675"/>
                  </a:lnTo>
                  <a:lnTo>
                    <a:pt x="700136" y="1706288"/>
                  </a:lnTo>
                  <a:lnTo>
                    <a:pt x="703216" y="1688128"/>
                  </a:lnTo>
                  <a:lnTo>
                    <a:pt x="708574" y="1667270"/>
                  </a:lnTo>
                  <a:lnTo>
                    <a:pt x="704021" y="1639562"/>
                  </a:lnTo>
                  <a:lnTo>
                    <a:pt x="693976" y="1615383"/>
                  </a:lnTo>
                  <a:lnTo>
                    <a:pt x="679513" y="1596082"/>
                  </a:lnTo>
                  <a:lnTo>
                    <a:pt x="667326" y="1590063"/>
                  </a:lnTo>
                  <a:lnTo>
                    <a:pt x="654737" y="1583318"/>
                  </a:lnTo>
                  <a:lnTo>
                    <a:pt x="644024" y="1578752"/>
                  </a:lnTo>
                  <a:lnTo>
                    <a:pt x="637062" y="1561421"/>
                  </a:lnTo>
                  <a:lnTo>
                    <a:pt x="630497" y="1530393"/>
                  </a:lnTo>
                  <a:lnTo>
                    <a:pt x="623802" y="1505177"/>
                  </a:lnTo>
                  <a:lnTo>
                    <a:pt x="621124" y="1486601"/>
                  </a:lnTo>
                  <a:lnTo>
                    <a:pt x="612687" y="1478507"/>
                  </a:lnTo>
                  <a:lnTo>
                    <a:pt x="616303" y="1471762"/>
                  </a:lnTo>
                  <a:lnTo>
                    <a:pt x="625677" y="1467300"/>
                  </a:lnTo>
                  <a:lnTo>
                    <a:pt x="627686" y="1459620"/>
                  </a:lnTo>
                  <a:lnTo>
                    <a:pt x="618043" y="1451837"/>
                  </a:lnTo>
                  <a:lnTo>
                    <a:pt x="611213" y="1440526"/>
                  </a:lnTo>
                  <a:lnTo>
                    <a:pt x="607061" y="1426413"/>
                  </a:lnTo>
                  <a:lnTo>
                    <a:pt x="607061" y="1412508"/>
                  </a:lnTo>
                  <a:lnTo>
                    <a:pt x="613089" y="1399017"/>
                  </a:lnTo>
                  <a:lnTo>
                    <a:pt x="622194" y="1392168"/>
                  </a:lnTo>
                  <a:lnTo>
                    <a:pt x="625007" y="1381583"/>
                  </a:lnTo>
                  <a:lnTo>
                    <a:pt x="616972" y="1373593"/>
                  </a:lnTo>
                  <a:lnTo>
                    <a:pt x="614428" y="1363527"/>
                  </a:lnTo>
                  <a:lnTo>
                    <a:pt x="617911" y="1353980"/>
                  </a:lnTo>
                  <a:lnTo>
                    <a:pt x="633175" y="1345159"/>
                  </a:lnTo>
                  <a:lnTo>
                    <a:pt x="654469" y="1320046"/>
                  </a:lnTo>
                  <a:lnTo>
                    <a:pt x="661299" y="1303339"/>
                  </a:lnTo>
                  <a:lnTo>
                    <a:pt x="669336" y="1278122"/>
                  </a:lnTo>
                  <a:lnTo>
                    <a:pt x="678575" y="1259443"/>
                  </a:lnTo>
                  <a:lnTo>
                    <a:pt x="686878" y="1245122"/>
                  </a:lnTo>
                  <a:lnTo>
                    <a:pt x="697324" y="1236094"/>
                  </a:lnTo>
                  <a:lnTo>
                    <a:pt x="707904" y="1224990"/>
                  </a:lnTo>
                  <a:lnTo>
                    <a:pt x="717546" y="1214094"/>
                  </a:lnTo>
                  <a:lnTo>
                    <a:pt x="728126" y="1205896"/>
                  </a:lnTo>
                  <a:lnTo>
                    <a:pt x="733482" y="1194585"/>
                  </a:lnTo>
                  <a:lnTo>
                    <a:pt x="743394" y="1185556"/>
                  </a:lnTo>
                  <a:lnTo>
                    <a:pt x="755312" y="1166566"/>
                  </a:lnTo>
                  <a:lnTo>
                    <a:pt x="773123" y="1131802"/>
                  </a:lnTo>
                  <a:lnTo>
                    <a:pt x="783034" y="1104302"/>
                  </a:lnTo>
                  <a:lnTo>
                    <a:pt x="785980" y="1094755"/>
                  </a:lnTo>
                  <a:lnTo>
                    <a:pt x="795086" y="1093199"/>
                  </a:lnTo>
                  <a:lnTo>
                    <a:pt x="819325" y="1094755"/>
                  </a:lnTo>
                  <a:lnTo>
                    <a:pt x="828165" y="1097038"/>
                  </a:lnTo>
                  <a:lnTo>
                    <a:pt x="816781" y="1110529"/>
                  </a:lnTo>
                  <a:lnTo>
                    <a:pt x="819058" y="1119661"/>
                  </a:lnTo>
                  <a:lnTo>
                    <a:pt x="824281" y="1124953"/>
                  </a:lnTo>
                  <a:lnTo>
                    <a:pt x="834727" y="1119661"/>
                  </a:lnTo>
                  <a:lnTo>
                    <a:pt x="849995" y="1106378"/>
                  </a:lnTo>
                  <a:lnTo>
                    <a:pt x="857627" y="1094963"/>
                  </a:lnTo>
                  <a:lnTo>
                    <a:pt x="865126" y="1084482"/>
                  </a:lnTo>
                  <a:lnTo>
                    <a:pt x="869010" y="1070161"/>
                  </a:lnTo>
                  <a:lnTo>
                    <a:pt x="870484" y="1050444"/>
                  </a:lnTo>
                  <a:lnTo>
                    <a:pt x="861645" y="1023256"/>
                  </a:lnTo>
                  <a:lnTo>
                    <a:pt x="849458" y="1008105"/>
                  </a:lnTo>
                  <a:lnTo>
                    <a:pt x="833388" y="993265"/>
                  </a:lnTo>
                  <a:lnTo>
                    <a:pt x="811291" y="973445"/>
                  </a:lnTo>
                  <a:lnTo>
                    <a:pt x="795354" y="960577"/>
                  </a:lnTo>
                  <a:lnTo>
                    <a:pt x="790668" y="951549"/>
                  </a:lnTo>
                  <a:lnTo>
                    <a:pt x="795487" y="942521"/>
                  </a:lnTo>
                  <a:lnTo>
                    <a:pt x="810488" y="930691"/>
                  </a:lnTo>
                  <a:lnTo>
                    <a:pt x="811960" y="915540"/>
                  </a:lnTo>
                  <a:lnTo>
                    <a:pt x="802319" y="907445"/>
                  </a:lnTo>
                  <a:lnTo>
                    <a:pt x="800041" y="899040"/>
                  </a:lnTo>
                  <a:lnTo>
                    <a:pt x="800846" y="888559"/>
                  </a:lnTo>
                  <a:lnTo>
                    <a:pt x="809818" y="875691"/>
                  </a:lnTo>
                  <a:lnTo>
                    <a:pt x="815174" y="858361"/>
                  </a:lnTo>
                  <a:lnTo>
                    <a:pt x="822540" y="845494"/>
                  </a:lnTo>
                  <a:lnTo>
                    <a:pt x="827897" y="830965"/>
                  </a:lnTo>
                  <a:lnTo>
                    <a:pt x="821335" y="817163"/>
                  </a:lnTo>
                  <a:lnTo>
                    <a:pt x="817586" y="806890"/>
                  </a:lnTo>
                  <a:lnTo>
                    <a:pt x="817449" y="795060"/>
                  </a:lnTo>
                  <a:lnTo>
                    <a:pt x="827094" y="783230"/>
                  </a:lnTo>
                  <a:lnTo>
                    <a:pt x="826826" y="766937"/>
                  </a:lnTo>
                  <a:lnTo>
                    <a:pt x="814905" y="743277"/>
                  </a:lnTo>
                  <a:lnTo>
                    <a:pt x="791204" y="726051"/>
                  </a:lnTo>
                  <a:lnTo>
                    <a:pt x="769374" y="726051"/>
                  </a:lnTo>
                  <a:lnTo>
                    <a:pt x="749554" y="712664"/>
                  </a:lnTo>
                  <a:lnTo>
                    <a:pt x="745267" y="698862"/>
                  </a:lnTo>
                  <a:lnTo>
                    <a:pt x="725449" y="689212"/>
                  </a:lnTo>
                  <a:lnTo>
                    <a:pt x="717145" y="680183"/>
                  </a:lnTo>
                  <a:lnTo>
                    <a:pt x="693038" y="677900"/>
                  </a:lnTo>
                  <a:lnTo>
                    <a:pt x="672147" y="672193"/>
                  </a:lnTo>
                  <a:lnTo>
                    <a:pt x="650051" y="668353"/>
                  </a:lnTo>
                  <a:lnTo>
                    <a:pt x="639471" y="662438"/>
                  </a:lnTo>
                  <a:lnTo>
                    <a:pt x="621257" y="659429"/>
                  </a:lnTo>
                  <a:lnTo>
                    <a:pt x="605454" y="653410"/>
                  </a:lnTo>
                  <a:lnTo>
                    <a:pt x="588847" y="649570"/>
                  </a:lnTo>
                  <a:lnTo>
                    <a:pt x="563002" y="643033"/>
                  </a:lnTo>
                  <a:lnTo>
                    <a:pt x="547200" y="638570"/>
                  </a:lnTo>
                  <a:lnTo>
                    <a:pt x="528183" y="648429"/>
                  </a:lnTo>
                  <a:lnTo>
                    <a:pt x="509165" y="662127"/>
                  </a:lnTo>
                  <a:lnTo>
                    <a:pt x="464438" y="672712"/>
                  </a:lnTo>
                  <a:lnTo>
                    <a:pt x="444081" y="678834"/>
                  </a:lnTo>
                  <a:lnTo>
                    <a:pt x="431626" y="673749"/>
                  </a:lnTo>
                  <a:lnTo>
                    <a:pt x="421046" y="670740"/>
                  </a:lnTo>
                  <a:lnTo>
                    <a:pt x="402699" y="674580"/>
                  </a:lnTo>
                  <a:lnTo>
                    <a:pt x="381004" y="685372"/>
                  </a:lnTo>
                  <a:lnTo>
                    <a:pt x="357433" y="696268"/>
                  </a:lnTo>
                  <a:lnTo>
                    <a:pt x="324625" y="715155"/>
                  </a:lnTo>
                  <a:lnTo>
                    <a:pt x="288063" y="729060"/>
                  </a:lnTo>
                  <a:lnTo>
                    <a:pt x="260744" y="734353"/>
                  </a:lnTo>
                  <a:lnTo>
                    <a:pt x="230477" y="743173"/>
                  </a:lnTo>
                  <a:lnTo>
                    <a:pt x="145973" y="781154"/>
                  </a:lnTo>
                  <a:lnTo>
                    <a:pt x="76872" y="807098"/>
                  </a:lnTo>
                  <a:lnTo>
                    <a:pt x="33883" y="821003"/>
                  </a:lnTo>
                  <a:lnTo>
                    <a:pt x="12055" y="821003"/>
                  </a:lnTo>
                  <a:lnTo>
                    <a:pt x="0" y="816437"/>
                  </a:lnTo>
                  <a:lnTo>
                    <a:pt x="10312" y="808550"/>
                  </a:lnTo>
                  <a:lnTo>
                    <a:pt x="30401" y="804711"/>
                  </a:lnTo>
                  <a:lnTo>
                    <a:pt x="80754" y="788107"/>
                  </a:lnTo>
                  <a:lnTo>
                    <a:pt x="129502" y="765070"/>
                  </a:lnTo>
                  <a:lnTo>
                    <a:pt x="170883" y="746702"/>
                  </a:lnTo>
                  <a:lnTo>
                    <a:pt x="198068" y="731551"/>
                  </a:lnTo>
                  <a:lnTo>
                    <a:pt x="209184" y="717438"/>
                  </a:lnTo>
                  <a:lnTo>
                    <a:pt x="200880" y="706127"/>
                  </a:lnTo>
                  <a:lnTo>
                    <a:pt x="184140" y="708410"/>
                  </a:lnTo>
                  <a:lnTo>
                    <a:pt x="170347" y="718164"/>
                  </a:lnTo>
                  <a:lnTo>
                    <a:pt x="155213" y="723041"/>
                  </a:lnTo>
                  <a:lnTo>
                    <a:pt x="140484" y="714947"/>
                  </a:lnTo>
                  <a:lnTo>
                    <a:pt x="120529" y="709032"/>
                  </a:lnTo>
                  <a:lnTo>
                    <a:pt x="113296" y="701872"/>
                  </a:lnTo>
                  <a:lnTo>
                    <a:pt x="119860" y="693881"/>
                  </a:lnTo>
                  <a:lnTo>
                    <a:pt x="132582" y="686306"/>
                  </a:lnTo>
                  <a:lnTo>
                    <a:pt x="140216" y="683193"/>
                  </a:lnTo>
                  <a:lnTo>
                    <a:pt x="152401" y="676447"/>
                  </a:lnTo>
                  <a:lnTo>
                    <a:pt x="161508" y="664306"/>
                  </a:lnTo>
                  <a:lnTo>
                    <a:pt x="167803" y="649466"/>
                  </a:lnTo>
                  <a:lnTo>
                    <a:pt x="164857" y="633589"/>
                  </a:lnTo>
                  <a:lnTo>
                    <a:pt x="158830" y="624250"/>
                  </a:lnTo>
                  <a:lnTo>
                    <a:pt x="167534" y="612005"/>
                  </a:lnTo>
                  <a:lnTo>
                    <a:pt x="177042" y="607957"/>
                  </a:lnTo>
                  <a:lnTo>
                    <a:pt x="196730" y="595297"/>
                  </a:lnTo>
                  <a:lnTo>
                    <a:pt x="221103" y="585542"/>
                  </a:lnTo>
                  <a:lnTo>
                    <a:pt x="255654" y="579420"/>
                  </a:lnTo>
                  <a:lnTo>
                    <a:pt x="295563" y="576411"/>
                  </a:lnTo>
                  <a:lnTo>
                    <a:pt x="322214" y="574128"/>
                  </a:lnTo>
                  <a:lnTo>
                    <a:pt x="346586" y="559807"/>
                  </a:lnTo>
                  <a:lnTo>
                    <a:pt x="359444" y="544656"/>
                  </a:lnTo>
                  <a:lnTo>
                    <a:pt x="373237" y="535628"/>
                  </a:lnTo>
                  <a:lnTo>
                    <a:pt x="382611" y="528467"/>
                  </a:lnTo>
                  <a:lnTo>
                    <a:pt x="382611" y="516741"/>
                  </a:lnTo>
                  <a:lnTo>
                    <a:pt x="367343" y="512279"/>
                  </a:lnTo>
                  <a:lnTo>
                    <a:pt x="349801" y="516015"/>
                  </a:lnTo>
                  <a:lnTo>
                    <a:pt x="340158" y="520373"/>
                  </a:lnTo>
                  <a:lnTo>
                    <a:pt x="326365" y="526911"/>
                  </a:lnTo>
                  <a:lnTo>
                    <a:pt x="314178" y="529921"/>
                  </a:lnTo>
                  <a:lnTo>
                    <a:pt x="304803" y="529194"/>
                  </a:lnTo>
                  <a:lnTo>
                    <a:pt x="299045" y="521930"/>
                  </a:lnTo>
                  <a:lnTo>
                    <a:pt x="282707" y="520684"/>
                  </a:lnTo>
                  <a:lnTo>
                    <a:pt x="265565" y="514147"/>
                  </a:lnTo>
                  <a:lnTo>
                    <a:pt x="261279" y="507402"/>
                  </a:lnTo>
                  <a:lnTo>
                    <a:pt x="266502" y="501902"/>
                  </a:lnTo>
                  <a:lnTo>
                    <a:pt x="276814" y="494534"/>
                  </a:lnTo>
                  <a:lnTo>
                    <a:pt x="290607" y="489241"/>
                  </a:lnTo>
                  <a:lnTo>
                    <a:pt x="307751" y="483223"/>
                  </a:lnTo>
                  <a:lnTo>
                    <a:pt x="316721" y="479694"/>
                  </a:lnTo>
                  <a:lnTo>
                    <a:pt x="330248" y="475128"/>
                  </a:lnTo>
                  <a:lnTo>
                    <a:pt x="339890" y="472119"/>
                  </a:lnTo>
                  <a:lnTo>
                    <a:pt x="362792" y="475128"/>
                  </a:lnTo>
                  <a:lnTo>
                    <a:pt x="373506" y="475128"/>
                  </a:lnTo>
                  <a:lnTo>
                    <a:pt x="382878" y="477411"/>
                  </a:lnTo>
                  <a:lnTo>
                    <a:pt x="392655" y="481977"/>
                  </a:lnTo>
                  <a:lnTo>
                    <a:pt x="408592" y="481977"/>
                  </a:lnTo>
                  <a:lnTo>
                    <a:pt x="420778" y="478242"/>
                  </a:lnTo>
                  <a:lnTo>
                    <a:pt x="434169" y="472430"/>
                  </a:lnTo>
                  <a:lnTo>
                    <a:pt x="453991" y="464855"/>
                  </a:lnTo>
                  <a:lnTo>
                    <a:pt x="455999" y="452091"/>
                  </a:lnTo>
                  <a:lnTo>
                    <a:pt x="446357" y="439949"/>
                  </a:lnTo>
                  <a:lnTo>
                    <a:pt x="426404" y="421063"/>
                  </a:lnTo>
                  <a:lnTo>
                    <a:pt x="426270" y="411827"/>
                  </a:lnTo>
                  <a:lnTo>
                    <a:pt x="438053" y="404459"/>
                  </a:lnTo>
                  <a:lnTo>
                    <a:pt x="449305" y="401865"/>
                  </a:lnTo>
                  <a:lnTo>
                    <a:pt x="464839" y="402383"/>
                  </a:lnTo>
                  <a:lnTo>
                    <a:pt x="480507" y="402799"/>
                  </a:lnTo>
                  <a:lnTo>
                    <a:pt x="511978" y="395223"/>
                  </a:lnTo>
                  <a:lnTo>
                    <a:pt x="542915" y="385676"/>
                  </a:lnTo>
                  <a:lnTo>
                    <a:pt x="582288" y="372289"/>
                  </a:lnTo>
                  <a:lnTo>
                    <a:pt x="614160" y="362431"/>
                  </a:lnTo>
                  <a:lnTo>
                    <a:pt x="627820" y="357865"/>
                  </a:lnTo>
                  <a:lnTo>
                    <a:pt x="679513" y="350393"/>
                  </a:lnTo>
                  <a:lnTo>
                    <a:pt x="712458" y="340743"/>
                  </a:lnTo>
                  <a:lnTo>
                    <a:pt x="762007" y="336280"/>
                  </a:lnTo>
                  <a:lnTo>
                    <a:pt x="799371" y="332441"/>
                  </a:lnTo>
                  <a:lnTo>
                    <a:pt x="820397" y="332441"/>
                  </a:lnTo>
                  <a:lnTo>
                    <a:pt x="841558" y="333167"/>
                  </a:lnTo>
                  <a:lnTo>
                    <a:pt x="865930" y="335450"/>
                  </a:lnTo>
                  <a:lnTo>
                    <a:pt x="894856" y="339290"/>
                  </a:lnTo>
                  <a:lnTo>
                    <a:pt x="912936" y="343026"/>
                  </a:lnTo>
                  <a:lnTo>
                    <a:pt x="928874" y="349874"/>
                  </a:lnTo>
                  <a:lnTo>
                    <a:pt x="947488" y="355167"/>
                  </a:lnTo>
                  <a:lnTo>
                    <a:pt x="1024224" y="363054"/>
                  </a:lnTo>
                  <a:lnTo>
                    <a:pt x="1063463" y="365752"/>
                  </a:lnTo>
                  <a:lnTo>
                    <a:pt x="1088371" y="376544"/>
                  </a:lnTo>
                  <a:lnTo>
                    <a:pt x="1153858" y="393459"/>
                  </a:lnTo>
                  <a:lnTo>
                    <a:pt x="1198720" y="397921"/>
                  </a:lnTo>
                  <a:lnTo>
                    <a:pt x="1249342" y="392733"/>
                  </a:lnTo>
                  <a:lnTo>
                    <a:pt x="1265278" y="390450"/>
                  </a:lnTo>
                  <a:lnTo>
                    <a:pt x="1300901" y="380902"/>
                  </a:lnTo>
                  <a:lnTo>
                    <a:pt x="1328221" y="372601"/>
                  </a:lnTo>
                  <a:lnTo>
                    <a:pt x="1355406" y="366582"/>
                  </a:lnTo>
                  <a:lnTo>
                    <a:pt x="1378172" y="365025"/>
                  </a:lnTo>
                  <a:lnTo>
                    <a:pt x="1389555" y="367309"/>
                  </a:lnTo>
                  <a:lnTo>
                    <a:pt x="1406027" y="369591"/>
                  </a:lnTo>
                  <a:lnTo>
                    <a:pt x="1415938" y="365752"/>
                  </a:lnTo>
                  <a:lnTo>
                    <a:pt x="1430401" y="360459"/>
                  </a:lnTo>
                  <a:lnTo>
                    <a:pt x="1441248" y="359526"/>
                  </a:lnTo>
                  <a:lnTo>
                    <a:pt x="1452631" y="366271"/>
                  </a:lnTo>
                  <a:lnTo>
                    <a:pt x="1475533" y="376855"/>
                  </a:lnTo>
                  <a:lnTo>
                    <a:pt x="1492271" y="379035"/>
                  </a:lnTo>
                  <a:lnTo>
                    <a:pt x="1515841" y="375299"/>
                  </a:lnTo>
                  <a:lnTo>
                    <a:pt x="1528697" y="370837"/>
                  </a:lnTo>
                  <a:lnTo>
                    <a:pt x="1541956" y="370006"/>
                  </a:lnTo>
                  <a:lnTo>
                    <a:pt x="1559098" y="370006"/>
                  </a:lnTo>
                  <a:lnTo>
                    <a:pt x="1574900" y="372289"/>
                  </a:lnTo>
                  <a:lnTo>
                    <a:pt x="1595389" y="376648"/>
                  </a:lnTo>
                  <a:lnTo>
                    <a:pt x="1606907" y="380384"/>
                  </a:lnTo>
                  <a:lnTo>
                    <a:pt x="1624316" y="387959"/>
                  </a:lnTo>
                  <a:lnTo>
                    <a:pt x="1642663" y="398544"/>
                  </a:lnTo>
                  <a:lnTo>
                    <a:pt x="1655787" y="403837"/>
                  </a:lnTo>
                  <a:lnTo>
                    <a:pt x="1681366" y="400101"/>
                  </a:lnTo>
                  <a:lnTo>
                    <a:pt x="1697302" y="400101"/>
                  </a:lnTo>
                  <a:lnTo>
                    <a:pt x="1694088" y="407883"/>
                  </a:lnTo>
                  <a:lnTo>
                    <a:pt x="1682034" y="412138"/>
                  </a:lnTo>
                  <a:lnTo>
                    <a:pt x="1673196" y="419506"/>
                  </a:lnTo>
                  <a:lnTo>
                    <a:pt x="1674000" y="427497"/>
                  </a:lnTo>
                  <a:lnTo>
                    <a:pt x="1693016" y="436629"/>
                  </a:lnTo>
                  <a:lnTo>
                    <a:pt x="1716587" y="436629"/>
                  </a:lnTo>
                  <a:lnTo>
                    <a:pt x="1743370" y="435694"/>
                  </a:lnTo>
                  <a:lnTo>
                    <a:pt x="1752878" y="435694"/>
                  </a:lnTo>
                  <a:lnTo>
                    <a:pt x="1760780" y="428638"/>
                  </a:lnTo>
                  <a:lnTo>
                    <a:pt x="1776850" y="427185"/>
                  </a:lnTo>
                  <a:lnTo>
                    <a:pt x="1791581" y="429157"/>
                  </a:lnTo>
                  <a:lnTo>
                    <a:pt x="1797875" y="434968"/>
                  </a:lnTo>
                  <a:lnTo>
                    <a:pt x="1802429" y="448874"/>
                  </a:lnTo>
                  <a:lnTo>
                    <a:pt x="1803768" y="466515"/>
                  </a:lnTo>
                  <a:lnTo>
                    <a:pt x="1816625" y="476892"/>
                  </a:lnTo>
                  <a:cubicBezTo>
                    <a:pt x="1821714" y="474817"/>
                    <a:pt x="1826400" y="472015"/>
                    <a:pt x="1830686" y="468590"/>
                  </a:cubicBezTo>
                  <a:cubicBezTo>
                    <a:pt x="1834838" y="465166"/>
                    <a:pt x="1838453" y="461015"/>
                    <a:pt x="1841802" y="456760"/>
                  </a:cubicBezTo>
                  <a:cubicBezTo>
                    <a:pt x="1843542" y="454477"/>
                    <a:pt x="1845283" y="452091"/>
                    <a:pt x="1846890" y="449704"/>
                  </a:cubicBezTo>
                  <a:lnTo>
                    <a:pt x="1856667" y="439846"/>
                  </a:lnTo>
                  <a:lnTo>
                    <a:pt x="1863497" y="433308"/>
                  </a:lnTo>
                  <a:lnTo>
                    <a:pt x="1875816" y="426563"/>
                  </a:lnTo>
                  <a:lnTo>
                    <a:pt x="1891754" y="424279"/>
                  </a:lnTo>
                  <a:lnTo>
                    <a:pt x="1905278" y="421996"/>
                  </a:lnTo>
                  <a:lnTo>
                    <a:pt x="1923358" y="416185"/>
                  </a:lnTo>
                  <a:lnTo>
                    <a:pt x="1941571" y="413902"/>
                  </a:lnTo>
                  <a:cubicBezTo>
                    <a:pt x="1947464" y="414733"/>
                    <a:pt x="1953356" y="415978"/>
                    <a:pt x="1958981" y="417742"/>
                  </a:cubicBezTo>
                  <a:cubicBezTo>
                    <a:pt x="1965408" y="419610"/>
                    <a:pt x="1971570" y="422204"/>
                    <a:pt x="1977864" y="424487"/>
                  </a:cubicBezTo>
                  <a:cubicBezTo>
                    <a:pt x="1982148" y="426148"/>
                    <a:pt x="1986434" y="427600"/>
                    <a:pt x="1990719" y="429053"/>
                  </a:cubicBezTo>
                  <a:lnTo>
                    <a:pt x="2002905" y="433515"/>
                  </a:lnTo>
                  <a:lnTo>
                    <a:pt x="2023261" y="434346"/>
                  </a:lnTo>
                  <a:lnTo>
                    <a:pt x="2035448" y="435072"/>
                  </a:lnTo>
                  <a:lnTo>
                    <a:pt x="2054867" y="428846"/>
                  </a:lnTo>
                  <a:lnTo>
                    <a:pt x="2071874" y="428846"/>
                  </a:lnTo>
                  <a:cubicBezTo>
                    <a:pt x="2074552" y="428846"/>
                    <a:pt x="2077365" y="429364"/>
                    <a:pt x="2079909" y="430298"/>
                  </a:cubicBezTo>
                  <a:cubicBezTo>
                    <a:pt x="2083660" y="431648"/>
                    <a:pt x="2087007" y="433827"/>
                    <a:pt x="2089819" y="436629"/>
                  </a:cubicBezTo>
                  <a:lnTo>
                    <a:pt x="2093302" y="444411"/>
                  </a:lnTo>
                  <a:lnTo>
                    <a:pt x="2106023" y="442855"/>
                  </a:lnTo>
                  <a:lnTo>
                    <a:pt x="2116739" y="447421"/>
                  </a:lnTo>
                  <a:lnTo>
                    <a:pt x="2121291" y="458732"/>
                  </a:lnTo>
                  <a:lnTo>
                    <a:pt x="2129325" y="458525"/>
                  </a:lnTo>
                  <a:lnTo>
                    <a:pt x="2134416" y="447836"/>
                  </a:lnTo>
                  <a:lnTo>
                    <a:pt x="2151423" y="438289"/>
                  </a:lnTo>
                  <a:lnTo>
                    <a:pt x="2170974" y="424176"/>
                  </a:lnTo>
                  <a:lnTo>
                    <a:pt x="2187715" y="415874"/>
                  </a:lnTo>
                  <a:lnTo>
                    <a:pt x="2207534" y="413591"/>
                  </a:lnTo>
                  <a:lnTo>
                    <a:pt x="2224545" y="407780"/>
                  </a:lnTo>
                  <a:lnTo>
                    <a:pt x="2237936" y="399478"/>
                  </a:lnTo>
                  <a:lnTo>
                    <a:pt x="2246372" y="385365"/>
                  </a:lnTo>
                  <a:lnTo>
                    <a:pt x="2235929" y="380591"/>
                  </a:lnTo>
                  <a:lnTo>
                    <a:pt x="2220392" y="364714"/>
                  </a:lnTo>
                  <a:lnTo>
                    <a:pt x="2206732" y="362535"/>
                  </a:lnTo>
                  <a:lnTo>
                    <a:pt x="2209010" y="352884"/>
                  </a:lnTo>
                  <a:lnTo>
                    <a:pt x="2223207" y="344893"/>
                  </a:lnTo>
                  <a:lnTo>
                    <a:pt x="2241685" y="340327"/>
                  </a:lnTo>
                  <a:lnTo>
                    <a:pt x="2260300" y="332960"/>
                  </a:lnTo>
                  <a:lnTo>
                    <a:pt x="2276235" y="320092"/>
                  </a:lnTo>
                  <a:close/>
                  <a:moveTo>
                    <a:pt x="2533296" y="247503"/>
                  </a:moveTo>
                  <a:lnTo>
                    <a:pt x="2547798" y="261134"/>
                  </a:lnTo>
                  <a:lnTo>
                    <a:pt x="2516066" y="281306"/>
                  </a:lnTo>
                  <a:lnTo>
                    <a:pt x="2508276" y="299207"/>
                  </a:lnTo>
                  <a:cubicBezTo>
                    <a:pt x="2509602" y="305237"/>
                    <a:pt x="2514788" y="309661"/>
                    <a:pt x="2521007" y="310070"/>
                  </a:cubicBezTo>
                  <a:cubicBezTo>
                    <a:pt x="2525775" y="310378"/>
                    <a:pt x="2530372" y="308175"/>
                    <a:pt x="2533100" y="304263"/>
                  </a:cubicBezTo>
                  <a:lnTo>
                    <a:pt x="2550699" y="294698"/>
                  </a:lnTo>
                  <a:lnTo>
                    <a:pt x="2558809" y="277839"/>
                  </a:lnTo>
                  <a:lnTo>
                    <a:pt x="2588325" y="263610"/>
                  </a:lnTo>
                  <a:lnTo>
                    <a:pt x="2605088" y="257632"/>
                  </a:lnTo>
                  <a:lnTo>
                    <a:pt x="2629373" y="255993"/>
                  </a:lnTo>
                  <a:lnTo>
                    <a:pt x="2644071" y="260775"/>
                  </a:lnTo>
                  <a:lnTo>
                    <a:pt x="2667715" y="272151"/>
                  </a:lnTo>
                  <a:cubicBezTo>
                    <a:pt x="2673419" y="276233"/>
                    <a:pt x="2679193" y="280264"/>
                    <a:pt x="2684969" y="284228"/>
                  </a:cubicBezTo>
                  <a:cubicBezTo>
                    <a:pt x="2690205" y="287814"/>
                    <a:pt x="2695465" y="291350"/>
                    <a:pt x="2700749" y="294835"/>
                  </a:cubicBezTo>
                  <a:lnTo>
                    <a:pt x="2712916" y="300899"/>
                  </a:lnTo>
                  <a:lnTo>
                    <a:pt x="2736535" y="291589"/>
                  </a:lnTo>
                  <a:lnTo>
                    <a:pt x="2756370" y="285525"/>
                  </a:lnTo>
                  <a:lnTo>
                    <a:pt x="2768314" y="298148"/>
                  </a:lnTo>
                  <a:lnTo>
                    <a:pt x="2775687" y="308004"/>
                  </a:lnTo>
                  <a:lnTo>
                    <a:pt x="2789378" y="328364"/>
                  </a:lnTo>
                  <a:lnTo>
                    <a:pt x="2804616" y="339006"/>
                  </a:lnTo>
                  <a:lnTo>
                    <a:pt x="2842122" y="350296"/>
                  </a:lnTo>
                  <a:lnTo>
                    <a:pt x="2861661" y="358632"/>
                  </a:lnTo>
                  <a:lnTo>
                    <a:pt x="2867733" y="367975"/>
                  </a:lnTo>
                  <a:lnTo>
                    <a:pt x="2867733" y="381588"/>
                  </a:lnTo>
                  <a:lnTo>
                    <a:pt x="2863923" y="390163"/>
                  </a:lnTo>
                  <a:lnTo>
                    <a:pt x="2869234" y="405963"/>
                  </a:lnTo>
                  <a:cubicBezTo>
                    <a:pt x="2875942" y="412488"/>
                    <a:pt x="2882653" y="419064"/>
                    <a:pt x="2889312" y="425657"/>
                  </a:cubicBezTo>
                  <a:cubicBezTo>
                    <a:pt x="2894155" y="430423"/>
                    <a:pt x="2898948" y="435205"/>
                    <a:pt x="2903740" y="440022"/>
                  </a:cubicBezTo>
                  <a:lnTo>
                    <a:pt x="2921043" y="444565"/>
                  </a:lnTo>
                  <a:lnTo>
                    <a:pt x="2938838" y="458692"/>
                  </a:lnTo>
                  <a:lnTo>
                    <a:pt x="2938076" y="469999"/>
                  </a:lnTo>
                  <a:cubicBezTo>
                    <a:pt x="2933430" y="480606"/>
                    <a:pt x="2925394" y="489403"/>
                    <a:pt x="2915194" y="495005"/>
                  </a:cubicBezTo>
                  <a:cubicBezTo>
                    <a:pt x="2910720" y="497448"/>
                    <a:pt x="2905928" y="499241"/>
                    <a:pt x="2900962" y="500301"/>
                  </a:cubicBezTo>
                  <a:lnTo>
                    <a:pt x="2887740" y="499036"/>
                  </a:lnTo>
                  <a:cubicBezTo>
                    <a:pt x="2881448" y="496372"/>
                    <a:pt x="2875181" y="493673"/>
                    <a:pt x="2868913" y="490957"/>
                  </a:cubicBezTo>
                  <a:cubicBezTo>
                    <a:pt x="2862374" y="488122"/>
                    <a:pt x="2855863" y="485252"/>
                    <a:pt x="2849347" y="482382"/>
                  </a:cubicBezTo>
                  <a:lnTo>
                    <a:pt x="2828039" y="474047"/>
                  </a:lnTo>
                  <a:lnTo>
                    <a:pt x="2809753" y="486414"/>
                  </a:lnTo>
                  <a:lnTo>
                    <a:pt x="2802134" y="495501"/>
                  </a:lnTo>
                  <a:lnTo>
                    <a:pt x="2811277" y="511164"/>
                  </a:lnTo>
                  <a:lnTo>
                    <a:pt x="2821650" y="533096"/>
                  </a:lnTo>
                  <a:lnTo>
                    <a:pt x="2822412" y="554515"/>
                  </a:lnTo>
                  <a:lnTo>
                    <a:pt x="2814276" y="568368"/>
                  </a:lnTo>
                  <a:lnTo>
                    <a:pt x="2808451" y="573646"/>
                  </a:lnTo>
                  <a:lnTo>
                    <a:pt x="2795744" y="572126"/>
                  </a:lnTo>
                  <a:lnTo>
                    <a:pt x="2785889" y="566865"/>
                  </a:lnTo>
                  <a:lnTo>
                    <a:pt x="2771533" y="562817"/>
                  </a:lnTo>
                  <a:lnTo>
                    <a:pt x="2754747" y="556753"/>
                  </a:lnTo>
                  <a:lnTo>
                    <a:pt x="2737960" y="555250"/>
                  </a:lnTo>
                  <a:lnTo>
                    <a:pt x="2731349" y="564046"/>
                  </a:lnTo>
                  <a:lnTo>
                    <a:pt x="2741966" y="572826"/>
                  </a:lnTo>
                  <a:cubicBezTo>
                    <a:pt x="2744375" y="579368"/>
                    <a:pt x="2749070" y="584834"/>
                    <a:pt x="2755190" y="588233"/>
                  </a:cubicBezTo>
                  <a:cubicBezTo>
                    <a:pt x="2760842" y="591376"/>
                    <a:pt x="2767356" y="592537"/>
                    <a:pt x="2773206" y="595270"/>
                  </a:cubicBezTo>
                  <a:cubicBezTo>
                    <a:pt x="2777186" y="597132"/>
                    <a:pt x="2780800" y="599694"/>
                    <a:pt x="2783848" y="602854"/>
                  </a:cubicBezTo>
                  <a:lnTo>
                    <a:pt x="2767848" y="611941"/>
                  </a:lnTo>
                  <a:lnTo>
                    <a:pt x="2757967" y="616451"/>
                  </a:lnTo>
                  <a:lnTo>
                    <a:pt x="2720634" y="610387"/>
                  </a:lnTo>
                  <a:lnTo>
                    <a:pt x="2703355" y="596244"/>
                  </a:lnTo>
                  <a:lnTo>
                    <a:pt x="2675900" y="579607"/>
                  </a:lnTo>
                  <a:lnTo>
                    <a:pt x="2664520" y="577626"/>
                  </a:lnTo>
                  <a:lnTo>
                    <a:pt x="2654074" y="568573"/>
                  </a:lnTo>
                  <a:lnTo>
                    <a:pt x="2651052" y="557521"/>
                  </a:lnTo>
                  <a:lnTo>
                    <a:pt x="2643013" y="543942"/>
                  </a:lnTo>
                  <a:lnTo>
                    <a:pt x="2640506" y="536529"/>
                  </a:lnTo>
                  <a:lnTo>
                    <a:pt x="2631387" y="525922"/>
                  </a:lnTo>
                  <a:lnTo>
                    <a:pt x="2606023" y="524948"/>
                  </a:lnTo>
                  <a:lnTo>
                    <a:pt x="2587048" y="527972"/>
                  </a:lnTo>
                  <a:lnTo>
                    <a:pt x="2562422" y="536751"/>
                  </a:lnTo>
                  <a:lnTo>
                    <a:pt x="2531944" y="532207"/>
                  </a:lnTo>
                  <a:lnTo>
                    <a:pt x="2516409" y="521122"/>
                  </a:lnTo>
                  <a:lnTo>
                    <a:pt x="2533197" y="510019"/>
                  </a:lnTo>
                  <a:lnTo>
                    <a:pt x="2557481" y="506227"/>
                  </a:lnTo>
                  <a:lnTo>
                    <a:pt x="2579576" y="509985"/>
                  </a:lnTo>
                  <a:lnTo>
                    <a:pt x="2599877" y="515298"/>
                  </a:lnTo>
                  <a:lnTo>
                    <a:pt x="2631069" y="513026"/>
                  </a:lnTo>
                  <a:lnTo>
                    <a:pt x="2643013" y="506483"/>
                  </a:lnTo>
                  <a:lnTo>
                    <a:pt x="2649822" y="495210"/>
                  </a:lnTo>
                  <a:lnTo>
                    <a:pt x="2666338" y="477822"/>
                  </a:lnTo>
                  <a:lnTo>
                    <a:pt x="2692737" y="470272"/>
                  </a:lnTo>
                  <a:lnTo>
                    <a:pt x="2718569" y="474064"/>
                  </a:lnTo>
                  <a:lnTo>
                    <a:pt x="2727121" y="480606"/>
                  </a:lnTo>
                  <a:lnTo>
                    <a:pt x="2745653" y="479838"/>
                  </a:lnTo>
                  <a:lnTo>
                    <a:pt x="2761359" y="472578"/>
                  </a:lnTo>
                  <a:lnTo>
                    <a:pt x="2772517" y="467317"/>
                  </a:lnTo>
                  <a:lnTo>
                    <a:pt x="2774508" y="455002"/>
                  </a:lnTo>
                  <a:lnTo>
                    <a:pt x="2753420" y="445402"/>
                  </a:lnTo>
                  <a:lnTo>
                    <a:pt x="2738158" y="436316"/>
                  </a:lnTo>
                  <a:lnTo>
                    <a:pt x="2729800" y="418415"/>
                  </a:lnTo>
                  <a:lnTo>
                    <a:pt x="2718102" y="396722"/>
                  </a:lnTo>
                  <a:lnTo>
                    <a:pt x="2704362" y="376276"/>
                  </a:lnTo>
                  <a:lnTo>
                    <a:pt x="2681774" y="364439"/>
                  </a:lnTo>
                  <a:lnTo>
                    <a:pt x="2669558" y="354088"/>
                  </a:lnTo>
                  <a:lnTo>
                    <a:pt x="2652059" y="342729"/>
                  </a:lnTo>
                  <a:lnTo>
                    <a:pt x="2637876" y="338237"/>
                  </a:lnTo>
                  <a:lnTo>
                    <a:pt x="2627454" y="341277"/>
                  </a:lnTo>
                  <a:cubicBezTo>
                    <a:pt x="2619000" y="346897"/>
                    <a:pt x="2609979" y="351628"/>
                    <a:pt x="2600517" y="355386"/>
                  </a:cubicBezTo>
                  <a:cubicBezTo>
                    <a:pt x="2595309" y="357453"/>
                    <a:pt x="2589948" y="359230"/>
                    <a:pt x="2584516" y="360681"/>
                  </a:cubicBezTo>
                  <a:lnTo>
                    <a:pt x="2567976" y="353114"/>
                  </a:lnTo>
                  <a:lnTo>
                    <a:pt x="2539540" y="351594"/>
                  </a:lnTo>
                  <a:lnTo>
                    <a:pt x="2512627" y="345787"/>
                  </a:lnTo>
                  <a:lnTo>
                    <a:pt x="2488466" y="351082"/>
                  </a:lnTo>
                  <a:lnTo>
                    <a:pt x="2466370" y="354874"/>
                  </a:lnTo>
                  <a:lnTo>
                    <a:pt x="2450641" y="352602"/>
                  </a:lnTo>
                  <a:lnTo>
                    <a:pt x="2436386" y="347307"/>
                  </a:lnTo>
                  <a:lnTo>
                    <a:pt x="2419943" y="338972"/>
                  </a:lnTo>
                  <a:lnTo>
                    <a:pt x="2407949" y="327886"/>
                  </a:lnTo>
                  <a:lnTo>
                    <a:pt x="2413848" y="318065"/>
                  </a:lnTo>
                  <a:lnTo>
                    <a:pt x="2426752" y="302948"/>
                  </a:lnTo>
                  <a:lnTo>
                    <a:pt x="2439581" y="299156"/>
                  </a:lnTo>
                  <a:lnTo>
                    <a:pt x="2453836" y="281238"/>
                  </a:lnTo>
                  <a:lnTo>
                    <a:pt x="2475021" y="268393"/>
                  </a:lnTo>
                  <a:lnTo>
                    <a:pt x="2486745" y="260058"/>
                  </a:lnTo>
                  <a:cubicBezTo>
                    <a:pt x="2497412" y="259050"/>
                    <a:pt x="2507956" y="256847"/>
                    <a:pt x="2518131" y="253482"/>
                  </a:cubicBezTo>
                  <a:cubicBezTo>
                    <a:pt x="2523293" y="251774"/>
                    <a:pt x="2528355" y="249775"/>
                    <a:pt x="2533296" y="247503"/>
                  </a:cubicBezTo>
                  <a:close/>
                  <a:moveTo>
                    <a:pt x="2283239" y="237182"/>
                  </a:moveTo>
                  <a:lnTo>
                    <a:pt x="2292871" y="240021"/>
                  </a:lnTo>
                  <a:lnTo>
                    <a:pt x="2294650" y="246348"/>
                  </a:lnTo>
                  <a:lnTo>
                    <a:pt x="2275580" y="266708"/>
                  </a:lnTo>
                  <a:lnTo>
                    <a:pt x="2270240" y="280066"/>
                  </a:lnTo>
                  <a:lnTo>
                    <a:pt x="2257022" y="296729"/>
                  </a:lnTo>
                  <a:lnTo>
                    <a:pt x="2238773" y="299728"/>
                  </a:lnTo>
                  <a:lnTo>
                    <a:pt x="2223586" y="304273"/>
                  </a:lnTo>
                  <a:lnTo>
                    <a:pt x="2205051" y="312576"/>
                  </a:lnTo>
                  <a:lnTo>
                    <a:pt x="2187566" y="314122"/>
                  </a:lnTo>
                  <a:lnTo>
                    <a:pt x="2178701" y="295500"/>
                  </a:lnTo>
                  <a:lnTo>
                    <a:pt x="2160084" y="286406"/>
                  </a:lnTo>
                  <a:lnTo>
                    <a:pt x="2143875" y="281134"/>
                  </a:lnTo>
                  <a:lnTo>
                    <a:pt x="2147253" y="272582"/>
                  </a:lnTo>
                  <a:lnTo>
                    <a:pt x="2164222" y="268824"/>
                  </a:lnTo>
                  <a:lnTo>
                    <a:pt x="2182379" y="275139"/>
                  </a:lnTo>
                  <a:lnTo>
                    <a:pt x="2198330" y="278331"/>
                  </a:lnTo>
                  <a:lnTo>
                    <a:pt x="2212668" y="265928"/>
                  </a:lnTo>
                  <a:lnTo>
                    <a:pt x="2230099" y="255206"/>
                  </a:lnTo>
                  <a:cubicBezTo>
                    <a:pt x="2232703" y="251819"/>
                    <a:pt x="2236338" y="249350"/>
                    <a:pt x="2240457" y="248164"/>
                  </a:cubicBezTo>
                  <a:cubicBezTo>
                    <a:pt x="2244093" y="247120"/>
                    <a:pt x="2247946" y="247120"/>
                    <a:pt x="2251582" y="248164"/>
                  </a:cubicBezTo>
                  <a:lnTo>
                    <a:pt x="2270366" y="243455"/>
                  </a:lnTo>
                  <a:close/>
                  <a:moveTo>
                    <a:pt x="2394478" y="236714"/>
                  </a:moveTo>
                  <a:lnTo>
                    <a:pt x="2416008" y="241100"/>
                  </a:lnTo>
                  <a:lnTo>
                    <a:pt x="2423350" y="245614"/>
                  </a:lnTo>
                  <a:lnTo>
                    <a:pt x="2422584" y="261745"/>
                  </a:lnTo>
                  <a:lnTo>
                    <a:pt x="2414195" y="270077"/>
                  </a:lnTo>
                  <a:lnTo>
                    <a:pt x="2394168" y="277622"/>
                  </a:lnTo>
                  <a:lnTo>
                    <a:pt x="2369760" y="274591"/>
                  </a:lnTo>
                  <a:lnTo>
                    <a:pt x="2336195" y="277368"/>
                  </a:lnTo>
                  <a:lnTo>
                    <a:pt x="2323733" y="287976"/>
                  </a:lnTo>
                  <a:lnTo>
                    <a:pt x="2309251" y="285703"/>
                  </a:lnTo>
                  <a:lnTo>
                    <a:pt x="2306058" y="273611"/>
                  </a:lnTo>
                  <a:lnTo>
                    <a:pt x="2315534" y="259533"/>
                  </a:lnTo>
                  <a:lnTo>
                    <a:pt x="2335534" y="248930"/>
                  </a:lnTo>
                  <a:lnTo>
                    <a:pt x="2350086" y="244413"/>
                  </a:lnTo>
                  <a:lnTo>
                    <a:pt x="2370830" y="244133"/>
                  </a:lnTo>
                  <a:close/>
                  <a:moveTo>
                    <a:pt x="1755904" y="226253"/>
                  </a:moveTo>
                  <a:lnTo>
                    <a:pt x="1776392" y="226269"/>
                  </a:lnTo>
                  <a:lnTo>
                    <a:pt x="1792872" y="231521"/>
                  </a:lnTo>
                  <a:lnTo>
                    <a:pt x="1816443" y="236789"/>
                  </a:lnTo>
                  <a:lnTo>
                    <a:pt x="1845935" y="245377"/>
                  </a:lnTo>
                  <a:lnTo>
                    <a:pt x="1866444" y="255945"/>
                  </a:lnTo>
                  <a:lnTo>
                    <a:pt x="1878151" y="266805"/>
                  </a:lnTo>
                  <a:lnTo>
                    <a:pt x="1884207" y="274346"/>
                  </a:lnTo>
                  <a:lnTo>
                    <a:pt x="1911988" y="281610"/>
                  </a:lnTo>
                  <a:lnTo>
                    <a:pt x="1924190" y="285904"/>
                  </a:lnTo>
                  <a:lnTo>
                    <a:pt x="1939972" y="287446"/>
                  </a:lnTo>
                  <a:lnTo>
                    <a:pt x="1953435" y="273842"/>
                  </a:lnTo>
                  <a:lnTo>
                    <a:pt x="1973201" y="273088"/>
                  </a:lnTo>
                  <a:cubicBezTo>
                    <a:pt x="1974890" y="277097"/>
                    <a:pt x="1975925" y="281350"/>
                    <a:pt x="1976264" y="285676"/>
                  </a:cubicBezTo>
                  <a:cubicBezTo>
                    <a:pt x="1976602" y="290254"/>
                    <a:pt x="1976173" y="294848"/>
                    <a:pt x="1974980" y="299280"/>
                  </a:cubicBezTo>
                  <a:lnTo>
                    <a:pt x="1992023" y="304589"/>
                  </a:lnTo>
                  <a:cubicBezTo>
                    <a:pt x="1998911" y="300985"/>
                    <a:pt x="2005102" y="296196"/>
                    <a:pt x="2010303" y="290449"/>
                  </a:cubicBezTo>
                  <a:cubicBezTo>
                    <a:pt x="2015369" y="284848"/>
                    <a:pt x="2019489" y="278347"/>
                    <a:pt x="2025568" y="273818"/>
                  </a:cubicBezTo>
                  <a:cubicBezTo>
                    <a:pt x="2031802" y="269142"/>
                    <a:pt x="2039502" y="267032"/>
                    <a:pt x="2046662" y="263964"/>
                  </a:cubicBezTo>
                  <a:cubicBezTo>
                    <a:pt x="2052312" y="261553"/>
                    <a:pt x="2058526" y="258753"/>
                    <a:pt x="2063660" y="261943"/>
                  </a:cubicBezTo>
                  <a:cubicBezTo>
                    <a:pt x="2066744" y="263858"/>
                    <a:pt x="2068275" y="267487"/>
                    <a:pt x="2067487" y="271001"/>
                  </a:cubicBezTo>
                  <a:lnTo>
                    <a:pt x="2065190" y="278550"/>
                  </a:lnTo>
                  <a:lnTo>
                    <a:pt x="2052223" y="305059"/>
                  </a:lnTo>
                  <a:cubicBezTo>
                    <a:pt x="2046144" y="308923"/>
                    <a:pt x="2041979" y="315157"/>
                    <a:pt x="2040786" y="322227"/>
                  </a:cubicBezTo>
                  <a:cubicBezTo>
                    <a:pt x="2040313" y="324978"/>
                    <a:pt x="2040313" y="327787"/>
                    <a:pt x="2040786" y="330530"/>
                  </a:cubicBezTo>
                  <a:cubicBezTo>
                    <a:pt x="2042655" y="334881"/>
                    <a:pt x="2045513" y="338744"/>
                    <a:pt x="2049138" y="341796"/>
                  </a:cubicBezTo>
                  <a:cubicBezTo>
                    <a:pt x="2054722" y="346496"/>
                    <a:pt x="2061813" y="349069"/>
                    <a:pt x="2069131" y="349061"/>
                  </a:cubicBezTo>
                  <a:lnTo>
                    <a:pt x="2074218" y="355091"/>
                  </a:lnTo>
                  <a:lnTo>
                    <a:pt x="2065100" y="366163"/>
                  </a:lnTo>
                  <a:lnTo>
                    <a:pt x="2041484" y="376771"/>
                  </a:lnTo>
                  <a:lnTo>
                    <a:pt x="2008682" y="387372"/>
                  </a:lnTo>
                  <a:lnTo>
                    <a:pt x="1967776" y="390408"/>
                  </a:lnTo>
                  <a:cubicBezTo>
                    <a:pt x="1957757" y="387478"/>
                    <a:pt x="1947581" y="385051"/>
                    <a:pt x="1937315" y="383143"/>
                  </a:cubicBezTo>
                  <a:cubicBezTo>
                    <a:pt x="1929504" y="381690"/>
                    <a:pt x="1921534" y="380546"/>
                    <a:pt x="1913677" y="381885"/>
                  </a:cubicBezTo>
                  <a:cubicBezTo>
                    <a:pt x="1906901" y="383038"/>
                    <a:pt x="1900574" y="386008"/>
                    <a:pt x="1895374" y="390465"/>
                  </a:cubicBezTo>
                  <a:lnTo>
                    <a:pt x="1856966" y="400821"/>
                  </a:lnTo>
                  <a:lnTo>
                    <a:pt x="1821372" y="401576"/>
                  </a:lnTo>
                  <a:lnTo>
                    <a:pt x="1795213" y="399304"/>
                  </a:lnTo>
                  <a:lnTo>
                    <a:pt x="1755657" y="388192"/>
                  </a:lnTo>
                  <a:lnTo>
                    <a:pt x="1719861" y="376861"/>
                  </a:lnTo>
                  <a:lnTo>
                    <a:pt x="1695186" y="368030"/>
                  </a:lnTo>
                  <a:lnTo>
                    <a:pt x="1696695" y="357518"/>
                  </a:lnTo>
                  <a:lnTo>
                    <a:pt x="1727132" y="357518"/>
                  </a:lnTo>
                  <a:cubicBezTo>
                    <a:pt x="1746854" y="361025"/>
                    <a:pt x="1766936" y="361780"/>
                    <a:pt x="1786860" y="359759"/>
                  </a:cubicBezTo>
                  <a:cubicBezTo>
                    <a:pt x="1794875" y="358939"/>
                    <a:pt x="1802844" y="357673"/>
                    <a:pt x="1810723" y="355968"/>
                  </a:cubicBezTo>
                  <a:lnTo>
                    <a:pt x="1827519" y="349945"/>
                  </a:lnTo>
                  <a:lnTo>
                    <a:pt x="1813088" y="334856"/>
                  </a:lnTo>
                  <a:cubicBezTo>
                    <a:pt x="1798613" y="336317"/>
                    <a:pt x="1784114" y="337584"/>
                    <a:pt x="1769592" y="338639"/>
                  </a:cubicBezTo>
                  <a:cubicBezTo>
                    <a:pt x="1757142" y="339548"/>
                    <a:pt x="1744693" y="340303"/>
                    <a:pt x="1732220" y="340911"/>
                  </a:cubicBezTo>
                  <a:lnTo>
                    <a:pt x="1705024" y="335611"/>
                  </a:lnTo>
                  <a:lnTo>
                    <a:pt x="1707343" y="322730"/>
                  </a:lnTo>
                  <a:cubicBezTo>
                    <a:pt x="1714210" y="322981"/>
                    <a:pt x="1721076" y="323233"/>
                    <a:pt x="1727942" y="323493"/>
                  </a:cubicBezTo>
                  <a:cubicBezTo>
                    <a:pt x="1734630" y="323744"/>
                    <a:pt x="1741315" y="323996"/>
                    <a:pt x="1748025" y="324247"/>
                  </a:cubicBezTo>
                  <a:lnTo>
                    <a:pt x="1762951" y="322008"/>
                  </a:lnTo>
                  <a:lnTo>
                    <a:pt x="1767250" y="314207"/>
                  </a:lnTo>
                  <a:lnTo>
                    <a:pt x="1754351" y="308907"/>
                  </a:lnTo>
                  <a:lnTo>
                    <a:pt x="1730442" y="293509"/>
                  </a:lnTo>
                  <a:lnTo>
                    <a:pt x="1710112" y="293509"/>
                  </a:lnTo>
                  <a:lnTo>
                    <a:pt x="1677311" y="302600"/>
                  </a:lnTo>
                  <a:lnTo>
                    <a:pt x="1657251" y="311439"/>
                  </a:lnTo>
                  <a:cubicBezTo>
                    <a:pt x="1647414" y="319118"/>
                    <a:pt x="1635233" y="323201"/>
                    <a:pt x="1622717" y="323014"/>
                  </a:cubicBezTo>
                  <a:cubicBezTo>
                    <a:pt x="1618709" y="322957"/>
                    <a:pt x="1614702" y="322446"/>
                    <a:pt x="1610806" y="321504"/>
                  </a:cubicBezTo>
                  <a:lnTo>
                    <a:pt x="1598087" y="312194"/>
                  </a:lnTo>
                  <a:lnTo>
                    <a:pt x="1587933" y="301837"/>
                  </a:lnTo>
                  <a:lnTo>
                    <a:pt x="1589735" y="293030"/>
                  </a:lnTo>
                  <a:lnTo>
                    <a:pt x="1600900" y="283185"/>
                  </a:lnTo>
                  <a:lnTo>
                    <a:pt x="1632127" y="271853"/>
                  </a:lnTo>
                  <a:lnTo>
                    <a:pt x="1654730" y="262763"/>
                  </a:lnTo>
                  <a:lnTo>
                    <a:pt x="1696244" y="244532"/>
                  </a:lnTo>
                  <a:lnTo>
                    <a:pt x="1714773" y="235726"/>
                  </a:lnTo>
                  <a:lnTo>
                    <a:pt x="1744017" y="229305"/>
                  </a:lnTo>
                  <a:close/>
                  <a:moveTo>
                    <a:pt x="6072226" y="179322"/>
                  </a:moveTo>
                  <a:lnTo>
                    <a:pt x="6087925" y="185189"/>
                  </a:lnTo>
                  <a:lnTo>
                    <a:pt x="6096068" y="191022"/>
                  </a:lnTo>
                  <a:lnTo>
                    <a:pt x="6109767" y="193501"/>
                  </a:lnTo>
                  <a:lnTo>
                    <a:pt x="6106210" y="200890"/>
                  </a:lnTo>
                  <a:lnTo>
                    <a:pt x="6091739" y="200317"/>
                  </a:lnTo>
                  <a:lnTo>
                    <a:pt x="6086697" y="209120"/>
                  </a:lnTo>
                  <a:lnTo>
                    <a:pt x="6074240" y="208871"/>
                  </a:lnTo>
                  <a:lnTo>
                    <a:pt x="6057769" y="206849"/>
                  </a:lnTo>
                  <a:cubicBezTo>
                    <a:pt x="6056226" y="211584"/>
                    <a:pt x="6052726" y="215444"/>
                    <a:pt x="6048141" y="217458"/>
                  </a:cubicBezTo>
                  <a:cubicBezTo>
                    <a:pt x="6043613" y="219438"/>
                    <a:pt x="6038456" y="219438"/>
                    <a:pt x="6033927" y="217450"/>
                  </a:cubicBezTo>
                  <a:lnTo>
                    <a:pt x="6008814" y="220437"/>
                  </a:lnTo>
                  <a:lnTo>
                    <a:pt x="5990800" y="223491"/>
                  </a:lnTo>
                  <a:lnTo>
                    <a:pt x="5974515" y="232827"/>
                  </a:lnTo>
                  <a:lnTo>
                    <a:pt x="5955744" y="240300"/>
                  </a:lnTo>
                  <a:lnTo>
                    <a:pt x="5938259" y="237279"/>
                  </a:lnTo>
                  <a:lnTo>
                    <a:pt x="5921003" y="250635"/>
                  </a:lnTo>
                  <a:lnTo>
                    <a:pt x="5915660" y="268059"/>
                  </a:lnTo>
                  <a:lnTo>
                    <a:pt x="5901161" y="293056"/>
                  </a:lnTo>
                  <a:lnTo>
                    <a:pt x="5894047" y="307702"/>
                  </a:lnTo>
                  <a:lnTo>
                    <a:pt x="5894747" y="331059"/>
                  </a:lnTo>
                  <a:lnTo>
                    <a:pt x="5915789" y="339897"/>
                  </a:lnTo>
                  <a:lnTo>
                    <a:pt x="5923188" y="359060"/>
                  </a:lnTo>
                  <a:lnTo>
                    <a:pt x="5897789" y="357546"/>
                  </a:lnTo>
                  <a:lnTo>
                    <a:pt x="5874433" y="358303"/>
                  </a:lnTo>
                  <a:lnTo>
                    <a:pt x="5858162" y="349208"/>
                  </a:lnTo>
                  <a:lnTo>
                    <a:pt x="5848306" y="343941"/>
                  </a:lnTo>
                  <a:lnTo>
                    <a:pt x="5834577" y="332832"/>
                  </a:lnTo>
                  <a:lnTo>
                    <a:pt x="5813221" y="331317"/>
                  </a:lnTo>
                  <a:lnTo>
                    <a:pt x="5801207" y="329295"/>
                  </a:lnTo>
                  <a:lnTo>
                    <a:pt x="5805107" y="316447"/>
                  </a:lnTo>
                  <a:lnTo>
                    <a:pt x="5811178" y="310414"/>
                  </a:lnTo>
                  <a:lnTo>
                    <a:pt x="5822106" y="303857"/>
                  </a:lnTo>
                  <a:lnTo>
                    <a:pt x="5820549" y="294762"/>
                  </a:lnTo>
                  <a:lnTo>
                    <a:pt x="5809293" y="291792"/>
                  </a:lnTo>
                  <a:lnTo>
                    <a:pt x="5812193" y="284277"/>
                  </a:lnTo>
                  <a:lnTo>
                    <a:pt x="5819464" y="278220"/>
                  </a:lnTo>
                  <a:lnTo>
                    <a:pt x="5835920" y="281981"/>
                  </a:lnTo>
                  <a:lnTo>
                    <a:pt x="5846291" y="280716"/>
                  </a:lnTo>
                  <a:lnTo>
                    <a:pt x="5845777" y="264839"/>
                  </a:lnTo>
                  <a:lnTo>
                    <a:pt x="5832320" y="258049"/>
                  </a:lnTo>
                  <a:lnTo>
                    <a:pt x="5840891" y="248962"/>
                  </a:lnTo>
                  <a:lnTo>
                    <a:pt x="5856634" y="250177"/>
                  </a:lnTo>
                  <a:lnTo>
                    <a:pt x="5864705" y="244777"/>
                  </a:lnTo>
                  <a:lnTo>
                    <a:pt x="5870262" y="227826"/>
                  </a:lnTo>
                  <a:lnTo>
                    <a:pt x="5881676" y="218066"/>
                  </a:lnTo>
                  <a:lnTo>
                    <a:pt x="5896904" y="217308"/>
                  </a:lnTo>
                  <a:lnTo>
                    <a:pt x="5912889" y="204494"/>
                  </a:lnTo>
                  <a:lnTo>
                    <a:pt x="5920517" y="199226"/>
                  </a:lnTo>
                  <a:lnTo>
                    <a:pt x="5941088" y="196289"/>
                  </a:lnTo>
                  <a:lnTo>
                    <a:pt x="5958630" y="197046"/>
                  </a:lnTo>
                  <a:lnTo>
                    <a:pt x="5997214" y="198561"/>
                  </a:lnTo>
                  <a:lnTo>
                    <a:pt x="6014728" y="200075"/>
                  </a:lnTo>
                  <a:lnTo>
                    <a:pt x="6023028" y="192777"/>
                  </a:lnTo>
                  <a:lnTo>
                    <a:pt x="6036470" y="187510"/>
                  </a:lnTo>
                  <a:lnTo>
                    <a:pt x="6054498" y="185996"/>
                  </a:lnTo>
                  <a:lnTo>
                    <a:pt x="6063398" y="191995"/>
                  </a:lnTo>
                  <a:lnTo>
                    <a:pt x="6065683" y="182900"/>
                  </a:lnTo>
                  <a:close/>
                  <a:moveTo>
                    <a:pt x="2535789" y="170878"/>
                  </a:moveTo>
                  <a:lnTo>
                    <a:pt x="2543352" y="182491"/>
                  </a:lnTo>
                  <a:lnTo>
                    <a:pt x="2571585" y="196129"/>
                  </a:lnTo>
                  <a:lnTo>
                    <a:pt x="2584542" y="203451"/>
                  </a:lnTo>
                  <a:lnTo>
                    <a:pt x="2611691" y="199693"/>
                  </a:lnTo>
                  <a:lnTo>
                    <a:pt x="2631213" y="196666"/>
                  </a:lnTo>
                  <a:lnTo>
                    <a:pt x="2666781" y="195908"/>
                  </a:lnTo>
                  <a:cubicBezTo>
                    <a:pt x="2676420" y="193712"/>
                    <a:pt x="2686314" y="192697"/>
                    <a:pt x="2696208" y="192878"/>
                  </a:cubicBezTo>
                  <a:cubicBezTo>
                    <a:pt x="2705431" y="193049"/>
                    <a:pt x="2714601" y="194258"/>
                    <a:pt x="2723664" y="195908"/>
                  </a:cubicBezTo>
                  <a:cubicBezTo>
                    <a:pt x="2730465" y="197144"/>
                    <a:pt x="2737226" y="198629"/>
                    <a:pt x="2743732" y="200957"/>
                  </a:cubicBezTo>
                  <a:cubicBezTo>
                    <a:pt x="2747533" y="202322"/>
                    <a:pt x="2751228" y="203966"/>
                    <a:pt x="2754789" y="205884"/>
                  </a:cubicBezTo>
                  <a:lnTo>
                    <a:pt x="2737493" y="213933"/>
                  </a:lnTo>
                  <a:lnTo>
                    <a:pt x="2718176" y="218479"/>
                  </a:lnTo>
                  <a:lnTo>
                    <a:pt x="2696301" y="229589"/>
                  </a:lnTo>
                  <a:lnTo>
                    <a:pt x="2687186" y="237135"/>
                  </a:lnTo>
                  <a:lnTo>
                    <a:pt x="2667599" y="237135"/>
                  </a:lnTo>
                  <a:lnTo>
                    <a:pt x="2659525" y="223307"/>
                  </a:lnTo>
                  <a:lnTo>
                    <a:pt x="2626244" y="226338"/>
                  </a:lnTo>
                  <a:lnTo>
                    <a:pt x="2569136" y="224697"/>
                  </a:lnTo>
                  <a:lnTo>
                    <a:pt x="2558548" y="217945"/>
                  </a:lnTo>
                  <a:lnTo>
                    <a:pt x="2542536" y="214157"/>
                  </a:lnTo>
                  <a:lnTo>
                    <a:pt x="2502361" y="214914"/>
                  </a:lnTo>
                  <a:cubicBezTo>
                    <a:pt x="2494570" y="225359"/>
                    <a:pt x="2479082" y="226089"/>
                    <a:pt x="2470313" y="216430"/>
                  </a:cubicBezTo>
                  <a:cubicBezTo>
                    <a:pt x="2467597" y="213424"/>
                    <a:pt x="2465936" y="209605"/>
                    <a:pt x="2465629" y="205568"/>
                  </a:cubicBezTo>
                  <a:lnTo>
                    <a:pt x="2473955" y="189439"/>
                  </a:lnTo>
                  <a:lnTo>
                    <a:pt x="2487355" y="181893"/>
                  </a:lnTo>
                  <a:lnTo>
                    <a:pt x="2502254" y="175488"/>
                  </a:lnTo>
                  <a:lnTo>
                    <a:pt x="2517006" y="171163"/>
                  </a:lnTo>
                  <a:close/>
                  <a:moveTo>
                    <a:pt x="6819131" y="138334"/>
                  </a:moveTo>
                  <a:lnTo>
                    <a:pt x="6856865" y="145824"/>
                  </a:lnTo>
                  <a:lnTo>
                    <a:pt x="6888780" y="159085"/>
                  </a:lnTo>
                  <a:lnTo>
                    <a:pt x="6910744" y="177749"/>
                  </a:lnTo>
                  <a:lnTo>
                    <a:pt x="6931207" y="178486"/>
                  </a:lnTo>
                  <a:lnTo>
                    <a:pt x="6949981" y="177749"/>
                  </a:lnTo>
                  <a:lnTo>
                    <a:pt x="6965562" y="174680"/>
                  </a:lnTo>
                  <a:lnTo>
                    <a:pt x="6977390" y="167804"/>
                  </a:lnTo>
                  <a:lnTo>
                    <a:pt x="7023760" y="170137"/>
                  </a:lnTo>
                  <a:lnTo>
                    <a:pt x="7038215" y="174066"/>
                  </a:lnTo>
                  <a:cubicBezTo>
                    <a:pt x="7047977" y="171733"/>
                    <a:pt x="7058115" y="172838"/>
                    <a:pt x="7067126" y="177136"/>
                  </a:cubicBezTo>
                  <a:cubicBezTo>
                    <a:pt x="7072946" y="179960"/>
                    <a:pt x="7078014" y="183889"/>
                    <a:pt x="7082145" y="188923"/>
                  </a:cubicBezTo>
                  <a:lnTo>
                    <a:pt x="7112182" y="192976"/>
                  </a:lnTo>
                  <a:lnTo>
                    <a:pt x="7109366" y="212867"/>
                  </a:lnTo>
                  <a:lnTo>
                    <a:pt x="7096037" y="220849"/>
                  </a:lnTo>
                  <a:lnTo>
                    <a:pt x="7082708" y="228093"/>
                  </a:lnTo>
                  <a:lnTo>
                    <a:pt x="7067689" y="235584"/>
                  </a:lnTo>
                  <a:lnTo>
                    <a:pt x="7043847" y="245284"/>
                  </a:lnTo>
                  <a:lnTo>
                    <a:pt x="7031081" y="256335"/>
                  </a:lnTo>
                  <a:lnTo>
                    <a:pt x="7028265" y="262843"/>
                  </a:lnTo>
                  <a:lnTo>
                    <a:pt x="7025261" y="277946"/>
                  </a:lnTo>
                  <a:lnTo>
                    <a:pt x="7056613" y="277946"/>
                  </a:lnTo>
                  <a:lnTo>
                    <a:pt x="7079892" y="270579"/>
                  </a:lnTo>
                  <a:lnTo>
                    <a:pt x="7113684" y="261001"/>
                  </a:lnTo>
                  <a:lnTo>
                    <a:pt x="7134147" y="252897"/>
                  </a:lnTo>
                  <a:lnTo>
                    <a:pt x="7144660" y="249827"/>
                  </a:lnTo>
                  <a:lnTo>
                    <a:pt x="7160805" y="251915"/>
                  </a:lnTo>
                  <a:lnTo>
                    <a:pt x="7173195" y="261001"/>
                  </a:lnTo>
                  <a:lnTo>
                    <a:pt x="7195347" y="267018"/>
                  </a:lnTo>
                  <a:lnTo>
                    <a:pt x="7209052" y="274508"/>
                  </a:lnTo>
                  <a:lnTo>
                    <a:pt x="7233833" y="275367"/>
                  </a:lnTo>
                  <a:lnTo>
                    <a:pt x="7246974" y="269351"/>
                  </a:lnTo>
                  <a:lnTo>
                    <a:pt x="7260866" y="263211"/>
                  </a:lnTo>
                  <a:lnTo>
                    <a:pt x="7279827" y="259405"/>
                  </a:lnTo>
                  <a:lnTo>
                    <a:pt x="7293156" y="261738"/>
                  </a:lnTo>
                  <a:lnTo>
                    <a:pt x="7314182" y="268737"/>
                  </a:lnTo>
                  <a:lnTo>
                    <a:pt x="7334270" y="271561"/>
                  </a:lnTo>
                  <a:lnTo>
                    <a:pt x="7347786" y="280402"/>
                  </a:lnTo>
                  <a:lnTo>
                    <a:pt x="7367498" y="287155"/>
                  </a:lnTo>
                  <a:lnTo>
                    <a:pt x="7378575" y="282612"/>
                  </a:lnTo>
                  <a:lnTo>
                    <a:pt x="7408236" y="274262"/>
                  </a:lnTo>
                  <a:lnTo>
                    <a:pt x="7437711" y="266772"/>
                  </a:lnTo>
                  <a:lnTo>
                    <a:pt x="7470376" y="266035"/>
                  </a:lnTo>
                  <a:lnTo>
                    <a:pt x="7499850" y="264439"/>
                  </a:lnTo>
                  <a:lnTo>
                    <a:pt x="7518623" y="272298"/>
                  </a:lnTo>
                  <a:lnTo>
                    <a:pt x="7548285" y="279174"/>
                  </a:lnTo>
                  <a:lnTo>
                    <a:pt x="7573253" y="285190"/>
                  </a:lnTo>
                  <a:lnTo>
                    <a:pt x="7583391" y="298329"/>
                  </a:lnTo>
                  <a:lnTo>
                    <a:pt x="7604042" y="314537"/>
                  </a:lnTo>
                  <a:lnTo>
                    <a:pt x="7617183" y="322642"/>
                  </a:lnTo>
                  <a:lnTo>
                    <a:pt x="7640087" y="336271"/>
                  </a:lnTo>
                  <a:lnTo>
                    <a:pt x="7657733" y="343762"/>
                  </a:lnTo>
                  <a:lnTo>
                    <a:pt x="7673127" y="349042"/>
                  </a:lnTo>
                  <a:lnTo>
                    <a:pt x="7687771" y="342288"/>
                  </a:lnTo>
                  <a:lnTo>
                    <a:pt x="7708233" y="335903"/>
                  </a:lnTo>
                  <a:lnTo>
                    <a:pt x="7720436" y="326202"/>
                  </a:lnTo>
                  <a:lnTo>
                    <a:pt x="7743339" y="323133"/>
                  </a:lnTo>
                  <a:lnTo>
                    <a:pt x="7748408" y="330623"/>
                  </a:lnTo>
                  <a:lnTo>
                    <a:pt x="7764365" y="328413"/>
                  </a:lnTo>
                  <a:lnTo>
                    <a:pt x="7791024" y="329886"/>
                  </a:lnTo>
                  <a:lnTo>
                    <a:pt x="7804165" y="342043"/>
                  </a:lnTo>
                  <a:lnTo>
                    <a:pt x="7824815" y="338236"/>
                  </a:lnTo>
                  <a:lnTo>
                    <a:pt x="7835892" y="326939"/>
                  </a:lnTo>
                  <a:lnTo>
                    <a:pt x="7853727" y="323378"/>
                  </a:lnTo>
                  <a:lnTo>
                    <a:pt x="7864427" y="310608"/>
                  </a:lnTo>
                  <a:lnTo>
                    <a:pt x="7849033" y="300048"/>
                  </a:lnTo>
                  <a:lnTo>
                    <a:pt x="7841524" y="288629"/>
                  </a:lnTo>
                  <a:lnTo>
                    <a:pt x="7876442" y="283349"/>
                  </a:lnTo>
                  <a:lnTo>
                    <a:pt x="7901223" y="281016"/>
                  </a:lnTo>
                  <a:lnTo>
                    <a:pt x="7925253" y="281875"/>
                  </a:lnTo>
                  <a:lnTo>
                    <a:pt x="7942712" y="287032"/>
                  </a:lnTo>
                  <a:lnTo>
                    <a:pt x="7998281" y="297592"/>
                  </a:lnTo>
                  <a:lnTo>
                    <a:pt x="8014801" y="304346"/>
                  </a:lnTo>
                  <a:lnTo>
                    <a:pt x="8030759" y="304346"/>
                  </a:lnTo>
                  <a:lnTo>
                    <a:pt x="8039019" y="293786"/>
                  </a:lnTo>
                  <a:lnTo>
                    <a:pt x="8054788" y="298329"/>
                  </a:lnTo>
                  <a:lnTo>
                    <a:pt x="8076941" y="312696"/>
                  </a:lnTo>
                  <a:lnTo>
                    <a:pt x="8108105" y="322642"/>
                  </a:lnTo>
                  <a:lnTo>
                    <a:pt x="8128755" y="337254"/>
                  </a:lnTo>
                  <a:lnTo>
                    <a:pt x="8156915" y="334184"/>
                  </a:lnTo>
                  <a:lnTo>
                    <a:pt x="8201220" y="337254"/>
                  </a:lnTo>
                  <a:lnTo>
                    <a:pt x="8238579" y="337254"/>
                  </a:lnTo>
                  <a:lnTo>
                    <a:pt x="8264486" y="347814"/>
                  </a:lnTo>
                  <a:lnTo>
                    <a:pt x="8320806" y="347323"/>
                  </a:lnTo>
                  <a:lnTo>
                    <a:pt x="8352721" y="342779"/>
                  </a:lnTo>
                  <a:lnTo>
                    <a:pt x="8365299" y="342779"/>
                  </a:lnTo>
                  <a:lnTo>
                    <a:pt x="8381443" y="348182"/>
                  </a:lnTo>
                  <a:lnTo>
                    <a:pt x="8393083" y="359233"/>
                  </a:lnTo>
                  <a:lnTo>
                    <a:pt x="8422557" y="366478"/>
                  </a:lnTo>
                  <a:lnTo>
                    <a:pt x="8442269" y="374827"/>
                  </a:lnTo>
                  <a:lnTo>
                    <a:pt x="8481881" y="382563"/>
                  </a:lnTo>
                  <a:lnTo>
                    <a:pt x="8544208" y="373476"/>
                  </a:lnTo>
                  <a:lnTo>
                    <a:pt x="8578187" y="368933"/>
                  </a:lnTo>
                  <a:lnTo>
                    <a:pt x="8608037" y="370530"/>
                  </a:lnTo>
                  <a:lnTo>
                    <a:pt x="8644269" y="382317"/>
                  </a:lnTo>
                  <a:lnTo>
                    <a:pt x="8667173" y="388334"/>
                  </a:lnTo>
                  <a:lnTo>
                    <a:pt x="8690264" y="397421"/>
                  </a:lnTo>
                  <a:lnTo>
                    <a:pt x="8706221" y="402455"/>
                  </a:lnTo>
                  <a:lnTo>
                    <a:pt x="8718049" y="398649"/>
                  </a:lnTo>
                  <a:lnTo>
                    <a:pt x="8709037" y="382808"/>
                  </a:lnTo>
                  <a:lnTo>
                    <a:pt x="8691954" y="371880"/>
                  </a:lnTo>
                  <a:lnTo>
                    <a:pt x="8688199" y="362917"/>
                  </a:lnTo>
                  <a:lnTo>
                    <a:pt x="8707348" y="360584"/>
                  </a:lnTo>
                  <a:lnTo>
                    <a:pt x="8730815" y="358987"/>
                  </a:lnTo>
                  <a:lnTo>
                    <a:pt x="8755595" y="362057"/>
                  </a:lnTo>
                  <a:lnTo>
                    <a:pt x="8773242" y="372740"/>
                  </a:lnTo>
                  <a:lnTo>
                    <a:pt x="8800463" y="374213"/>
                  </a:lnTo>
                  <a:lnTo>
                    <a:pt x="8835194" y="375687"/>
                  </a:lnTo>
                  <a:lnTo>
                    <a:pt x="8873116" y="374213"/>
                  </a:lnTo>
                  <a:lnTo>
                    <a:pt x="8890575" y="383545"/>
                  </a:lnTo>
                  <a:lnTo>
                    <a:pt x="8909349" y="388089"/>
                  </a:lnTo>
                  <a:lnTo>
                    <a:pt x="8953653" y="390299"/>
                  </a:lnTo>
                  <a:lnTo>
                    <a:pt x="8970925" y="394105"/>
                  </a:lnTo>
                  <a:lnTo>
                    <a:pt x="9000399" y="410068"/>
                  </a:lnTo>
                  <a:lnTo>
                    <a:pt x="9024053" y="422101"/>
                  </a:lnTo>
                  <a:lnTo>
                    <a:pt x="9054654" y="425539"/>
                  </a:lnTo>
                  <a:lnTo>
                    <a:pt x="9075867" y="430819"/>
                  </a:lnTo>
                  <a:lnTo>
                    <a:pt x="9095579" y="436099"/>
                  </a:lnTo>
                  <a:lnTo>
                    <a:pt x="9123551" y="436099"/>
                  </a:lnTo>
                  <a:lnTo>
                    <a:pt x="9139884" y="441871"/>
                  </a:lnTo>
                  <a:lnTo>
                    <a:pt x="9173489" y="456114"/>
                  </a:lnTo>
                  <a:lnTo>
                    <a:pt x="9182500" y="468148"/>
                  </a:lnTo>
                  <a:lnTo>
                    <a:pt x="9202775" y="478462"/>
                  </a:lnTo>
                  <a:lnTo>
                    <a:pt x="9220797" y="468148"/>
                  </a:lnTo>
                  <a:lnTo>
                    <a:pt x="9231310" y="462008"/>
                  </a:lnTo>
                  <a:lnTo>
                    <a:pt x="9248019" y="461271"/>
                  </a:lnTo>
                  <a:lnTo>
                    <a:pt x="9261347" y="461271"/>
                  </a:lnTo>
                  <a:lnTo>
                    <a:pt x="9282186" y="474410"/>
                  </a:lnTo>
                  <a:lnTo>
                    <a:pt x="9305653" y="493319"/>
                  </a:lnTo>
                  <a:lnTo>
                    <a:pt x="9324613" y="507931"/>
                  </a:lnTo>
                  <a:lnTo>
                    <a:pt x="9338318" y="516281"/>
                  </a:lnTo>
                  <a:lnTo>
                    <a:pt x="9331935" y="522298"/>
                  </a:lnTo>
                  <a:lnTo>
                    <a:pt x="9305089" y="533594"/>
                  </a:lnTo>
                  <a:lnTo>
                    <a:pt x="9276366" y="524508"/>
                  </a:lnTo>
                  <a:lnTo>
                    <a:pt x="9243325" y="510633"/>
                  </a:lnTo>
                  <a:lnTo>
                    <a:pt x="9230559" y="497371"/>
                  </a:lnTo>
                  <a:lnTo>
                    <a:pt x="9214414" y="500196"/>
                  </a:lnTo>
                  <a:lnTo>
                    <a:pt x="9189258" y="497494"/>
                  </a:lnTo>
                  <a:lnTo>
                    <a:pt x="9166730" y="491478"/>
                  </a:lnTo>
                  <a:lnTo>
                    <a:pt x="9144765" y="490741"/>
                  </a:lnTo>
                  <a:lnTo>
                    <a:pt x="9124866" y="480058"/>
                  </a:lnTo>
                  <a:lnTo>
                    <a:pt x="9106468" y="488408"/>
                  </a:lnTo>
                  <a:lnTo>
                    <a:pt x="9123551" y="505475"/>
                  </a:lnTo>
                  <a:lnTo>
                    <a:pt x="9141574" y="513580"/>
                  </a:lnTo>
                  <a:lnTo>
                    <a:pt x="9139321" y="523894"/>
                  </a:lnTo>
                  <a:lnTo>
                    <a:pt x="9121111" y="523157"/>
                  </a:lnTo>
                  <a:lnTo>
                    <a:pt x="9104591" y="519842"/>
                  </a:lnTo>
                  <a:lnTo>
                    <a:pt x="9082250" y="509651"/>
                  </a:lnTo>
                  <a:lnTo>
                    <a:pt x="9066856" y="519351"/>
                  </a:lnTo>
                  <a:lnTo>
                    <a:pt x="9079810" y="536050"/>
                  </a:lnTo>
                  <a:cubicBezTo>
                    <a:pt x="9087695" y="544032"/>
                    <a:pt x="9097832" y="549557"/>
                    <a:pt x="9108721" y="552013"/>
                  </a:cubicBezTo>
                  <a:cubicBezTo>
                    <a:pt x="9118858" y="554223"/>
                    <a:pt x="9129371" y="553609"/>
                    <a:pt x="9139509" y="555205"/>
                  </a:cubicBezTo>
                  <a:cubicBezTo>
                    <a:pt x="9150210" y="556802"/>
                    <a:pt x="9160159" y="560731"/>
                    <a:pt x="9169171" y="566625"/>
                  </a:cubicBezTo>
                  <a:lnTo>
                    <a:pt x="9193388" y="582342"/>
                  </a:lnTo>
                  <a:lnTo>
                    <a:pt x="9233751" y="591306"/>
                  </a:lnTo>
                  <a:lnTo>
                    <a:pt x="9220797" y="608005"/>
                  </a:lnTo>
                  <a:lnTo>
                    <a:pt x="9187756" y="606777"/>
                  </a:lnTo>
                  <a:lnTo>
                    <a:pt x="9167481" y="604444"/>
                  </a:lnTo>
                  <a:lnTo>
                    <a:pt x="9159409" y="604444"/>
                  </a:lnTo>
                  <a:lnTo>
                    <a:pt x="9137819" y="616846"/>
                  </a:lnTo>
                  <a:lnTo>
                    <a:pt x="9124303" y="630353"/>
                  </a:lnTo>
                  <a:lnTo>
                    <a:pt x="9120735" y="648526"/>
                  </a:lnTo>
                  <a:lnTo>
                    <a:pt x="9099897" y="661173"/>
                  </a:lnTo>
                  <a:lnTo>
                    <a:pt x="9083001" y="673698"/>
                  </a:lnTo>
                  <a:lnTo>
                    <a:pt x="9069297" y="673698"/>
                  </a:lnTo>
                  <a:lnTo>
                    <a:pt x="9057282" y="667190"/>
                  </a:lnTo>
                  <a:lnTo>
                    <a:pt x="9047707" y="661173"/>
                  </a:lnTo>
                  <a:lnTo>
                    <a:pt x="9041137" y="646070"/>
                  </a:lnTo>
                  <a:lnTo>
                    <a:pt x="9030436" y="646070"/>
                  </a:lnTo>
                  <a:lnTo>
                    <a:pt x="9021613" y="658594"/>
                  </a:lnTo>
                  <a:lnTo>
                    <a:pt x="9012038" y="670014"/>
                  </a:lnTo>
                  <a:lnTo>
                    <a:pt x="9002276" y="677504"/>
                  </a:lnTo>
                  <a:lnTo>
                    <a:pt x="8992326" y="679837"/>
                  </a:lnTo>
                  <a:lnTo>
                    <a:pt x="8976745" y="684135"/>
                  </a:lnTo>
                  <a:lnTo>
                    <a:pt x="8950087" y="686345"/>
                  </a:lnTo>
                  <a:lnTo>
                    <a:pt x="8930750" y="698992"/>
                  </a:lnTo>
                  <a:lnTo>
                    <a:pt x="8933754" y="709675"/>
                  </a:lnTo>
                  <a:lnTo>
                    <a:pt x="8939198" y="720235"/>
                  </a:lnTo>
                  <a:lnTo>
                    <a:pt x="8949711" y="729567"/>
                  </a:lnTo>
                  <a:lnTo>
                    <a:pt x="8943891" y="746635"/>
                  </a:lnTo>
                  <a:lnTo>
                    <a:pt x="8953841" y="760264"/>
                  </a:lnTo>
                  <a:lnTo>
                    <a:pt x="8972051" y="755967"/>
                  </a:lnTo>
                  <a:lnTo>
                    <a:pt x="8989135" y="760510"/>
                  </a:lnTo>
                  <a:cubicBezTo>
                    <a:pt x="8989698" y="766772"/>
                    <a:pt x="8992514" y="772543"/>
                    <a:pt x="8996832" y="777209"/>
                  </a:cubicBezTo>
                  <a:cubicBezTo>
                    <a:pt x="9002089" y="782735"/>
                    <a:pt x="9009410" y="786050"/>
                    <a:pt x="9017107" y="786173"/>
                  </a:cubicBezTo>
                  <a:lnTo>
                    <a:pt x="9032501" y="796119"/>
                  </a:lnTo>
                  <a:lnTo>
                    <a:pt x="9035693" y="808644"/>
                  </a:lnTo>
                  <a:lnTo>
                    <a:pt x="9043014" y="835166"/>
                  </a:lnTo>
                  <a:lnTo>
                    <a:pt x="9051650" y="841428"/>
                  </a:lnTo>
                  <a:lnTo>
                    <a:pt x="9059723" y="853462"/>
                  </a:lnTo>
                  <a:lnTo>
                    <a:pt x="9065730" y="869179"/>
                  </a:lnTo>
                  <a:lnTo>
                    <a:pt x="9051275" y="872740"/>
                  </a:lnTo>
                  <a:cubicBezTo>
                    <a:pt x="9047332" y="873477"/>
                    <a:pt x="9043953" y="876055"/>
                    <a:pt x="9042451" y="879739"/>
                  </a:cubicBezTo>
                  <a:cubicBezTo>
                    <a:pt x="9040761" y="883422"/>
                    <a:pt x="9041137" y="887597"/>
                    <a:pt x="9043202" y="891035"/>
                  </a:cubicBezTo>
                  <a:lnTo>
                    <a:pt x="9049209" y="903192"/>
                  </a:lnTo>
                  <a:lnTo>
                    <a:pt x="9056155" y="915962"/>
                  </a:lnTo>
                  <a:lnTo>
                    <a:pt x="9047520" y="920259"/>
                  </a:lnTo>
                  <a:cubicBezTo>
                    <a:pt x="9046206" y="927381"/>
                    <a:pt x="9046957" y="934749"/>
                    <a:pt x="9049773" y="941502"/>
                  </a:cubicBezTo>
                  <a:cubicBezTo>
                    <a:pt x="9052213" y="947273"/>
                    <a:pt x="9055968" y="952308"/>
                    <a:pt x="9060849" y="956237"/>
                  </a:cubicBezTo>
                  <a:lnTo>
                    <a:pt x="9064416" y="970358"/>
                  </a:lnTo>
                  <a:lnTo>
                    <a:pt x="9055780" y="969621"/>
                  </a:lnTo>
                  <a:lnTo>
                    <a:pt x="9046769" y="978216"/>
                  </a:lnTo>
                  <a:lnTo>
                    <a:pt x="9035880" y="987057"/>
                  </a:lnTo>
                  <a:lnTo>
                    <a:pt x="9023302" y="976374"/>
                  </a:lnTo>
                  <a:lnTo>
                    <a:pt x="9004529" y="966797"/>
                  </a:lnTo>
                  <a:lnTo>
                    <a:pt x="8997020" y="946168"/>
                  </a:lnTo>
                  <a:lnTo>
                    <a:pt x="8985568" y="936345"/>
                  </a:lnTo>
                  <a:lnTo>
                    <a:pt x="8976557" y="920382"/>
                  </a:lnTo>
                  <a:lnTo>
                    <a:pt x="8967358" y="918909"/>
                  </a:lnTo>
                  <a:lnTo>
                    <a:pt x="8949899" y="920382"/>
                  </a:lnTo>
                  <a:lnTo>
                    <a:pt x="8949148" y="898771"/>
                  </a:lnTo>
                  <a:lnTo>
                    <a:pt x="8938447" y="896438"/>
                  </a:lnTo>
                  <a:lnTo>
                    <a:pt x="8925681" y="887352"/>
                  </a:lnTo>
                  <a:lnTo>
                    <a:pt x="8906157" y="869179"/>
                  </a:lnTo>
                  <a:lnTo>
                    <a:pt x="8895831" y="863899"/>
                  </a:lnTo>
                  <a:lnTo>
                    <a:pt x="8888885" y="844007"/>
                  </a:lnTo>
                  <a:lnTo>
                    <a:pt x="8879687" y="833938"/>
                  </a:lnTo>
                  <a:lnTo>
                    <a:pt x="8865607" y="820554"/>
                  </a:lnTo>
                  <a:lnTo>
                    <a:pt x="8862603" y="800539"/>
                  </a:lnTo>
                  <a:cubicBezTo>
                    <a:pt x="8851715" y="798943"/>
                    <a:pt x="8843079" y="790471"/>
                    <a:pt x="8841389" y="779665"/>
                  </a:cubicBezTo>
                  <a:cubicBezTo>
                    <a:pt x="8840826" y="774754"/>
                    <a:pt x="8841577" y="769842"/>
                    <a:pt x="8843829" y="765544"/>
                  </a:cubicBezTo>
                  <a:lnTo>
                    <a:pt x="8856032" y="751178"/>
                  </a:lnTo>
                  <a:lnTo>
                    <a:pt x="8868235" y="729444"/>
                  </a:lnTo>
                  <a:lnTo>
                    <a:pt x="8862791" y="704027"/>
                  </a:lnTo>
                  <a:lnTo>
                    <a:pt x="8868610" y="682293"/>
                  </a:lnTo>
                  <a:lnTo>
                    <a:pt x="8885131" y="664120"/>
                  </a:lnTo>
                  <a:lnTo>
                    <a:pt x="8882127" y="651964"/>
                  </a:lnTo>
                  <a:lnTo>
                    <a:pt x="8868986" y="636369"/>
                  </a:lnTo>
                  <a:lnTo>
                    <a:pt x="8861289" y="614881"/>
                  </a:lnTo>
                  <a:lnTo>
                    <a:pt x="8852841" y="597445"/>
                  </a:lnTo>
                  <a:lnTo>
                    <a:pt x="8838949" y="595849"/>
                  </a:lnTo>
                  <a:lnTo>
                    <a:pt x="8825244" y="601620"/>
                  </a:lnTo>
                  <a:lnTo>
                    <a:pt x="8815482" y="610338"/>
                  </a:lnTo>
                  <a:lnTo>
                    <a:pt x="8815482" y="625441"/>
                  </a:lnTo>
                  <a:lnTo>
                    <a:pt x="8816233" y="642386"/>
                  </a:lnTo>
                  <a:lnTo>
                    <a:pt x="8801777" y="650736"/>
                  </a:lnTo>
                  <a:lnTo>
                    <a:pt x="8783004" y="648649"/>
                  </a:lnTo>
                  <a:lnTo>
                    <a:pt x="8779249" y="636615"/>
                  </a:lnTo>
                  <a:lnTo>
                    <a:pt x="8767798" y="622249"/>
                  </a:lnTo>
                  <a:lnTo>
                    <a:pt x="8743768" y="627774"/>
                  </a:lnTo>
                  <a:lnTo>
                    <a:pt x="8735320" y="618688"/>
                  </a:lnTo>
                  <a:lnTo>
                    <a:pt x="8712417" y="615495"/>
                  </a:lnTo>
                  <a:cubicBezTo>
                    <a:pt x="8704719" y="614513"/>
                    <a:pt x="8697023" y="616969"/>
                    <a:pt x="8691203" y="622249"/>
                  </a:cubicBezTo>
                  <a:cubicBezTo>
                    <a:pt x="8685383" y="627406"/>
                    <a:pt x="8682191" y="634896"/>
                    <a:pt x="8682379" y="642632"/>
                  </a:cubicBezTo>
                  <a:cubicBezTo>
                    <a:pt x="8674495" y="646193"/>
                    <a:pt x="8670740" y="655034"/>
                    <a:pt x="8673368" y="663138"/>
                  </a:cubicBezTo>
                  <a:cubicBezTo>
                    <a:pt x="8675621" y="670014"/>
                    <a:pt x="8682191" y="674557"/>
                    <a:pt x="8689325" y="674434"/>
                  </a:cubicBezTo>
                  <a:lnTo>
                    <a:pt x="8697961" y="706237"/>
                  </a:lnTo>
                  <a:lnTo>
                    <a:pt x="8677686" y="708570"/>
                  </a:lnTo>
                  <a:lnTo>
                    <a:pt x="8653469" y="719130"/>
                  </a:lnTo>
                  <a:lnTo>
                    <a:pt x="8631691" y="718393"/>
                  </a:lnTo>
                  <a:lnTo>
                    <a:pt x="8622493" y="712253"/>
                  </a:lnTo>
                  <a:lnTo>
                    <a:pt x="8603531" y="704027"/>
                  </a:lnTo>
                  <a:lnTo>
                    <a:pt x="8593582" y="694204"/>
                  </a:lnTo>
                  <a:lnTo>
                    <a:pt x="8583632" y="689660"/>
                  </a:lnTo>
                  <a:lnTo>
                    <a:pt x="8563169" y="694204"/>
                  </a:lnTo>
                  <a:lnTo>
                    <a:pt x="8549465" y="698010"/>
                  </a:lnTo>
                  <a:lnTo>
                    <a:pt x="8523745" y="706360"/>
                  </a:lnTo>
                  <a:lnTo>
                    <a:pt x="8498964" y="707097"/>
                  </a:lnTo>
                  <a:lnTo>
                    <a:pt x="8478501" y="705500"/>
                  </a:lnTo>
                  <a:lnTo>
                    <a:pt x="8459165" y="700957"/>
                  </a:lnTo>
                  <a:lnTo>
                    <a:pt x="8440392" y="700957"/>
                  </a:lnTo>
                  <a:lnTo>
                    <a:pt x="8417301" y="704518"/>
                  </a:lnTo>
                  <a:lnTo>
                    <a:pt x="8400780" y="710289"/>
                  </a:lnTo>
                  <a:lnTo>
                    <a:pt x="8387827" y="720726"/>
                  </a:lnTo>
                  <a:lnTo>
                    <a:pt x="8368490" y="734601"/>
                  </a:lnTo>
                  <a:lnTo>
                    <a:pt x="8354973" y="750932"/>
                  </a:lnTo>
                  <a:lnTo>
                    <a:pt x="8348966" y="765299"/>
                  </a:lnTo>
                  <a:lnTo>
                    <a:pt x="8352533" y="786910"/>
                  </a:lnTo>
                  <a:lnTo>
                    <a:pt x="8338641" y="830132"/>
                  </a:lnTo>
                  <a:lnTo>
                    <a:pt x="8329441" y="840692"/>
                  </a:lnTo>
                  <a:lnTo>
                    <a:pt x="8314423" y="851374"/>
                  </a:lnTo>
                  <a:lnTo>
                    <a:pt x="8325687" y="865741"/>
                  </a:lnTo>
                  <a:lnTo>
                    <a:pt x="8348215" y="865741"/>
                  </a:lnTo>
                  <a:lnTo>
                    <a:pt x="8362670" y="875564"/>
                  </a:lnTo>
                  <a:lnTo>
                    <a:pt x="8373371" y="883914"/>
                  </a:lnTo>
                  <a:lnTo>
                    <a:pt x="8400968" y="887720"/>
                  </a:lnTo>
                  <a:lnTo>
                    <a:pt x="8415987" y="892263"/>
                  </a:lnTo>
                  <a:lnTo>
                    <a:pt x="8434009" y="889194"/>
                  </a:lnTo>
                  <a:lnTo>
                    <a:pt x="8452407" y="880844"/>
                  </a:lnTo>
                  <a:lnTo>
                    <a:pt x="8467613" y="878511"/>
                  </a:lnTo>
                  <a:lnTo>
                    <a:pt x="8485823" y="887720"/>
                  </a:lnTo>
                  <a:lnTo>
                    <a:pt x="8499527" y="907366"/>
                  </a:lnTo>
                  <a:lnTo>
                    <a:pt x="8519803" y="914857"/>
                  </a:lnTo>
                  <a:lnTo>
                    <a:pt x="8544771" y="935854"/>
                  </a:lnTo>
                  <a:lnTo>
                    <a:pt x="8556411" y="950097"/>
                  </a:lnTo>
                  <a:lnTo>
                    <a:pt x="8560916" y="968147"/>
                  </a:lnTo>
                  <a:lnTo>
                    <a:pt x="8569177" y="979321"/>
                  </a:lnTo>
                  <a:lnTo>
                    <a:pt x="8583632" y="1004248"/>
                  </a:lnTo>
                  <a:lnTo>
                    <a:pt x="8593769" y="1003265"/>
                  </a:lnTo>
                  <a:lnTo>
                    <a:pt x="8607474" y="1012475"/>
                  </a:lnTo>
                  <a:cubicBezTo>
                    <a:pt x="8607099" y="1021807"/>
                    <a:pt x="8608976" y="1031139"/>
                    <a:pt x="8612731" y="1039734"/>
                  </a:cubicBezTo>
                  <a:cubicBezTo>
                    <a:pt x="8614983" y="1045014"/>
                    <a:pt x="8617987" y="1049803"/>
                    <a:pt x="8620803" y="1054714"/>
                  </a:cubicBezTo>
                  <a:cubicBezTo>
                    <a:pt x="8624182" y="1060363"/>
                    <a:pt x="8627373" y="1065888"/>
                    <a:pt x="8630565" y="1071536"/>
                  </a:cubicBezTo>
                  <a:lnTo>
                    <a:pt x="8629251" y="1092042"/>
                  </a:lnTo>
                  <a:lnTo>
                    <a:pt x="8619301" y="1107145"/>
                  </a:lnTo>
                  <a:lnTo>
                    <a:pt x="8619301" y="1128020"/>
                  </a:lnTo>
                  <a:lnTo>
                    <a:pt x="8631504" y="1146193"/>
                  </a:lnTo>
                  <a:lnTo>
                    <a:pt x="8621742" y="1170505"/>
                  </a:lnTo>
                  <a:lnTo>
                    <a:pt x="8612167" y="1186959"/>
                  </a:lnTo>
                  <a:lnTo>
                    <a:pt x="8607849" y="1205500"/>
                  </a:lnTo>
                  <a:lnTo>
                    <a:pt x="8599214" y="1223182"/>
                  </a:lnTo>
                  <a:cubicBezTo>
                    <a:pt x="8597336" y="1229935"/>
                    <a:pt x="8595083" y="1236566"/>
                    <a:pt x="8592267" y="1243074"/>
                  </a:cubicBezTo>
                  <a:cubicBezTo>
                    <a:pt x="8589264" y="1250687"/>
                    <a:pt x="8585509" y="1258054"/>
                    <a:pt x="8581379" y="1265176"/>
                  </a:cubicBezTo>
                  <a:lnTo>
                    <a:pt x="8571241" y="1278560"/>
                  </a:lnTo>
                  <a:lnTo>
                    <a:pt x="8548338" y="1279911"/>
                  </a:lnTo>
                  <a:lnTo>
                    <a:pt x="8539890" y="1276595"/>
                  </a:lnTo>
                  <a:lnTo>
                    <a:pt x="8521305" y="1265299"/>
                  </a:lnTo>
                  <a:lnTo>
                    <a:pt x="8507412" y="1256949"/>
                  </a:lnTo>
                  <a:lnTo>
                    <a:pt x="8502719" y="1273157"/>
                  </a:lnTo>
                  <a:cubicBezTo>
                    <a:pt x="8502343" y="1281261"/>
                    <a:pt x="8500842" y="1289243"/>
                    <a:pt x="8497838" y="1296856"/>
                  </a:cubicBezTo>
                  <a:cubicBezTo>
                    <a:pt x="8496524" y="1300785"/>
                    <a:pt x="8494647" y="1304591"/>
                    <a:pt x="8492581" y="1308275"/>
                  </a:cubicBezTo>
                  <a:cubicBezTo>
                    <a:pt x="8485635" y="1306924"/>
                    <a:pt x="8478501" y="1308889"/>
                    <a:pt x="8473245" y="1313555"/>
                  </a:cubicBezTo>
                  <a:cubicBezTo>
                    <a:pt x="8466487" y="1319695"/>
                    <a:pt x="8463858" y="1329272"/>
                    <a:pt x="8466674" y="1337990"/>
                  </a:cubicBezTo>
                  <a:lnTo>
                    <a:pt x="8483946" y="1336885"/>
                  </a:lnTo>
                  <a:lnTo>
                    <a:pt x="8490329" y="1355672"/>
                  </a:lnTo>
                  <a:lnTo>
                    <a:pt x="8487513" y="1369793"/>
                  </a:lnTo>
                  <a:lnTo>
                    <a:pt x="8462169" y="1382563"/>
                  </a:lnTo>
                  <a:lnTo>
                    <a:pt x="8440955" y="1393246"/>
                  </a:lnTo>
                  <a:lnTo>
                    <a:pt x="8440955" y="1409331"/>
                  </a:lnTo>
                  <a:lnTo>
                    <a:pt x="8455973" y="1418172"/>
                  </a:lnTo>
                  <a:lnTo>
                    <a:pt x="8472682" y="1433030"/>
                  </a:lnTo>
                  <a:lnTo>
                    <a:pt x="8488263" y="1442730"/>
                  </a:lnTo>
                  <a:lnTo>
                    <a:pt x="8521305" y="1463604"/>
                  </a:lnTo>
                  <a:lnTo>
                    <a:pt x="8530691" y="1464341"/>
                  </a:lnTo>
                  <a:lnTo>
                    <a:pt x="8549840" y="1484601"/>
                  </a:lnTo>
                  <a:lnTo>
                    <a:pt x="8563545" y="1507931"/>
                  </a:lnTo>
                  <a:cubicBezTo>
                    <a:pt x="8568989" y="1513211"/>
                    <a:pt x="8573307" y="1519596"/>
                    <a:pt x="8576123" y="1526595"/>
                  </a:cubicBezTo>
                  <a:cubicBezTo>
                    <a:pt x="8579126" y="1534085"/>
                    <a:pt x="8580253" y="1542190"/>
                    <a:pt x="8579689" y="1550294"/>
                  </a:cubicBezTo>
                  <a:lnTo>
                    <a:pt x="8567862" y="1557538"/>
                  </a:lnTo>
                  <a:lnTo>
                    <a:pt x="8552656" y="1564415"/>
                  </a:lnTo>
                  <a:lnTo>
                    <a:pt x="8530316" y="1575220"/>
                  </a:lnTo>
                  <a:lnTo>
                    <a:pt x="8511355" y="1589095"/>
                  </a:lnTo>
                  <a:lnTo>
                    <a:pt x="8499152" y="1583079"/>
                  </a:lnTo>
                  <a:lnTo>
                    <a:pt x="8488076" y="1568958"/>
                  </a:lnTo>
                  <a:lnTo>
                    <a:pt x="8485823" y="1550171"/>
                  </a:lnTo>
                  <a:lnTo>
                    <a:pt x="8480567" y="1531875"/>
                  </a:lnTo>
                  <a:lnTo>
                    <a:pt x="8476624" y="1517509"/>
                  </a:lnTo>
                  <a:lnTo>
                    <a:pt x="8472119" y="1498599"/>
                  </a:lnTo>
                  <a:lnTo>
                    <a:pt x="8460855" y="1487425"/>
                  </a:lnTo>
                  <a:lnTo>
                    <a:pt x="8447150" y="1465569"/>
                  </a:lnTo>
                  <a:lnTo>
                    <a:pt x="8417488" y="1454886"/>
                  </a:lnTo>
                  <a:lnTo>
                    <a:pt x="8397401" y="1455746"/>
                  </a:lnTo>
                  <a:lnTo>
                    <a:pt x="8385198" y="1445308"/>
                  </a:lnTo>
                  <a:lnTo>
                    <a:pt x="8385949" y="1427258"/>
                  </a:lnTo>
                  <a:lnTo>
                    <a:pt x="8397776" y="1420505"/>
                  </a:lnTo>
                  <a:lnTo>
                    <a:pt x="8385574" y="1404542"/>
                  </a:lnTo>
                  <a:lnTo>
                    <a:pt x="8363797" y="1394965"/>
                  </a:lnTo>
                  <a:lnTo>
                    <a:pt x="8349529" y="1388457"/>
                  </a:lnTo>
                  <a:lnTo>
                    <a:pt x="8338453" y="1384650"/>
                  </a:lnTo>
                  <a:lnTo>
                    <a:pt x="8314799" y="1390790"/>
                  </a:lnTo>
                  <a:lnTo>
                    <a:pt x="8300531" y="1401595"/>
                  </a:lnTo>
                  <a:lnTo>
                    <a:pt x="8287202" y="1413138"/>
                  </a:lnTo>
                  <a:lnTo>
                    <a:pt x="8277252" y="1415471"/>
                  </a:lnTo>
                  <a:lnTo>
                    <a:pt x="8269555" y="1407980"/>
                  </a:lnTo>
                  <a:lnTo>
                    <a:pt x="8261295" y="1394596"/>
                  </a:lnTo>
                  <a:lnTo>
                    <a:pt x="8258479" y="1372371"/>
                  </a:lnTo>
                  <a:lnTo>
                    <a:pt x="8257165" y="1359233"/>
                  </a:lnTo>
                  <a:lnTo>
                    <a:pt x="8247778" y="1346217"/>
                  </a:lnTo>
                  <a:lnTo>
                    <a:pt x="8232008" y="1342411"/>
                  </a:lnTo>
                  <a:lnTo>
                    <a:pt x="8217741" y="1346217"/>
                  </a:lnTo>
                  <a:lnTo>
                    <a:pt x="8205163" y="1368074"/>
                  </a:lnTo>
                  <a:lnTo>
                    <a:pt x="8198967" y="1384528"/>
                  </a:lnTo>
                  <a:lnTo>
                    <a:pt x="8175688" y="1407489"/>
                  </a:lnTo>
                  <a:lnTo>
                    <a:pt x="8155789" y="1406016"/>
                  </a:lnTo>
                  <a:lnTo>
                    <a:pt x="8144713" y="1410559"/>
                  </a:lnTo>
                  <a:lnTo>
                    <a:pt x="8145463" y="1425908"/>
                  </a:lnTo>
                  <a:lnTo>
                    <a:pt x="8144337" y="1446782"/>
                  </a:lnTo>
                  <a:lnTo>
                    <a:pt x="8186765" y="1461148"/>
                  </a:lnTo>
                  <a:lnTo>
                    <a:pt x="8206664" y="1466183"/>
                  </a:lnTo>
                  <a:lnTo>
                    <a:pt x="8214925" y="1476497"/>
                  </a:lnTo>
                  <a:lnTo>
                    <a:pt x="8235575" y="1487303"/>
                  </a:lnTo>
                  <a:lnTo>
                    <a:pt x="8247027" y="1478339"/>
                  </a:lnTo>
                  <a:lnTo>
                    <a:pt x="8263735" y="1463973"/>
                  </a:lnTo>
                  <a:lnTo>
                    <a:pt x="8297715" y="1474041"/>
                  </a:lnTo>
                  <a:lnTo>
                    <a:pt x="8309729" y="1477479"/>
                  </a:lnTo>
                  <a:lnTo>
                    <a:pt x="8327001" y="1489144"/>
                  </a:lnTo>
                  <a:lnTo>
                    <a:pt x="8316676" y="1500441"/>
                  </a:lnTo>
                  <a:lnTo>
                    <a:pt x="8296025" y="1509528"/>
                  </a:lnTo>
                  <a:lnTo>
                    <a:pt x="8278566" y="1520087"/>
                  </a:lnTo>
                  <a:lnTo>
                    <a:pt x="8260919" y="1531507"/>
                  </a:lnTo>
                  <a:lnTo>
                    <a:pt x="8253410" y="1547347"/>
                  </a:lnTo>
                  <a:lnTo>
                    <a:pt x="8250969" y="1573378"/>
                  </a:lnTo>
                  <a:lnTo>
                    <a:pt x="8272371" y="1589218"/>
                  </a:lnTo>
                  <a:lnTo>
                    <a:pt x="8288140" y="1595972"/>
                  </a:lnTo>
                  <a:lnTo>
                    <a:pt x="8301845" y="1615618"/>
                  </a:lnTo>
                  <a:lnTo>
                    <a:pt x="8310856" y="1645456"/>
                  </a:lnTo>
                  <a:lnTo>
                    <a:pt x="8324936" y="1662646"/>
                  </a:lnTo>
                  <a:lnTo>
                    <a:pt x="8341457" y="1675171"/>
                  </a:lnTo>
                  <a:lnTo>
                    <a:pt x="8371869" y="1686468"/>
                  </a:lnTo>
                  <a:lnTo>
                    <a:pt x="8380693" y="1699115"/>
                  </a:lnTo>
                  <a:lnTo>
                    <a:pt x="8380880" y="1719498"/>
                  </a:lnTo>
                  <a:lnTo>
                    <a:pt x="8362858" y="1722568"/>
                  </a:lnTo>
                  <a:lnTo>
                    <a:pt x="8362295" y="1737425"/>
                  </a:lnTo>
                  <a:lnTo>
                    <a:pt x="8373934" y="1749090"/>
                  </a:lnTo>
                  <a:lnTo>
                    <a:pt x="8395711" y="1745284"/>
                  </a:lnTo>
                  <a:lnTo>
                    <a:pt x="8401907" y="1763825"/>
                  </a:lnTo>
                  <a:lnTo>
                    <a:pt x="8403033" y="1787892"/>
                  </a:lnTo>
                  <a:lnTo>
                    <a:pt x="8397776" y="1802995"/>
                  </a:lnTo>
                  <a:cubicBezTo>
                    <a:pt x="8396462" y="1811468"/>
                    <a:pt x="8394585" y="1819817"/>
                    <a:pt x="8391957" y="1827921"/>
                  </a:cubicBezTo>
                  <a:cubicBezTo>
                    <a:pt x="8390079" y="1834184"/>
                    <a:pt x="8387827" y="1840200"/>
                    <a:pt x="8385198" y="1846094"/>
                  </a:cubicBezTo>
                  <a:lnTo>
                    <a:pt x="8375999" y="1865127"/>
                  </a:lnTo>
                  <a:lnTo>
                    <a:pt x="8369804" y="1891035"/>
                  </a:lnTo>
                  <a:lnTo>
                    <a:pt x="8369429" y="1914365"/>
                  </a:lnTo>
                  <a:lnTo>
                    <a:pt x="8363421" y="1933521"/>
                  </a:lnTo>
                  <a:lnTo>
                    <a:pt x="8345211" y="1947887"/>
                  </a:lnTo>
                  <a:lnTo>
                    <a:pt x="8337702" y="1962253"/>
                  </a:lnTo>
                  <a:lnTo>
                    <a:pt x="8323059" y="1981286"/>
                  </a:lnTo>
                  <a:lnTo>
                    <a:pt x="8304849" y="1996389"/>
                  </a:lnTo>
                  <a:lnTo>
                    <a:pt x="8272371" y="2010510"/>
                  </a:lnTo>
                  <a:lnTo>
                    <a:pt x="8253973" y="2006581"/>
                  </a:lnTo>
                  <a:lnTo>
                    <a:pt x="8248904" y="2012597"/>
                  </a:lnTo>
                  <a:lnTo>
                    <a:pt x="8239705" y="2026964"/>
                  </a:lnTo>
                  <a:cubicBezTo>
                    <a:pt x="8231069" y="2027086"/>
                    <a:pt x="8222434" y="2027700"/>
                    <a:pt x="8213986" y="2028683"/>
                  </a:cubicBezTo>
                  <a:cubicBezTo>
                    <a:pt x="8207415" y="2029542"/>
                    <a:pt x="8200845" y="2030525"/>
                    <a:pt x="8194274" y="2031752"/>
                  </a:cubicBezTo>
                  <a:lnTo>
                    <a:pt x="8176064" y="2031752"/>
                  </a:lnTo>
                  <a:lnTo>
                    <a:pt x="8166114" y="2032489"/>
                  </a:lnTo>
                  <a:lnTo>
                    <a:pt x="8143586" y="2040593"/>
                  </a:lnTo>
                  <a:lnTo>
                    <a:pt x="8136265" y="2046610"/>
                  </a:lnTo>
                  <a:lnTo>
                    <a:pt x="8121621" y="2056433"/>
                  </a:lnTo>
                  <a:lnTo>
                    <a:pt x="8111859" y="2072150"/>
                  </a:lnTo>
                  <a:lnTo>
                    <a:pt x="8105664" y="2091060"/>
                  </a:lnTo>
                  <a:lnTo>
                    <a:pt x="8095151" y="2094621"/>
                  </a:lnTo>
                  <a:lnTo>
                    <a:pt x="8082948" y="2080377"/>
                  </a:lnTo>
                  <a:lnTo>
                    <a:pt x="8081447" y="2067484"/>
                  </a:lnTo>
                  <a:lnTo>
                    <a:pt x="8070933" y="2055451"/>
                  </a:lnTo>
                  <a:lnTo>
                    <a:pt x="8061922" y="2049680"/>
                  </a:lnTo>
                  <a:lnTo>
                    <a:pt x="8044651" y="2041330"/>
                  </a:lnTo>
                  <a:lnTo>
                    <a:pt x="8032823" y="2045137"/>
                  </a:lnTo>
                  <a:lnTo>
                    <a:pt x="8012736" y="2050416"/>
                  </a:lnTo>
                  <a:lnTo>
                    <a:pt x="7987392" y="2054223"/>
                  </a:lnTo>
                  <a:lnTo>
                    <a:pt x="7969745" y="2066256"/>
                  </a:lnTo>
                  <a:lnTo>
                    <a:pt x="7958294" y="2085166"/>
                  </a:lnTo>
                  <a:lnTo>
                    <a:pt x="7958294" y="2109601"/>
                  </a:lnTo>
                  <a:lnTo>
                    <a:pt x="7962236" y="2137352"/>
                  </a:lnTo>
                  <a:lnTo>
                    <a:pt x="7970309" y="2164857"/>
                  </a:lnTo>
                  <a:lnTo>
                    <a:pt x="7978381" y="2185117"/>
                  </a:lnTo>
                  <a:lnTo>
                    <a:pt x="8008231" y="2209306"/>
                  </a:lnTo>
                  <a:lnTo>
                    <a:pt x="8019307" y="2217288"/>
                  </a:lnTo>
                  <a:lnTo>
                    <a:pt x="8043525" y="2230181"/>
                  </a:lnTo>
                  <a:lnTo>
                    <a:pt x="8058731" y="2243074"/>
                  </a:lnTo>
                  <a:lnTo>
                    <a:pt x="8071121" y="2268982"/>
                  </a:lnTo>
                  <a:lnTo>
                    <a:pt x="8074125" y="2294645"/>
                  </a:lnTo>
                  <a:lnTo>
                    <a:pt x="8090082" y="2323378"/>
                  </a:lnTo>
                  <a:lnTo>
                    <a:pt x="8100220" y="2354444"/>
                  </a:lnTo>
                  <a:cubicBezTo>
                    <a:pt x="8102285" y="2361075"/>
                    <a:pt x="8103599" y="2367951"/>
                    <a:pt x="8104162" y="2374827"/>
                  </a:cubicBezTo>
                  <a:cubicBezTo>
                    <a:pt x="8104725" y="2383668"/>
                    <a:pt x="8104350" y="2392509"/>
                    <a:pt x="8102660" y="2401104"/>
                  </a:cubicBezTo>
                  <a:lnTo>
                    <a:pt x="8099469" y="2431433"/>
                  </a:lnTo>
                  <a:lnTo>
                    <a:pt x="8072811" y="2445677"/>
                  </a:lnTo>
                  <a:lnTo>
                    <a:pt x="8058731" y="2456851"/>
                  </a:lnTo>
                  <a:lnTo>
                    <a:pt x="8028693" y="2464463"/>
                  </a:lnTo>
                  <a:lnTo>
                    <a:pt x="8019870" y="2477602"/>
                  </a:lnTo>
                  <a:lnTo>
                    <a:pt x="8014426" y="2500932"/>
                  </a:lnTo>
                  <a:lnTo>
                    <a:pt x="7997154" y="2506458"/>
                  </a:lnTo>
                  <a:lnTo>
                    <a:pt x="7988894" y="2521438"/>
                  </a:lnTo>
                  <a:lnTo>
                    <a:pt x="7971435" y="2513457"/>
                  </a:lnTo>
                  <a:lnTo>
                    <a:pt x="7973688" y="2487302"/>
                  </a:lnTo>
                  <a:lnTo>
                    <a:pt x="7979132" y="2478216"/>
                  </a:lnTo>
                  <a:lnTo>
                    <a:pt x="7976316" y="2461639"/>
                  </a:lnTo>
                  <a:lnTo>
                    <a:pt x="7971623" y="2450834"/>
                  </a:lnTo>
                  <a:lnTo>
                    <a:pt x="7960359" y="2449974"/>
                  </a:lnTo>
                  <a:lnTo>
                    <a:pt x="7953037" y="2455623"/>
                  </a:lnTo>
                  <a:lnTo>
                    <a:pt x="7943838" y="2463113"/>
                  </a:lnTo>
                  <a:lnTo>
                    <a:pt x="7931635" y="2463972"/>
                  </a:lnTo>
                  <a:lnTo>
                    <a:pt x="7928632" y="2454395"/>
                  </a:lnTo>
                  <a:lnTo>
                    <a:pt x="7923375" y="2443221"/>
                  </a:lnTo>
                  <a:lnTo>
                    <a:pt x="7913050" y="2439783"/>
                  </a:lnTo>
                  <a:lnTo>
                    <a:pt x="7903288" y="2428118"/>
                  </a:lnTo>
                  <a:lnTo>
                    <a:pt x="7896529" y="2408717"/>
                  </a:lnTo>
                  <a:lnTo>
                    <a:pt x="7888081" y="2400490"/>
                  </a:lnTo>
                  <a:lnTo>
                    <a:pt x="7876255" y="2395456"/>
                  </a:lnTo>
                  <a:lnTo>
                    <a:pt x="7860860" y="2386615"/>
                  </a:lnTo>
                  <a:lnTo>
                    <a:pt x="7849784" y="2382808"/>
                  </a:lnTo>
                  <a:lnTo>
                    <a:pt x="7829321" y="2365618"/>
                  </a:lnTo>
                  <a:lnTo>
                    <a:pt x="7819935" y="2357514"/>
                  </a:lnTo>
                  <a:lnTo>
                    <a:pt x="7811674" y="2343147"/>
                  </a:lnTo>
                  <a:lnTo>
                    <a:pt x="7794778" y="2343884"/>
                  </a:lnTo>
                  <a:lnTo>
                    <a:pt x="7783327" y="2351497"/>
                  </a:lnTo>
                  <a:lnTo>
                    <a:pt x="7783890" y="2365863"/>
                  </a:lnTo>
                  <a:lnTo>
                    <a:pt x="7788395" y="2384036"/>
                  </a:lnTo>
                  <a:lnTo>
                    <a:pt x="7793840" y="2397175"/>
                  </a:lnTo>
                  <a:lnTo>
                    <a:pt x="7788395" y="2416084"/>
                  </a:lnTo>
                  <a:lnTo>
                    <a:pt x="7783890" y="2434257"/>
                  </a:lnTo>
                  <a:cubicBezTo>
                    <a:pt x="7780886" y="2442975"/>
                    <a:pt x="7778633" y="2452062"/>
                    <a:pt x="7777319" y="2461271"/>
                  </a:cubicBezTo>
                  <a:cubicBezTo>
                    <a:pt x="7776381" y="2467042"/>
                    <a:pt x="7775817" y="2472813"/>
                    <a:pt x="7775629" y="2478584"/>
                  </a:cubicBezTo>
                  <a:lnTo>
                    <a:pt x="7781074" y="2494793"/>
                  </a:lnTo>
                  <a:lnTo>
                    <a:pt x="7796468" y="2509405"/>
                  </a:lnTo>
                  <a:lnTo>
                    <a:pt x="7808671" y="2519964"/>
                  </a:lnTo>
                  <a:lnTo>
                    <a:pt x="7810173" y="2532121"/>
                  </a:lnTo>
                  <a:lnTo>
                    <a:pt x="7814115" y="2550907"/>
                  </a:lnTo>
                  <a:cubicBezTo>
                    <a:pt x="7811862" y="2556924"/>
                    <a:pt x="7812050" y="2563555"/>
                    <a:pt x="7814866" y="2569326"/>
                  </a:cubicBezTo>
                  <a:cubicBezTo>
                    <a:pt x="7818996" y="2578412"/>
                    <a:pt x="7828195" y="2584306"/>
                    <a:pt x="7838145" y="2584306"/>
                  </a:cubicBezTo>
                  <a:lnTo>
                    <a:pt x="7857293" y="2597813"/>
                  </a:lnTo>
                  <a:lnTo>
                    <a:pt x="7873251" y="2612916"/>
                  </a:lnTo>
                  <a:lnTo>
                    <a:pt x="7895779" y="2625564"/>
                  </a:lnTo>
                  <a:lnTo>
                    <a:pt x="7907793" y="2641895"/>
                  </a:lnTo>
                  <a:cubicBezTo>
                    <a:pt x="7912299" y="2647789"/>
                    <a:pt x="7915866" y="2654174"/>
                    <a:pt x="7918494" y="2660927"/>
                  </a:cubicBezTo>
                  <a:cubicBezTo>
                    <a:pt x="7921123" y="2667312"/>
                    <a:pt x="7922812" y="2673943"/>
                    <a:pt x="7923563" y="2680819"/>
                  </a:cubicBezTo>
                  <a:lnTo>
                    <a:pt x="7934264" y="2699238"/>
                  </a:lnTo>
                  <a:lnTo>
                    <a:pt x="7939521" y="2720357"/>
                  </a:lnTo>
                  <a:lnTo>
                    <a:pt x="7948156" y="2744793"/>
                  </a:lnTo>
                  <a:lnTo>
                    <a:pt x="7956979" y="2763088"/>
                  </a:lnTo>
                  <a:lnTo>
                    <a:pt x="7952849" y="2772911"/>
                  </a:lnTo>
                  <a:lnTo>
                    <a:pt x="7938582" y="2773525"/>
                  </a:lnTo>
                  <a:lnTo>
                    <a:pt x="7943087" y="2785436"/>
                  </a:lnTo>
                  <a:lnTo>
                    <a:pt x="7937080" y="2790593"/>
                  </a:lnTo>
                  <a:lnTo>
                    <a:pt x="7924877" y="2775490"/>
                  </a:lnTo>
                  <a:lnTo>
                    <a:pt x="7908169" y="2764193"/>
                  </a:lnTo>
                  <a:lnTo>
                    <a:pt x="7895403" y="2757072"/>
                  </a:lnTo>
                  <a:lnTo>
                    <a:pt x="7879446" y="2743933"/>
                  </a:lnTo>
                  <a:lnTo>
                    <a:pt x="7868745" y="2740127"/>
                  </a:lnTo>
                  <a:lnTo>
                    <a:pt x="7857857" y="2719498"/>
                  </a:lnTo>
                  <a:lnTo>
                    <a:pt x="7851849" y="2707464"/>
                  </a:lnTo>
                  <a:lnTo>
                    <a:pt x="7841148" y="2689292"/>
                  </a:lnTo>
                  <a:lnTo>
                    <a:pt x="7835704" y="2662155"/>
                  </a:lnTo>
                  <a:lnTo>
                    <a:pt x="7827069" y="2626792"/>
                  </a:lnTo>
                  <a:lnTo>
                    <a:pt x="7824440" y="2606286"/>
                  </a:lnTo>
                  <a:lnTo>
                    <a:pt x="7816180" y="2591796"/>
                  </a:lnTo>
                  <a:lnTo>
                    <a:pt x="7802663" y="2571659"/>
                  </a:lnTo>
                  <a:lnTo>
                    <a:pt x="7781261" y="2559871"/>
                  </a:lnTo>
                  <a:cubicBezTo>
                    <a:pt x="7780135" y="2554346"/>
                    <a:pt x="7777319" y="2549311"/>
                    <a:pt x="7773189" y="2545505"/>
                  </a:cubicBezTo>
                  <a:cubicBezTo>
                    <a:pt x="7769247" y="2541821"/>
                    <a:pt x="7764178" y="2539488"/>
                    <a:pt x="7758734" y="2538751"/>
                  </a:cubicBezTo>
                  <a:lnTo>
                    <a:pt x="7747282" y="2533594"/>
                  </a:lnTo>
                  <a:lnTo>
                    <a:pt x="7745029" y="2513948"/>
                  </a:lnTo>
                  <a:lnTo>
                    <a:pt x="7745780" y="2500564"/>
                  </a:lnTo>
                  <a:lnTo>
                    <a:pt x="7753665" y="2492705"/>
                  </a:lnTo>
                  <a:lnTo>
                    <a:pt x="7753665" y="2481163"/>
                  </a:lnTo>
                  <a:lnTo>
                    <a:pt x="7750849" y="2455377"/>
                  </a:lnTo>
                  <a:lnTo>
                    <a:pt x="7751600" y="2431433"/>
                  </a:lnTo>
                  <a:lnTo>
                    <a:pt x="7758171" y="2394105"/>
                  </a:lnTo>
                  <a:lnTo>
                    <a:pt x="7755918" y="2373476"/>
                  </a:lnTo>
                  <a:lnTo>
                    <a:pt x="7747657" y="2350269"/>
                  </a:lnTo>
                  <a:lnTo>
                    <a:pt x="7733953" y="2330745"/>
                  </a:lnTo>
                  <a:lnTo>
                    <a:pt x="7725317" y="2310608"/>
                  </a:lnTo>
                  <a:lnTo>
                    <a:pt x="7715743" y="2289365"/>
                  </a:lnTo>
                  <a:lnTo>
                    <a:pt x="7713490" y="2264685"/>
                  </a:lnTo>
                  <a:lnTo>
                    <a:pt x="7700724" y="2239881"/>
                  </a:lnTo>
                  <a:lnTo>
                    <a:pt x="7686269" y="2213972"/>
                  </a:lnTo>
                  <a:lnTo>
                    <a:pt x="7666181" y="2223304"/>
                  </a:lnTo>
                  <a:lnTo>
                    <a:pt x="7655481" y="2240495"/>
                  </a:lnTo>
                  <a:lnTo>
                    <a:pt x="7644029" y="2257072"/>
                  </a:lnTo>
                  <a:lnTo>
                    <a:pt x="7625819" y="2257686"/>
                  </a:lnTo>
                  <a:cubicBezTo>
                    <a:pt x="7620562" y="2254002"/>
                    <a:pt x="7615493" y="2250318"/>
                    <a:pt x="7610425" y="2246389"/>
                  </a:cubicBezTo>
                  <a:cubicBezTo>
                    <a:pt x="7606482" y="2243442"/>
                    <a:pt x="7602727" y="2240372"/>
                    <a:pt x="7598973" y="2237302"/>
                  </a:cubicBezTo>
                  <a:lnTo>
                    <a:pt x="7598222" y="2220112"/>
                  </a:lnTo>
                  <a:lnTo>
                    <a:pt x="7610237" y="2212745"/>
                  </a:lnTo>
                  <a:lnTo>
                    <a:pt x="7615493" y="2200957"/>
                  </a:lnTo>
                  <a:cubicBezTo>
                    <a:pt x="7612114" y="2194817"/>
                    <a:pt x="7608547" y="2188801"/>
                    <a:pt x="7605168" y="2182784"/>
                  </a:cubicBezTo>
                  <a:cubicBezTo>
                    <a:pt x="7598222" y="2171119"/>
                    <a:pt x="7591464" y="2159331"/>
                    <a:pt x="7585269" y="2147298"/>
                  </a:cubicBezTo>
                  <a:cubicBezTo>
                    <a:pt x="7580763" y="2138457"/>
                    <a:pt x="7576821" y="2129493"/>
                    <a:pt x="7573066" y="2120284"/>
                  </a:cubicBezTo>
                  <a:lnTo>
                    <a:pt x="7544155" y="2100637"/>
                  </a:lnTo>
                  <a:lnTo>
                    <a:pt x="7532703" y="2091797"/>
                  </a:lnTo>
                  <a:cubicBezTo>
                    <a:pt x="7526133" y="2094498"/>
                    <a:pt x="7518435" y="2094007"/>
                    <a:pt x="7512053" y="2090569"/>
                  </a:cubicBezTo>
                  <a:cubicBezTo>
                    <a:pt x="7508673" y="2088604"/>
                    <a:pt x="7505857" y="2085780"/>
                    <a:pt x="7503793" y="2082465"/>
                  </a:cubicBezTo>
                  <a:lnTo>
                    <a:pt x="7498536" y="2066256"/>
                  </a:lnTo>
                  <a:lnTo>
                    <a:pt x="7489713" y="2042435"/>
                  </a:lnTo>
                  <a:cubicBezTo>
                    <a:pt x="7488211" y="2036173"/>
                    <a:pt x="7485770" y="2030279"/>
                    <a:pt x="7482203" y="2024999"/>
                  </a:cubicBezTo>
                  <a:cubicBezTo>
                    <a:pt x="7479575" y="2021192"/>
                    <a:pt x="7476571" y="2017632"/>
                    <a:pt x="7473004" y="2014439"/>
                  </a:cubicBezTo>
                  <a:lnTo>
                    <a:pt x="7456859" y="2011001"/>
                  </a:lnTo>
                  <a:cubicBezTo>
                    <a:pt x="7451415" y="2009036"/>
                    <a:pt x="7445407" y="2009282"/>
                    <a:pt x="7440339" y="2011738"/>
                  </a:cubicBezTo>
                  <a:cubicBezTo>
                    <a:pt x="7435082" y="2014193"/>
                    <a:pt x="7431140" y="2018737"/>
                    <a:pt x="7429450" y="2024139"/>
                  </a:cubicBezTo>
                  <a:lnTo>
                    <a:pt x="7401478" y="2031998"/>
                  </a:lnTo>
                  <a:lnTo>
                    <a:pt x="7380640" y="2031998"/>
                  </a:lnTo>
                  <a:lnTo>
                    <a:pt x="7353981" y="2039488"/>
                  </a:lnTo>
                  <a:lnTo>
                    <a:pt x="7328074" y="2054591"/>
                  </a:lnTo>
                  <a:lnTo>
                    <a:pt x="7326760" y="2068221"/>
                  </a:lnTo>
                  <a:lnTo>
                    <a:pt x="7331266" y="2083324"/>
                  </a:lnTo>
                  <a:lnTo>
                    <a:pt x="7324695" y="2099901"/>
                  </a:lnTo>
                  <a:lnTo>
                    <a:pt x="7299539" y="2107514"/>
                  </a:lnTo>
                  <a:cubicBezTo>
                    <a:pt x="7288275" y="2108987"/>
                    <a:pt x="7278138" y="2115004"/>
                    <a:pt x="7271379" y="2124213"/>
                  </a:cubicBezTo>
                  <a:cubicBezTo>
                    <a:pt x="7267249" y="2129739"/>
                    <a:pt x="7264621" y="2136247"/>
                    <a:pt x="7263682" y="2143123"/>
                  </a:cubicBezTo>
                  <a:lnTo>
                    <a:pt x="7252981" y="2163506"/>
                  </a:lnTo>
                  <a:lnTo>
                    <a:pt x="7237963" y="2171119"/>
                  </a:lnTo>
                  <a:lnTo>
                    <a:pt x="7214308" y="2177872"/>
                  </a:lnTo>
                  <a:lnTo>
                    <a:pt x="7209803" y="2191747"/>
                  </a:lnTo>
                  <a:lnTo>
                    <a:pt x="7205110" y="2213727"/>
                  </a:lnTo>
                  <a:lnTo>
                    <a:pt x="7185398" y="2228584"/>
                  </a:lnTo>
                  <a:lnTo>
                    <a:pt x="7160992" y="2246021"/>
                  </a:lnTo>
                  <a:lnTo>
                    <a:pt x="7137338" y="2262720"/>
                  </a:lnTo>
                  <a:lnTo>
                    <a:pt x="7128890" y="2273771"/>
                  </a:lnTo>
                  <a:lnTo>
                    <a:pt x="7121381" y="2304714"/>
                  </a:lnTo>
                  <a:lnTo>
                    <a:pt x="7130392" y="2325957"/>
                  </a:lnTo>
                  <a:lnTo>
                    <a:pt x="7132832" y="2345603"/>
                  </a:lnTo>
                  <a:cubicBezTo>
                    <a:pt x="7130580" y="2353093"/>
                    <a:pt x="7128515" y="2360706"/>
                    <a:pt x="7126637" y="2368319"/>
                  </a:cubicBezTo>
                  <a:cubicBezTo>
                    <a:pt x="7125323" y="2373476"/>
                    <a:pt x="7124009" y="2378756"/>
                    <a:pt x="7122883" y="2383913"/>
                  </a:cubicBezTo>
                  <a:lnTo>
                    <a:pt x="7121381" y="2396806"/>
                  </a:lnTo>
                  <a:cubicBezTo>
                    <a:pt x="7120630" y="2407121"/>
                    <a:pt x="7119879" y="2417312"/>
                    <a:pt x="7119316" y="2427627"/>
                  </a:cubicBezTo>
                  <a:cubicBezTo>
                    <a:pt x="7118752" y="2435731"/>
                    <a:pt x="7118189" y="2443712"/>
                    <a:pt x="7117814" y="2451816"/>
                  </a:cubicBezTo>
                  <a:cubicBezTo>
                    <a:pt x="7114810" y="2456851"/>
                    <a:pt x="7111994" y="2462008"/>
                    <a:pt x="7109178" y="2467165"/>
                  </a:cubicBezTo>
                  <a:cubicBezTo>
                    <a:pt x="7106362" y="2472076"/>
                    <a:pt x="7103734" y="2476865"/>
                    <a:pt x="7101293" y="2481777"/>
                  </a:cubicBezTo>
                  <a:cubicBezTo>
                    <a:pt x="7098102" y="2486934"/>
                    <a:pt x="7094347" y="2491846"/>
                    <a:pt x="7090217" y="2496389"/>
                  </a:cubicBezTo>
                  <a:cubicBezTo>
                    <a:pt x="7085336" y="2501914"/>
                    <a:pt x="7079892" y="2506826"/>
                    <a:pt x="7074072" y="2511124"/>
                  </a:cubicBezTo>
                  <a:cubicBezTo>
                    <a:pt x="7072758" y="2515176"/>
                    <a:pt x="7071444" y="2519351"/>
                    <a:pt x="7070317" y="2523403"/>
                  </a:cubicBezTo>
                  <a:cubicBezTo>
                    <a:pt x="7069003" y="2527700"/>
                    <a:pt x="7067689" y="2531998"/>
                    <a:pt x="7066563" y="2536296"/>
                  </a:cubicBezTo>
                  <a:lnTo>
                    <a:pt x="7054548" y="2536909"/>
                  </a:lnTo>
                  <a:lnTo>
                    <a:pt x="7047602" y="2527209"/>
                  </a:lnTo>
                  <a:lnTo>
                    <a:pt x="7035775" y="2520578"/>
                  </a:lnTo>
                  <a:lnTo>
                    <a:pt x="7022633" y="2513088"/>
                  </a:lnTo>
                  <a:lnTo>
                    <a:pt x="7014936" y="2499459"/>
                  </a:lnTo>
                  <a:lnTo>
                    <a:pt x="7003860" y="2470357"/>
                  </a:lnTo>
                  <a:lnTo>
                    <a:pt x="7002358" y="2456114"/>
                  </a:lnTo>
                  <a:lnTo>
                    <a:pt x="6995412" y="2442607"/>
                  </a:lnTo>
                  <a:lnTo>
                    <a:pt x="6989405" y="2431187"/>
                  </a:lnTo>
                  <a:lnTo>
                    <a:pt x="6979267" y="2404542"/>
                  </a:lnTo>
                  <a:lnTo>
                    <a:pt x="6965938" y="2376300"/>
                  </a:lnTo>
                  <a:lnTo>
                    <a:pt x="6957678" y="2357882"/>
                  </a:lnTo>
                  <a:lnTo>
                    <a:pt x="6952984" y="2343270"/>
                  </a:lnTo>
                  <a:lnTo>
                    <a:pt x="6946226" y="2325834"/>
                  </a:lnTo>
                  <a:lnTo>
                    <a:pt x="6935150" y="2310240"/>
                  </a:lnTo>
                  <a:lnTo>
                    <a:pt x="6927640" y="2299802"/>
                  </a:lnTo>
                  <a:lnTo>
                    <a:pt x="6917127" y="2277086"/>
                  </a:lnTo>
                  <a:lnTo>
                    <a:pt x="6912622" y="2262965"/>
                  </a:lnTo>
                  <a:lnTo>
                    <a:pt x="6909618" y="2242091"/>
                  </a:lnTo>
                  <a:lnTo>
                    <a:pt x="6899105" y="2228462"/>
                  </a:lnTo>
                  <a:lnTo>
                    <a:pt x="6880895" y="2209552"/>
                  </a:lnTo>
                  <a:lnTo>
                    <a:pt x="6879393" y="2192361"/>
                  </a:lnTo>
                  <a:lnTo>
                    <a:pt x="6873949" y="2157121"/>
                  </a:lnTo>
                  <a:lnTo>
                    <a:pt x="6859869" y="2125318"/>
                  </a:lnTo>
                  <a:lnTo>
                    <a:pt x="6857616" y="2112671"/>
                  </a:lnTo>
                  <a:lnTo>
                    <a:pt x="6857616" y="2094744"/>
                  </a:lnTo>
                  <a:lnTo>
                    <a:pt x="6859681" y="2077430"/>
                  </a:lnTo>
                  <a:lnTo>
                    <a:pt x="6863436" y="2065274"/>
                  </a:lnTo>
                  <a:lnTo>
                    <a:pt x="6865689" y="2044154"/>
                  </a:lnTo>
                  <a:lnTo>
                    <a:pt x="6857428" y="2031384"/>
                  </a:lnTo>
                  <a:cubicBezTo>
                    <a:pt x="6852172" y="2028314"/>
                    <a:pt x="6845977" y="2027455"/>
                    <a:pt x="6840157" y="2029051"/>
                  </a:cubicBezTo>
                  <a:cubicBezTo>
                    <a:pt x="6836590" y="2030033"/>
                    <a:pt x="6833398" y="2031875"/>
                    <a:pt x="6830958" y="2034331"/>
                  </a:cubicBezTo>
                  <a:lnTo>
                    <a:pt x="6824012" y="2048697"/>
                  </a:lnTo>
                  <a:lnTo>
                    <a:pt x="6825514" y="2059626"/>
                  </a:lnTo>
                  <a:lnTo>
                    <a:pt x="6825514" y="2070431"/>
                  </a:lnTo>
                  <a:lnTo>
                    <a:pt x="6811434" y="2078535"/>
                  </a:lnTo>
                  <a:lnTo>
                    <a:pt x="6793036" y="2078535"/>
                  </a:lnTo>
                  <a:lnTo>
                    <a:pt x="6774075" y="2074729"/>
                  </a:lnTo>
                  <a:lnTo>
                    <a:pt x="6761309" y="2063923"/>
                  </a:lnTo>
                  <a:lnTo>
                    <a:pt x="6756428" y="2046242"/>
                  </a:lnTo>
                  <a:lnTo>
                    <a:pt x="6739720" y="2040225"/>
                  </a:lnTo>
                  <a:lnTo>
                    <a:pt x="6734463" y="2028192"/>
                  </a:lnTo>
                  <a:lnTo>
                    <a:pt x="6744038" y="2025122"/>
                  </a:lnTo>
                  <a:lnTo>
                    <a:pt x="6759056" y="2028192"/>
                  </a:lnTo>
                  <a:lnTo>
                    <a:pt x="6770133" y="2023894"/>
                  </a:lnTo>
                  <a:lnTo>
                    <a:pt x="6775389" y="2010264"/>
                  </a:lnTo>
                  <a:lnTo>
                    <a:pt x="6771634" y="2000564"/>
                  </a:lnTo>
                  <a:lnTo>
                    <a:pt x="6752110" y="2007317"/>
                  </a:lnTo>
                  <a:lnTo>
                    <a:pt x="6734463" y="2008054"/>
                  </a:lnTo>
                  <a:lnTo>
                    <a:pt x="6722448" y="1996266"/>
                  </a:lnTo>
                  <a:lnTo>
                    <a:pt x="6710246" y="1979567"/>
                  </a:lnTo>
                  <a:lnTo>
                    <a:pt x="6700671" y="1969498"/>
                  </a:lnTo>
                  <a:lnTo>
                    <a:pt x="6673826" y="1962622"/>
                  </a:lnTo>
                  <a:lnTo>
                    <a:pt x="6666504" y="1945922"/>
                  </a:lnTo>
                  <a:lnTo>
                    <a:pt x="6661247" y="1931556"/>
                  </a:lnTo>
                  <a:lnTo>
                    <a:pt x="6656554" y="1924066"/>
                  </a:lnTo>
                  <a:lnTo>
                    <a:pt x="6636654" y="1919031"/>
                  </a:lnTo>
                  <a:lnTo>
                    <a:pt x="6625015" y="1907612"/>
                  </a:lnTo>
                  <a:lnTo>
                    <a:pt x="6610560" y="1906875"/>
                  </a:lnTo>
                  <a:lnTo>
                    <a:pt x="6593100" y="1917435"/>
                  </a:lnTo>
                  <a:lnTo>
                    <a:pt x="6574703" y="1925539"/>
                  </a:lnTo>
                  <a:lnTo>
                    <a:pt x="6545604" y="1927013"/>
                  </a:lnTo>
                  <a:lnTo>
                    <a:pt x="6522888" y="1917190"/>
                  </a:lnTo>
                  <a:lnTo>
                    <a:pt x="6488345" y="1917190"/>
                  </a:lnTo>
                  <a:lnTo>
                    <a:pt x="6466568" y="1924557"/>
                  </a:lnTo>
                  <a:lnTo>
                    <a:pt x="6448358" y="1926030"/>
                  </a:lnTo>
                  <a:cubicBezTo>
                    <a:pt x="6442726" y="1922838"/>
                    <a:pt x="6436907" y="1920259"/>
                    <a:pt x="6430711" y="1918417"/>
                  </a:cubicBezTo>
                  <a:cubicBezTo>
                    <a:pt x="6424141" y="1916453"/>
                    <a:pt x="6417195" y="1915348"/>
                    <a:pt x="6410249" y="1915102"/>
                  </a:cubicBezTo>
                  <a:lnTo>
                    <a:pt x="6381150" y="1915962"/>
                  </a:lnTo>
                  <a:lnTo>
                    <a:pt x="6352990" y="1910559"/>
                  </a:lnTo>
                  <a:lnTo>
                    <a:pt x="6342665" y="1898034"/>
                  </a:lnTo>
                  <a:lnTo>
                    <a:pt x="6337221" y="1885387"/>
                  </a:lnTo>
                  <a:cubicBezTo>
                    <a:pt x="6335531" y="1879493"/>
                    <a:pt x="6331964" y="1874090"/>
                    <a:pt x="6327458" y="1870038"/>
                  </a:cubicBezTo>
                  <a:cubicBezTo>
                    <a:pt x="6325206" y="1867951"/>
                    <a:pt x="6322765" y="1866355"/>
                    <a:pt x="6319949" y="1865004"/>
                  </a:cubicBezTo>
                  <a:lnTo>
                    <a:pt x="6302865" y="1850883"/>
                  </a:lnTo>
                  <a:lnTo>
                    <a:pt x="6292165" y="1852357"/>
                  </a:lnTo>
                  <a:lnTo>
                    <a:pt x="6270951" y="1861443"/>
                  </a:lnTo>
                  <a:lnTo>
                    <a:pt x="6264005" y="1867460"/>
                  </a:lnTo>
                  <a:lnTo>
                    <a:pt x="6240726" y="1868688"/>
                  </a:lnTo>
                  <a:lnTo>
                    <a:pt x="6220826" y="1860338"/>
                  </a:lnTo>
                  <a:lnTo>
                    <a:pt x="6183280" y="1844989"/>
                  </a:lnTo>
                  <a:lnTo>
                    <a:pt x="6158123" y="1831360"/>
                  </a:lnTo>
                  <a:lnTo>
                    <a:pt x="6130151" y="1820063"/>
                  </a:lnTo>
                  <a:lnTo>
                    <a:pt x="6124144" y="1807170"/>
                  </a:lnTo>
                  <a:cubicBezTo>
                    <a:pt x="6125270" y="1801276"/>
                    <a:pt x="6125270" y="1795137"/>
                    <a:pt x="6124144" y="1789243"/>
                  </a:cubicBezTo>
                  <a:cubicBezTo>
                    <a:pt x="6122454" y="1781139"/>
                    <a:pt x="6118699" y="1773526"/>
                    <a:pt x="6113255" y="1767263"/>
                  </a:cubicBezTo>
                  <a:lnTo>
                    <a:pt x="6102742" y="1754493"/>
                  </a:lnTo>
                  <a:lnTo>
                    <a:pt x="6098800" y="1745775"/>
                  </a:lnTo>
                  <a:lnTo>
                    <a:pt x="6080777" y="1736689"/>
                  </a:lnTo>
                  <a:lnTo>
                    <a:pt x="6069326" y="1729198"/>
                  </a:lnTo>
                  <a:lnTo>
                    <a:pt x="6052993" y="1727111"/>
                  </a:lnTo>
                  <a:lnTo>
                    <a:pt x="6039664" y="1727111"/>
                  </a:lnTo>
                  <a:lnTo>
                    <a:pt x="6031404" y="1736197"/>
                  </a:lnTo>
                  <a:lnTo>
                    <a:pt x="6028588" y="1749950"/>
                  </a:lnTo>
                  <a:lnTo>
                    <a:pt x="6017324" y="1767140"/>
                  </a:lnTo>
                  <a:lnTo>
                    <a:pt x="6018638" y="1778437"/>
                  </a:lnTo>
                  <a:lnTo>
                    <a:pt x="6028025" y="1790716"/>
                  </a:lnTo>
                  <a:lnTo>
                    <a:pt x="6040978" y="1805942"/>
                  </a:lnTo>
                  <a:lnTo>
                    <a:pt x="6059751" y="1830746"/>
                  </a:lnTo>
                  <a:lnTo>
                    <a:pt x="6070077" y="1845603"/>
                  </a:lnTo>
                  <a:lnTo>
                    <a:pt x="6078149" y="1859601"/>
                  </a:lnTo>
                  <a:lnTo>
                    <a:pt x="6082092" y="1886492"/>
                  </a:lnTo>
                  <a:cubicBezTo>
                    <a:pt x="6086409" y="1894105"/>
                    <a:pt x="6090164" y="1901841"/>
                    <a:pt x="6093168" y="1909945"/>
                  </a:cubicBezTo>
                  <a:cubicBezTo>
                    <a:pt x="6094857" y="1914243"/>
                    <a:pt x="6096359" y="1918540"/>
                    <a:pt x="6097486" y="1922838"/>
                  </a:cubicBezTo>
                  <a:lnTo>
                    <a:pt x="6120952" y="1919031"/>
                  </a:lnTo>
                  <a:lnTo>
                    <a:pt x="6126209" y="1907735"/>
                  </a:lnTo>
                  <a:lnTo>
                    <a:pt x="6132216" y="1900122"/>
                  </a:lnTo>
                  <a:lnTo>
                    <a:pt x="6139726" y="1902455"/>
                  </a:lnTo>
                  <a:lnTo>
                    <a:pt x="6137473" y="1911173"/>
                  </a:lnTo>
                  <a:lnTo>
                    <a:pt x="6155871" y="1915716"/>
                  </a:lnTo>
                  <a:lnTo>
                    <a:pt x="6160752" y="1927136"/>
                  </a:lnTo>
                  <a:lnTo>
                    <a:pt x="6143292" y="1940765"/>
                  </a:lnTo>
                  <a:lnTo>
                    <a:pt x="6153242" y="1951448"/>
                  </a:lnTo>
                  <a:lnTo>
                    <a:pt x="6164131" y="1956482"/>
                  </a:lnTo>
                  <a:lnTo>
                    <a:pt x="6173142" y="1964832"/>
                  </a:lnTo>
                  <a:lnTo>
                    <a:pt x="6204306" y="1962499"/>
                  </a:lnTo>
                  <a:lnTo>
                    <a:pt x="6212003" y="1956482"/>
                  </a:lnTo>
                  <a:lnTo>
                    <a:pt x="6220826" y="1955746"/>
                  </a:lnTo>
                  <a:lnTo>
                    <a:pt x="6232466" y="1955746"/>
                  </a:lnTo>
                  <a:lnTo>
                    <a:pt x="6239036" y="1946659"/>
                  </a:lnTo>
                  <a:lnTo>
                    <a:pt x="6270012" y="1918663"/>
                  </a:lnTo>
                  <a:lnTo>
                    <a:pt x="6285782" y="1897789"/>
                  </a:lnTo>
                  <a:lnTo>
                    <a:pt x="6292352" y="1887229"/>
                  </a:lnTo>
                  <a:lnTo>
                    <a:pt x="6295919" y="1879861"/>
                  </a:lnTo>
                  <a:lnTo>
                    <a:pt x="6303804" y="1883668"/>
                  </a:lnTo>
                  <a:lnTo>
                    <a:pt x="6303804" y="1893491"/>
                  </a:lnTo>
                  <a:lnTo>
                    <a:pt x="6313378" y="1903683"/>
                  </a:lnTo>
                  <a:lnTo>
                    <a:pt x="6303429" y="1913260"/>
                  </a:lnTo>
                  <a:lnTo>
                    <a:pt x="6299674" y="1924557"/>
                  </a:lnTo>
                  <a:lnTo>
                    <a:pt x="6303992" y="1935731"/>
                  </a:lnTo>
                  <a:lnTo>
                    <a:pt x="6316758" y="1953904"/>
                  </a:lnTo>
                  <a:lnTo>
                    <a:pt x="6340412" y="1963113"/>
                  </a:lnTo>
                  <a:lnTo>
                    <a:pt x="6362377" y="1972813"/>
                  </a:lnTo>
                  <a:lnTo>
                    <a:pt x="6377771" y="1980549"/>
                  </a:lnTo>
                  <a:lnTo>
                    <a:pt x="6385468" y="1999704"/>
                  </a:lnTo>
                  <a:lnTo>
                    <a:pt x="6403115" y="2013088"/>
                  </a:lnTo>
                  <a:lnTo>
                    <a:pt x="6421513" y="2029419"/>
                  </a:lnTo>
                  <a:lnTo>
                    <a:pt x="6421513" y="2039734"/>
                  </a:lnTo>
                  <a:lnTo>
                    <a:pt x="6415130" y="2048083"/>
                  </a:lnTo>
                  <a:lnTo>
                    <a:pt x="6402927" y="2057047"/>
                  </a:lnTo>
                  <a:cubicBezTo>
                    <a:pt x="6397107" y="2062450"/>
                    <a:pt x="6391100" y="2067730"/>
                    <a:pt x="6385092" y="2073010"/>
                  </a:cubicBezTo>
                  <a:cubicBezTo>
                    <a:pt x="6379460" y="2078044"/>
                    <a:pt x="6373641" y="2083079"/>
                    <a:pt x="6367633" y="2088113"/>
                  </a:cubicBezTo>
                  <a:lnTo>
                    <a:pt x="6360875" y="2108496"/>
                  </a:lnTo>
                  <a:cubicBezTo>
                    <a:pt x="6358247" y="2115495"/>
                    <a:pt x="6355243" y="2122248"/>
                    <a:pt x="6352239" y="2129002"/>
                  </a:cubicBezTo>
                  <a:cubicBezTo>
                    <a:pt x="6349986" y="2133545"/>
                    <a:pt x="6347734" y="2138088"/>
                    <a:pt x="6345293" y="2142509"/>
                  </a:cubicBezTo>
                  <a:lnTo>
                    <a:pt x="6322953" y="2160436"/>
                  </a:lnTo>
                  <a:lnTo>
                    <a:pt x="6306620" y="2182907"/>
                  </a:lnTo>
                  <a:lnTo>
                    <a:pt x="6296295" y="2196782"/>
                  </a:lnTo>
                  <a:cubicBezTo>
                    <a:pt x="6290475" y="2202307"/>
                    <a:pt x="6283529" y="2206605"/>
                    <a:pt x="6276020" y="2209675"/>
                  </a:cubicBezTo>
                  <a:cubicBezTo>
                    <a:pt x="6270200" y="2211885"/>
                    <a:pt x="6264192" y="2213358"/>
                    <a:pt x="6257997" y="2213850"/>
                  </a:cubicBezTo>
                  <a:cubicBezTo>
                    <a:pt x="6250300" y="2214464"/>
                    <a:pt x="6242603" y="2216060"/>
                    <a:pt x="6235094" y="2218516"/>
                  </a:cubicBezTo>
                  <a:cubicBezTo>
                    <a:pt x="6227960" y="2220849"/>
                    <a:pt x="6221014" y="2224041"/>
                    <a:pt x="6214631" y="2228093"/>
                  </a:cubicBezTo>
                  <a:lnTo>
                    <a:pt x="6198486" y="2241477"/>
                  </a:lnTo>
                  <a:lnTo>
                    <a:pt x="6191728" y="2256826"/>
                  </a:lnTo>
                  <a:lnTo>
                    <a:pt x="6176521" y="2272666"/>
                  </a:lnTo>
                  <a:lnTo>
                    <a:pt x="6157748" y="2281752"/>
                  </a:lnTo>
                  <a:lnTo>
                    <a:pt x="6136346" y="2299188"/>
                  </a:lnTo>
                  <a:lnTo>
                    <a:pt x="6112129" y="2304346"/>
                  </a:lnTo>
                  <a:cubicBezTo>
                    <a:pt x="6099926" y="2307907"/>
                    <a:pt x="6088099" y="2313064"/>
                    <a:pt x="6077398" y="2319694"/>
                  </a:cubicBezTo>
                  <a:cubicBezTo>
                    <a:pt x="6074395" y="2321536"/>
                    <a:pt x="6071579" y="2323501"/>
                    <a:pt x="6068763" y="2325465"/>
                  </a:cubicBezTo>
                  <a:lnTo>
                    <a:pt x="6047924" y="2335780"/>
                  </a:lnTo>
                  <a:lnTo>
                    <a:pt x="6022017" y="2350269"/>
                  </a:lnTo>
                  <a:lnTo>
                    <a:pt x="5986911" y="2365127"/>
                  </a:lnTo>
                  <a:lnTo>
                    <a:pt x="5952556" y="2371880"/>
                  </a:lnTo>
                  <a:lnTo>
                    <a:pt x="5923270" y="2370407"/>
                  </a:lnTo>
                  <a:lnTo>
                    <a:pt x="5909565" y="2352234"/>
                  </a:lnTo>
                  <a:lnTo>
                    <a:pt x="5901493" y="2337622"/>
                  </a:lnTo>
                  <a:lnTo>
                    <a:pt x="5889102" y="2325711"/>
                  </a:lnTo>
                  <a:lnTo>
                    <a:pt x="5889102" y="2309257"/>
                  </a:lnTo>
                  <a:lnTo>
                    <a:pt x="5882907" y="2288137"/>
                  </a:lnTo>
                  <a:lnTo>
                    <a:pt x="5872582" y="2277209"/>
                  </a:lnTo>
                  <a:lnTo>
                    <a:pt x="5868639" y="2263088"/>
                  </a:lnTo>
                  <a:lnTo>
                    <a:pt x="5882344" y="2236688"/>
                  </a:lnTo>
                  <a:lnTo>
                    <a:pt x="5872582" y="2220480"/>
                  </a:lnTo>
                  <a:lnTo>
                    <a:pt x="5862820" y="2206851"/>
                  </a:lnTo>
                  <a:lnTo>
                    <a:pt x="5854559" y="2199360"/>
                  </a:lnTo>
                  <a:lnTo>
                    <a:pt x="5840104" y="2191747"/>
                  </a:lnTo>
                  <a:lnTo>
                    <a:pt x="5832782" y="2167926"/>
                  </a:lnTo>
                  <a:lnTo>
                    <a:pt x="5830154" y="2150490"/>
                  </a:lnTo>
                  <a:lnTo>
                    <a:pt x="5814948" y="2130844"/>
                  </a:lnTo>
                  <a:lnTo>
                    <a:pt x="5799929" y="2125318"/>
                  </a:lnTo>
                  <a:lnTo>
                    <a:pt x="5779278" y="2119179"/>
                  </a:lnTo>
                  <a:lnTo>
                    <a:pt x="5779278" y="2103830"/>
                  </a:lnTo>
                  <a:lnTo>
                    <a:pt x="5765574" y="2088850"/>
                  </a:lnTo>
                  <a:lnTo>
                    <a:pt x="5766137" y="2080254"/>
                  </a:lnTo>
                  <a:lnTo>
                    <a:pt x="5753935" y="2059135"/>
                  </a:lnTo>
                  <a:lnTo>
                    <a:pt x="5747176" y="2046242"/>
                  </a:lnTo>
                  <a:lnTo>
                    <a:pt x="5744923" y="2022912"/>
                  </a:lnTo>
                  <a:cubicBezTo>
                    <a:pt x="5750368" y="2015790"/>
                    <a:pt x="5752057" y="2006458"/>
                    <a:pt x="5749241" y="1997862"/>
                  </a:cubicBezTo>
                  <a:cubicBezTo>
                    <a:pt x="5746237" y="1988776"/>
                    <a:pt x="5738728" y="1981900"/>
                    <a:pt x="5729342" y="1979690"/>
                  </a:cubicBezTo>
                  <a:lnTo>
                    <a:pt x="5708128" y="1965323"/>
                  </a:lnTo>
                  <a:lnTo>
                    <a:pt x="5701182" y="1960043"/>
                  </a:lnTo>
                  <a:lnTo>
                    <a:pt x="5697239" y="1949852"/>
                  </a:lnTo>
                  <a:lnTo>
                    <a:pt x="5688979" y="1925785"/>
                  </a:lnTo>
                  <a:lnTo>
                    <a:pt x="5678841" y="1915962"/>
                  </a:lnTo>
                  <a:lnTo>
                    <a:pt x="5657815" y="1903192"/>
                  </a:lnTo>
                  <a:lnTo>
                    <a:pt x="5648429" y="1883791"/>
                  </a:lnTo>
                  <a:lnTo>
                    <a:pt x="5639417" y="1871266"/>
                  </a:lnTo>
                  <a:lnTo>
                    <a:pt x="5631908" y="1850760"/>
                  </a:lnTo>
                  <a:lnTo>
                    <a:pt x="5617077" y="1837376"/>
                  </a:lnTo>
                  <a:lnTo>
                    <a:pt x="5610131" y="1802749"/>
                  </a:lnTo>
                  <a:lnTo>
                    <a:pt x="5603373" y="1786173"/>
                  </a:lnTo>
                  <a:lnTo>
                    <a:pt x="5594737" y="1775245"/>
                  </a:lnTo>
                  <a:lnTo>
                    <a:pt x="5584036" y="1783472"/>
                  </a:lnTo>
                  <a:lnTo>
                    <a:pt x="5584036" y="1815274"/>
                  </a:lnTo>
                  <a:lnTo>
                    <a:pt x="5575776" y="1824360"/>
                  </a:lnTo>
                  <a:lnTo>
                    <a:pt x="5561321" y="1804837"/>
                  </a:lnTo>
                  <a:lnTo>
                    <a:pt x="5546865" y="1797101"/>
                  </a:lnTo>
                  <a:lnTo>
                    <a:pt x="5546865" y="1787278"/>
                  </a:lnTo>
                  <a:lnTo>
                    <a:pt x="5547616" y="1776964"/>
                  </a:lnTo>
                  <a:lnTo>
                    <a:pt x="5538417" y="1769719"/>
                  </a:lnTo>
                  <a:lnTo>
                    <a:pt x="5528655" y="1764439"/>
                  </a:lnTo>
                  <a:lnTo>
                    <a:pt x="5517932" y="1751960"/>
                  </a:lnTo>
                  <a:lnTo>
                    <a:pt x="5515975" y="1756178"/>
                  </a:lnTo>
                  <a:lnTo>
                    <a:pt x="5508379" y="1766218"/>
                  </a:lnTo>
                  <a:lnTo>
                    <a:pt x="5509434" y="1777226"/>
                  </a:lnTo>
                  <a:lnTo>
                    <a:pt x="5517030" y="1791983"/>
                  </a:lnTo>
                  <a:lnTo>
                    <a:pt x="5526947" y="1804805"/>
                  </a:lnTo>
                  <a:lnTo>
                    <a:pt x="5543616" y="1831900"/>
                  </a:lnTo>
                  <a:lnTo>
                    <a:pt x="5572102" y="1874963"/>
                  </a:lnTo>
                  <a:lnTo>
                    <a:pt x="5584234" y="1893228"/>
                  </a:lnTo>
                  <a:cubicBezTo>
                    <a:pt x="5590459" y="1899760"/>
                    <a:pt x="5594995" y="1907864"/>
                    <a:pt x="5597211" y="1916694"/>
                  </a:cubicBezTo>
                  <a:cubicBezTo>
                    <a:pt x="5598055" y="1919840"/>
                    <a:pt x="5598477" y="1922985"/>
                    <a:pt x="5598688" y="1926250"/>
                  </a:cubicBezTo>
                  <a:lnTo>
                    <a:pt x="5606284" y="1948145"/>
                  </a:lnTo>
                  <a:cubicBezTo>
                    <a:pt x="5609976" y="1954676"/>
                    <a:pt x="5612825" y="1961450"/>
                    <a:pt x="5614724" y="1968587"/>
                  </a:cubicBezTo>
                  <a:cubicBezTo>
                    <a:pt x="5616623" y="1975603"/>
                    <a:pt x="5617572" y="1982619"/>
                    <a:pt x="5617783" y="1989755"/>
                  </a:cubicBezTo>
                  <a:lnTo>
                    <a:pt x="5620843" y="2006932"/>
                  </a:lnTo>
                  <a:lnTo>
                    <a:pt x="5649750" y="2021084"/>
                  </a:lnTo>
                  <a:lnTo>
                    <a:pt x="5661777" y="2041890"/>
                  </a:lnTo>
                  <a:lnTo>
                    <a:pt x="5666419" y="2053502"/>
                  </a:lnTo>
                  <a:cubicBezTo>
                    <a:pt x="5671167" y="2058704"/>
                    <a:pt x="5674859" y="2064873"/>
                    <a:pt x="5677075" y="2071646"/>
                  </a:cubicBezTo>
                  <a:cubicBezTo>
                    <a:pt x="5679818" y="2079993"/>
                    <a:pt x="5680345" y="2088823"/>
                    <a:pt x="5678552" y="2097411"/>
                  </a:cubicBezTo>
                  <a:lnTo>
                    <a:pt x="5678552" y="2113499"/>
                  </a:lnTo>
                  <a:lnTo>
                    <a:pt x="5682139" y="2129103"/>
                  </a:lnTo>
                  <a:lnTo>
                    <a:pt x="5692794" y="2141199"/>
                  </a:lnTo>
                  <a:lnTo>
                    <a:pt x="5700707" y="2150755"/>
                  </a:lnTo>
                  <a:lnTo>
                    <a:pt x="5715899" y="2168900"/>
                  </a:lnTo>
                  <a:lnTo>
                    <a:pt x="5722018" y="2180270"/>
                  </a:lnTo>
                  <a:lnTo>
                    <a:pt x="5729403" y="2196479"/>
                  </a:lnTo>
                  <a:lnTo>
                    <a:pt x="5748499" y="2208333"/>
                  </a:lnTo>
                  <a:lnTo>
                    <a:pt x="5748710" y="2218131"/>
                  </a:lnTo>
                  <a:lnTo>
                    <a:pt x="5749554" y="2229985"/>
                  </a:lnTo>
                  <a:lnTo>
                    <a:pt x="5757044" y="2237485"/>
                  </a:lnTo>
                  <a:lnTo>
                    <a:pt x="5754829" y="2250549"/>
                  </a:lnTo>
                  <a:lnTo>
                    <a:pt x="5765379" y="2263613"/>
                  </a:lnTo>
                  <a:lnTo>
                    <a:pt x="5782153" y="2277644"/>
                  </a:lnTo>
                  <a:lnTo>
                    <a:pt x="5794602" y="2278854"/>
                  </a:lnTo>
                  <a:cubicBezTo>
                    <a:pt x="5799139" y="2281273"/>
                    <a:pt x="5803253" y="2284539"/>
                    <a:pt x="5806524" y="2288410"/>
                  </a:cubicBezTo>
                  <a:cubicBezTo>
                    <a:pt x="5808845" y="2291192"/>
                    <a:pt x="5810849" y="2294216"/>
                    <a:pt x="5812326" y="2297482"/>
                  </a:cubicBezTo>
                  <a:cubicBezTo>
                    <a:pt x="5812432" y="2305586"/>
                    <a:pt x="5817601" y="2312844"/>
                    <a:pt x="5825303" y="2315384"/>
                  </a:cubicBezTo>
                  <a:cubicBezTo>
                    <a:pt x="5828046" y="2316352"/>
                    <a:pt x="5830894" y="2316594"/>
                    <a:pt x="5833743" y="2316110"/>
                  </a:cubicBezTo>
                  <a:lnTo>
                    <a:pt x="5842816" y="2317199"/>
                  </a:lnTo>
                  <a:lnTo>
                    <a:pt x="5845665" y="2337399"/>
                  </a:lnTo>
                  <a:lnTo>
                    <a:pt x="5861595" y="2348649"/>
                  </a:lnTo>
                  <a:lnTo>
                    <a:pt x="5863916" y="2357963"/>
                  </a:lnTo>
                  <a:lnTo>
                    <a:pt x="5869930" y="2370059"/>
                  </a:lnTo>
                  <a:lnTo>
                    <a:pt x="5887970" y="2375139"/>
                  </a:lnTo>
                  <a:lnTo>
                    <a:pt x="5891030" y="2391227"/>
                  </a:lnTo>
                  <a:lnTo>
                    <a:pt x="5894089" y="2402840"/>
                  </a:lnTo>
                  <a:lnTo>
                    <a:pt x="5900419" y="2417234"/>
                  </a:lnTo>
                  <a:lnTo>
                    <a:pt x="5899681" y="2428484"/>
                  </a:lnTo>
                  <a:lnTo>
                    <a:pt x="5905800" y="2441547"/>
                  </a:lnTo>
                  <a:cubicBezTo>
                    <a:pt x="5910969" y="2444571"/>
                    <a:pt x="5916244" y="2447354"/>
                    <a:pt x="5921730" y="2449894"/>
                  </a:cubicBezTo>
                  <a:cubicBezTo>
                    <a:pt x="5926478" y="2452192"/>
                    <a:pt x="5931331" y="2454127"/>
                    <a:pt x="5936184" y="2455942"/>
                  </a:cubicBezTo>
                  <a:lnTo>
                    <a:pt x="5960555" y="2463562"/>
                  </a:lnTo>
                  <a:lnTo>
                    <a:pt x="5969206" y="2462837"/>
                  </a:lnTo>
                  <a:lnTo>
                    <a:pt x="5979545" y="2459208"/>
                  </a:lnTo>
                  <a:lnTo>
                    <a:pt x="5988618" y="2456305"/>
                  </a:lnTo>
                  <a:lnTo>
                    <a:pt x="6013832" y="2451708"/>
                  </a:lnTo>
                  <a:lnTo>
                    <a:pt x="6040313" y="2447958"/>
                  </a:lnTo>
                  <a:lnTo>
                    <a:pt x="6064578" y="2441185"/>
                  </a:lnTo>
                  <a:lnTo>
                    <a:pt x="6090531" y="2430782"/>
                  </a:lnTo>
                  <a:lnTo>
                    <a:pt x="6121970" y="2423403"/>
                  </a:lnTo>
                  <a:lnTo>
                    <a:pt x="6139484" y="2413121"/>
                  </a:lnTo>
                  <a:lnTo>
                    <a:pt x="6151194" y="2410097"/>
                  </a:lnTo>
                  <a:lnTo>
                    <a:pt x="6152144" y="2418928"/>
                  </a:lnTo>
                  <a:lnTo>
                    <a:pt x="6153410" y="2433322"/>
                  </a:lnTo>
                  <a:lnTo>
                    <a:pt x="6158790" y="2449894"/>
                  </a:lnTo>
                  <a:lnTo>
                    <a:pt x="6158790" y="2465619"/>
                  </a:lnTo>
                  <a:lnTo>
                    <a:pt x="6152671" y="2483763"/>
                  </a:lnTo>
                  <a:lnTo>
                    <a:pt x="6149928" y="2494408"/>
                  </a:lnTo>
                  <a:lnTo>
                    <a:pt x="6138745" y="2513036"/>
                  </a:lnTo>
                  <a:lnTo>
                    <a:pt x="6131887" y="2529970"/>
                  </a:lnTo>
                  <a:lnTo>
                    <a:pt x="6123975" y="2543034"/>
                  </a:lnTo>
                  <a:lnTo>
                    <a:pt x="6117328" y="2560816"/>
                  </a:lnTo>
                  <a:lnTo>
                    <a:pt x="6106673" y="2582710"/>
                  </a:lnTo>
                  <a:lnTo>
                    <a:pt x="6101081" y="2596862"/>
                  </a:lnTo>
                  <a:lnTo>
                    <a:pt x="6079665" y="2622143"/>
                  </a:lnTo>
                  <a:lnTo>
                    <a:pt x="6070486" y="2646336"/>
                  </a:lnTo>
                  <a:lnTo>
                    <a:pt x="6060569" y="2656738"/>
                  </a:lnTo>
                  <a:lnTo>
                    <a:pt x="6046960" y="2689035"/>
                  </a:lnTo>
                  <a:cubicBezTo>
                    <a:pt x="6044111" y="2696051"/>
                    <a:pt x="6040524" y="2702704"/>
                    <a:pt x="6036198" y="2708873"/>
                  </a:cubicBezTo>
                  <a:cubicBezTo>
                    <a:pt x="6033877" y="2712381"/>
                    <a:pt x="6031345" y="2715647"/>
                    <a:pt x="6028602" y="2718792"/>
                  </a:cubicBezTo>
                  <a:lnTo>
                    <a:pt x="6015942" y="2727622"/>
                  </a:lnTo>
                  <a:lnTo>
                    <a:pt x="6005287" y="2729557"/>
                  </a:lnTo>
                  <a:lnTo>
                    <a:pt x="5994631" y="2739355"/>
                  </a:lnTo>
                  <a:lnTo>
                    <a:pt x="5990095" y="2747702"/>
                  </a:lnTo>
                  <a:lnTo>
                    <a:pt x="5974059" y="2766572"/>
                  </a:lnTo>
                  <a:cubicBezTo>
                    <a:pt x="5966463" y="2771289"/>
                    <a:pt x="5958761" y="2775886"/>
                    <a:pt x="5951165" y="2780724"/>
                  </a:cubicBezTo>
                  <a:cubicBezTo>
                    <a:pt x="5947367" y="2783143"/>
                    <a:pt x="5943569" y="2785563"/>
                    <a:pt x="5939771" y="2788103"/>
                  </a:cubicBezTo>
                  <a:lnTo>
                    <a:pt x="5925528" y="2796933"/>
                  </a:lnTo>
                  <a:lnTo>
                    <a:pt x="5918671" y="2805158"/>
                  </a:lnTo>
                  <a:lnTo>
                    <a:pt x="5914240" y="2811932"/>
                  </a:lnTo>
                  <a:lnTo>
                    <a:pt x="5902951" y="2828262"/>
                  </a:lnTo>
                  <a:lnTo>
                    <a:pt x="5894617" y="2835883"/>
                  </a:lnTo>
                  <a:lnTo>
                    <a:pt x="5885544" y="2846406"/>
                  </a:lnTo>
                  <a:lnTo>
                    <a:pt x="5877948" y="2852454"/>
                  </a:lnTo>
                  <a:lnTo>
                    <a:pt x="5868031" y="2872171"/>
                  </a:lnTo>
                  <a:lnTo>
                    <a:pt x="5853472" y="2892977"/>
                  </a:lnTo>
                  <a:lnTo>
                    <a:pt x="5829945" y="2914024"/>
                  </a:lnTo>
                  <a:lnTo>
                    <a:pt x="5818445" y="2923217"/>
                  </a:lnTo>
                  <a:lnTo>
                    <a:pt x="5807051" y="2932047"/>
                  </a:lnTo>
                  <a:lnTo>
                    <a:pt x="5801460" y="2945837"/>
                  </a:lnTo>
                  <a:lnTo>
                    <a:pt x="5791543" y="2952732"/>
                  </a:lnTo>
                  <a:lnTo>
                    <a:pt x="5781626" y="2965554"/>
                  </a:lnTo>
                  <a:lnTo>
                    <a:pt x="5776351" y="2974626"/>
                  </a:lnTo>
                  <a:lnTo>
                    <a:pt x="5773502" y="2981400"/>
                  </a:lnTo>
                  <a:lnTo>
                    <a:pt x="5765168" y="2994826"/>
                  </a:lnTo>
                  <a:lnTo>
                    <a:pt x="5762847" y="3012729"/>
                  </a:lnTo>
                  <a:lnTo>
                    <a:pt x="5758521" y="3027365"/>
                  </a:lnTo>
                  <a:lnTo>
                    <a:pt x="5756306" y="3038735"/>
                  </a:lnTo>
                  <a:lnTo>
                    <a:pt x="5753985" y="3053130"/>
                  </a:lnTo>
                  <a:lnTo>
                    <a:pt x="5753457" y="3065952"/>
                  </a:lnTo>
                  <a:lnTo>
                    <a:pt x="5752719" y="3080346"/>
                  </a:lnTo>
                  <a:lnTo>
                    <a:pt x="5752719" y="3094741"/>
                  </a:lnTo>
                  <a:lnTo>
                    <a:pt x="5753457" y="3103813"/>
                  </a:lnTo>
                  <a:lnTo>
                    <a:pt x="5753457" y="3120868"/>
                  </a:lnTo>
                  <a:lnTo>
                    <a:pt x="5762425" y="3141069"/>
                  </a:lnTo>
                  <a:lnTo>
                    <a:pt x="5779199" y="3184857"/>
                  </a:lnTo>
                  <a:lnTo>
                    <a:pt x="5787217" y="3196228"/>
                  </a:lnTo>
                  <a:lnTo>
                    <a:pt x="5793336" y="3205179"/>
                  </a:lnTo>
                  <a:lnTo>
                    <a:pt x="5801671" y="3218001"/>
                  </a:lnTo>
                  <a:lnTo>
                    <a:pt x="5809056" y="3233726"/>
                  </a:lnTo>
                  <a:lnTo>
                    <a:pt x="5810533" y="3241467"/>
                  </a:lnTo>
                  <a:cubicBezTo>
                    <a:pt x="5807579" y="3252475"/>
                    <a:pt x="5804941" y="3263603"/>
                    <a:pt x="5802409" y="3274853"/>
                  </a:cubicBezTo>
                  <a:cubicBezTo>
                    <a:pt x="5801143" y="3280417"/>
                    <a:pt x="5799983" y="3286102"/>
                    <a:pt x="5798822" y="3291666"/>
                  </a:cubicBezTo>
                  <a:lnTo>
                    <a:pt x="5806946" y="3298924"/>
                  </a:lnTo>
                  <a:lnTo>
                    <a:pt x="5808423" y="3317915"/>
                  </a:lnTo>
                  <a:lnTo>
                    <a:pt x="5804625" y="3336785"/>
                  </a:lnTo>
                  <a:lnTo>
                    <a:pt x="5815386" y="3345131"/>
                  </a:lnTo>
                  <a:lnTo>
                    <a:pt x="5817601" y="3355171"/>
                  </a:lnTo>
                  <a:lnTo>
                    <a:pt x="5804941" y="3366784"/>
                  </a:lnTo>
                  <a:lnTo>
                    <a:pt x="5799877" y="3378396"/>
                  </a:lnTo>
                  <a:cubicBezTo>
                    <a:pt x="5800405" y="3385896"/>
                    <a:pt x="5798822" y="3393395"/>
                    <a:pt x="5795552" y="3400169"/>
                  </a:cubicBezTo>
                  <a:cubicBezTo>
                    <a:pt x="5792387" y="3406459"/>
                    <a:pt x="5787639" y="3411902"/>
                    <a:pt x="5781731" y="3416015"/>
                  </a:cubicBezTo>
                  <a:lnTo>
                    <a:pt x="5761475" y="3432950"/>
                  </a:lnTo>
                  <a:lnTo>
                    <a:pt x="5754090" y="3438151"/>
                  </a:lnTo>
                  <a:lnTo>
                    <a:pt x="5727504" y="3453271"/>
                  </a:lnTo>
                  <a:lnTo>
                    <a:pt x="5695432" y="3467666"/>
                  </a:lnTo>
                  <a:lnTo>
                    <a:pt x="5683299" y="3476738"/>
                  </a:lnTo>
                  <a:lnTo>
                    <a:pt x="5674965" y="3485084"/>
                  </a:lnTo>
                  <a:lnTo>
                    <a:pt x="5663782" y="3497906"/>
                  </a:lnTo>
                  <a:lnTo>
                    <a:pt x="5654392" y="3514720"/>
                  </a:lnTo>
                  <a:lnTo>
                    <a:pt x="5638883" y="3526574"/>
                  </a:lnTo>
                  <a:lnTo>
                    <a:pt x="5629705" y="3536493"/>
                  </a:lnTo>
                  <a:lnTo>
                    <a:pt x="5615568" y="3548347"/>
                  </a:lnTo>
                  <a:lnTo>
                    <a:pt x="5606917" y="3560685"/>
                  </a:lnTo>
                  <a:lnTo>
                    <a:pt x="5600059" y="3579555"/>
                  </a:lnTo>
                  <a:lnTo>
                    <a:pt x="5594784" y="3592498"/>
                  </a:lnTo>
                  <a:lnTo>
                    <a:pt x="5593307" y="3603264"/>
                  </a:lnTo>
                  <a:lnTo>
                    <a:pt x="5603224" y="3619231"/>
                  </a:lnTo>
                  <a:lnTo>
                    <a:pt x="5616201" y="3638101"/>
                  </a:lnTo>
                  <a:lnTo>
                    <a:pt x="5625801" y="3652253"/>
                  </a:lnTo>
                  <a:lnTo>
                    <a:pt x="5625801" y="3664349"/>
                  </a:lnTo>
                  <a:lnTo>
                    <a:pt x="5625063" y="3678018"/>
                  </a:lnTo>
                  <a:lnTo>
                    <a:pt x="5621265" y="3698461"/>
                  </a:lnTo>
                  <a:lnTo>
                    <a:pt x="5615462" y="3709831"/>
                  </a:lnTo>
                  <a:lnTo>
                    <a:pt x="5605545" y="3717452"/>
                  </a:lnTo>
                  <a:lnTo>
                    <a:pt x="5599004" y="3727249"/>
                  </a:lnTo>
                  <a:lnTo>
                    <a:pt x="5579381" y="3744184"/>
                  </a:lnTo>
                  <a:lnTo>
                    <a:pt x="5545093" y="3756280"/>
                  </a:lnTo>
                  <a:lnTo>
                    <a:pt x="5534227" y="3766562"/>
                  </a:lnTo>
                  <a:lnTo>
                    <a:pt x="5525154" y="3779384"/>
                  </a:lnTo>
                  <a:lnTo>
                    <a:pt x="5519457" y="3809987"/>
                  </a:lnTo>
                  <a:lnTo>
                    <a:pt x="5520934" y="3827406"/>
                  </a:lnTo>
                  <a:lnTo>
                    <a:pt x="5526736" y="3838413"/>
                  </a:lnTo>
                  <a:lnTo>
                    <a:pt x="5529796" y="3846518"/>
                  </a:lnTo>
                  <a:lnTo>
                    <a:pt x="5523255" y="3856557"/>
                  </a:lnTo>
                  <a:lnTo>
                    <a:pt x="5510384" y="3861880"/>
                  </a:lnTo>
                  <a:lnTo>
                    <a:pt x="5501416" y="3875911"/>
                  </a:lnTo>
                  <a:lnTo>
                    <a:pt x="5482110" y="3887887"/>
                  </a:lnTo>
                  <a:lnTo>
                    <a:pt x="5478312" y="3900708"/>
                  </a:lnTo>
                  <a:lnTo>
                    <a:pt x="5473775" y="3914377"/>
                  </a:lnTo>
                  <a:lnTo>
                    <a:pt x="5462065" y="3932521"/>
                  </a:lnTo>
                  <a:lnTo>
                    <a:pt x="5440437" y="3949335"/>
                  </a:lnTo>
                  <a:cubicBezTo>
                    <a:pt x="5428937" y="3947521"/>
                    <a:pt x="5417649" y="3954295"/>
                    <a:pt x="5413851" y="3965302"/>
                  </a:cubicBezTo>
                  <a:cubicBezTo>
                    <a:pt x="5412479" y="3969173"/>
                    <a:pt x="5412163" y="3973286"/>
                    <a:pt x="5413112" y="3977398"/>
                  </a:cubicBezTo>
                  <a:lnTo>
                    <a:pt x="5409314" y="3989978"/>
                  </a:lnTo>
                  <a:lnTo>
                    <a:pt x="5389480" y="4002800"/>
                  </a:lnTo>
                  <a:lnTo>
                    <a:pt x="5371756" y="4012114"/>
                  </a:lnTo>
                  <a:lnTo>
                    <a:pt x="5359096" y="4035581"/>
                  </a:lnTo>
                  <a:lnTo>
                    <a:pt x="5348229" y="4037032"/>
                  </a:lnTo>
                  <a:lnTo>
                    <a:pt x="5341688" y="4044290"/>
                  </a:lnTo>
                  <a:lnTo>
                    <a:pt x="5319533" y="4057475"/>
                  </a:lnTo>
                  <a:lnTo>
                    <a:pt x="5299699" y="4067031"/>
                  </a:lnTo>
                  <a:lnTo>
                    <a:pt x="5279127" y="4079853"/>
                  </a:lnTo>
                  <a:lnTo>
                    <a:pt x="5260136" y="4086748"/>
                  </a:lnTo>
                  <a:lnTo>
                    <a:pt x="5249692" y="4082393"/>
                  </a:lnTo>
                  <a:lnTo>
                    <a:pt x="5223950" y="4073563"/>
                  </a:lnTo>
                  <a:lnTo>
                    <a:pt x="5206753" y="4071385"/>
                  </a:lnTo>
                  <a:lnTo>
                    <a:pt x="5192300" y="4069087"/>
                  </a:lnTo>
                  <a:lnTo>
                    <a:pt x="5181644" y="4072595"/>
                  </a:lnTo>
                  <a:lnTo>
                    <a:pt x="5167190" y="4080216"/>
                  </a:lnTo>
                  <a:lnTo>
                    <a:pt x="5151893" y="4081788"/>
                  </a:lnTo>
                  <a:lnTo>
                    <a:pt x="5133852" y="4084812"/>
                  </a:lnTo>
                  <a:lnTo>
                    <a:pt x="5115390" y="4093038"/>
                  </a:lnTo>
                  <a:lnTo>
                    <a:pt x="5104945" y="4094610"/>
                  </a:lnTo>
                  <a:lnTo>
                    <a:pt x="5094290" y="4089046"/>
                  </a:lnTo>
                  <a:lnTo>
                    <a:pt x="5082474" y="4080700"/>
                  </a:lnTo>
                  <a:lnTo>
                    <a:pt x="5071712" y="4070902"/>
                  </a:lnTo>
                  <a:lnTo>
                    <a:pt x="5064960" y="4061104"/>
                  </a:lnTo>
                  <a:lnTo>
                    <a:pt x="5055043" y="4048161"/>
                  </a:lnTo>
                  <a:lnTo>
                    <a:pt x="5050401" y="4037637"/>
                  </a:lnTo>
                  <a:lnTo>
                    <a:pt x="5052722" y="4019493"/>
                  </a:lnTo>
                  <a:lnTo>
                    <a:pt x="5060740" y="4013445"/>
                  </a:lnTo>
                  <a:lnTo>
                    <a:pt x="5064538" y="3993849"/>
                  </a:lnTo>
                  <a:lnTo>
                    <a:pt x="5055887" y="3978850"/>
                  </a:lnTo>
                  <a:lnTo>
                    <a:pt x="5039113" y="3963730"/>
                  </a:lnTo>
                  <a:lnTo>
                    <a:pt x="5028457" y="3954657"/>
                  </a:lnTo>
                  <a:lnTo>
                    <a:pt x="5022866" y="3932280"/>
                  </a:lnTo>
                  <a:lnTo>
                    <a:pt x="5017063" y="3916313"/>
                  </a:lnTo>
                  <a:cubicBezTo>
                    <a:pt x="5013898" y="3911111"/>
                    <a:pt x="5009784" y="3906515"/>
                    <a:pt x="5004825" y="3902886"/>
                  </a:cubicBezTo>
                  <a:cubicBezTo>
                    <a:pt x="5000816" y="3899983"/>
                    <a:pt x="4996385" y="3897684"/>
                    <a:pt x="4991638" y="3896112"/>
                  </a:cubicBezTo>
                  <a:cubicBezTo>
                    <a:pt x="4992271" y="3887403"/>
                    <a:pt x="4989844" y="3878814"/>
                    <a:pt x="4984780" y="3871678"/>
                  </a:cubicBezTo>
                  <a:cubicBezTo>
                    <a:pt x="4981087" y="3866476"/>
                    <a:pt x="4976129" y="3862364"/>
                    <a:pt x="4970326" y="3859582"/>
                  </a:cubicBezTo>
                  <a:lnTo>
                    <a:pt x="4956611" y="3848937"/>
                  </a:lnTo>
                  <a:lnTo>
                    <a:pt x="4955873" y="3833091"/>
                  </a:lnTo>
                  <a:lnTo>
                    <a:pt x="4958827" y="3818696"/>
                  </a:lnTo>
                  <a:lnTo>
                    <a:pt x="4958827" y="3798738"/>
                  </a:lnTo>
                  <a:cubicBezTo>
                    <a:pt x="4953868" y="3793294"/>
                    <a:pt x="4951125" y="3786158"/>
                    <a:pt x="4951231" y="3778779"/>
                  </a:cubicBezTo>
                  <a:cubicBezTo>
                    <a:pt x="4951231" y="3775271"/>
                    <a:pt x="4951969" y="3771884"/>
                    <a:pt x="4953235" y="3768618"/>
                  </a:cubicBezTo>
                  <a:lnTo>
                    <a:pt x="4958510" y="3759304"/>
                  </a:lnTo>
                  <a:lnTo>
                    <a:pt x="4955767" y="3740676"/>
                  </a:lnTo>
                  <a:lnTo>
                    <a:pt x="4950387" y="3721806"/>
                  </a:lnTo>
                  <a:lnTo>
                    <a:pt x="4943529" y="3704025"/>
                  </a:lnTo>
                  <a:lnTo>
                    <a:pt x="4940259" y="3688179"/>
                  </a:lnTo>
                  <a:lnTo>
                    <a:pt x="4936461" y="3669309"/>
                  </a:lnTo>
                  <a:lnTo>
                    <a:pt x="4932663" y="3657213"/>
                  </a:lnTo>
                  <a:lnTo>
                    <a:pt x="4932663" y="3640520"/>
                  </a:lnTo>
                  <a:lnTo>
                    <a:pt x="4916627" y="3623222"/>
                  </a:lnTo>
                  <a:lnTo>
                    <a:pt x="4907448" y="3601328"/>
                  </a:lnTo>
                  <a:lnTo>
                    <a:pt x="4899430" y="3586450"/>
                  </a:lnTo>
                  <a:lnTo>
                    <a:pt x="4886454" y="3563709"/>
                  </a:lnTo>
                  <a:lnTo>
                    <a:pt x="4876747" y="3550887"/>
                  </a:lnTo>
                  <a:lnTo>
                    <a:pt x="4867885" y="3531171"/>
                  </a:lnTo>
                  <a:lnTo>
                    <a:pt x="4858496" y="3514962"/>
                  </a:lnTo>
                  <a:lnTo>
                    <a:pt x="4853115" y="3498390"/>
                  </a:lnTo>
                  <a:lnTo>
                    <a:pt x="4844781" y="3484721"/>
                  </a:lnTo>
                  <a:lnTo>
                    <a:pt x="4843515" y="3461497"/>
                  </a:lnTo>
                  <a:lnTo>
                    <a:pt x="4841932" y="3441901"/>
                  </a:lnTo>
                  <a:lnTo>
                    <a:pt x="4842671" y="3424482"/>
                  </a:lnTo>
                  <a:lnTo>
                    <a:pt x="4846574" y="3408636"/>
                  </a:lnTo>
                  <a:lnTo>
                    <a:pt x="4858496" y="3384081"/>
                  </a:lnTo>
                  <a:lnTo>
                    <a:pt x="4865881" y="3367146"/>
                  </a:lnTo>
                  <a:lnTo>
                    <a:pt x="4871156" y="3349849"/>
                  </a:lnTo>
                  <a:lnTo>
                    <a:pt x="4880018" y="3329648"/>
                  </a:lnTo>
                  <a:lnTo>
                    <a:pt x="4885399" y="3312230"/>
                  </a:lnTo>
                  <a:lnTo>
                    <a:pt x="4893733" y="3298803"/>
                  </a:lnTo>
                  <a:lnTo>
                    <a:pt x="4899852" y="3285981"/>
                  </a:lnTo>
                  <a:lnTo>
                    <a:pt x="4907448" y="3270861"/>
                  </a:lnTo>
                  <a:lnTo>
                    <a:pt x="4911246" y="3258765"/>
                  </a:lnTo>
                  <a:lnTo>
                    <a:pt x="4914095" y="3246427"/>
                  </a:lnTo>
                  <a:lnTo>
                    <a:pt x="4913356" y="3233605"/>
                  </a:lnTo>
                  <a:lnTo>
                    <a:pt x="4911774" y="3220057"/>
                  </a:lnTo>
                  <a:lnTo>
                    <a:pt x="4904389" y="3199131"/>
                  </a:lnTo>
                  <a:lnTo>
                    <a:pt x="4894894" y="3183527"/>
                  </a:lnTo>
                  <a:lnTo>
                    <a:pt x="4891834" y="3170705"/>
                  </a:lnTo>
                  <a:lnTo>
                    <a:pt x="4891834" y="3158850"/>
                  </a:lnTo>
                  <a:lnTo>
                    <a:pt x="4902490" y="3147480"/>
                  </a:lnTo>
                  <a:lnTo>
                    <a:pt x="4910297" y="3130908"/>
                  </a:lnTo>
                  <a:lnTo>
                    <a:pt x="4889197" y="3108893"/>
                  </a:lnTo>
                  <a:lnTo>
                    <a:pt x="4877275" y="3092563"/>
                  </a:lnTo>
                  <a:lnTo>
                    <a:pt x="4872000" y="3082765"/>
                  </a:lnTo>
                  <a:lnTo>
                    <a:pt x="4861344" y="3066073"/>
                  </a:lnTo>
                  <a:lnTo>
                    <a:pt x="4857546" y="3056517"/>
                  </a:lnTo>
                  <a:lnTo>
                    <a:pt x="4853643" y="3040792"/>
                  </a:lnTo>
                  <a:lnTo>
                    <a:pt x="4852166" y="3025430"/>
                  </a:lnTo>
                  <a:lnTo>
                    <a:pt x="4852904" y="3014059"/>
                  </a:lnTo>
                  <a:lnTo>
                    <a:pt x="4849845" y="2998455"/>
                  </a:lnTo>
                  <a:lnTo>
                    <a:pt x="4822626" y="2964465"/>
                  </a:lnTo>
                  <a:lnTo>
                    <a:pt x="4800576" y="2943780"/>
                  </a:lnTo>
                  <a:lnTo>
                    <a:pt x="4783801" y="2925636"/>
                  </a:lnTo>
                  <a:lnTo>
                    <a:pt x="4770086" y="2915113"/>
                  </a:lnTo>
                  <a:lnTo>
                    <a:pt x="4764811" y="2903016"/>
                  </a:lnTo>
                  <a:lnTo>
                    <a:pt x="4757954" y="2890920"/>
                  </a:lnTo>
                  <a:lnTo>
                    <a:pt x="4753417" y="2878340"/>
                  </a:lnTo>
                  <a:lnTo>
                    <a:pt x="4752679" y="2867816"/>
                  </a:lnTo>
                  <a:lnTo>
                    <a:pt x="4748881" y="2854511"/>
                  </a:lnTo>
                  <a:lnTo>
                    <a:pt x="4761541" y="2833100"/>
                  </a:lnTo>
                  <a:lnTo>
                    <a:pt x="4768398" y="2813384"/>
                  </a:lnTo>
                  <a:lnTo>
                    <a:pt x="4770192" y="2797538"/>
                  </a:lnTo>
                  <a:lnTo>
                    <a:pt x="4775256" y="2777216"/>
                  </a:lnTo>
                  <a:lnTo>
                    <a:pt x="4780320" y="2760040"/>
                  </a:lnTo>
                  <a:lnTo>
                    <a:pt x="4780320" y="2746492"/>
                  </a:lnTo>
                  <a:lnTo>
                    <a:pt x="4776522" y="2730525"/>
                  </a:lnTo>
                  <a:lnTo>
                    <a:pt x="4775783" y="2712623"/>
                  </a:lnTo>
                  <a:lnTo>
                    <a:pt x="4771985" y="2701978"/>
                  </a:lnTo>
                  <a:lnTo>
                    <a:pt x="4754472" y="2687584"/>
                  </a:lnTo>
                  <a:lnTo>
                    <a:pt x="4745294" y="2671012"/>
                  </a:lnTo>
                  <a:lnTo>
                    <a:pt x="4721873" y="2665569"/>
                  </a:lnTo>
                  <a:lnTo>
                    <a:pt x="4680094" y="2665569"/>
                  </a:lnTo>
                  <a:lnTo>
                    <a:pt x="4664375" y="2672342"/>
                  </a:lnTo>
                  <a:lnTo>
                    <a:pt x="4649921" y="2670770"/>
                  </a:lnTo>
                  <a:lnTo>
                    <a:pt x="4636417" y="2665569"/>
                  </a:lnTo>
                  <a:lnTo>
                    <a:pt x="4634096" y="2656738"/>
                  </a:lnTo>
                  <a:lnTo>
                    <a:pt x="4632619" y="2646215"/>
                  </a:lnTo>
                  <a:lnTo>
                    <a:pt x="4629349" y="2630611"/>
                  </a:lnTo>
                  <a:lnTo>
                    <a:pt x="4620909" y="2619966"/>
                  </a:lnTo>
                  <a:lnTo>
                    <a:pt x="4613313" y="2613192"/>
                  </a:lnTo>
                  <a:lnTo>
                    <a:pt x="4604240" y="2607870"/>
                  </a:lnTo>
                  <a:lnTo>
                    <a:pt x="4591685" y="2601459"/>
                  </a:lnTo>
                  <a:lnTo>
                    <a:pt x="4571218" y="2596136"/>
                  </a:lnTo>
                  <a:lnTo>
                    <a:pt x="4553810" y="2595411"/>
                  </a:lnTo>
                  <a:lnTo>
                    <a:pt x="4535242" y="2598435"/>
                  </a:lnTo>
                  <a:lnTo>
                    <a:pt x="4502431" y="2614281"/>
                  </a:lnTo>
                  <a:lnTo>
                    <a:pt x="4467405" y="2625651"/>
                  </a:lnTo>
                  <a:lnTo>
                    <a:pt x="4450631" y="2638231"/>
                  </a:lnTo>
                  <a:lnTo>
                    <a:pt x="4432379" y="2631457"/>
                  </a:lnTo>
                  <a:lnTo>
                    <a:pt x="4412651" y="2635933"/>
                  </a:lnTo>
                  <a:lnTo>
                    <a:pt x="4390073" y="2646578"/>
                  </a:lnTo>
                  <a:lnTo>
                    <a:pt x="4380156" y="2651779"/>
                  </a:lnTo>
                  <a:lnTo>
                    <a:pt x="4362116" y="2654803"/>
                  </a:lnTo>
                  <a:lnTo>
                    <a:pt x="4353781" y="2653351"/>
                  </a:lnTo>
                  <a:lnTo>
                    <a:pt x="4344075" y="2649843"/>
                  </a:lnTo>
                  <a:lnTo>
                    <a:pt x="4329833" y="2644763"/>
                  </a:lnTo>
                  <a:lnTo>
                    <a:pt x="4321287" y="2638473"/>
                  </a:lnTo>
                  <a:lnTo>
                    <a:pt x="4308838" y="2639199"/>
                  </a:lnTo>
                  <a:lnTo>
                    <a:pt x="4294384" y="2645247"/>
                  </a:lnTo>
                  <a:lnTo>
                    <a:pt x="4284467" y="2651295"/>
                  </a:lnTo>
                  <a:lnTo>
                    <a:pt x="4267271" y="2649843"/>
                  </a:lnTo>
                  <a:lnTo>
                    <a:pt x="4250707" y="2649843"/>
                  </a:lnTo>
                  <a:lnTo>
                    <a:pt x="4233933" y="2660125"/>
                  </a:lnTo>
                  <a:lnTo>
                    <a:pt x="4230346" y="2667625"/>
                  </a:lnTo>
                  <a:lnTo>
                    <a:pt x="4202704" y="2675487"/>
                  </a:lnTo>
                  <a:lnTo>
                    <a:pt x="4182132" y="2667383"/>
                  </a:lnTo>
                  <a:lnTo>
                    <a:pt x="4162298" y="2660851"/>
                  </a:lnTo>
                  <a:lnTo>
                    <a:pt x="4148583" y="2657827"/>
                  </a:lnTo>
                  <a:lnTo>
                    <a:pt x="4131808" y="2649723"/>
                  </a:lnTo>
                  <a:lnTo>
                    <a:pt x="4110497" y="2636901"/>
                  </a:lnTo>
                  <a:lnTo>
                    <a:pt x="4105433" y="2628554"/>
                  </a:lnTo>
                  <a:lnTo>
                    <a:pt x="4093722" y="2627103"/>
                  </a:lnTo>
                  <a:lnTo>
                    <a:pt x="4087076" y="2618031"/>
                  </a:lnTo>
                  <a:lnTo>
                    <a:pt x="4074416" y="2604846"/>
                  </a:lnTo>
                  <a:lnTo>
                    <a:pt x="4057114" y="2594080"/>
                  </a:lnTo>
                  <a:lnTo>
                    <a:pt x="4039601" y="2566864"/>
                  </a:lnTo>
                  <a:lnTo>
                    <a:pt x="4025358" y="2555493"/>
                  </a:lnTo>
                  <a:lnTo>
                    <a:pt x="4014491" y="2548961"/>
                  </a:lnTo>
                  <a:lnTo>
                    <a:pt x="4006051" y="2528398"/>
                  </a:lnTo>
                  <a:lnTo>
                    <a:pt x="4010588" y="2515576"/>
                  </a:lnTo>
                  <a:lnTo>
                    <a:pt x="4001515" y="2488360"/>
                  </a:lnTo>
                  <a:lnTo>
                    <a:pt x="3986534" y="2475659"/>
                  </a:lnTo>
                  <a:lnTo>
                    <a:pt x="3972819" y="2457998"/>
                  </a:lnTo>
                  <a:lnTo>
                    <a:pt x="3962163" y="2443604"/>
                  </a:lnTo>
                  <a:lnTo>
                    <a:pt x="3950664" y="2425943"/>
                  </a:lnTo>
                  <a:lnTo>
                    <a:pt x="3939481" y="2410339"/>
                  </a:lnTo>
                  <a:lnTo>
                    <a:pt x="3928403" y="2406106"/>
                  </a:lnTo>
                  <a:lnTo>
                    <a:pt x="3909307" y="2398485"/>
                  </a:lnTo>
                  <a:lnTo>
                    <a:pt x="3899496" y="2382639"/>
                  </a:lnTo>
                  <a:lnTo>
                    <a:pt x="3885675" y="2364737"/>
                  </a:lnTo>
                  <a:lnTo>
                    <a:pt x="3886414" y="2354334"/>
                  </a:lnTo>
                  <a:lnTo>
                    <a:pt x="3892322" y="2345262"/>
                  </a:lnTo>
                  <a:lnTo>
                    <a:pt x="3892322" y="2329658"/>
                  </a:lnTo>
                  <a:lnTo>
                    <a:pt x="3891583" y="2315384"/>
                  </a:lnTo>
                  <a:lnTo>
                    <a:pt x="3887785" y="2299659"/>
                  </a:lnTo>
                  <a:lnTo>
                    <a:pt x="3879978" y="2289861"/>
                  </a:lnTo>
                  <a:lnTo>
                    <a:pt x="3879978" y="2279217"/>
                  </a:lnTo>
                  <a:lnTo>
                    <a:pt x="3888418" y="2273532"/>
                  </a:lnTo>
                  <a:lnTo>
                    <a:pt x="3902661" y="2263129"/>
                  </a:lnTo>
                  <a:lnTo>
                    <a:pt x="3909518" y="2255024"/>
                  </a:lnTo>
                  <a:lnTo>
                    <a:pt x="3912367" y="2246678"/>
                  </a:lnTo>
                  <a:lnTo>
                    <a:pt x="3917431" y="2237848"/>
                  </a:lnTo>
                  <a:lnTo>
                    <a:pt x="3921229" y="2224300"/>
                  </a:lnTo>
                  <a:lnTo>
                    <a:pt x="3922706" y="2209906"/>
                  </a:lnTo>
                  <a:lnTo>
                    <a:pt x="3926504" y="2200834"/>
                  </a:lnTo>
                  <a:lnTo>
                    <a:pt x="3930302" y="2186439"/>
                  </a:lnTo>
                  <a:lnTo>
                    <a:pt x="3930302" y="2170714"/>
                  </a:lnTo>
                  <a:lnTo>
                    <a:pt x="3923550" y="2156562"/>
                  </a:lnTo>
                  <a:lnTo>
                    <a:pt x="3918908" y="2141441"/>
                  </a:lnTo>
                  <a:lnTo>
                    <a:pt x="3917431" y="2117854"/>
                  </a:lnTo>
                  <a:lnTo>
                    <a:pt x="3910784" y="2101282"/>
                  </a:lnTo>
                  <a:lnTo>
                    <a:pt x="3903188" y="2086888"/>
                  </a:lnTo>
                  <a:lnTo>
                    <a:pt x="3897175" y="2073098"/>
                  </a:lnTo>
                  <a:lnTo>
                    <a:pt x="3896436" y="2064026"/>
                  </a:lnTo>
                  <a:lnTo>
                    <a:pt x="3898546" y="2056526"/>
                  </a:lnTo>
                  <a:lnTo>
                    <a:pt x="3903821" y="2044430"/>
                  </a:lnTo>
                  <a:lnTo>
                    <a:pt x="3904454" y="2032818"/>
                  </a:lnTo>
                  <a:lnTo>
                    <a:pt x="3908358" y="2020722"/>
                  </a:lnTo>
                  <a:lnTo>
                    <a:pt x="3916798" y="2012375"/>
                  </a:lnTo>
                  <a:lnTo>
                    <a:pt x="3923233" y="2002577"/>
                  </a:lnTo>
                  <a:lnTo>
                    <a:pt x="3927242" y="1992417"/>
                  </a:lnTo>
                  <a:lnTo>
                    <a:pt x="3948554" y="1971490"/>
                  </a:lnTo>
                  <a:lnTo>
                    <a:pt x="3953829" y="1954918"/>
                  </a:lnTo>
                  <a:lnTo>
                    <a:pt x="3969126" y="1932178"/>
                  </a:lnTo>
                  <a:lnTo>
                    <a:pt x="3980309" y="1915485"/>
                  </a:lnTo>
                  <a:lnTo>
                    <a:pt x="3985584" y="1902179"/>
                  </a:lnTo>
                  <a:lnTo>
                    <a:pt x="3988644" y="1891655"/>
                  </a:lnTo>
                  <a:lnTo>
                    <a:pt x="4003730" y="1870487"/>
                  </a:lnTo>
                  <a:lnTo>
                    <a:pt x="4020505" y="1849319"/>
                  </a:lnTo>
                  <a:lnTo>
                    <a:pt x="4032638" y="1836376"/>
                  </a:lnTo>
                  <a:lnTo>
                    <a:pt x="4041183" y="1821498"/>
                  </a:lnTo>
                  <a:lnTo>
                    <a:pt x="4053738" y="1811095"/>
                  </a:lnTo>
                  <a:lnTo>
                    <a:pt x="4069563" y="1802749"/>
                  </a:lnTo>
                  <a:lnTo>
                    <a:pt x="4083067" y="1796942"/>
                  </a:lnTo>
                  <a:lnTo>
                    <a:pt x="4100580" y="1785693"/>
                  </a:lnTo>
                  <a:lnTo>
                    <a:pt x="4119359" y="1763678"/>
                  </a:lnTo>
                  <a:lnTo>
                    <a:pt x="4136978" y="1747348"/>
                  </a:lnTo>
                  <a:lnTo>
                    <a:pt x="4148372" y="1737550"/>
                  </a:lnTo>
                  <a:lnTo>
                    <a:pt x="4149954" y="1725212"/>
                  </a:lnTo>
                  <a:lnTo>
                    <a:pt x="4151431" y="1713842"/>
                  </a:lnTo>
                  <a:lnTo>
                    <a:pt x="4150693" y="1702713"/>
                  </a:lnTo>
                  <a:lnTo>
                    <a:pt x="4147106" y="1688319"/>
                  </a:lnTo>
                  <a:lnTo>
                    <a:pt x="4151748" y="1676585"/>
                  </a:lnTo>
                  <a:lnTo>
                    <a:pt x="4165252" y="1654812"/>
                  </a:lnTo>
                  <a:lnTo>
                    <a:pt x="4169683" y="1642111"/>
                  </a:lnTo>
                  <a:lnTo>
                    <a:pt x="4184031" y="1631467"/>
                  </a:lnTo>
                  <a:lnTo>
                    <a:pt x="4192365" y="1622395"/>
                  </a:lnTo>
                  <a:lnTo>
                    <a:pt x="4218846" y="1609815"/>
                  </a:lnTo>
                  <a:lnTo>
                    <a:pt x="4247120" y="1595420"/>
                  </a:lnTo>
                  <a:lnTo>
                    <a:pt x="4257670" y="1581268"/>
                  </a:lnTo>
                  <a:lnTo>
                    <a:pt x="4264633" y="1570139"/>
                  </a:lnTo>
                  <a:lnTo>
                    <a:pt x="4275711" y="1555382"/>
                  </a:lnTo>
                  <a:lnTo>
                    <a:pt x="4281619" y="1546310"/>
                  </a:lnTo>
                  <a:lnTo>
                    <a:pt x="4288582" y="1537963"/>
                  </a:lnTo>
                  <a:lnTo>
                    <a:pt x="4300714" y="1540141"/>
                  </a:lnTo>
                  <a:lnTo>
                    <a:pt x="4313269" y="1549818"/>
                  </a:lnTo>
                  <a:lnTo>
                    <a:pt x="4327723" y="1558890"/>
                  </a:lnTo>
                  <a:lnTo>
                    <a:pt x="4345974" y="1561188"/>
                  </a:lnTo>
                  <a:lnTo>
                    <a:pt x="4359689" y="1563486"/>
                  </a:lnTo>
                  <a:lnTo>
                    <a:pt x="4369290" y="1563970"/>
                  </a:lnTo>
                  <a:lnTo>
                    <a:pt x="4384376" y="1566994"/>
                  </a:lnTo>
                  <a:cubicBezTo>
                    <a:pt x="4387963" y="1566994"/>
                    <a:pt x="4391550" y="1566752"/>
                    <a:pt x="4395137" y="1566268"/>
                  </a:cubicBezTo>
                  <a:cubicBezTo>
                    <a:pt x="4399041" y="1565664"/>
                    <a:pt x="4403050" y="1564696"/>
                    <a:pt x="4406848" y="1563486"/>
                  </a:cubicBezTo>
                  <a:lnTo>
                    <a:pt x="4424256" y="1554414"/>
                  </a:lnTo>
                  <a:lnTo>
                    <a:pt x="4443984" y="1540020"/>
                  </a:lnTo>
                  <a:lnTo>
                    <a:pt x="4460548" y="1528891"/>
                  </a:lnTo>
                  <a:lnTo>
                    <a:pt x="4489138" y="1517521"/>
                  </a:lnTo>
                  <a:lnTo>
                    <a:pt x="4517202" y="1508933"/>
                  </a:lnTo>
                  <a:lnTo>
                    <a:pt x="4536297" y="1507723"/>
                  </a:lnTo>
                  <a:lnTo>
                    <a:pt x="4555709" y="1499377"/>
                  </a:lnTo>
                  <a:lnTo>
                    <a:pt x="4569741" y="1493570"/>
                  </a:lnTo>
                  <a:lnTo>
                    <a:pt x="4590524" y="1495990"/>
                  </a:lnTo>
                  <a:lnTo>
                    <a:pt x="4603818" y="1502038"/>
                  </a:lnTo>
                  <a:lnTo>
                    <a:pt x="4628821" y="1502764"/>
                  </a:lnTo>
                  <a:lnTo>
                    <a:pt x="4652559" y="1505788"/>
                  </a:lnTo>
                  <a:lnTo>
                    <a:pt x="4675663" y="1506513"/>
                  </a:lnTo>
                  <a:lnTo>
                    <a:pt x="4706153" y="1502038"/>
                  </a:lnTo>
                  <a:lnTo>
                    <a:pt x="4727992" y="1496715"/>
                  </a:lnTo>
                  <a:lnTo>
                    <a:pt x="4755738" y="1485587"/>
                  </a:lnTo>
                  <a:lnTo>
                    <a:pt x="4773884" y="1481837"/>
                  </a:lnTo>
                  <a:lnTo>
                    <a:pt x="4784540" y="1488248"/>
                  </a:lnTo>
                  <a:lnTo>
                    <a:pt x="4798466" y="1496353"/>
                  </a:lnTo>
                  <a:lnTo>
                    <a:pt x="4803108" y="1507602"/>
                  </a:lnTo>
                  <a:lnTo>
                    <a:pt x="4797200" y="1513650"/>
                  </a:lnTo>
                  <a:lnTo>
                    <a:pt x="4792664" y="1526472"/>
                  </a:lnTo>
                  <a:lnTo>
                    <a:pt x="4798255" y="1535060"/>
                  </a:lnTo>
                  <a:lnTo>
                    <a:pt x="4805851" y="1548124"/>
                  </a:lnTo>
                  <a:lnTo>
                    <a:pt x="4806590" y="1558769"/>
                  </a:lnTo>
                  <a:lnTo>
                    <a:pt x="4796462" y="1573889"/>
                  </a:lnTo>
                  <a:lnTo>
                    <a:pt x="4791081" y="1584534"/>
                  </a:lnTo>
                  <a:lnTo>
                    <a:pt x="4797200" y="1596388"/>
                  </a:lnTo>
                  <a:lnTo>
                    <a:pt x="4820094" y="1616830"/>
                  </a:lnTo>
                  <a:lnTo>
                    <a:pt x="4835075" y="1632072"/>
                  </a:lnTo>
                  <a:lnTo>
                    <a:pt x="4843198" y="1639692"/>
                  </a:lnTo>
                  <a:lnTo>
                    <a:pt x="4856491" y="1640418"/>
                  </a:lnTo>
                  <a:lnTo>
                    <a:pt x="4880862" y="1640418"/>
                  </a:lnTo>
                  <a:lnTo>
                    <a:pt x="4907343" y="1649248"/>
                  </a:lnTo>
                  <a:lnTo>
                    <a:pt x="4923695" y="1651546"/>
                  </a:lnTo>
                  <a:lnTo>
                    <a:pt x="4945006" y="1662917"/>
                  </a:lnTo>
                  <a:lnTo>
                    <a:pt x="4955451" y="1680093"/>
                  </a:lnTo>
                  <a:lnTo>
                    <a:pt x="4966317" y="1695697"/>
                  </a:lnTo>
                  <a:lnTo>
                    <a:pt x="4974019" y="1708277"/>
                  </a:lnTo>
                  <a:lnTo>
                    <a:pt x="5004509" y="1712027"/>
                  </a:lnTo>
                  <a:lnTo>
                    <a:pt x="5021916" y="1718801"/>
                  </a:lnTo>
                  <a:lnTo>
                    <a:pt x="5037530" y="1724123"/>
                  </a:lnTo>
                  <a:lnTo>
                    <a:pt x="5062006" y="1733196"/>
                  </a:lnTo>
                  <a:lnTo>
                    <a:pt x="5074877" y="1735373"/>
                  </a:lnTo>
                  <a:lnTo>
                    <a:pt x="5090070" y="1730897"/>
                  </a:lnTo>
                  <a:lnTo>
                    <a:pt x="5106106" y="1713479"/>
                  </a:lnTo>
                  <a:lnTo>
                    <a:pt x="5121192" y="1698480"/>
                  </a:lnTo>
                  <a:lnTo>
                    <a:pt x="5118977" y="1687956"/>
                  </a:lnTo>
                  <a:lnTo>
                    <a:pt x="5109798" y="1678884"/>
                  </a:lnTo>
                  <a:lnTo>
                    <a:pt x="5108954" y="1663401"/>
                  </a:lnTo>
                  <a:lnTo>
                    <a:pt x="5119399" y="1649490"/>
                  </a:lnTo>
                  <a:lnTo>
                    <a:pt x="5135962" y="1638845"/>
                  </a:lnTo>
                  <a:lnTo>
                    <a:pt x="5153581" y="1641265"/>
                  </a:lnTo>
                  <a:lnTo>
                    <a:pt x="5178479" y="1642837"/>
                  </a:lnTo>
                  <a:lnTo>
                    <a:pt x="5194199" y="1648039"/>
                  </a:lnTo>
                  <a:lnTo>
                    <a:pt x="5208230" y="1653361"/>
                  </a:lnTo>
                  <a:lnTo>
                    <a:pt x="5225005" y="1660981"/>
                  </a:lnTo>
                  <a:lnTo>
                    <a:pt x="5244522" y="1676102"/>
                  </a:lnTo>
                  <a:lnTo>
                    <a:pt x="5262352" y="1683601"/>
                  </a:lnTo>
                  <a:lnTo>
                    <a:pt x="5276806" y="1685174"/>
                  </a:lnTo>
                  <a:lnTo>
                    <a:pt x="5292525" y="1689407"/>
                  </a:lnTo>
                  <a:lnTo>
                    <a:pt x="5306451" y="1689407"/>
                  </a:lnTo>
                  <a:lnTo>
                    <a:pt x="5320061" y="1692431"/>
                  </a:lnTo>
                  <a:lnTo>
                    <a:pt x="5338629" y="1698963"/>
                  </a:lnTo>
                  <a:lnTo>
                    <a:pt x="5352133" y="1702834"/>
                  </a:lnTo>
                  <a:lnTo>
                    <a:pt x="5373444" y="1706584"/>
                  </a:lnTo>
                  <a:lnTo>
                    <a:pt x="5392329" y="1711906"/>
                  </a:lnTo>
                  <a:lnTo>
                    <a:pt x="5409947" y="1711422"/>
                  </a:lnTo>
                  <a:lnTo>
                    <a:pt x="5428726" y="1707673"/>
                  </a:lnTo>
                  <a:lnTo>
                    <a:pt x="5450037" y="1700778"/>
                  </a:lnTo>
                  <a:lnTo>
                    <a:pt x="5462909" y="1699326"/>
                  </a:lnTo>
                  <a:lnTo>
                    <a:pt x="5479683" y="1699326"/>
                  </a:lnTo>
                  <a:lnTo>
                    <a:pt x="5491605" y="1706100"/>
                  </a:lnTo>
                  <a:lnTo>
                    <a:pt x="5504290" y="1715481"/>
                  </a:lnTo>
                  <a:lnTo>
                    <a:pt x="5508755" y="1713113"/>
                  </a:lnTo>
                  <a:lnTo>
                    <a:pt x="5524525" y="1716797"/>
                  </a:lnTo>
                  <a:lnTo>
                    <a:pt x="5543486" y="1703167"/>
                  </a:lnTo>
                  <a:lnTo>
                    <a:pt x="5560945" y="1701694"/>
                  </a:lnTo>
                  <a:lnTo>
                    <a:pt x="5573523" y="1698747"/>
                  </a:lnTo>
                  <a:lnTo>
                    <a:pt x="5580845" y="1688187"/>
                  </a:lnTo>
                  <a:lnTo>
                    <a:pt x="5588542" y="1678363"/>
                  </a:lnTo>
                  <a:cubicBezTo>
                    <a:pt x="5592109" y="1671119"/>
                    <a:pt x="5594362" y="1663383"/>
                    <a:pt x="5595113" y="1655402"/>
                  </a:cubicBezTo>
                  <a:cubicBezTo>
                    <a:pt x="5595676" y="1649262"/>
                    <a:pt x="5595488" y="1643000"/>
                    <a:pt x="5594362" y="1636983"/>
                  </a:cubicBezTo>
                  <a:lnTo>
                    <a:pt x="5592109" y="1618074"/>
                  </a:lnTo>
                  <a:lnTo>
                    <a:pt x="5602622" y="1598305"/>
                  </a:lnTo>
                  <a:lnTo>
                    <a:pt x="5604499" y="1576694"/>
                  </a:lnTo>
                  <a:lnTo>
                    <a:pt x="5606001" y="1557538"/>
                  </a:lnTo>
                  <a:lnTo>
                    <a:pt x="5602810" y="1530770"/>
                  </a:lnTo>
                  <a:lnTo>
                    <a:pt x="5609756" y="1520947"/>
                  </a:lnTo>
                  <a:lnTo>
                    <a:pt x="5609756" y="1500809"/>
                  </a:lnTo>
                  <a:lnTo>
                    <a:pt x="5593798" y="1497003"/>
                  </a:lnTo>
                  <a:lnTo>
                    <a:pt x="5580094" y="1490986"/>
                  </a:lnTo>
                  <a:lnTo>
                    <a:pt x="5562259" y="1493933"/>
                  </a:lnTo>
                  <a:lnTo>
                    <a:pt x="5544237" y="1503634"/>
                  </a:lnTo>
                  <a:lnTo>
                    <a:pt x="5529782" y="1514439"/>
                  </a:lnTo>
                  <a:lnTo>
                    <a:pt x="5521521" y="1515913"/>
                  </a:lnTo>
                  <a:lnTo>
                    <a:pt x="5493361" y="1518246"/>
                  </a:lnTo>
                  <a:lnTo>
                    <a:pt x="5469707" y="1506089"/>
                  </a:lnTo>
                  <a:lnTo>
                    <a:pt x="5462385" y="1497740"/>
                  </a:lnTo>
                  <a:lnTo>
                    <a:pt x="5444175" y="1494793"/>
                  </a:lnTo>
                  <a:lnTo>
                    <a:pt x="5428969" y="1499950"/>
                  </a:lnTo>
                  <a:lnTo>
                    <a:pt x="5421272" y="1513334"/>
                  </a:lnTo>
                  <a:lnTo>
                    <a:pt x="5404376" y="1516404"/>
                  </a:lnTo>
                  <a:lnTo>
                    <a:pt x="5395177" y="1513702"/>
                  </a:lnTo>
                  <a:lnTo>
                    <a:pt x="5384664" y="1511124"/>
                  </a:lnTo>
                  <a:lnTo>
                    <a:pt x="5370584" y="1511861"/>
                  </a:lnTo>
                  <a:lnTo>
                    <a:pt x="5362887" y="1497740"/>
                  </a:lnTo>
                  <a:lnTo>
                    <a:pt x="5346554" y="1493933"/>
                  </a:lnTo>
                  <a:lnTo>
                    <a:pt x="5336229" y="1485092"/>
                  </a:lnTo>
                  <a:lnTo>
                    <a:pt x="5332474" y="1470235"/>
                  </a:lnTo>
                  <a:lnTo>
                    <a:pt x="5326655" y="1462990"/>
                  </a:lnTo>
                  <a:lnTo>
                    <a:pt x="5318957" y="1447519"/>
                  </a:lnTo>
                  <a:lnTo>
                    <a:pt x="5323275" y="1420628"/>
                  </a:lnTo>
                  <a:lnTo>
                    <a:pt x="5308257" y="1406261"/>
                  </a:lnTo>
                  <a:lnTo>
                    <a:pt x="5297931" y="1406261"/>
                  </a:lnTo>
                  <a:lnTo>
                    <a:pt x="5283288" y="1403437"/>
                  </a:lnTo>
                  <a:lnTo>
                    <a:pt x="5286480" y="1388088"/>
                  </a:lnTo>
                  <a:lnTo>
                    <a:pt x="5297744" y="1385755"/>
                  </a:lnTo>
                  <a:lnTo>
                    <a:pt x="5308444" y="1376792"/>
                  </a:lnTo>
                  <a:lnTo>
                    <a:pt x="5324026" y="1376792"/>
                  </a:lnTo>
                  <a:lnTo>
                    <a:pt x="5333225" y="1386861"/>
                  </a:lnTo>
                  <a:lnTo>
                    <a:pt x="5345803" y="1387352"/>
                  </a:lnTo>
                  <a:lnTo>
                    <a:pt x="5353125" y="1377774"/>
                  </a:lnTo>
                  <a:lnTo>
                    <a:pt x="5364764" y="1368197"/>
                  </a:lnTo>
                  <a:lnTo>
                    <a:pt x="5376591" y="1359110"/>
                  </a:lnTo>
                  <a:lnTo>
                    <a:pt x="5380346" y="1346586"/>
                  </a:lnTo>
                  <a:lnTo>
                    <a:pt x="5402874" y="1339341"/>
                  </a:lnTo>
                  <a:lnTo>
                    <a:pt x="5412073" y="1338604"/>
                  </a:lnTo>
                  <a:lnTo>
                    <a:pt x="5423337" y="1348182"/>
                  </a:lnTo>
                  <a:lnTo>
                    <a:pt x="5450746" y="1336148"/>
                  </a:lnTo>
                  <a:lnTo>
                    <a:pt x="5476465" y="1317239"/>
                  </a:lnTo>
                  <a:lnTo>
                    <a:pt x="5497679" y="1310976"/>
                  </a:lnTo>
                  <a:lnTo>
                    <a:pt x="5529406" y="1311713"/>
                  </a:lnTo>
                  <a:lnTo>
                    <a:pt x="5556627" y="1321045"/>
                  </a:lnTo>
                  <a:lnTo>
                    <a:pt x="5577278" y="1321045"/>
                  </a:lnTo>
                  <a:lnTo>
                    <a:pt x="5595300" y="1326202"/>
                  </a:lnTo>
                  <a:lnTo>
                    <a:pt x="5609380" y="1335903"/>
                  </a:lnTo>
                  <a:lnTo>
                    <a:pt x="5628341" y="1351743"/>
                  </a:lnTo>
                  <a:lnTo>
                    <a:pt x="5641858" y="1355304"/>
                  </a:lnTo>
                  <a:lnTo>
                    <a:pt x="5659129" y="1356777"/>
                  </a:lnTo>
                  <a:lnTo>
                    <a:pt x="5663823" y="1362794"/>
                  </a:lnTo>
                  <a:lnTo>
                    <a:pt x="5684286" y="1362794"/>
                  </a:lnTo>
                  <a:lnTo>
                    <a:pt x="5697051" y="1358251"/>
                  </a:lnTo>
                  <a:lnTo>
                    <a:pt x="5711507" y="1353707"/>
                  </a:lnTo>
                  <a:lnTo>
                    <a:pt x="5734598" y="1350024"/>
                  </a:lnTo>
                  <a:lnTo>
                    <a:pt x="5740981" y="1342411"/>
                  </a:lnTo>
                  <a:lnTo>
                    <a:pt x="5741356" y="1330623"/>
                  </a:lnTo>
                  <a:lnTo>
                    <a:pt x="5750368" y="1327553"/>
                  </a:lnTo>
                  <a:lnTo>
                    <a:pt x="5750368" y="1309257"/>
                  </a:lnTo>
                  <a:lnTo>
                    <a:pt x="5751869" y="1294154"/>
                  </a:lnTo>
                  <a:lnTo>
                    <a:pt x="5752292" y="1294171"/>
                  </a:lnTo>
                  <a:lnTo>
                    <a:pt x="5745297" y="1278413"/>
                  </a:lnTo>
                  <a:lnTo>
                    <a:pt x="5730642" y="1267398"/>
                  </a:lnTo>
                  <a:lnTo>
                    <a:pt x="5711636" y="1257538"/>
                  </a:lnTo>
                  <a:lnTo>
                    <a:pt x="5697075" y="1242391"/>
                  </a:lnTo>
                  <a:lnTo>
                    <a:pt x="5676557" y="1238646"/>
                  </a:lnTo>
                  <a:lnTo>
                    <a:pt x="5656700" y="1224490"/>
                  </a:lnTo>
                  <a:cubicBezTo>
                    <a:pt x="5651216" y="1219423"/>
                    <a:pt x="5644787" y="1215402"/>
                    <a:pt x="5637884" y="1212648"/>
                  </a:cubicBezTo>
                  <a:cubicBezTo>
                    <a:pt x="5633345" y="1210831"/>
                    <a:pt x="5628523" y="1209564"/>
                    <a:pt x="5623701" y="1208848"/>
                  </a:cubicBezTo>
                  <a:lnTo>
                    <a:pt x="5610747" y="1203615"/>
                  </a:lnTo>
                  <a:lnTo>
                    <a:pt x="5612827" y="1193260"/>
                  </a:lnTo>
                  <a:lnTo>
                    <a:pt x="5623417" y="1182685"/>
                  </a:lnTo>
                  <a:lnTo>
                    <a:pt x="5626727" y="1164233"/>
                  </a:lnTo>
                  <a:lnTo>
                    <a:pt x="5627483" y="1146387"/>
                  </a:lnTo>
                  <a:lnTo>
                    <a:pt x="5638641" y="1130965"/>
                  </a:lnTo>
                  <a:lnTo>
                    <a:pt x="5646488" y="1120941"/>
                  </a:lnTo>
                  <a:lnTo>
                    <a:pt x="5629942" y="1112348"/>
                  </a:lnTo>
                  <a:lnTo>
                    <a:pt x="5616326" y="1114606"/>
                  </a:lnTo>
                  <a:lnTo>
                    <a:pt x="5598455" y="1122428"/>
                  </a:lnTo>
                  <a:lnTo>
                    <a:pt x="5585028" y="1130745"/>
                  </a:lnTo>
                  <a:lnTo>
                    <a:pt x="5565078" y="1141045"/>
                  </a:lnTo>
                  <a:lnTo>
                    <a:pt x="5549382" y="1149417"/>
                  </a:lnTo>
                  <a:lnTo>
                    <a:pt x="5534347" y="1154704"/>
                  </a:lnTo>
                  <a:lnTo>
                    <a:pt x="5529052" y="1164454"/>
                  </a:lnTo>
                  <a:cubicBezTo>
                    <a:pt x="5532267" y="1167097"/>
                    <a:pt x="5535577" y="1169631"/>
                    <a:pt x="5538886" y="1172055"/>
                  </a:cubicBezTo>
                  <a:cubicBezTo>
                    <a:pt x="5543614" y="1175414"/>
                    <a:pt x="5548436" y="1178609"/>
                    <a:pt x="5553353" y="1181583"/>
                  </a:cubicBezTo>
                  <a:lnTo>
                    <a:pt x="5567536" y="1178554"/>
                  </a:lnTo>
                  <a:lnTo>
                    <a:pt x="5575951" y="1182134"/>
                  </a:lnTo>
                  <a:lnTo>
                    <a:pt x="5578221" y="1194858"/>
                  </a:lnTo>
                  <a:lnTo>
                    <a:pt x="5545221" y="1202128"/>
                  </a:lnTo>
                  <a:lnTo>
                    <a:pt x="5530754" y="1211987"/>
                  </a:lnTo>
                  <a:lnTo>
                    <a:pt x="5522434" y="1218707"/>
                  </a:lnTo>
                  <a:lnTo>
                    <a:pt x="5503334" y="1216889"/>
                  </a:lnTo>
                  <a:lnTo>
                    <a:pt x="5492460" y="1203505"/>
                  </a:lnTo>
                  <a:lnTo>
                    <a:pt x="5473360" y="1187587"/>
                  </a:lnTo>
                  <a:lnTo>
                    <a:pt x="5474873" y="1179325"/>
                  </a:lnTo>
                  <a:lnTo>
                    <a:pt x="5492176" y="1178774"/>
                  </a:lnTo>
                  <a:lnTo>
                    <a:pt x="5487638" y="1165225"/>
                  </a:lnTo>
                  <a:lnTo>
                    <a:pt x="5477993" y="1160708"/>
                  </a:lnTo>
                  <a:lnTo>
                    <a:pt x="5458421" y="1159166"/>
                  </a:lnTo>
                  <a:lnTo>
                    <a:pt x="5458421" y="1142091"/>
                  </a:lnTo>
                  <a:lnTo>
                    <a:pt x="5451045" y="1132507"/>
                  </a:lnTo>
                  <a:lnTo>
                    <a:pt x="5429487" y="1143138"/>
                  </a:lnTo>
                  <a:lnTo>
                    <a:pt x="5401972" y="1154980"/>
                  </a:lnTo>
                  <a:lnTo>
                    <a:pt x="5381454" y="1175469"/>
                  </a:lnTo>
                  <a:lnTo>
                    <a:pt x="5370202" y="1189845"/>
                  </a:lnTo>
                  <a:lnTo>
                    <a:pt x="5360274" y="1214576"/>
                  </a:lnTo>
                  <a:lnTo>
                    <a:pt x="5354222" y="1232697"/>
                  </a:lnTo>
                  <a:lnTo>
                    <a:pt x="5342781" y="1258420"/>
                  </a:lnTo>
                  <a:lnTo>
                    <a:pt x="5340512" y="1271308"/>
                  </a:lnTo>
                  <a:cubicBezTo>
                    <a:pt x="5337297" y="1278413"/>
                    <a:pt x="5335217" y="1286014"/>
                    <a:pt x="5334366" y="1293781"/>
                  </a:cubicBezTo>
                  <a:cubicBezTo>
                    <a:pt x="5333704" y="1300556"/>
                    <a:pt x="5333988" y="1307440"/>
                    <a:pt x="5335122" y="1314215"/>
                  </a:cubicBezTo>
                  <a:cubicBezTo>
                    <a:pt x="5341836" y="1319338"/>
                    <a:pt x="5348265" y="1324901"/>
                    <a:pt x="5354222" y="1330849"/>
                  </a:cubicBezTo>
                  <a:cubicBezTo>
                    <a:pt x="5357059" y="1333658"/>
                    <a:pt x="5359706" y="1336523"/>
                    <a:pt x="5362354" y="1339442"/>
                  </a:cubicBezTo>
                  <a:lnTo>
                    <a:pt x="5355073" y="1347483"/>
                  </a:lnTo>
                  <a:lnTo>
                    <a:pt x="5327842" y="1352055"/>
                  </a:lnTo>
                  <a:lnTo>
                    <a:pt x="5317157" y="1355856"/>
                  </a:lnTo>
                  <a:lnTo>
                    <a:pt x="5295882" y="1361419"/>
                  </a:lnTo>
                  <a:lnTo>
                    <a:pt x="5273851" y="1348530"/>
                  </a:lnTo>
                  <a:lnTo>
                    <a:pt x="5252766" y="1348530"/>
                  </a:lnTo>
                  <a:lnTo>
                    <a:pt x="5225818" y="1351559"/>
                  </a:lnTo>
                  <a:lnTo>
                    <a:pt x="5219010" y="1362906"/>
                  </a:lnTo>
                  <a:lnTo>
                    <a:pt x="5216741" y="1380201"/>
                  </a:lnTo>
                  <a:lnTo>
                    <a:pt x="5205583" y="1372159"/>
                  </a:lnTo>
                  <a:lnTo>
                    <a:pt x="5193197" y="1368854"/>
                  </a:lnTo>
                  <a:lnTo>
                    <a:pt x="5180716" y="1368138"/>
                  </a:lnTo>
                  <a:cubicBezTo>
                    <a:pt x="5175893" y="1368579"/>
                    <a:pt x="5171544" y="1371388"/>
                    <a:pt x="5169275" y="1375684"/>
                  </a:cubicBezTo>
                  <a:cubicBezTo>
                    <a:pt x="5166533" y="1380807"/>
                    <a:pt x="5167194" y="1387031"/>
                    <a:pt x="5170787" y="1391547"/>
                  </a:cubicBezTo>
                  <a:lnTo>
                    <a:pt x="5182228" y="1411761"/>
                  </a:lnTo>
                  <a:cubicBezTo>
                    <a:pt x="5188753" y="1417545"/>
                    <a:pt x="5193575" y="1424981"/>
                    <a:pt x="5196222" y="1433243"/>
                  </a:cubicBezTo>
                  <a:cubicBezTo>
                    <a:pt x="5197641" y="1437594"/>
                    <a:pt x="5198397" y="1442055"/>
                    <a:pt x="5198492" y="1446627"/>
                  </a:cubicBezTo>
                  <a:cubicBezTo>
                    <a:pt x="5197357" y="1451529"/>
                    <a:pt x="5196601" y="1456486"/>
                    <a:pt x="5196222" y="1461498"/>
                  </a:cubicBezTo>
                  <a:cubicBezTo>
                    <a:pt x="5195750" y="1467227"/>
                    <a:pt x="5195750" y="1473010"/>
                    <a:pt x="5196222" y="1478794"/>
                  </a:cubicBezTo>
                  <a:lnTo>
                    <a:pt x="5194710" y="1495152"/>
                  </a:lnTo>
                  <a:lnTo>
                    <a:pt x="5172584" y="1501211"/>
                  </a:lnTo>
                  <a:cubicBezTo>
                    <a:pt x="5168896" y="1501266"/>
                    <a:pt x="5165209" y="1500220"/>
                    <a:pt x="5162183" y="1498182"/>
                  </a:cubicBezTo>
                  <a:cubicBezTo>
                    <a:pt x="5157644" y="1495207"/>
                    <a:pt x="5154713" y="1490415"/>
                    <a:pt x="5154051" y="1485073"/>
                  </a:cubicBezTo>
                  <a:lnTo>
                    <a:pt x="5147149" y="1466180"/>
                  </a:lnTo>
                  <a:lnTo>
                    <a:pt x="5135802" y="1453567"/>
                  </a:lnTo>
                  <a:lnTo>
                    <a:pt x="5143934" y="1447233"/>
                  </a:lnTo>
                  <a:lnTo>
                    <a:pt x="5165209" y="1450262"/>
                  </a:lnTo>
                  <a:lnTo>
                    <a:pt x="5173624" y="1435997"/>
                  </a:lnTo>
                  <a:lnTo>
                    <a:pt x="5164736" y="1428671"/>
                  </a:lnTo>
                  <a:lnTo>
                    <a:pt x="5149986" y="1420629"/>
                  </a:lnTo>
                  <a:lnTo>
                    <a:pt x="5138072" y="1419858"/>
                  </a:lnTo>
                  <a:lnTo>
                    <a:pt x="5122376" y="1415397"/>
                  </a:lnTo>
                  <a:lnTo>
                    <a:pt x="5101290" y="1408952"/>
                  </a:lnTo>
                  <a:lnTo>
                    <a:pt x="5091646" y="1397826"/>
                  </a:lnTo>
                  <a:lnTo>
                    <a:pt x="5079732" y="1377392"/>
                  </a:lnTo>
                  <a:lnTo>
                    <a:pt x="5078976" y="1356241"/>
                  </a:lnTo>
                  <a:lnTo>
                    <a:pt x="5076706" y="1333824"/>
                  </a:lnTo>
                  <a:lnTo>
                    <a:pt x="5069047" y="1310305"/>
                  </a:lnTo>
                  <a:lnTo>
                    <a:pt x="5053351" y="1295213"/>
                  </a:lnTo>
                  <a:lnTo>
                    <a:pt x="5033022" y="1280341"/>
                  </a:lnTo>
                  <a:cubicBezTo>
                    <a:pt x="5028389" y="1277697"/>
                    <a:pt x="5023567" y="1275439"/>
                    <a:pt x="5018556" y="1273566"/>
                  </a:cubicBezTo>
                  <a:cubicBezTo>
                    <a:pt x="5013261" y="1271584"/>
                    <a:pt x="5007682" y="1270041"/>
                    <a:pt x="5002103" y="1269050"/>
                  </a:cubicBezTo>
                  <a:lnTo>
                    <a:pt x="4986785" y="1262991"/>
                  </a:lnTo>
                  <a:lnTo>
                    <a:pt x="4976668" y="1254178"/>
                  </a:lnTo>
                  <a:lnTo>
                    <a:pt x="4963431" y="1236608"/>
                  </a:lnTo>
                  <a:cubicBezTo>
                    <a:pt x="4958987" y="1231816"/>
                    <a:pt x="4953786" y="1227740"/>
                    <a:pt x="4948207" y="1224490"/>
                  </a:cubicBezTo>
                  <a:cubicBezTo>
                    <a:pt x="4939508" y="1219423"/>
                    <a:pt x="4929958" y="1216339"/>
                    <a:pt x="4919936" y="1215402"/>
                  </a:cubicBezTo>
                  <a:lnTo>
                    <a:pt x="4895068" y="1204001"/>
                  </a:lnTo>
                  <a:lnTo>
                    <a:pt x="4881925" y="1182410"/>
                  </a:lnTo>
                  <a:lnTo>
                    <a:pt x="4865378" y="1179380"/>
                  </a:lnTo>
                  <a:lnTo>
                    <a:pt x="4842780" y="1192214"/>
                  </a:lnTo>
                  <a:lnTo>
                    <a:pt x="4842874" y="1216449"/>
                  </a:lnTo>
                  <a:lnTo>
                    <a:pt x="4866229" y="1233083"/>
                  </a:lnTo>
                  <a:lnTo>
                    <a:pt x="4882871" y="1240684"/>
                  </a:lnTo>
                  <a:lnTo>
                    <a:pt x="4896392" y="1250984"/>
                  </a:lnTo>
                  <a:lnTo>
                    <a:pt x="4891097" y="1272961"/>
                  </a:lnTo>
                  <a:lnTo>
                    <a:pt x="4912939" y="1294387"/>
                  </a:lnTo>
                  <a:lnTo>
                    <a:pt x="4931944" y="1298187"/>
                  </a:lnTo>
                  <a:lnTo>
                    <a:pt x="4948964" y="1320935"/>
                  </a:lnTo>
                  <a:lnTo>
                    <a:pt x="4974588" y="1332281"/>
                  </a:lnTo>
                  <a:lnTo>
                    <a:pt x="4995957" y="1344399"/>
                  </a:lnTo>
                  <a:lnTo>
                    <a:pt x="5024702" y="1358830"/>
                  </a:lnTo>
                  <a:lnTo>
                    <a:pt x="5039452" y="1368414"/>
                  </a:lnTo>
                  <a:lnTo>
                    <a:pt x="5049380" y="1378493"/>
                  </a:lnTo>
                  <a:lnTo>
                    <a:pt x="5040965" y="1382018"/>
                  </a:lnTo>
                  <a:lnTo>
                    <a:pt x="5023756" y="1378273"/>
                  </a:lnTo>
                  <a:lnTo>
                    <a:pt x="5018366" y="1371443"/>
                  </a:lnTo>
                  <a:lnTo>
                    <a:pt x="5009289" y="1368689"/>
                  </a:lnTo>
                  <a:lnTo>
                    <a:pt x="4993972" y="1369460"/>
                  </a:lnTo>
                  <a:lnTo>
                    <a:pt x="4986407" y="1381082"/>
                  </a:lnTo>
                  <a:lnTo>
                    <a:pt x="4989149" y="1390060"/>
                  </a:lnTo>
                  <a:lnTo>
                    <a:pt x="4993688" y="1402398"/>
                  </a:lnTo>
                  <a:lnTo>
                    <a:pt x="4998510" y="1414956"/>
                  </a:lnTo>
                  <a:lnTo>
                    <a:pt x="4995012" y="1423824"/>
                  </a:lnTo>
                  <a:lnTo>
                    <a:pt x="4984327" y="1436162"/>
                  </a:lnTo>
                  <a:lnTo>
                    <a:pt x="4974682" y="1445250"/>
                  </a:lnTo>
                  <a:lnTo>
                    <a:pt x="4969387" y="1454283"/>
                  </a:lnTo>
                  <a:lnTo>
                    <a:pt x="4957190" y="1450758"/>
                  </a:lnTo>
                  <a:lnTo>
                    <a:pt x="4961729" y="1434454"/>
                  </a:lnTo>
                  <a:lnTo>
                    <a:pt x="4958987" y="1423934"/>
                  </a:lnTo>
                  <a:lnTo>
                    <a:pt x="4977519" y="1414571"/>
                  </a:lnTo>
                  <a:lnTo>
                    <a:pt x="4965605" y="1398928"/>
                  </a:lnTo>
                  <a:lnTo>
                    <a:pt x="4951328" y="1379264"/>
                  </a:lnTo>
                  <a:lnTo>
                    <a:pt x="4940170" y="1364118"/>
                  </a:lnTo>
                  <a:lnTo>
                    <a:pt x="4935064" y="1357563"/>
                  </a:lnTo>
                  <a:lnTo>
                    <a:pt x="4917572" y="1347208"/>
                  </a:lnTo>
                  <a:lnTo>
                    <a:pt x="4906887" y="1342691"/>
                  </a:lnTo>
                  <a:lnTo>
                    <a:pt x="4892704" y="1335366"/>
                  </a:lnTo>
                  <a:lnTo>
                    <a:pt x="4881263" y="1327820"/>
                  </a:lnTo>
                  <a:lnTo>
                    <a:pt x="4870579" y="1321045"/>
                  </a:lnTo>
                  <a:cubicBezTo>
                    <a:pt x="4862352" y="1312838"/>
                    <a:pt x="4852424" y="1306394"/>
                    <a:pt x="4841550" y="1302098"/>
                  </a:cubicBezTo>
                  <a:cubicBezTo>
                    <a:pt x="4835404" y="1299674"/>
                    <a:pt x="4828975" y="1297967"/>
                    <a:pt x="4822734" y="1295543"/>
                  </a:cubicBezTo>
                  <a:cubicBezTo>
                    <a:pt x="4816210" y="1292955"/>
                    <a:pt x="4809969" y="1289595"/>
                    <a:pt x="4804202" y="1285464"/>
                  </a:cubicBezTo>
                  <a:lnTo>
                    <a:pt x="4795881" y="1272575"/>
                  </a:lnTo>
                  <a:lnTo>
                    <a:pt x="4799190" y="1250598"/>
                  </a:lnTo>
                  <a:lnTo>
                    <a:pt x="4782454" y="1230164"/>
                  </a:lnTo>
                  <a:lnTo>
                    <a:pt x="4768177" y="1217605"/>
                  </a:lnTo>
                  <a:lnTo>
                    <a:pt x="4751535" y="1221351"/>
                  </a:lnTo>
                  <a:lnTo>
                    <a:pt x="4740850" y="1225151"/>
                  </a:lnTo>
                  <a:lnTo>
                    <a:pt x="4725344" y="1232202"/>
                  </a:lnTo>
                  <a:cubicBezTo>
                    <a:pt x="4718630" y="1238150"/>
                    <a:pt x="4711161" y="1243107"/>
                    <a:pt x="4702934" y="1246853"/>
                  </a:cubicBezTo>
                  <a:cubicBezTo>
                    <a:pt x="4696221" y="1249992"/>
                    <a:pt x="4689035" y="1252251"/>
                    <a:pt x="4681660" y="1253683"/>
                  </a:cubicBezTo>
                  <a:lnTo>
                    <a:pt x="4661520" y="1263983"/>
                  </a:lnTo>
                  <a:lnTo>
                    <a:pt x="4650930" y="1266241"/>
                  </a:lnTo>
                  <a:lnTo>
                    <a:pt x="4631357" y="1256382"/>
                  </a:lnTo>
                  <a:lnTo>
                    <a:pt x="4620200" y="1250378"/>
                  </a:lnTo>
                  <a:lnTo>
                    <a:pt x="4602423" y="1256106"/>
                  </a:lnTo>
                  <a:lnTo>
                    <a:pt x="4595048" y="1259852"/>
                  </a:lnTo>
                  <a:lnTo>
                    <a:pt x="4572734" y="1267177"/>
                  </a:lnTo>
                  <a:lnTo>
                    <a:pt x="4555714" y="1273456"/>
                  </a:lnTo>
                  <a:lnTo>
                    <a:pt x="4557321" y="1289319"/>
                  </a:lnTo>
                  <a:lnTo>
                    <a:pt x="4567155" y="1288548"/>
                  </a:lnTo>
                  <a:lnTo>
                    <a:pt x="4577367" y="1305458"/>
                  </a:lnTo>
                  <a:lnTo>
                    <a:pt x="4569235" y="1306945"/>
                  </a:lnTo>
                  <a:lnTo>
                    <a:pt x="4554296" y="1315041"/>
                  </a:lnTo>
                  <a:lnTo>
                    <a:pt x="4537465" y="1329197"/>
                  </a:lnTo>
                  <a:cubicBezTo>
                    <a:pt x="4531792" y="1333934"/>
                    <a:pt x="4525267" y="1337679"/>
                    <a:pt x="4518176" y="1340323"/>
                  </a:cubicBezTo>
                  <a:cubicBezTo>
                    <a:pt x="4510422" y="1343242"/>
                    <a:pt x="4501723" y="1344840"/>
                    <a:pt x="4495861" y="1350898"/>
                  </a:cubicBezTo>
                  <a:cubicBezTo>
                    <a:pt x="4493781" y="1352991"/>
                    <a:pt x="4492268" y="1355580"/>
                    <a:pt x="4491323" y="1358389"/>
                  </a:cubicBezTo>
                  <a:lnTo>
                    <a:pt x="4489810" y="1371223"/>
                  </a:lnTo>
                  <a:lnTo>
                    <a:pt x="4470710" y="1393971"/>
                  </a:lnTo>
                  <a:lnTo>
                    <a:pt x="4464091" y="1404326"/>
                  </a:lnTo>
                  <a:lnTo>
                    <a:pt x="4459552" y="1414901"/>
                  </a:lnTo>
                  <a:lnTo>
                    <a:pt x="4459552" y="1433848"/>
                  </a:lnTo>
                  <a:lnTo>
                    <a:pt x="4457283" y="1443653"/>
                  </a:lnTo>
                  <a:lnTo>
                    <a:pt x="4446599" y="1451970"/>
                  </a:lnTo>
                  <a:lnTo>
                    <a:pt x="4434401" y="1461498"/>
                  </a:lnTo>
                  <a:lnTo>
                    <a:pt x="4421542" y="1470807"/>
                  </a:lnTo>
                  <a:lnTo>
                    <a:pt x="4412370" y="1478353"/>
                  </a:lnTo>
                  <a:lnTo>
                    <a:pt x="4403955" y="1492013"/>
                  </a:lnTo>
                  <a:lnTo>
                    <a:pt x="4395823" y="1498071"/>
                  </a:lnTo>
                  <a:lnTo>
                    <a:pt x="4380600" y="1502588"/>
                  </a:lnTo>
                  <a:cubicBezTo>
                    <a:pt x="4373508" y="1502918"/>
                    <a:pt x="4366417" y="1502918"/>
                    <a:pt x="4359231" y="1502588"/>
                  </a:cubicBezTo>
                  <a:cubicBezTo>
                    <a:pt x="4353179" y="1502313"/>
                    <a:pt x="4347033" y="1501817"/>
                    <a:pt x="4340982" y="1501046"/>
                  </a:cubicBezTo>
                  <a:lnTo>
                    <a:pt x="4331054" y="1500330"/>
                  </a:lnTo>
                  <a:lnTo>
                    <a:pt x="4311765" y="1501817"/>
                  </a:lnTo>
                  <a:lnTo>
                    <a:pt x="4304957" y="1508261"/>
                  </a:lnTo>
                  <a:lnTo>
                    <a:pt x="4304957" y="1519332"/>
                  </a:lnTo>
                  <a:lnTo>
                    <a:pt x="4300702" y="1528310"/>
                  </a:lnTo>
                  <a:lnTo>
                    <a:pt x="4293043" y="1519277"/>
                  </a:lnTo>
                  <a:lnTo>
                    <a:pt x="4283966" y="1517735"/>
                  </a:lnTo>
                  <a:lnTo>
                    <a:pt x="4278576" y="1506884"/>
                  </a:lnTo>
                  <a:lnTo>
                    <a:pt x="4248886" y="1488708"/>
                  </a:lnTo>
                  <a:lnTo>
                    <a:pt x="4242362" y="1483916"/>
                  </a:lnTo>
                  <a:lnTo>
                    <a:pt x="4222789" y="1475654"/>
                  </a:lnTo>
                  <a:lnTo>
                    <a:pt x="4206526" y="1479179"/>
                  </a:lnTo>
                  <a:lnTo>
                    <a:pt x="4191019" y="1473891"/>
                  </a:lnTo>
                  <a:lnTo>
                    <a:pt x="4187142" y="1459075"/>
                  </a:lnTo>
                  <a:lnTo>
                    <a:pt x="4192532" y="1447729"/>
                  </a:lnTo>
                  <a:lnTo>
                    <a:pt x="4193288" y="1433573"/>
                  </a:lnTo>
                  <a:lnTo>
                    <a:pt x="4186386" y="1419418"/>
                  </a:lnTo>
                  <a:lnTo>
                    <a:pt x="4183360" y="1406584"/>
                  </a:lnTo>
                  <a:lnTo>
                    <a:pt x="4185630" y="1386645"/>
                  </a:lnTo>
                  <a:lnTo>
                    <a:pt x="4191492" y="1363181"/>
                  </a:lnTo>
                  <a:lnTo>
                    <a:pt x="4202176" y="1341975"/>
                  </a:lnTo>
                  <a:lnTo>
                    <a:pt x="4205202" y="1317079"/>
                  </a:lnTo>
                  <a:lnTo>
                    <a:pt x="4202176" y="1295378"/>
                  </a:lnTo>
                  <a:lnTo>
                    <a:pt x="4198867" y="1277257"/>
                  </a:lnTo>
                  <a:lnTo>
                    <a:pt x="4211065" y="1255500"/>
                  </a:lnTo>
                  <a:lnTo>
                    <a:pt x="4228557" y="1249992"/>
                  </a:lnTo>
                  <a:lnTo>
                    <a:pt x="4253236" y="1245696"/>
                  </a:lnTo>
                  <a:lnTo>
                    <a:pt x="4275078" y="1249442"/>
                  </a:lnTo>
                  <a:lnTo>
                    <a:pt x="4309022" y="1258805"/>
                  </a:lnTo>
                  <a:lnTo>
                    <a:pt x="4329824" y="1264148"/>
                  </a:lnTo>
                  <a:lnTo>
                    <a:pt x="4358852" y="1265580"/>
                  </a:lnTo>
                  <a:lnTo>
                    <a:pt x="4375305" y="1265580"/>
                  </a:lnTo>
                  <a:lnTo>
                    <a:pt x="4404806" y="1264864"/>
                  </a:lnTo>
                  <a:lnTo>
                    <a:pt x="4424378" y="1257538"/>
                  </a:lnTo>
                  <a:cubicBezTo>
                    <a:pt x="4428350" y="1251479"/>
                    <a:pt x="4431943" y="1245200"/>
                    <a:pt x="4434968" y="1238646"/>
                  </a:cubicBezTo>
                  <a:cubicBezTo>
                    <a:pt x="4439412" y="1229337"/>
                    <a:pt x="4442911" y="1219643"/>
                    <a:pt x="4445369" y="1209619"/>
                  </a:cubicBezTo>
                  <a:lnTo>
                    <a:pt x="4447355" y="1190947"/>
                  </a:lnTo>
                  <a:lnTo>
                    <a:pt x="4445086" y="1157128"/>
                  </a:lnTo>
                  <a:lnTo>
                    <a:pt x="4439034" y="1142036"/>
                  </a:lnTo>
                  <a:lnTo>
                    <a:pt x="4434779" y="1132452"/>
                  </a:lnTo>
                  <a:lnTo>
                    <a:pt x="4424851" y="1116810"/>
                  </a:lnTo>
                  <a:lnTo>
                    <a:pt x="4408304" y="1107226"/>
                  </a:lnTo>
                  <a:lnTo>
                    <a:pt x="4382396" y="1097366"/>
                  </a:lnTo>
                  <a:lnTo>
                    <a:pt x="4362067" y="1092795"/>
                  </a:lnTo>
                  <a:lnTo>
                    <a:pt x="4351288" y="1087067"/>
                  </a:lnTo>
                  <a:lnTo>
                    <a:pt x="4344197" y="1079465"/>
                  </a:lnTo>
                  <a:lnTo>
                    <a:pt x="4361689" y="1071864"/>
                  </a:lnTo>
                  <a:lnTo>
                    <a:pt x="4379938" y="1064319"/>
                  </a:lnTo>
                  <a:lnTo>
                    <a:pt x="4396674" y="1068835"/>
                  </a:lnTo>
                  <a:lnTo>
                    <a:pt x="4404049" y="1072636"/>
                  </a:lnTo>
                  <a:lnTo>
                    <a:pt x="4420785" y="1067568"/>
                  </a:lnTo>
                  <a:lnTo>
                    <a:pt x="4435157" y="1063768"/>
                  </a:lnTo>
                  <a:cubicBezTo>
                    <a:pt x="4438845" y="1059472"/>
                    <a:pt x="4442816" y="1055451"/>
                    <a:pt x="4447166" y="1051705"/>
                  </a:cubicBezTo>
                  <a:cubicBezTo>
                    <a:pt x="4451610" y="1047795"/>
                    <a:pt x="4456243" y="1044270"/>
                    <a:pt x="4461254" y="1041075"/>
                  </a:cubicBezTo>
                  <a:lnTo>
                    <a:pt x="4470332" y="1050163"/>
                  </a:lnTo>
                  <a:lnTo>
                    <a:pt x="4479692" y="1053909"/>
                  </a:lnTo>
                  <a:lnTo>
                    <a:pt x="4492079" y="1051926"/>
                  </a:lnTo>
                  <a:lnTo>
                    <a:pt x="4496901" y="1036779"/>
                  </a:lnTo>
                  <a:lnTo>
                    <a:pt x="4524038" y="1031766"/>
                  </a:lnTo>
                  <a:lnTo>
                    <a:pt x="4535574" y="1013590"/>
                  </a:lnTo>
                  <a:lnTo>
                    <a:pt x="4540869" y="1008247"/>
                  </a:lnTo>
                  <a:lnTo>
                    <a:pt x="4547299" y="994643"/>
                  </a:lnTo>
                  <a:lnTo>
                    <a:pt x="4555336" y="985830"/>
                  </a:lnTo>
                  <a:lnTo>
                    <a:pt x="4567722" y="984067"/>
                  </a:lnTo>
                  <a:lnTo>
                    <a:pt x="4575948" y="983351"/>
                  </a:lnTo>
                  <a:lnTo>
                    <a:pt x="4592590" y="969967"/>
                  </a:lnTo>
                  <a:lnTo>
                    <a:pt x="4597979" y="961870"/>
                  </a:lnTo>
                  <a:lnTo>
                    <a:pt x="4614810" y="953774"/>
                  </a:lnTo>
                  <a:lnTo>
                    <a:pt x="4631357" y="941436"/>
                  </a:lnTo>
                  <a:lnTo>
                    <a:pt x="4643554" y="930089"/>
                  </a:lnTo>
                  <a:lnTo>
                    <a:pt x="4654428" y="919018"/>
                  </a:lnTo>
                  <a:lnTo>
                    <a:pt x="4656319" y="909434"/>
                  </a:lnTo>
                  <a:lnTo>
                    <a:pt x="4665680" y="909434"/>
                  </a:lnTo>
                  <a:lnTo>
                    <a:pt x="4681943" y="907947"/>
                  </a:lnTo>
                  <a:lnTo>
                    <a:pt x="4691115" y="902605"/>
                  </a:lnTo>
                  <a:lnTo>
                    <a:pt x="4703974" y="898859"/>
                  </a:lnTo>
                  <a:lnTo>
                    <a:pt x="4718914" y="898859"/>
                  </a:lnTo>
                  <a:lnTo>
                    <a:pt x="4737919" y="897317"/>
                  </a:lnTo>
                  <a:lnTo>
                    <a:pt x="4749077" y="892525"/>
                  </a:lnTo>
                  <a:lnTo>
                    <a:pt x="4752197" y="877653"/>
                  </a:lnTo>
                  <a:lnTo>
                    <a:pt x="4759005" y="873082"/>
                  </a:lnTo>
                  <a:lnTo>
                    <a:pt x="4774606" y="866307"/>
                  </a:lnTo>
                  <a:lnTo>
                    <a:pt x="4772904" y="857219"/>
                  </a:lnTo>
                  <a:lnTo>
                    <a:pt x="4751062" y="862506"/>
                  </a:lnTo>
                  <a:lnTo>
                    <a:pt x="4744444" y="852151"/>
                  </a:lnTo>
                  <a:lnTo>
                    <a:pt x="4748226" y="838767"/>
                  </a:lnTo>
                  <a:lnTo>
                    <a:pt x="4743214" y="829734"/>
                  </a:lnTo>
                  <a:lnTo>
                    <a:pt x="4733570" y="818718"/>
                  </a:lnTo>
                  <a:lnTo>
                    <a:pt x="4735177" y="807867"/>
                  </a:lnTo>
                  <a:lnTo>
                    <a:pt x="4744254" y="795750"/>
                  </a:lnTo>
                  <a:lnTo>
                    <a:pt x="4759761" y="786166"/>
                  </a:lnTo>
                  <a:lnTo>
                    <a:pt x="4768555" y="778620"/>
                  </a:lnTo>
                  <a:lnTo>
                    <a:pt x="4774701" y="763749"/>
                  </a:lnTo>
                  <a:lnTo>
                    <a:pt x="4786615" y="760003"/>
                  </a:lnTo>
                  <a:lnTo>
                    <a:pt x="4787938" y="776637"/>
                  </a:lnTo>
                  <a:lnTo>
                    <a:pt x="4787938" y="796246"/>
                  </a:lnTo>
                  <a:lnTo>
                    <a:pt x="4782643" y="805279"/>
                  </a:lnTo>
                  <a:lnTo>
                    <a:pt x="4778861" y="813486"/>
                  </a:lnTo>
                  <a:lnTo>
                    <a:pt x="4777348" y="828577"/>
                  </a:lnTo>
                  <a:lnTo>
                    <a:pt x="4790870" y="827145"/>
                  </a:lnTo>
                  <a:lnTo>
                    <a:pt x="4800230" y="819600"/>
                  </a:lnTo>
                  <a:lnTo>
                    <a:pt x="4804769" y="833204"/>
                  </a:lnTo>
                  <a:lnTo>
                    <a:pt x="4813846" y="832433"/>
                  </a:lnTo>
                  <a:lnTo>
                    <a:pt x="4811671" y="823400"/>
                  </a:lnTo>
                  <a:lnTo>
                    <a:pt x="4820749" y="809795"/>
                  </a:lnTo>
                  <a:lnTo>
                    <a:pt x="4834175" y="806270"/>
                  </a:lnTo>
                  <a:lnTo>
                    <a:pt x="4846089" y="814807"/>
                  </a:lnTo>
                  <a:lnTo>
                    <a:pt x="4854221" y="830946"/>
                  </a:lnTo>
                  <a:lnTo>
                    <a:pt x="4847129" y="844275"/>
                  </a:lnTo>
                  <a:lnTo>
                    <a:pt x="4839470" y="855566"/>
                  </a:lnTo>
                  <a:lnTo>
                    <a:pt x="4824342" y="848847"/>
                  </a:lnTo>
                  <a:lnTo>
                    <a:pt x="4811388" y="841026"/>
                  </a:lnTo>
                  <a:lnTo>
                    <a:pt x="4806849" y="853914"/>
                  </a:lnTo>
                  <a:lnTo>
                    <a:pt x="4791910" y="849122"/>
                  </a:lnTo>
                  <a:lnTo>
                    <a:pt x="4794935" y="837555"/>
                  </a:lnTo>
                  <a:lnTo>
                    <a:pt x="4782076" y="837555"/>
                  </a:lnTo>
                  <a:lnTo>
                    <a:pt x="4773944" y="845872"/>
                  </a:lnTo>
                  <a:lnTo>
                    <a:pt x="4784629" y="861790"/>
                  </a:lnTo>
                  <a:lnTo>
                    <a:pt x="4797772" y="870383"/>
                  </a:lnTo>
                  <a:lnTo>
                    <a:pt x="4806093" y="879912"/>
                  </a:lnTo>
                  <a:lnTo>
                    <a:pt x="4823396" y="887513"/>
                  </a:lnTo>
                  <a:lnTo>
                    <a:pt x="4842874" y="875395"/>
                  </a:lnTo>
                  <a:lnTo>
                    <a:pt x="4859327" y="875065"/>
                  </a:lnTo>
                  <a:lnTo>
                    <a:pt x="4866607" y="869777"/>
                  </a:lnTo>
                  <a:lnTo>
                    <a:pt x="4874928" y="877323"/>
                  </a:lnTo>
                  <a:lnTo>
                    <a:pt x="4889206" y="881895"/>
                  </a:lnTo>
                  <a:lnTo>
                    <a:pt x="4905185" y="889440"/>
                  </a:lnTo>
                  <a:lnTo>
                    <a:pt x="4915113" y="893241"/>
                  </a:lnTo>
                  <a:lnTo>
                    <a:pt x="4930809" y="887953"/>
                  </a:lnTo>
                  <a:lnTo>
                    <a:pt x="4938468" y="881950"/>
                  </a:lnTo>
                  <a:lnTo>
                    <a:pt x="4968158" y="870603"/>
                  </a:lnTo>
                  <a:lnTo>
                    <a:pt x="4993121" y="860028"/>
                  </a:lnTo>
                  <a:lnTo>
                    <a:pt x="5018272" y="862286"/>
                  </a:lnTo>
                  <a:cubicBezTo>
                    <a:pt x="5021203" y="864655"/>
                    <a:pt x="5024040" y="867078"/>
                    <a:pt x="5026876" y="869557"/>
                  </a:cubicBezTo>
                  <a:cubicBezTo>
                    <a:pt x="5028862" y="871264"/>
                    <a:pt x="5030753" y="873027"/>
                    <a:pt x="5032739" y="874844"/>
                  </a:cubicBezTo>
                  <a:lnTo>
                    <a:pt x="5043045" y="874789"/>
                  </a:lnTo>
                  <a:lnTo>
                    <a:pt x="5051366" y="868841"/>
                  </a:lnTo>
                  <a:lnTo>
                    <a:pt x="5062523" y="863498"/>
                  </a:lnTo>
                  <a:lnTo>
                    <a:pt x="5075477" y="851380"/>
                  </a:lnTo>
                  <a:lnTo>
                    <a:pt x="5089944" y="841521"/>
                  </a:lnTo>
                  <a:lnTo>
                    <a:pt x="5099872" y="831221"/>
                  </a:lnTo>
                  <a:lnTo>
                    <a:pt x="5094577" y="817011"/>
                  </a:lnTo>
                  <a:lnTo>
                    <a:pt x="5090795" y="806105"/>
                  </a:lnTo>
                  <a:lnTo>
                    <a:pt x="5089282" y="788204"/>
                  </a:lnTo>
                  <a:lnTo>
                    <a:pt x="5100628" y="780162"/>
                  </a:lnTo>
                  <a:lnTo>
                    <a:pt x="5100628" y="768816"/>
                  </a:lnTo>
                  <a:lnTo>
                    <a:pt x="5107247" y="764520"/>
                  </a:lnTo>
                  <a:lnTo>
                    <a:pt x="5130035" y="763032"/>
                  </a:lnTo>
                  <a:lnTo>
                    <a:pt x="5141476" y="769036"/>
                  </a:lnTo>
                  <a:lnTo>
                    <a:pt x="5146014" y="783412"/>
                  </a:lnTo>
                  <a:lnTo>
                    <a:pt x="5155848" y="787213"/>
                  </a:lnTo>
                  <a:lnTo>
                    <a:pt x="5160387" y="780383"/>
                  </a:lnTo>
                  <a:lnTo>
                    <a:pt x="5176177" y="775095"/>
                  </a:lnTo>
                  <a:lnTo>
                    <a:pt x="5183741" y="764740"/>
                  </a:lnTo>
                  <a:lnTo>
                    <a:pt x="5183741" y="753614"/>
                  </a:lnTo>
                  <a:lnTo>
                    <a:pt x="5158685" y="726625"/>
                  </a:lnTo>
                  <a:lnTo>
                    <a:pt x="5149513" y="720621"/>
                  </a:lnTo>
                  <a:lnTo>
                    <a:pt x="5156415" y="710266"/>
                  </a:lnTo>
                  <a:lnTo>
                    <a:pt x="5170031" y="705970"/>
                  </a:lnTo>
                  <a:lnTo>
                    <a:pt x="5183552" y="703712"/>
                  </a:lnTo>
                  <a:lnTo>
                    <a:pt x="5200005" y="701453"/>
                  </a:lnTo>
                  <a:lnTo>
                    <a:pt x="5217970" y="703712"/>
                  </a:lnTo>
                  <a:lnTo>
                    <a:pt x="5231397" y="707512"/>
                  </a:lnTo>
                  <a:lnTo>
                    <a:pt x="5246336" y="709771"/>
                  </a:lnTo>
                  <a:lnTo>
                    <a:pt x="5263829" y="709275"/>
                  </a:lnTo>
                  <a:lnTo>
                    <a:pt x="5280186" y="698920"/>
                  </a:lnTo>
                  <a:lnTo>
                    <a:pt x="5299192" y="690548"/>
                  </a:lnTo>
                  <a:lnTo>
                    <a:pt x="5304203" y="681515"/>
                  </a:lnTo>
                  <a:lnTo>
                    <a:pt x="5297679" y="674244"/>
                  </a:lnTo>
                  <a:lnTo>
                    <a:pt x="5271015" y="671215"/>
                  </a:lnTo>
                  <a:lnTo>
                    <a:pt x="5260425" y="660694"/>
                  </a:lnTo>
                  <a:lnTo>
                    <a:pt x="5233382" y="657280"/>
                  </a:lnTo>
                  <a:lnTo>
                    <a:pt x="5218348" y="660860"/>
                  </a:lnTo>
                  <a:lnTo>
                    <a:pt x="5198019" y="669177"/>
                  </a:lnTo>
                  <a:lnTo>
                    <a:pt x="5176933" y="672922"/>
                  </a:lnTo>
                  <a:lnTo>
                    <a:pt x="5158968" y="672151"/>
                  </a:lnTo>
                  <a:cubicBezTo>
                    <a:pt x="5150553" y="674740"/>
                    <a:pt x="5141381" y="672481"/>
                    <a:pt x="5135046" y="666368"/>
                  </a:cubicBezTo>
                  <a:cubicBezTo>
                    <a:pt x="5130507" y="661961"/>
                    <a:pt x="5127954" y="655848"/>
                    <a:pt x="5123321" y="651551"/>
                  </a:cubicBezTo>
                  <a:cubicBezTo>
                    <a:pt x="5117648" y="646264"/>
                    <a:pt x="5109611" y="644225"/>
                    <a:pt x="5102047" y="646264"/>
                  </a:cubicBezTo>
                  <a:lnTo>
                    <a:pt x="5082947" y="636184"/>
                  </a:lnTo>
                  <a:lnTo>
                    <a:pt x="5079921" y="618503"/>
                  </a:lnTo>
                  <a:lnTo>
                    <a:pt x="5089755" y="601869"/>
                  </a:lnTo>
                  <a:lnTo>
                    <a:pt x="5098926" y="593772"/>
                  </a:lnTo>
                  <a:lnTo>
                    <a:pt x="5114622" y="586006"/>
                  </a:lnTo>
                  <a:lnTo>
                    <a:pt x="5120012" y="570143"/>
                  </a:lnTo>
                  <a:lnTo>
                    <a:pt x="5122281" y="556539"/>
                  </a:lnTo>
                  <a:lnTo>
                    <a:pt x="5136653" y="551141"/>
                  </a:lnTo>
                  <a:lnTo>
                    <a:pt x="5138166" y="541777"/>
                  </a:lnTo>
                  <a:lnTo>
                    <a:pt x="5138166" y="522114"/>
                  </a:lnTo>
                  <a:lnTo>
                    <a:pt x="5146203" y="511759"/>
                  </a:lnTo>
                  <a:lnTo>
                    <a:pt x="5146203" y="497438"/>
                  </a:lnTo>
                  <a:lnTo>
                    <a:pt x="5139396" y="487579"/>
                  </a:lnTo>
                  <a:lnTo>
                    <a:pt x="5128238" y="478766"/>
                  </a:lnTo>
                  <a:lnTo>
                    <a:pt x="5113015" y="488570"/>
                  </a:lnTo>
                  <a:lnTo>
                    <a:pt x="5085594" y="500688"/>
                  </a:lnTo>
                  <a:cubicBezTo>
                    <a:pt x="5081339" y="506086"/>
                    <a:pt x="5077084" y="511373"/>
                    <a:pt x="5072640" y="516606"/>
                  </a:cubicBezTo>
                  <a:cubicBezTo>
                    <a:pt x="5068007" y="522114"/>
                    <a:pt x="5063280" y="527512"/>
                    <a:pt x="5058930" y="533240"/>
                  </a:cubicBezTo>
                  <a:cubicBezTo>
                    <a:pt x="5052595" y="541502"/>
                    <a:pt x="5047205" y="550535"/>
                    <a:pt x="5040114" y="558191"/>
                  </a:cubicBezTo>
                  <a:cubicBezTo>
                    <a:pt x="5035575" y="563148"/>
                    <a:pt x="5030375" y="567444"/>
                    <a:pt x="5024607" y="571080"/>
                  </a:cubicBezTo>
                  <a:cubicBezTo>
                    <a:pt x="5014962" y="563038"/>
                    <a:pt x="5000590" y="564415"/>
                    <a:pt x="4992553" y="574109"/>
                  </a:cubicBezTo>
                  <a:cubicBezTo>
                    <a:pt x="4989622" y="577744"/>
                    <a:pt x="4988015" y="582261"/>
                    <a:pt x="4986502" y="586722"/>
                  </a:cubicBezTo>
                  <a:cubicBezTo>
                    <a:pt x="4984611" y="592671"/>
                    <a:pt x="4982909" y="598730"/>
                    <a:pt x="4981490" y="604843"/>
                  </a:cubicBezTo>
                  <a:cubicBezTo>
                    <a:pt x="4974399" y="608864"/>
                    <a:pt x="4968915" y="615309"/>
                    <a:pt x="4966267" y="622965"/>
                  </a:cubicBezTo>
                  <a:cubicBezTo>
                    <a:pt x="4963903" y="629629"/>
                    <a:pt x="4963714" y="636845"/>
                    <a:pt x="4966267" y="643455"/>
                  </a:cubicBezTo>
                  <a:cubicBezTo>
                    <a:pt x="4968442" y="649128"/>
                    <a:pt x="4972413" y="653920"/>
                    <a:pt x="4977614" y="657059"/>
                  </a:cubicBezTo>
                  <a:lnTo>
                    <a:pt x="5003616" y="674520"/>
                  </a:lnTo>
                  <a:lnTo>
                    <a:pt x="5022054" y="680028"/>
                  </a:lnTo>
                  <a:lnTo>
                    <a:pt x="5022054" y="689887"/>
                  </a:lnTo>
                  <a:lnTo>
                    <a:pt x="5013733" y="704978"/>
                  </a:lnTo>
                  <a:lnTo>
                    <a:pt x="4996146" y="716876"/>
                  </a:lnTo>
                  <a:lnTo>
                    <a:pt x="4978370" y="727947"/>
                  </a:lnTo>
                  <a:lnTo>
                    <a:pt x="4957095" y="742378"/>
                  </a:lnTo>
                  <a:lnTo>
                    <a:pt x="4950949" y="754220"/>
                  </a:lnTo>
                  <a:lnTo>
                    <a:pt x="4953219" y="776692"/>
                  </a:lnTo>
                  <a:lnTo>
                    <a:pt x="4947924" y="791564"/>
                  </a:lnTo>
                  <a:lnTo>
                    <a:pt x="4936199" y="805168"/>
                  </a:lnTo>
                  <a:lnTo>
                    <a:pt x="4925609" y="807427"/>
                  </a:lnTo>
                  <a:lnTo>
                    <a:pt x="4900174" y="825107"/>
                  </a:lnTo>
                  <a:lnTo>
                    <a:pt x="4891853" y="830175"/>
                  </a:lnTo>
                  <a:lnTo>
                    <a:pt x="4863392" y="815028"/>
                  </a:lnTo>
                  <a:lnTo>
                    <a:pt x="4856585" y="804453"/>
                  </a:lnTo>
                  <a:lnTo>
                    <a:pt x="4848453" y="796411"/>
                  </a:lnTo>
                  <a:lnTo>
                    <a:pt x="4847696" y="782806"/>
                  </a:lnTo>
                  <a:lnTo>
                    <a:pt x="4847696" y="769147"/>
                  </a:lnTo>
                  <a:lnTo>
                    <a:pt x="4837957" y="760334"/>
                  </a:lnTo>
                  <a:lnTo>
                    <a:pt x="4831906" y="742928"/>
                  </a:lnTo>
                  <a:lnTo>
                    <a:pt x="4818952" y="725744"/>
                  </a:lnTo>
                  <a:lnTo>
                    <a:pt x="4814319" y="711478"/>
                  </a:lnTo>
                  <a:lnTo>
                    <a:pt x="4790491" y="713461"/>
                  </a:lnTo>
                  <a:lnTo>
                    <a:pt x="4767609" y="730921"/>
                  </a:lnTo>
                  <a:lnTo>
                    <a:pt x="4751630" y="743259"/>
                  </a:lnTo>
                  <a:lnTo>
                    <a:pt x="4722129" y="743975"/>
                  </a:lnTo>
                  <a:lnTo>
                    <a:pt x="4703123" y="739459"/>
                  </a:lnTo>
                  <a:lnTo>
                    <a:pt x="4685631" y="721282"/>
                  </a:lnTo>
                  <a:lnTo>
                    <a:pt x="4667288" y="701564"/>
                  </a:lnTo>
                  <a:lnTo>
                    <a:pt x="4665018" y="686417"/>
                  </a:lnTo>
                  <a:lnTo>
                    <a:pt x="4667288" y="675841"/>
                  </a:lnTo>
                  <a:lnTo>
                    <a:pt x="4664545" y="663559"/>
                  </a:lnTo>
                  <a:lnTo>
                    <a:pt x="4662276" y="655517"/>
                  </a:lnTo>
                  <a:lnTo>
                    <a:pt x="4662276" y="640425"/>
                  </a:lnTo>
                  <a:lnTo>
                    <a:pt x="4664451" y="632108"/>
                  </a:lnTo>
                  <a:lnTo>
                    <a:pt x="4671070" y="622524"/>
                  </a:lnTo>
                  <a:lnTo>
                    <a:pt x="4679674" y="613932"/>
                  </a:lnTo>
                  <a:lnTo>
                    <a:pt x="4692628" y="601869"/>
                  </a:lnTo>
                  <a:lnTo>
                    <a:pt x="4704447" y="594544"/>
                  </a:lnTo>
                  <a:lnTo>
                    <a:pt x="4714281" y="587769"/>
                  </a:lnTo>
                  <a:lnTo>
                    <a:pt x="4731395" y="582536"/>
                  </a:lnTo>
                  <a:lnTo>
                    <a:pt x="4757492" y="576698"/>
                  </a:lnTo>
                  <a:lnTo>
                    <a:pt x="4770257" y="572181"/>
                  </a:lnTo>
                  <a:lnTo>
                    <a:pt x="4778578" y="561826"/>
                  </a:lnTo>
                  <a:lnTo>
                    <a:pt x="4786142" y="555051"/>
                  </a:lnTo>
                  <a:lnTo>
                    <a:pt x="4808362" y="541722"/>
                  </a:lnTo>
                  <a:lnTo>
                    <a:pt x="4825855" y="534121"/>
                  </a:lnTo>
                  <a:lnTo>
                    <a:pt x="4838052" y="521233"/>
                  </a:lnTo>
                  <a:lnTo>
                    <a:pt x="4850060" y="506912"/>
                  </a:lnTo>
                  <a:lnTo>
                    <a:pt x="4854599" y="494133"/>
                  </a:lnTo>
                  <a:lnTo>
                    <a:pt x="4856868" y="485816"/>
                  </a:lnTo>
                  <a:lnTo>
                    <a:pt x="4871335" y="472432"/>
                  </a:lnTo>
                  <a:lnTo>
                    <a:pt x="4880790" y="458827"/>
                  </a:lnTo>
                  <a:lnTo>
                    <a:pt x="4895352" y="442909"/>
                  </a:lnTo>
                  <a:lnTo>
                    <a:pt x="4907171" y="439880"/>
                  </a:lnTo>
                  <a:lnTo>
                    <a:pt x="4918612" y="436850"/>
                  </a:lnTo>
                  <a:lnTo>
                    <a:pt x="4926082" y="430847"/>
                  </a:lnTo>
                  <a:lnTo>
                    <a:pt x="4929202" y="419555"/>
                  </a:lnTo>
                  <a:lnTo>
                    <a:pt x="4929013" y="410026"/>
                  </a:lnTo>
                  <a:lnTo>
                    <a:pt x="4936672" y="401765"/>
                  </a:lnTo>
                  <a:lnTo>
                    <a:pt x="4954921" y="393448"/>
                  </a:lnTo>
                  <a:lnTo>
                    <a:pt x="4970049" y="388986"/>
                  </a:lnTo>
                  <a:lnTo>
                    <a:pt x="4995012" y="381715"/>
                  </a:lnTo>
                  <a:lnTo>
                    <a:pt x="5015152" y="378686"/>
                  </a:lnTo>
                  <a:lnTo>
                    <a:pt x="5032550" y="369653"/>
                  </a:lnTo>
                  <a:lnTo>
                    <a:pt x="5070938" y="348723"/>
                  </a:lnTo>
                  <a:lnTo>
                    <a:pt x="5101101" y="343160"/>
                  </a:lnTo>
                  <a:lnTo>
                    <a:pt x="5129846" y="338588"/>
                  </a:lnTo>
                  <a:lnTo>
                    <a:pt x="5142705" y="340075"/>
                  </a:lnTo>
                  <a:lnTo>
                    <a:pt x="5155848" y="343105"/>
                  </a:lnTo>
                  <a:lnTo>
                    <a:pt x="5166249" y="346134"/>
                  </a:lnTo>
                  <a:lnTo>
                    <a:pt x="5181472" y="349163"/>
                  </a:lnTo>
                  <a:lnTo>
                    <a:pt x="5196506" y="344867"/>
                  </a:lnTo>
                  <a:lnTo>
                    <a:pt x="5216930" y="339579"/>
                  </a:lnTo>
                  <a:lnTo>
                    <a:pt x="5231586" y="342609"/>
                  </a:lnTo>
                  <a:lnTo>
                    <a:pt x="5249835" y="347181"/>
                  </a:lnTo>
                  <a:lnTo>
                    <a:pt x="5269407" y="352468"/>
                  </a:lnTo>
                  <a:lnTo>
                    <a:pt x="5286711" y="356214"/>
                  </a:lnTo>
                  <a:lnTo>
                    <a:pt x="5306567" y="360730"/>
                  </a:lnTo>
                  <a:lnTo>
                    <a:pt x="5328598" y="373784"/>
                  </a:lnTo>
                  <a:lnTo>
                    <a:pt x="5345523" y="388105"/>
                  </a:lnTo>
                  <a:lnTo>
                    <a:pt x="5359234" y="391905"/>
                  </a:lnTo>
                  <a:lnTo>
                    <a:pt x="5375024" y="385351"/>
                  </a:lnTo>
                  <a:lnTo>
                    <a:pt x="5397622" y="380779"/>
                  </a:lnTo>
                  <a:lnTo>
                    <a:pt x="5432607" y="390639"/>
                  </a:lnTo>
                  <a:lnTo>
                    <a:pt x="5455206" y="397964"/>
                  </a:lnTo>
                  <a:lnTo>
                    <a:pt x="5489813" y="409035"/>
                  </a:lnTo>
                  <a:cubicBezTo>
                    <a:pt x="5498701" y="413442"/>
                    <a:pt x="5507872" y="417242"/>
                    <a:pt x="5517233" y="420437"/>
                  </a:cubicBezTo>
                  <a:cubicBezTo>
                    <a:pt x="5524892" y="423026"/>
                    <a:pt x="5532740" y="425229"/>
                    <a:pt x="5540683" y="426991"/>
                  </a:cubicBezTo>
                  <a:lnTo>
                    <a:pt x="5550611" y="442634"/>
                  </a:lnTo>
                  <a:lnTo>
                    <a:pt x="5565078" y="450951"/>
                  </a:lnTo>
                  <a:lnTo>
                    <a:pt x="5565361" y="460314"/>
                  </a:lnTo>
                  <a:lnTo>
                    <a:pt x="5552880" y="461802"/>
                  </a:lnTo>
                  <a:lnTo>
                    <a:pt x="5539926" y="465382"/>
                  </a:lnTo>
                  <a:lnTo>
                    <a:pt x="5530849" y="468356"/>
                  </a:lnTo>
                  <a:lnTo>
                    <a:pt x="5518652" y="476618"/>
                  </a:lnTo>
                  <a:cubicBezTo>
                    <a:pt x="5515626" y="476618"/>
                    <a:pt x="5512600" y="476618"/>
                    <a:pt x="5509480" y="476618"/>
                  </a:cubicBezTo>
                  <a:cubicBezTo>
                    <a:pt x="5502294" y="476618"/>
                    <a:pt x="5495108" y="476618"/>
                    <a:pt x="5487921" y="476618"/>
                  </a:cubicBezTo>
                  <a:lnTo>
                    <a:pt x="5469578" y="476618"/>
                  </a:lnTo>
                  <a:lnTo>
                    <a:pt x="5450289" y="475131"/>
                  </a:lnTo>
                  <a:lnTo>
                    <a:pt x="5435160" y="463013"/>
                  </a:lnTo>
                  <a:cubicBezTo>
                    <a:pt x="5421450" y="461746"/>
                    <a:pt x="5408023" y="458552"/>
                    <a:pt x="5395259" y="453705"/>
                  </a:cubicBezTo>
                  <a:cubicBezTo>
                    <a:pt x="5391476" y="452218"/>
                    <a:pt x="5387789" y="450675"/>
                    <a:pt x="5384101" y="448913"/>
                  </a:cubicBezTo>
                  <a:lnTo>
                    <a:pt x="5353655" y="449684"/>
                  </a:lnTo>
                  <a:lnTo>
                    <a:pt x="5346752" y="462242"/>
                  </a:lnTo>
                  <a:lnTo>
                    <a:pt x="5352804" y="471881"/>
                  </a:lnTo>
                  <a:lnTo>
                    <a:pt x="5364718" y="483503"/>
                  </a:lnTo>
                  <a:lnTo>
                    <a:pt x="5374646" y="489452"/>
                  </a:lnTo>
                  <a:lnTo>
                    <a:pt x="5390436" y="497053"/>
                  </a:lnTo>
                  <a:lnTo>
                    <a:pt x="5398473" y="506416"/>
                  </a:lnTo>
                  <a:lnTo>
                    <a:pt x="5402350" y="516936"/>
                  </a:lnTo>
                  <a:lnTo>
                    <a:pt x="5410198" y="527512"/>
                  </a:lnTo>
                  <a:lnTo>
                    <a:pt x="5417762" y="540345"/>
                  </a:lnTo>
                  <a:lnTo>
                    <a:pt x="5429109" y="543154"/>
                  </a:lnTo>
                  <a:lnTo>
                    <a:pt x="5440550" y="546129"/>
                  </a:lnTo>
                  <a:lnTo>
                    <a:pt x="5452747" y="554391"/>
                  </a:lnTo>
                  <a:lnTo>
                    <a:pt x="5464094" y="565792"/>
                  </a:lnTo>
                  <a:lnTo>
                    <a:pt x="5477048" y="564525"/>
                  </a:lnTo>
                  <a:lnTo>
                    <a:pt x="5482816" y="556263"/>
                  </a:lnTo>
                  <a:lnTo>
                    <a:pt x="5499646" y="555492"/>
                  </a:lnTo>
                  <a:lnTo>
                    <a:pt x="5511276" y="543650"/>
                  </a:lnTo>
                  <a:lnTo>
                    <a:pt x="5504090" y="536875"/>
                  </a:lnTo>
                  <a:lnTo>
                    <a:pt x="5497471" y="531863"/>
                  </a:lnTo>
                  <a:lnTo>
                    <a:pt x="5489151" y="526520"/>
                  </a:lnTo>
                  <a:lnTo>
                    <a:pt x="5477237" y="526520"/>
                  </a:lnTo>
                  <a:lnTo>
                    <a:pt x="5463999" y="520517"/>
                  </a:lnTo>
                  <a:lnTo>
                    <a:pt x="5469389" y="512915"/>
                  </a:lnTo>
                  <a:lnTo>
                    <a:pt x="5482154" y="512145"/>
                  </a:lnTo>
                  <a:lnTo>
                    <a:pt x="5495959" y="516661"/>
                  </a:lnTo>
                  <a:lnTo>
                    <a:pt x="5507305" y="524923"/>
                  </a:lnTo>
                  <a:lnTo>
                    <a:pt x="5522906" y="535278"/>
                  </a:lnTo>
                  <a:lnTo>
                    <a:pt x="5535577" y="523491"/>
                  </a:lnTo>
                  <a:lnTo>
                    <a:pt x="5557702" y="518148"/>
                  </a:lnTo>
                  <a:lnTo>
                    <a:pt x="5561957" y="510933"/>
                  </a:lnTo>
                  <a:lnTo>
                    <a:pt x="5554487" y="501844"/>
                  </a:lnTo>
                  <a:lnTo>
                    <a:pt x="5559877" y="492922"/>
                  </a:lnTo>
                  <a:lnTo>
                    <a:pt x="5588811" y="484660"/>
                  </a:lnTo>
                  <a:lnTo>
                    <a:pt x="5617271" y="477830"/>
                  </a:lnTo>
                  <a:lnTo>
                    <a:pt x="5636844" y="471771"/>
                  </a:lnTo>
                  <a:lnTo>
                    <a:pt x="5644125" y="465988"/>
                  </a:lnTo>
                  <a:lnTo>
                    <a:pt x="5644881" y="456183"/>
                  </a:lnTo>
                  <a:lnTo>
                    <a:pt x="5637979" y="448638"/>
                  </a:lnTo>
                  <a:lnTo>
                    <a:pt x="5638735" y="438778"/>
                  </a:lnTo>
                  <a:lnTo>
                    <a:pt x="5627956" y="428974"/>
                  </a:lnTo>
                  <a:lnTo>
                    <a:pt x="5625592" y="420161"/>
                  </a:lnTo>
                  <a:lnTo>
                    <a:pt x="5637411" y="415149"/>
                  </a:lnTo>
                  <a:lnTo>
                    <a:pt x="5650554" y="415149"/>
                  </a:lnTo>
                  <a:lnTo>
                    <a:pt x="5663792" y="416636"/>
                  </a:lnTo>
                  <a:lnTo>
                    <a:pt x="5673720" y="432774"/>
                  </a:lnTo>
                  <a:lnTo>
                    <a:pt x="5670883" y="442799"/>
                  </a:lnTo>
                  <a:lnTo>
                    <a:pt x="5680055" y="448087"/>
                  </a:lnTo>
                  <a:lnTo>
                    <a:pt x="5689794" y="450345"/>
                  </a:lnTo>
                  <a:lnTo>
                    <a:pt x="5699817" y="459929"/>
                  </a:lnTo>
                  <a:lnTo>
                    <a:pt x="5714284" y="456844"/>
                  </a:lnTo>
                  <a:lnTo>
                    <a:pt x="5738868" y="442248"/>
                  </a:lnTo>
                  <a:lnTo>
                    <a:pt x="5759670" y="430626"/>
                  </a:lnTo>
                  <a:lnTo>
                    <a:pt x="5785294" y="420051"/>
                  </a:lnTo>
                  <a:lnTo>
                    <a:pt x="5810161" y="410963"/>
                  </a:lnTo>
                  <a:lnTo>
                    <a:pt x="5835407" y="405675"/>
                  </a:lnTo>
                  <a:lnTo>
                    <a:pt x="5846659" y="404904"/>
                  </a:lnTo>
                  <a:lnTo>
                    <a:pt x="5863017" y="409201"/>
                  </a:lnTo>
                  <a:lnTo>
                    <a:pt x="5874458" y="418729"/>
                  </a:lnTo>
                  <a:lnTo>
                    <a:pt x="5885426" y="420272"/>
                  </a:lnTo>
                  <a:lnTo>
                    <a:pt x="5907457" y="417242"/>
                  </a:lnTo>
                  <a:lnTo>
                    <a:pt x="5925612" y="412725"/>
                  </a:lnTo>
                  <a:lnTo>
                    <a:pt x="5954640" y="407438"/>
                  </a:lnTo>
                  <a:lnTo>
                    <a:pt x="5968067" y="401875"/>
                  </a:lnTo>
                  <a:lnTo>
                    <a:pt x="5983857" y="401875"/>
                  </a:lnTo>
                  <a:lnTo>
                    <a:pt x="6001822" y="410963"/>
                  </a:lnTo>
                  <a:lnTo>
                    <a:pt x="6011656" y="402701"/>
                  </a:lnTo>
                  <a:lnTo>
                    <a:pt x="6020071" y="383423"/>
                  </a:lnTo>
                  <a:lnTo>
                    <a:pt x="6006550" y="374335"/>
                  </a:lnTo>
                  <a:lnTo>
                    <a:pt x="5995204" y="375106"/>
                  </a:lnTo>
                  <a:lnTo>
                    <a:pt x="5985275" y="382597"/>
                  </a:lnTo>
                  <a:lnTo>
                    <a:pt x="5974591" y="379843"/>
                  </a:lnTo>
                  <a:lnTo>
                    <a:pt x="5960880" y="373068"/>
                  </a:lnTo>
                  <a:lnTo>
                    <a:pt x="5941024" y="373068"/>
                  </a:lnTo>
                  <a:lnTo>
                    <a:pt x="5930907" y="363759"/>
                  </a:lnTo>
                  <a:lnTo>
                    <a:pt x="5950574" y="354726"/>
                  </a:lnTo>
                  <a:lnTo>
                    <a:pt x="5961259" y="350265"/>
                  </a:lnTo>
                  <a:lnTo>
                    <a:pt x="5977617" y="353294"/>
                  </a:lnTo>
                  <a:lnTo>
                    <a:pt x="5998229" y="363870"/>
                  </a:lnTo>
                  <a:lnTo>
                    <a:pt x="6027730" y="368441"/>
                  </a:lnTo>
                  <a:lnTo>
                    <a:pt x="6058082" y="379733"/>
                  </a:lnTo>
                  <a:lnTo>
                    <a:pt x="6087677" y="387719"/>
                  </a:lnTo>
                  <a:lnTo>
                    <a:pt x="6150745" y="401930"/>
                  </a:lnTo>
                  <a:lnTo>
                    <a:pt x="6151521" y="402756"/>
                  </a:lnTo>
                  <a:lnTo>
                    <a:pt x="6167510" y="403929"/>
                  </a:lnTo>
                  <a:lnTo>
                    <a:pt x="6182153" y="407735"/>
                  </a:lnTo>
                  <a:lnTo>
                    <a:pt x="6197923" y="419031"/>
                  </a:lnTo>
                  <a:lnTo>
                    <a:pt x="6212003" y="426645"/>
                  </a:lnTo>
                  <a:lnTo>
                    <a:pt x="6218386" y="417804"/>
                  </a:lnTo>
                  <a:lnTo>
                    <a:pt x="6236408" y="413506"/>
                  </a:lnTo>
                  <a:lnTo>
                    <a:pt x="6238661" y="401473"/>
                  </a:lnTo>
                  <a:lnTo>
                    <a:pt x="6226458" y="387843"/>
                  </a:lnTo>
                  <a:lnTo>
                    <a:pt x="6211815" y="376792"/>
                  </a:lnTo>
                  <a:lnTo>
                    <a:pt x="6193417" y="368442"/>
                  </a:lnTo>
                  <a:lnTo>
                    <a:pt x="6170701" y="362426"/>
                  </a:lnTo>
                  <a:lnTo>
                    <a:pt x="6156997" y="347323"/>
                  </a:lnTo>
                  <a:lnTo>
                    <a:pt x="6148549" y="325343"/>
                  </a:lnTo>
                  <a:lnTo>
                    <a:pt x="6149300" y="308766"/>
                  </a:lnTo>
                  <a:lnTo>
                    <a:pt x="6174456" y="291330"/>
                  </a:lnTo>
                  <a:lnTo>
                    <a:pt x="6205620" y="282980"/>
                  </a:lnTo>
                  <a:lnTo>
                    <a:pt x="6235845" y="292067"/>
                  </a:lnTo>
                  <a:lnTo>
                    <a:pt x="6256120" y="304714"/>
                  </a:lnTo>
                  <a:lnTo>
                    <a:pt x="6266821" y="324361"/>
                  </a:lnTo>
                  <a:lnTo>
                    <a:pt x="6279023" y="341060"/>
                  </a:lnTo>
                  <a:lnTo>
                    <a:pt x="6291226" y="364513"/>
                  </a:lnTo>
                  <a:lnTo>
                    <a:pt x="6307559" y="392018"/>
                  </a:lnTo>
                  <a:lnTo>
                    <a:pt x="6326520" y="409454"/>
                  </a:lnTo>
                  <a:lnTo>
                    <a:pt x="6335155" y="436713"/>
                  </a:lnTo>
                  <a:cubicBezTo>
                    <a:pt x="6337784" y="446536"/>
                    <a:pt x="6333090" y="456728"/>
                    <a:pt x="6324079" y="461394"/>
                  </a:cubicBezTo>
                  <a:cubicBezTo>
                    <a:pt x="6318823" y="464096"/>
                    <a:pt x="6312252" y="464832"/>
                    <a:pt x="6308873" y="469744"/>
                  </a:cubicBezTo>
                  <a:cubicBezTo>
                    <a:pt x="6305306" y="474901"/>
                    <a:pt x="6306996" y="481900"/>
                    <a:pt x="6312440" y="484847"/>
                  </a:cubicBezTo>
                  <a:lnTo>
                    <a:pt x="6332152" y="483374"/>
                  </a:lnTo>
                  <a:lnTo>
                    <a:pt x="6355055" y="476620"/>
                  </a:lnTo>
                  <a:lnTo>
                    <a:pt x="6371576" y="464464"/>
                  </a:lnTo>
                  <a:lnTo>
                    <a:pt x="6384529" y="442484"/>
                  </a:lnTo>
                  <a:lnTo>
                    <a:pt x="6391851" y="419400"/>
                  </a:lnTo>
                  <a:lnTo>
                    <a:pt x="6384154" y="410314"/>
                  </a:lnTo>
                  <a:lnTo>
                    <a:pt x="6386407" y="393123"/>
                  </a:lnTo>
                  <a:lnTo>
                    <a:pt x="6365944" y="375196"/>
                  </a:lnTo>
                  <a:lnTo>
                    <a:pt x="6346607" y="372494"/>
                  </a:lnTo>
                  <a:lnTo>
                    <a:pt x="6339849" y="366478"/>
                  </a:lnTo>
                  <a:lnTo>
                    <a:pt x="6317884" y="344990"/>
                  </a:lnTo>
                  <a:lnTo>
                    <a:pt x="6309812" y="326939"/>
                  </a:lnTo>
                  <a:lnTo>
                    <a:pt x="6314880" y="311836"/>
                  </a:lnTo>
                  <a:lnTo>
                    <a:pt x="6333654" y="311836"/>
                  </a:lnTo>
                  <a:lnTo>
                    <a:pt x="6341538" y="316257"/>
                  </a:lnTo>
                  <a:lnTo>
                    <a:pt x="6357496" y="316257"/>
                  </a:lnTo>
                  <a:lnTo>
                    <a:pt x="6375143" y="310240"/>
                  </a:lnTo>
                  <a:lnTo>
                    <a:pt x="6389410" y="304223"/>
                  </a:lnTo>
                  <a:lnTo>
                    <a:pt x="6402176" y="297347"/>
                  </a:lnTo>
                  <a:lnTo>
                    <a:pt x="6421700" y="286296"/>
                  </a:lnTo>
                  <a:lnTo>
                    <a:pt x="6437658" y="277332"/>
                  </a:lnTo>
                  <a:lnTo>
                    <a:pt x="6448358" y="267386"/>
                  </a:lnTo>
                  <a:lnTo>
                    <a:pt x="6462063" y="260633"/>
                  </a:lnTo>
                  <a:lnTo>
                    <a:pt x="6475392" y="254125"/>
                  </a:lnTo>
                  <a:lnTo>
                    <a:pt x="6498108" y="247249"/>
                  </a:lnTo>
                  <a:lnTo>
                    <a:pt x="6514065" y="251792"/>
                  </a:lnTo>
                  <a:lnTo>
                    <a:pt x="6529271" y="257809"/>
                  </a:lnTo>
                  <a:lnTo>
                    <a:pt x="6544478" y="252529"/>
                  </a:lnTo>
                  <a:lnTo>
                    <a:pt x="6557243" y="249581"/>
                  </a:lnTo>
                  <a:lnTo>
                    <a:pt x="6567944" y="240495"/>
                  </a:lnTo>
                  <a:lnTo>
                    <a:pt x="6550673" y="228462"/>
                  </a:lnTo>
                  <a:lnTo>
                    <a:pt x="6543914" y="220112"/>
                  </a:lnTo>
                  <a:lnTo>
                    <a:pt x="6545979" y="209307"/>
                  </a:lnTo>
                  <a:lnTo>
                    <a:pt x="6567006" y="207096"/>
                  </a:lnTo>
                  <a:lnTo>
                    <a:pt x="6599671" y="202553"/>
                  </a:lnTo>
                  <a:lnTo>
                    <a:pt x="6627643" y="198010"/>
                  </a:lnTo>
                  <a:lnTo>
                    <a:pt x="6649045" y="191134"/>
                  </a:lnTo>
                  <a:lnTo>
                    <a:pt x="6665190" y="182784"/>
                  </a:lnTo>
                  <a:lnTo>
                    <a:pt x="6688281" y="184135"/>
                  </a:lnTo>
                  <a:lnTo>
                    <a:pt x="6720947" y="187450"/>
                  </a:lnTo>
                  <a:lnTo>
                    <a:pt x="6732961" y="197519"/>
                  </a:lnTo>
                  <a:lnTo>
                    <a:pt x="6757930" y="196782"/>
                  </a:lnTo>
                  <a:lnTo>
                    <a:pt x="6777642" y="180697"/>
                  </a:lnTo>
                  <a:cubicBezTo>
                    <a:pt x="6783274" y="175417"/>
                    <a:pt x="6788718" y="170137"/>
                    <a:pt x="6794350" y="164857"/>
                  </a:cubicBezTo>
                  <a:cubicBezTo>
                    <a:pt x="6798668" y="160559"/>
                    <a:pt x="6802986" y="156261"/>
                    <a:pt x="6807304" y="151964"/>
                  </a:cubicBezTo>
                  <a:close/>
                  <a:moveTo>
                    <a:pt x="5017604" y="78778"/>
                  </a:moveTo>
                  <a:lnTo>
                    <a:pt x="5029194" y="82628"/>
                  </a:lnTo>
                  <a:lnTo>
                    <a:pt x="5039077" y="93992"/>
                  </a:lnTo>
                  <a:lnTo>
                    <a:pt x="5060898" y="94721"/>
                  </a:lnTo>
                  <a:lnTo>
                    <a:pt x="5098206" y="95875"/>
                  </a:lnTo>
                  <a:lnTo>
                    <a:pt x="5146458" y="96598"/>
                  </a:lnTo>
                  <a:lnTo>
                    <a:pt x="5155810" y="97981"/>
                  </a:lnTo>
                  <a:lnTo>
                    <a:pt x="5152063" y="109250"/>
                  </a:lnTo>
                  <a:lnTo>
                    <a:pt x="5140870" y="120265"/>
                  </a:lnTo>
                  <a:lnTo>
                    <a:pt x="5120525" y="126074"/>
                  </a:lnTo>
                  <a:lnTo>
                    <a:pt x="5096150" y="135162"/>
                  </a:lnTo>
                  <a:lnTo>
                    <a:pt x="5078673" y="129137"/>
                  </a:lnTo>
                  <a:lnTo>
                    <a:pt x="5044117" y="123836"/>
                  </a:lnTo>
                  <a:lnTo>
                    <a:pt x="5033986" y="109821"/>
                  </a:lnTo>
                  <a:lnTo>
                    <a:pt x="5022545" y="112091"/>
                  </a:lnTo>
                  <a:lnTo>
                    <a:pt x="5024070" y="127875"/>
                  </a:lnTo>
                  <a:lnTo>
                    <a:pt x="5030073" y="131630"/>
                  </a:lnTo>
                  <a:lnTo>
                    <a:pt x="5044565" y="139709"/>
                  </a:lnTo>
                  <a:lnTo>
                    <a:pt x="5058958" y="148771"/>
                  </a:lnTo>
                  <a:lnTo>
                    <a:pt x="5081791" y="152532"/>
                  </a:lnTo>
                  <a:lnTo>
                    <a:pt x="5093961" y="157795"/>
                  </a:lnTo>
                  <a:lnTo>
                    <a:pt x="5096183" y="167365"/>
                  </a:lnTo>
                  <a:lnTo>
                    <a:pt x="5105054" y="168880"/>
                  </a:lnTo>
                  <a:lnTo>
                    <a:pt x="5121039" y="176427"/>
                  </a:lnTo>
                  <a:lnTo>
                    <a:pt x="5102866" y="184633"/>
                  </a:lnTo>
                  <a:lnTo>
                    <a:pt x="5091673" y="189180"/>
                  </a:lnTo>
                  <a:lnTo>
                    <a:pt x="5085671" y="175824"/>
                  </a:lnTo>
                  <a:lnTo>
                    <a:pt x="5077280" y="170555"/>
                  </a:lnTo>
                  <a:lnTo>
                    <a:pt x="5058958" y="170555"/>
                  </a:lnTo>
                  <a:lnTo>
                    <a:pt x="5052110" y="181919"/>
                  </a:lnTo>
                  <a:lnTo>
                    <a:pt x="5037103" y="185673"/>
                  </a:lnTo>
                  <a:lnTo>
                    <a:pt x="5027984" y="170777"/>
                  </a:lnTo>
                  <a:lnTo>
                    <a:pt x="5034815" y="162444"/>
                  </a:lnTo>
                  <a:lnTo>
                    <a:pt x="5041647" y="154897"/>
                  </a:lnTo>
                  <a:lnTo>
                    <a:pt x="5030272" y="145302"/>
                  </a:lnTo>
                  <a:lnTo>
                    <a:pt x="5015299" y="133970"/>
                  </a:lnTo>
                  <a:lnTo>
                    <a:pt x="4990659" y="136716"/>
                  </a:lnTo>
                  <a:lnTo>
                    <a:pt x="4990659" y="154834"/>
                  </a:lnTo>
                  <a:lnTo>
                    <a:pt x="4984805" y="169737"/>
                  </a:lnTo>
                  <a:lnTo>
                    <a:pt x="4969584" y="165944"/>
                  </a:lnTo>
                  <a:lnTo>
                    <a:pt x="4957645" y="175539"/>
                  </a:lnTo>
                  <a:lnTo>
                    <a:pt x="4954594" y="193664"/>
                  </a:lnTo>
                  <a:lnTo>
                    <a:pt x="4943932" y="215029"/>
                  </a:lnTo>
                  <a:lnTo>
                    <a:pt x="4930965" y="215758"/>
                  </a:lnTo>
                  <a:lnTo>
                    <a:pt x="4918728" y="201902"/>
                  </a:lnTo>
                  <a:lnTo>
                    <a:pt x="4890606" y="184982"/>
                  </a:lnTo>
                  <a:lnTo>
                    <a:pt x="4874107" y="176173"/>
                  </a:lnTo>
                  <a:lnTo>
                    <a:pt x="4865717" y="171125"/>
                  </a:lnTo>
                  <a:lnTo>
                    <a:pt x="4866994" y="163547"/>
                  </a:lnTo>
                  <a:lnTo>
                    <a:pt x="4912162" y="163046"/>
                  </a:lnTo>
                  <a:lnTo>
                    <a:pt x="4909890" y="151745"/>
                  </a:lnTo>
                  <a:lnTo>
                    <a:pt x="4910670" y="133310"/>
                  </a:lnTo>
                  <a:lnTo>
                    <a:pt x="4884504" y="136088"/>
                  </a:lnTo>
                  <a:lnTo>
                    <a:pt x="4884504" y="156761"/>
                  </a:lnTo>
                  <a:lnTo>
                    <a:pt x="4872068" y="154015"/>
                  </a:lnTo>
                  <a:lnTo>
                    <a:pt x="4860627" y="145746"/>
                  </a:lnTo>
                  <a:lnTo>
                    <a:pt x="4843631" y="148016"/>
                  </a:lnTo>
                  <a:lnTo>
                    <a:pt x="4828459" y="140470"/>
                  </a:lnTo>
                  <a:lnTo>
                    <a:pt x="4816039" y="131192"/>
                  </a:lnTo>
                  <a:lnTo>
                    <a:pt x="4797650" y="122225"/>
                  </a:lnTo>
                  <a:lnTo>
                    <a:pt x="4799889" y="107893"/>
                  </a:lnTo>
                  <a:lnTo>
                    <a:pt x="4816619" y="101836"/>
                  </a:lnTo>
                  <a:lnTo>
                    <a:pt x="4841044" y="106345"/>
                  </a:lnTo>
                  <a:lnTo>
                    <a:pt x="4886842" y="102528"/>
                  </a:lnTo>
                  <a:lnTo>
                    <a:pt x="4897288" y="105527"/>
                  </a:lnTo>
                  <a:lnTo>
                    <a:pt x="4908696" y="112313"/>
                  </a:lnTo>
                  <a:lnTo>
                    <a:pt x="4925411" y="113074"/>
                  </a:lnTo>
                  <a:lnTo>
                    <a:pt x="4949338" y="116105"/>
                  </a:lnTo>
                  <a:lnTo>
                    <a:pt x="4962686" y="104995"/>
                  </a:lnTo>
                  <a:lnTo>
                    <a:pt x="4970413" y="94924"/>
                  </a:lnTo>
                  <a:lnTo>
                    <a:pt x="4983976" y="102242"/>
                  </a:lnTo>
                  <a:lnTo>
                    <a:pt x="4981738" y="118629"/>
                  </a:lnTo>
                  <a:lnTo>
                    <a:pt x="4992599" y="127438"/>
                  </a:lnTo>
                  <a:lnTo>
                    <a:pt x="4998634" y="120709"/>
                  </a:lnTo>
                  <a:lnTo>
                    <a:pt x="4998369" y="103568"/>
                  </a:lnTo>
                  <a:lnTo>
                    <a:pt x="5004753" y="96782"/>
                  </a:lnTo>
                  <a:lnTo>
                    <a:pt x="5016675" y="96814"/>
                  </a:lnTo>
                  <a:close/>
                  <a:moveTo>
                    <a:pt x="6529956" y="63235"/>
                  </a:moveTo>
                  <a:lnTo>
                    <a:pt x="6564448" y="69415"/>
                  </a:lnTo>
                  <a:lnTo>
                    <a:pt x="6572199" y="76453"/>
                  </a:lnTo>
                  <a:lnTo>
                    <a:pt x="6586742" y="84489"/>
                  </a:lnTo>
                  <a:lnTo>
                    <a:pt x="6605108" y="90569"/>
                  </a:lnTo>
                  <a:lnTo>
                    <a:pt x="6645737" y="94822"/>
                  </a:lnTo>
                  <a:lnTo>
                    <a:pt x="6668077" y="97164"/>
                  </a:lnTo>
                  <a:lnTo>
                    <a:pt x="6678843" y="111932"/>
                  </a:lnTo>
                  <a:lnTo>
                    <a:pt x="6707183" y="115637"/>
                  </a:lnTo>
                  <a:lnTo>
                    <a:pt x="6742072" y="111596"/>
                  </a:lnTo>
                  <a:lnTo>
                    <a:pt x="6768173" y="111596"/>
                  </a:lnTo>
                  <a:lnTo>
                    <a:pt x="6803427" y="113618"/>
                  </a:lnTo>
                  <a:lnTo>
                    <a:pt x="6815594" y="118289"/>
                  </a:lnTo>
                  <a:lnTo>
                    <a:pt x="6790209" y="129318"/>
                  </a:lnTo>
                  <a:lnTo>
                    <a:pt x="6746899" y="129318"/>
                  </a:lnTo>
                  <a:lnTo>
                    <a:pt x="6735371" y="143415"/>
                  </a:lnTo>
                  <a:lnTo>
                    <a:pt x="6730331" y="152761"/>
                  </a:lnTo>
                  <a:lnTo>
                    <a:pt x="6710793" y="148720"/>
                  </a:lnTo>
                  <a:lnTo>
                    <a:pt x="6714859" y="129571"/>
                  </a:lnTo>
                  <a:lnTo>
                    <a:pt x="6686381" y="123553"/>
                  </a:lnTo>
                  <a:lnTo>
                    <a:pt x="6638915" y="122542"/>
                  </a:lnTo>
                  <a:lnTo>
                    <a:pt x="6616925" y="118501"/>
                  </a:lnTo>
                  <a:lnTo>
                    <a:pt x="6583742" y="101669"/>
                  </a:lnTo>
                  <a:lnTo>
                    <a:pt x="6554504" y="104699"/>
                  </a:lnTo>
                  <a:lnTo>
                    <a:pt x="6496514" y="106713"/>
                  </a:lnTo>
                  <a:lnTo>
                    <a:pt x="6486661" y="94934"/>
                  </a:lnTo>
                  <a:lnTo>
                    <a:pt x="6507570" y="69427"/>
                  </a:lnTo>
                  <a:close/>
                  <a:moveTo>
                    <a:pt x="4080546" y="5529"/>
                  </a:moveTo>
                  <a:lnTo>
                    <a:pt x="4121704" y="20044"/>
                  </a:lnTo>
                  <a:cubicBezTo>
                    <a:pt x="4130365" y="28894"/>
                    <a:pt x="4140998" y="35631"/>
                    <a:pt x="4152706" y="39735"/>
                  </a:cubicBezTo>
                  <a:cubicBezTo>
                    <a:pt x="4161009" y="42644"/>
                    <a:pt x="4169790" y="44175"/>
                    <a:pt x="4178571" y="44266"/>
                  </a:cubicBezTo>
                  <a:cubicBezTo>
                    <a:pt x="4189085" y="48737"/>
                    <a:pt x="4200614" y="50054"/>
                    <a:pt x="4211903" y="48094"/>
                  </a:cubicBezTo>
                  <a:cubicBezTo>
                    <a:pt x="4220326" y="46624"/>
                    <a:pt x="4228331" y="43287"/>
                    <a:pt x="4236514" y="40775"/>
                  </a:cubicBezTo>
                  <a:cubicBezTo>
                    <a:pt x="4245415" y="38050"/>
                    <a:pt x="4254495" y="36244"/>
                    <a:pt x="4263753" y="35386"/>
                  </a:cubicBezTo>
                  <a:lnTo>
                    <a:pt x="4290634" y="36488"/>
                  </a:lnTo>
                  <a:lnTo>
                    <a:pt x="4290097" y="46808"/>
                  </a:lnTo>
                  <a:lnTo>
                    <a:pt x="4277194" y="49993"/>
                  </a:lnTo>
                  <a:cubicBezTo>
                    <a:pt x="4274804" y="54739"/>
                    <a:pt x="4270862" y="58567"/>
                    <a:pt x="4266023" y="60864"/>
                  </a:cubicBezTo>
                  <a:cubicBezTo>
                    <a:pt x="4262559" y="62487"/>
                    <a:pt x="4258676" y="63283"/>
                    <a:pt x="4254853" y="63130"/>
                  </a:cubicBezTo>
                  <a:lnTo>
                    <a:pt x="4219788" y="62364"/>
                  </a:lnTo>
                  <a:lnTo>
                    <a:pt x="4202286" y="72959"/>
                  </a:lnTo>
                  <a:lnTo>
                    <a:pt x="4176899" y="72224"/>
                  </a:lnTo>
                  <a:lnTo>
                    <a:pt x="4146434" y="82054"/>
                  </a:lnTo>
                  <a:lnTo>
                    <a:pt x="4128155" y="103214"/>
                  </a:lnTo>
                  <a:lnTo>
                    <a:pt x="4120150" y="124007"/>
                  </a:lnTo>
                  <a:lnTo>
                    <a:pt x="4124392" y="136072"/>
                  </a:lnTo>
                  <a:lnTo>
                    <a:pt x="4129469" y="143605"/>
                  </a:lnTo>
                  <a:lnTo>
                    <a:pt x="4129469" y="161519"/>
                  </a:lnTo>
                  <a:cubicBezTo>
                    <a:pt x="4121285" y="161886"/>
                    <a:pt x="4113341" y="164336"/>
                    <a:pt x="4106352" y="168593"/>
                  </a:cubicBezTo>
                  <a:cubicBezTo>
                    <a:pt x="4099422" y="172819"/>
                    <a:pt x="4093688" y="178698"/>
                    <a:pt x="4089626" y="185711"/>
                  </a:cubicBezTo>
                  <a:lnTo>
                    <a:pt x="4088133" y="202400"/>
                  </a:lnTo>
                  <a:lnTo>
                    <a:pt x="4062924" y="229653"/>
                  </a:lnTo>
                  <a:lnTo>
                    <a:pt x="4035446" y="244536"/>
                  </a:lnTo>
                  <a:cubicBezTo>
                    <a:pt x="4023738" y="251303"/>
                    <a:pt x="4011612" y="257366"/>
                    <a:pt x="3999187" y="262695"/>
                  </a:cubicBezTo>
                  <a:cubicBezTo>
                    <a:pt x="3995484" y="264287"/>
                    <a:pt x="3991720" y="265788"/>
                    <a:pt x="3987957" y="267258"/>
                  </a:cubicBezTo>
                  <a:lnTo>
                    <a:pt x="3948353" y="254610"/>
                  </a:lnTo>
                  <a:lnTo>
                    <a:pt x="3925474" y="262940"/>
                  </a:lnTo>
                  <a:lnTo>
                    <a:pt x="3937899" y="281099"/>
                  </a:lnTo>
                  <a:lnTo>
                    <a:pt x="3962271" y="293960"/>
                  </a:lnTo>
                  <a:lnTo>
                    <a:pt x="3973680" y="307312"/>
                  </a:lnTo>
                  <a:lnTo>
                    <a:pt x="4016928" y="327522"/>
                  </a:lnTo>
                  <a:lnTo>
                    <a:pt x="4009581" y="341119"/>
                  </a:lnTo>
                  <a:lnTo>
                    <a:pt x="3995424" y="344885"/>
                  </a:lnTo>
                  <a:lnTo>
                    <a:pt x="3965676" y="336556"/>
                  </a:lnTo>
                  <a:cubicBezTo>
                    <a:pt x="3961674" y="327583"/>
                    <a:pt x="3955999" y="319438"/>
                    <a:pt x="3948950" y="312579"/>
                  </a:cubicBezTo>
                  <a:cubicBezTo>
                    <a:pt x="3942260" y="306025"/>
                    <a:pt x="3934434" y="300728"/>
                    <a:pt x="3925833" y="296900"/>
                  </a:cubicBezTo>
                  <a:lnTo>
                    <a:pt x="3908748" y="311292"/>
                  </a:lnTo>
                  <a:cubicBezTo>
                    <a:pt x="3916753" y="314477"/>
                    <a:pt x="3921711" y="322469"/>
                    <a:pt x="3920994" y="331013"/>
                  </a:cubicBezTo>
                  <a:cubicBezTo>
                    <a:pt x="3920576" y="335300"/>
                    <a:pt x="3918724" y="339312"/>
                    <a:pt x="3915618" y="342374"/>
                  </a:cubicBezTo>
                  <a:cubicBezTo>
                    <a:pt x="3911317" y="334688"/>
                    <a:pt x="3902297" y="330921"/>
                    <a:pt x="3893755" y="333279"/>
                  </a:cubicBezTo>
                  <a:cubicBezTo>
                    <a:pt x="3887483" y="335025"/>
                    <a:pt x="3882584" y="339893"/>
                    <a:pt x="3880852" y="346140"/>
                  </a:cubicBezTo>
                  <a:lnTo>
                    <a:pt x="3889932" y="357501"/>
                  </a:lnTo>
                  <a:cubicBezTo>
                    <a:pt x="3902237" y="356766"/>
                    <a:pt x="3914483" y="356001"/>
                    <a:pt x="3926788" y="355235"/>
                  </a:cubicBezTo>
                  <a:cubicBezTo>
                    <a:pt x="3933538" y="354837"/>
                    <a:pt x="3940348" y="354408"/>
                    <a:pt x="3947098" y="353980"/>
                  </a:cubicBezTo>
                  <a:lnTo>
                    <a:pt x="3964362" y="363840"/>
                  </a:lnTo>
                  <a:lnTo>
                    <a:pt x="3962570" y="383010"/>
                  </a:lnTo>
                  <a:lnTo>
                    <a:pt x="3947397" y="383010"/>
                  </a:lnTo>
                  <a:lnTo>
                    <a:pt x="3926072" y="385306"/>
                  </a:lnTo>
                  <a:lnTo>
                    <a:pt x="3901401" y="387297"/>
                  </a:lnTo>
                  <a:lnTo>
                    <a:pt x="3876253" y="390328"/>
                  </a:lnTo>
                  <a:lnTo>
                    <a:pt x="3852836" y="397923"/>
                  </a:lnTo>
                  <a:lnTo>
                    <a:pt x="3826434" y="405241"/>
                  </a:lnTo>
                  <a:lnTo>
                    <a:pt x="3807916" y="410294"/>
                  </a:lnTo>
                  <a:lnTo>
                    <a:pt x="3783006" y="408028"/>
                  </a:lnTo>
                  <a:lnTo>
                    <a:pt x="3767774" y="403741"/>
                  </a:lnTo>
                  <a:lnTo>
                    <a:pt x="3731216" y="406007"/>
                  </a:lnTo>
                  <a:lnTo>
                    <a:pt x="3710667" y="419603"/>
                  </a:lnTo>
                  <a:lnTo>
                    <a:pt x="3678649" y="439661"/>
                  </a:lnTo>
                  <a:lnTo>
                    <a:pt x="3659833" y="454543"/>
                  </a:lnTo>
                  <a:cubicBezTo>
                    <a:pt x="3648423" y="461525"/>
                    <a:pt x="3636237" y="467221"/>
                    <a:pt x="3623573" y="471447"/>
                  </a:cubicBezTo>
                  <a:cubicBezTo>
                    <a:pt x="3619273" y="472886"/>
                    <a:pt x="3614972" y="474141"/>
                    <a:pt x="3610611" y="475244"/>
                  </a:cubicBezTo>
                  <a:cubicBezTo>
                    <a:pt x="3598724" y="479500"/>
                    <a:pt x="3586478" y="482716"/>
                    <a:pt x="3573993" y="484829"/>
                  </a:cubicBezTo>
                  <a:cubicBezTo>
                    <a:pt x="3568080" y="485839"/>
                    <a:pt x="3562166" y="486604"/>
                    <a:pt x="3556192" y="487125"/>
                  </a:cubicBezTo>
                  <a:lnTo>
                    <a:pt x="3523697" y="489391"/>
                  </a:lnTo>
                  <a:cubicBezTo>
                    <a:pt x="3510615" y="490218"/>
                    <a:pt x="3497831" y="493556"/>
                    <a:pt x="3486064" y="499190"/>
                  </a:cubicBezTo>
                  <a:cubicBezTo>
                    <a:pt x="3478059" y="503018"/>
                    <a:pt x="3470652" y="507856"/>
                    <a:pt x="3463962" y="513583"/>
                  </a:cubicBezTo>
                  <a:lnTo>
                    <a:pt x="3441800" y="538540"/>
                  </a:lnTo>
                  <a:lnTo>
                    <a:pt x="3436483" y="552687"/>
                  </a:lnTo>
                  <a:lnTo>
                    <a:pt x="3426806" y="572622"/>
                  </a:lnTo>
                  <a:lnTo>
                    <a:pt x="3413127" y="589250"/>
                  </a:lnTo>
                  <a:lnTo>
                    <a:pt x="3400881" y="611727"/>
                  </a:lnTo>
                  <a:lnTo>
                    <a:pt x="3391503" y="628845"/>
                  </a:lnTo>
                  <a:lnTo>
                    <a:pt x="3360739" y="649545"/>
                  </a:lnTo>
                  <a:lnTo>
                    <a:pt x="3341744" y="666969"/>
                  </a:lnTo>
                  <a:lnTo>
                    <a:pt x="3308412" y="666969"/>
                  </a:lnTo>
                  <a:lnTo>
                    <a:pt x="3293060" y="658916"/>
                  </a:lnTo>
                  <a:lnTo>
                    <a:pt x="3279321" y="650341"/>
                  </a:lnTo>
                  <a:lnTo>
                    <a:pt x="3261759" y="639991"/>
                  </a:lnTo>
                  <a:lnTo>
                    <a:pt x="3253396" y="623302"/>
                  </a:lnTo>
                  <a:lnTo>
                    <a:pt x="3221856" y="599600"/>
                  </a:lnTo>
                  <a:lnTo>
                    <a:pt x="3206086" y="583708"/>
                  </a:lnTo>
                  <a:lnTo>
                    <a:pt x="3200530" y="560710"/>
                  </a:lnTo>
                  <a:lnTo>
                    <a:pt x="3202561" y="545062"/>
                  </a:lnTo>
                  <a:lnTo>
                    <a:pt x="3210924" y="524883"/>
                  </a:lnTo>
                  <a:cubicBezTo>
                    <a:pt x="3214508" y="516369"/>
                    <a:pt x="3214210" y="506723"/>
                    <a:pt x="3210148" y="498425"/>
                  </a:cubicBezTo>
                  <a:cubicBezTo>
                    <a:pt x="3207639" y="493188"/>
                    <a:pt x="3203696" y="488748"/>
                    <a:pt x="3198738" y="485594"/>
                  </a:cubicBezTo>
                  <a:lnTo>
                    <a:pt x="3201546" y="464924"/>
                  </a:lnTo>
                  <a:lnTo>
                    <a:pt x="3210924" y="444744"/>
                  </a:lnTo>
                  <a:lnTo>
                    <a:pt x="3233504" y="428331"/>
                  </a:lnTo>
                  <a:lnTo>
                    <a:pt x="3277409" y="409222"/>
                  </a:lnTo>
                  <a:lnTo>
                    <a:pt x="3291626" y="398658"/>
                  </a:lnTo>
                  <a:lnTo>
                    <a:pt x="3302259" y="372384"/>
                  </a:lnTo>
                  <a:lnTo>
                    <a:pt x="3302259" y="326757"/>
                  </a:lnTo>
                  <a:lnTo>
                    <a:pt x="3291626" y="304065"/>
                  </a:lnTo>
                  <a:lnTo>
                    <a:pt x="3271018" y="295981"/>
                  </a:lnTo>
                  <a:lnTo>
                    <a:pt x="3260325" y="281864"/>
                  </a:lnTo>
                  <a:lnTo>
                    <a:pt x="3265582" y="264287"/>
                  </a:lnTo>
                  <a:lnTo>
                    <a:pt x="3264088" y="240065"/>
                  </a:lnTo>
                  <a:lnTo>
                    <a:pt x="3240493" y="205002"/>
                  </a:lnTo>
                  <a:lnTo>
                    <a:pt x="3218391" y="186262"/>
                  </a:lnTo>
                  <a:lnTo>
                    <a:pt x="3203159" y="176432"/>
                  </a:lnTo>
                  <a:cubicBezTo>
                    <a:pt x="3198619" y="175513"/>
                    <a:pt x="3194079" y="174503"/>
                    <a:pt x="3189539" y="173400"/>
                  </a:cubicBezTo>
                  <a:cubicBezTo>
                    <a:pt x="3181534" y="171502"/>
                    <a:pt x="3173590" y="169419"/>
                    <a:pt x="3165645" y="167092"/>
                  </a:cubicBezTo>
                  <a:lnTo>
                    <a:pt x="3143842" y="162560"/>
                  </a:lnTo>
                  <a:cubicBezTo>
                    <a:pt x="3133627" y="161397"/>
                    <a:pt x="3123293" y="162193"/>
                    <a:pt x="3113391" y="164826"/>
                  </a:cubicBezTo>
                  <a:cubicBezTo>
                    <a:pt x="3106044" y="166817"/>
                    <a:pt x="3098876" y="169817"/>
                    <a:pt x="3091289" y="170859"/>
                  </a:cubicBezTo>
                  <a:cubicBezTo>
                    <a:pt x="3084002" y="171869"/>
                    <a:pt x="3076595" y="171012"/>
                    <a:pt x="3069188" y="170859"/>
                  </a:cubicBezTo>
                  <a:cubicBezTo>
                    <a:pt x="3060825" y="170706"/>
                    <a:pt x="3052403" y="171502"/>
                    <a:pt x="3044040" y="170859"/>
                  </a:cubicBezTo>
                  <a:cubicBezTo>
                    <a:pt x="3036573" y="170308"/>
                    <a:pt x="3029225" y="168593"/>
                    <a:pt x="3022236" y="165837"/>
                  </a:cubicBezTo>
                  <a:lnTo>
                    <a:pt x="3009034" y="154751"/>
                  </a:lnTo>
                  <a:lnTo>
                    <a:pt x="3011842" y="145718"/>
                  </a:lnTo>
                  <a:lnTo>
                    <a:pt x="3012619" y="136164"/>
                  </a:lnTo>
                  <a:lnTo>
                    <a:pt x="3000373" y="129427"/>
                  </a:lnTo>
                  <a:lnTo>
                    <a:pt x="3029046" y="116535"/>
                  </a:lnTo>
                  <a:lnTo>
                    <a:pt x="3060825" y="112738"/>
                  </a:lnTo>
                  <a:cubicBezTo>
                    <a:pt x="3070144" y="112646"/>
                    <a:pt x="3079523" y="112401"/>
                    <a:pt x="3088840" y="112003"/>
                  </a:cubicBezTo>
                  <a:cubicBezTo>
                    <a:pt x="3103118" y="111360"/>
                    <a:pt x="3117394" y="110349"/>
                    <a:pt x="3131596" y="108971"/>
                  </a:cubicBezTo>
                  <a:lnTo>
                    <a:pt x="3177353" y="97855"/>
                  </a:lnTo>
                  <a:lnTo>
                    <a:pt x="3234938" y="70234"/>
                  </a:lnTo>
                  <a:lnTo>
                    <a:pt x="3273347" y="54403"/>
                  </a:lnTo>
                  <a:lnTo>
                    <a:pt x="3316058" y="40500"/>
                  </a:lnTo>
                  <a:lnTo>
                    <a:pt x="3345388" y="36213"/>
                  </a:lnTo>
                  <a:lnTo>
                    <a:pt x="3392160" y="36213"/>
                  </a:lnTo>
                  <a:lnTo>
                    <a:pt x="3419041" y="38969"/>
                  </a:lnTo>
                  <a:lnTo>
                    <a:pt x="3466829" y="40470"/>
                  </a:lnTo>
                  <a:lnTo>
                    <a:pt x="3501893" y="48033"/>
                  </a:lnTo>
                  <a:lnTo>
                    <a:pt x="3536659" y="48033"/>
                  </a:lnTo>
                  <a:lnTo>
                    <a:pt x="3579907" y="40224"/>
                  </a:lnTo>
                  <a:lnTo>
                    <a:pt x="3635520" y="40224"/>
                  </a:lnTo>
                  <a:lnTo>
                    <a:pt x="3728827" y="25526"/>
                  </a:lnTo>
                  <a:lnTo>
                    <a:pt x="3797223" y="14441"/>
                  </a:lnTo>
                  <a:lnTo>
                    <a:pt x="3829181" y="9908"/>
                  </a:lnTo>
                  <a:lnTo>
                    <a:pt x="3864306" y="14441"/>
                  </a:lnTo>
                  <a:lnTo>
                    <a:pt x="3893038" y="21790"/>
                  </a:lnTo>
                  <a:lnTo>
                    <a:pt x="3937780" y="13950"/>
                  </a:lnTo>
                  <a:lnTo>
                    <a:pt x="3986464" y="5621"/>
                  </a:lnTo>
                  <a:close/>
                  <a:moveTo>
                    <a:pt x="3254387" y="0"/>
                  </a:moveTo>
                  <a:lnTo>
                    <a:pt x="3263772" y="1513"/>
                  </a:lnTo>
                  <a:lnTo>
                    <a:pt x="3251565" y="12636"/>
                  </a:lnTo>
                  <a:lnTo>
                    <a:pt x="3231750" y="26497"/>
                  </a:lnTo>
                  <a:lnTo>
                    <a:pt x="3184454" y="44689"/>
                  </a:lnTo>
                  <a:lnTo>
                    <a:pt x="3140531" y="57281"/>
                  </a:lnTo>
                  <a:lnTo>
                    <a:pt x="3101408" y="66090"/>
                  </a:lnTo>
                  <a:lnTo>
                    <a:pt x="3061842" y="76986"/>
                  </a:lnTo>
                  <a:lnTo>
                    <a:pt x="3034451" y="82265"/>
                  </a:lnTo>
                  <a:lnTo>
                    <a:pt x="2992492" y="89821"/>
                  </a:lnTo>
                  <a:lnTo>
                    <a:pt x="2966574" y="100465"/>
                  </a:lnTo>
                  <a:lnTo>
                    <a:pt x="2934521" y="117892"/>
                  </a:lnTo>
                  <a:cubicBezTo>
                    <a:pt x="2926823" y="124197"/>
                    <a:pt x="2918388" y="129536"/>
                    <a:pt x="2909371" y="133798"/>
                  </a:cubicBezTo>
                  <a:cubicBezTo>
                    <a:pt x="2898666" y="138850"/>
                    <a:pt x="2887286" y="142328"/>
                    <a:pt x="2875569" y="144119"/>
                  </a:cubicBezTo>
                  <a:lnTo>
                    <a:pt x="2855479" y="149928"/>
                  </a:lnTo>
                  <a:cubicBezTo>
                    <a:pt x="2843241" y="153007"/>
                    <a:pt x="2831248" y="157059"/>
                    <a:pt x="2819623" y="162042"/>
                  </a:cubicBezTo>
                  <a:cubicBezTo>
                    <a:pt x="2811004" y="165755"/>
                    <a:pt x="2802600" y="169973"/>
                    <a:pt x="2794472" y="174677"/>
                  </a:cubicBezTo>
                  <a:lnTo>
                    <a:pt x="2779474" y="187834"/>
                  </a:lnTo>
                  <a:lnTo>
                    <a:pt x="2750489" y="171173"/>
                  </a:lnTo>
                  <a:lnTo>
                    <a:pt x="2724049" y="164346"/>
                  </a:lnTo>
                  <a:lnTo>
                    <a:pt x="2698929" y="169651"/>
                  </a:lnTo>
                  <a:cubicBezTo>
                    <a:pt x="2685863" y="173008"/>
                    <a:pt x="2672273" y="173521"/>
                    <a:pt x="2658993" y="171173"/>
                  </a:cubicBezTo>
                  <a:cubicBezTo>
                    <a:pt x="2654085" y="170294"/>
                    <a:pt x="2649239" y="169025"/>
                    <a:pt x="2644515" y="167382"/>
                  </a:cubicBezTo>
                  <a:lnTo>
                    <a:pt x="2615774" y="153746"/>
                  </a:lnTo>
                  <a:lnTo>
                    <a:pt x="2601266" y="145693"/>
                  </a:lnTo>
                  <a:lnTo>
                    <a:pt x="2612553" y="140389"/>
                  </a:lnTo>
                  <a:lnTo>
                    <a:pt x="2634668" y="149172"/>
                  </a:lnTo>
                  <a:lnTo>
                    <a:pt x="2672979" y="152198"/>
                  </a:lnTo>
                  <a:lnTo>
                    <a:pt x="2694420" y="148442"/>
                  </a:lnTo>
                  <a:lnTo>
                    <a:pt x="2705585" y="143424"/>
                  </a:lnTo>
                  <a:lnTo>
                    <a:pt x="2731533" y="140389"/>
                  </a:lnTo>
                  <a:lnTo>
                    <a:pt x="2742728" y="130040"/>
                  </a:lnTo>
                  <a:lnTo>
                    <a:pt x="2727546" y="120223"/>
                  </a:lnTo>
                  <a:lnTo>
                    <a:pt x="2706996" y="124771"/>
                  </a:lnTo>
                  <a:lnTo>
                    <a:pt x="2693315" y="118736"/>
                  </a:lnTo>
                  <a:lnTo>
                    <a:pt x="2700738" y="110440"/>
                  </a:lnTo>
                  <a:lnTo>
                    <a:pt x="2716381" y="109692"/>
                  </a:lnTo>
                  <a:lnTo>
                    <a:pt x="2730674" y="112692"/>
                  </a:lnTo>
                  <a:lnTo>
                    <a:pt x="2744477" y="112718"/>
                  </a:lnTo>
                  <a:lnTo>
                    <a:pt x="2757328" y="117623"/>
                  </a:lnTo>
                  <a:lnTo>
                    <a:pt x="2771837" y="116336"/>
                  </a:lnTo>
                  <a:lnTo>
                    <a:pt x="2778000" y="109526"/>
                  </a:lnTo>
                  <a:lnTo>
                    <a:pt x="2773462" y="96143"/>
                  </a:lnTo>
                  <a:lnTo>
                    <a:pt x="2766867" y="88604"/>
                  </a:lnTo>
                  <a:lnTo>
                    <a:pt x="2754169" y="76038"/>
                  </a:lnTo>
                  <a:lnTo>
                    <a:pt x="2772112" y="71021"/>
                  </a:lnTo>
                  <a:cubicBezTo>
                    <a:pt x="2781253" y="69281"/>
                    <a:pt x="2790668" y="69281"/>
                    <a:pt x="2799809" y="71021"/>
                  </a:cubicBezTo>
                  <a:cubicBezTo>
                    <a:pt x="2807232" y="72429"/>
                    <a:pt x="2814410" y="74978"/>
                    <a:pt x="2821065" y="78560"/>
                  </a:cubicBezTo>
                  <a:lnTo>
                    <a:pt x="2852349" y="80082"/>
                  </a:lnTo>
                  <a:cubicBezTo>
                    <a:pt x="2863882" y="81569"/>
                    <a:pt x="2875569" y="81821"/>
                    <a:pt x="2887164" y="80839"/>
                  </a:cubicBezTo>
                  <a:cubicBezTo>
                    <a:pt x="2897224" y="79986"/>
                    <a:pt x="2907162" y="78212"/>
                    <a:pt x="2916854" y="75534"/>
                  </a:cubicBezTo>
                  <a:lnTo>
                    <a:pt x="2950870" y="69499"/>
                  </a:lnTo>
                  <a:lnTo>
                    <a:pt x="2958477" y="55429"/>
                  </a:lnTo>
                  <a:lnTo>
                    <a:pt x="2934338" y="46332"/>
                  </a:lnTo>
                  <a:cubicBezTo>
                    <a:pt x="2927283" y="47055"/>
                    <a:pt x="2920258" y="47976"/>
                    <a:pt x="2913234" y="49115"/>
                  </a:cubicBezTo>
                  <a:cubicBezTo>
                    <a:pt x="2906333" y="50229"/>
                    <a:pt x="2899432" y="51550"/>
                    <a:pt x="2892439" y="52142"/>
                  </a:cubicBezTo>
                  <a:cubicBezTo>
                    <a:pt x="2886888" y="52612"/>
                    <a:pt x="2881306" y="52612"/>
                    <a:pt x="2875723" y="52142"/>
                  </a:cubicBezTo>
                  <a:cubicBezTo>
                    <a:pt x="2863484" y="51133"/>
                    <a:pt x="2851276" y="49785"/>
                    <a:pt x="2839131" y="48098"/>
                  </a:cubicBezTo>
                  <a:cubicBezTo>
                    <a:pt x="2831033" y="46985"/>
                    <a:pt x="2822997" y="45724"/>
                    <a:pt x="2814961" y="44315"/>
                  </a:cubicBezTo>
                  <a:lnTo>
                    <a:pt x="2796220" y="42298"/>
                  </a:lnTo>
                  <a:lnTo>
                    <a:pt x="2782510" y="34306"/>
                  </a:lnTo>
                  <a:lnTo>
                    <a:pt x="2794656" y="29036"/>
                  </a:lnTo>
                  <a:lnTo>
                    <a:pt x="2819286" y="29036"/>
                  </a:lnTo>
                  <a:cubicBezTo>
                    <a:pt x="2831248" y="29150"/>
                    <a:pt x="2843210" y="29906"/>
                    <a:pt x="2855111" y="31306"/>
                  </a:cubicBezTo>
                  <a:cubicBezTo>
                    <a:pt x="2868975" y="32941"/>
                    <a:pt x="2882808" y="35446"/>
                    <a:pt x="2896795" y="35097"/>
                  </a:cubicBezTo>
                  <a:cubicBezTo>
                    <a:pt x="2910965" y="34741"/>
                    <a:pt x="2924921" y="31480"/>
                    <a:pt x="2937742" y="25497"/>
                  </a:cubicBezTo>
                  <a:lnTo>
                    <a:pt x="2966635" y="21714"/>
                  </a:lnTo>
                  <a:lnTo>
                    <a:pt x="2990222" y="19471"/>
                  </a:lnTo>
                  <a:lnTo>
                    <a:pt x="3009270" y="19471"/>
                  </a:lnTo>
                  <a:lnTo>
                    <a:pt x="3045340" y="20227"/>
                  </a:lnTo>
                  <a:lnTo>
                    <a:pt x="3096409" y="22506"/>
                  </a:lnTo>
                  <a:cubicBezTo>
                    <a:pt x="3117971" y="21184"/>
                    <a:pt x="3139397" y="18749"/>
                    <a:pt x="3160683" y="15210"/>
                  </a:cubicBezTo>
                  <a:cubicBezTo>
                    <a:pt x="3170069" y="13653"/>
                    <a:pt x="3179393" y="11888"/>
                    <a:pt x="3188656" y="9905"/>
                  </a:cubicBezTo>
                  <a:lnTo>
                    <a:pt x="3234112" y="8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 cap="flat">
              <a:noFill/>
              <a:prstDash val="solid"/>
              <a:miter lim="400000"/>
            </a:ln>
            <a:effectLst/>
          </p:spPr>
          <p:txBody>
            <a:bodyPr wrap="square" anchor="ctr">
              <a:noAutofit/>
            </a:bodyPr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4" name="ExtraShape1">
              <a:extLst>
                <a:ext uri="{FF2B5EF4-FFF2-40B4-BE49-F238E27FC236}">
                  <a16:creationId xmlns:a16="http://schemas.microsoft.com/office/drawing/2014/main" id="{A8E7953C-2DD6-45B5-9D58-AEA8593DF031}"/>
                </a:ext>
              </a:extLst>
            </p:cNvPr>
            <p:cNvSpPr/>
            <p:nvPr/>
          </p:nvSpPr>
          <p:spPr>
            <a:xfrm flipH="1">
              <a:off x="1775555" y="2301528"/>
              <a:ext cx="1565565" cy="1565564"/>
            </a:xfrm>
            <a:prstGeom prst="blockArc">
              <a:avLst>
                <a:gd name="adj1" fmla="val 16200000"/>
                <a:gd name="adj2" fmla="val 11759820"/>
                <a:gd name="adj3" fmla="val 46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5" name="ValueShape1">
              <a:extLst>
                <a:ext uri="{FF2B5EF4-FFF2-40B4-BE49-F238E27FC236}">
                  <a16:creationId xmlns:a16="http://schemas.microsoft.com/office/drawing/2014/main" id="{9806BD7B-2223-4CF6-BEBB-330FBCEBB93C}"/>
                </a:ext>
              </a:extLst>
            </p:cNvPr>
            <p:cNvSpPr/>
            <p:nvPr/>
          </p:nvSpPr>
          <p:spPr>
            <a:xfrm>
              <a:off x="1849424" y="2375397"/>
              <a:ext cx="1417825" cy="1417825"/>
            </a:xfrm>
            <a:prstGeom prst="blockArc">
              <a:avLst>
                <a:gd name="adj1" fmla="val 16200000"/>
                <a:gd name="adj2" fmla="val 7560000"/>
                <a:gd name="adj3" fmla="val 7200"/>
              </a:avLst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6" name="ExtraShape2">
              <a:extLst>
                <a:ext uri="{FF2B5EF4-FFF2-40B4-BE49-F238E27FC236}">
                  <a16:creationId xmlns:a16="http://schemas.microsoft.com/office/drawing/2014/main" id="{A1B8A9B8-E3B4-44E7-B386-1512E4ADBE17}"/>
                </a:ext>
              </a:extLst>
            </p:cNvPr>
            <p:cNvSpPr/>
            <p:nvPr/>
          </p:nvSpPr>
          <p:spPr>
            <a:xfrm>
              <a:off x="1668965" y="2194938"/>
              <a:ext cx="1778744" cy="1778743"/>
            </a:xfrm>
            <a:prstGeom prst="blockArc">
              <a:avLst>
                <a:gd name="adj1" fmla="val 16200000"/>
                <a:gd name="adj2" fmla="val 11759820"/>
                <a:gd name="adj3" fmla="val 18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" name="ExtraShape1">
              <a:extLst>
                <a:ext uri="{FF2B5EF4-FFF2-40B4-BE49-F238E27FC236}">
                  <a16:creationId xmlns:a16="http://schemas.microsoft.com/office/drawing/2014/main" id="{F53460AF-C451-47B6-AC59-EFA09A0E663A}"/>
                </a:ext>
              </a:extLst>
            </p:cNvPr>
            <p:cNvSpPr/>
            <p:nvPr/>
          </p:nvSpPr>
          <p:spPr>
            <a:xfrm flipH="1">
              <a:off x="4125202" y="2301527"/>
              <a:ext cx="1565565" cy="1565564"/>
            </a:xfrm>
            <a:prstGeom prst="blockArc">
              <a:avLst>
                <a:gd name="adj1" fmla="val 16200000"/>
                <a:gd name="adj2" fmla="val 11759820"/>
                <a:gd name="adj3" fmla="val 46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8" name="ValueShape2">
              <a:extLst>
                <a:ext uri="{FF2B5EF4-FFF2-40B4-BE49-F238E27FC236}">
                  <a16:creationId xmlns:a16="http://schemas.microsoft.com/office/drawing/2014/main" id="{6C42F6E7-D4C5-41D7-A25A-4CFBC8C31301}"/>
                </a:ext>
              </a:extLst>
            </p:cNvPr>
            <p:cNvSpPr/>
            <p:nvPr/>
          </p:nvSpPr>
          <p:spPr>
            <a:xfrm>
              <a:off x="4199071" y="2375396"/>
              <a:ext cx="1417825" cy="1417825"/>
            </a:xfrm>
            <a:prstGeom prst="blockArc">
              <a:avLst>
                <a:gd name="adj1" fmla="val 16200000"/>
                <a:gd name="adj2" fmla="val 9072000"/>
                <a:gd name="adj3" fmla="val 7200"/>
              </a:avLst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9" name="ExtraShape2">
              <a:extLst>
                <a:ext uri="{FF2B5EF4-FFF2-40B4-BE49-F238E27FC236}">
                  <a16:creationId xmlns:a16="http://schemas.microsoft.com/office/drawing/2014/main" id="{EF057CA2-9F8B-44A1-9B28-B345554CF167}"/>
                </a:ext>
              </a:extLst>
            </p:cNvPr>
            <p:cNvSpPr/>
            <p:nvPr/>
          </p:nvSpPr>
          <p:spPr>
            <a:xfrm>
              <a:off x="4018612" y="2194937"/>
              <a:ext cx="1778744" cy="1778743"/>
            </a:xfrm>
            <a:prstGeom prst="blockArc">
              <a:avLst>
                <a:gd name="adj1" fmla="val 16200000"/>
                <a:gd name="adj2" fmla="val 11759820"/>
                <a:gd name="adj3" fmla="val 18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0" name="ExtraShape1">
              <a:extLst>
                <a:ext uri="{FF2B5EF4-FFF2-40B4-BE49-F238E27FC236}">
                  <a16:creationId xmlns:a16="http://schemas.microsoft.com/office/drawing/2014/main" id="{AC653B4E-2643-4DAC-B636-867B6E5496A2}"/>
                </a:ext>
              </a:extLst>
            </p:cNvPr>
            <p:cNvSpPr/>
            <p:nvPr/>
          </p:nvSpPr>
          <p:spPr>
            <a:xfrm flipH="1">
              <a:off x="6474850" y="2301527"/>
              <a:ext cx="1565565" cy="1565564"/>
            </a:xfrm>
            <a:prstGeom prst="blockArc">
              <a:avLst>
                <a:gd name="adj1" fmla="val 16200000"/>
                <a:gd name="adj2" fmla="val 11759820"/>
                <a:gd name="adj3" fmla="val 46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1" name="ValueShape3">
              <a:extLst>
                <a:ext uri="{FF2B5EF4-FFF2-40B4-BE49-F238E27FC236}">
                  <a16:creationId xmlns:a16="http://schemas.microsoft.com/office/drawing/2014/main" id="{B6E3D888-BEBD-4D1D-96B8-B229E645DAB0}"/>
                </a:ext>
              </a:extLst>
            </p:cNvPr>
            <p:cNvSpPr/>
            <p:nvPr/>
          </p:nvSpPr>
          <p:spPr>
            <a:xfrm>
              <a:off x="6548719" y="2375396"/>
              <a:ext cx="1417825" cy="1417825"/>
            </a:xfrm>
            <a:prstGeom prst="blockArc">
              <a:avLst>
                <a:gd name="adj1" fmla="val 16200000"/>
                <a:gd name="adj2" fmla="val 5400000"/>
                <a:gd name="adj3" fmla="val 7200"/>
              </a:avLst>
            </a:prstGeom>
            <a:solidFill>
              <a:schemeClr val="accent5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2" name="ExtraShape2">
              <a:extLst>
                <a:ext uri="{FF2B5EF4-FFF2-40B4-BE49-F238E27FC236}">
                  <a16:creationId xmlns:a16="http://schemas.microsoft.com/office/drawing/2014/main" id="{CA3AF6FE-706E-49E5-92E6-E64BA6DEE7A5}"/>
                </a:ext>
              </a:extLst>
            </p:cNvPr>
            <p:cNvSpPr/>
            <p:nvPr/>
          </p:nvSpPr>
          <p:spPr>
            <a:xfrm>
              <a:off x="6368260" y="2194937"/>
              <a:ext cx="1778744" cy="1778743"/>
            </a:xfrm>
            <a:prstGeom prst="blockArc">
              <a:avLst>
                <a:gd name="adj1" fmla="val 16200000"/>
                <a:gd name="adj2" fmla="val 11759820"/>
                <a:gd name="adj3" fmla="val 18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3" name="ExtraShape1">
              <a:extLst>
                <a:ext uri="{FF2B5EF4-FFF2-40B4-BE49-F238E27FC236}">
                  <a16:creationId xmlns:a16="http://schemas.microsoft.com/office/drawing/2014/main" id="{7ED86000-E331-495F-8B4C-1D9663E37C1A}"/>
                </a:ext>
              </a:extLst>
            </p:cNvPr>
            <p:cNvSpPr/>
            <p:nvPr/>
          </p:nvSpPr>
          <p:spPr>
            <a:xfrm flipH="1">
              <a:off x="8850881" y="2301527"/>
              <a:ext cx="1565565" cy="1565564"/>
            </a:xfrm>
            <a:prstGeom prst="blockArc">
              <a:avLst>
                <a:gd name="adj1" fmla="val 16200000"/>
                <a:gd name="adj2" fmla="val 11759820"/>
                <a:gd name="adj3" fmla="val 46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4" name="ValueShape4">
              <a:extLst>
                <a:ext uri="{FF2B5EF4-FFF2-40B4-BE49-F238E27FC236}">
                  <a16:creationId xmlns:a16="http://schemas.microsoft.com/office/drawing/2014/main" id="{3EEE6A7C-0415-4577-B180-64DEC9D2F49A}"/>
                </a:ext>
              </a:extLst>
            </p:cNvPr>
            <p:cNvSpPr/>
            <p:nvPr/>
          </p:nvSpPr>
          <p:spPr>
            <a:xfrm>
              <a:off x="8924750" y="2375396"/>
              <a:ext cx="1417825" cy="1417825"/>
            </a:xfrm>
            <a:prstGeom prst="blockArc">
              <a:avLst>
                <a:gd name="adj1" fmla="val 16200000"/>
                <a:gd name="adj2" fmla="val 11232000"/>
                <a:gd name="adj3" fmla="val 7200"/>
              </a:avLst>
            </a:prstGeom>
            <a:solidFill>
              <a:schemeClr val="accent6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5" name="ExtraShape2">
              <a:extLst>
                <a:ext uri="{FF2B5EF4-FFF2-40B4-BE49-F238E27FC236}">
                  <a16:creationId xmlns:a16="http://schemas.microsoft.com/office/drawing/2014/main" id="{75F5B388-1A48-4405-835B-08AF795A18DD}"/>
                </a:ext>
              </a:extLst>
            </p:cNvPr>
            <p:cNvSpPr/>
            <p:nvPr/>
          </p:nvSpPr>
          <p:spPr>
            <a:xfrm>
              <a:off x="8744291" y="2194937"/>
              <a:ext cx="1778744" cy="1778743"/>
            </a:xfrm>
            <a:prstGeom prst="blockArc">
              <a:avLst>
                <a:gd name="adj1" fmla="val 16200000"/>
                <a:gd name="adj2" fmla="val 11759820"/>
                <a:gd name="adj3" fmla="val 18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6" name="CustomText">
              <a:extLst>
                <a:ext uri="{FF2B5EF4-FFF2-40B4-BE49-F238E27FC236}">
                  <a16:creationId xmlns:a16="http://schemas.microsoft.com/office/drawing/2014/main" id="{362BF8C2-32B6-456D-A0E3-F0BBB9141557}"/>
                </a:ext>
              </a:extLst>
            </p:cNvPr>
            <p:cNvSpPr/>
            <p:nvPr/>
          </p:nvSpPr>
          <p:spPr>
            <a:xfrm>
              <a:off x="1711555" y="4099774"/>
              <a:ext cx="1583100" cy="338495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62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17" name="ValueText1">
              <a:extLst>
                <a:ext uri="{FF2B5EF4-FFF2-40B4-BE49-F238E27FC236}">
                  <a16:creationId xmlns:a16="http://schemas.microsoft.com/office/drawing/2014/main" id="{06483DEC-9E9B-4289-B698-5413331A3257}"/>
                </a:ext>
              </a:extLst>
            </p:cNvPr>
            <p:cNvSpPr/>
            <p:nvPr/>
          </p:nvSpPr>
          <p:spPr>
            <a:xfrm>
              <a:off x="2248796" y="2946574"/>
              <a:ext cx="619079" cy="275467"/>
            </a:xfrm>
            <a:prstGeom prst="rect">
              <a:avLst/>
            </a:prstGeom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6000">
                  <a:solidFill>
                    <a:schemeClr val="accent1">
                      <a:lumMod val="100000"/>
                    </a:schemeClr>
                  </a:solidFill>
                  <a:latin typeface="+mj-lt"/>
                </a:rPr>
                <a:t>60%</a:t>
              </a:r>
              <a:endParaRPr lang="en-US" altLang="zh-CN" sz="6000" dirty="0">
                <a:solidFill>
                  <a:schemeClr val="accent1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8" name="ValueText2">
              <a:extLst>
                <a:ext uri="{FF2B5EF4-FFF2-40B4-BE49-F238E27FC236}">
                  <a16:creationId xmlns:a16="http://schemas.microsoft.com/office/drawing/2014/main" id="{49A0B731-3CE6-4AA5-8329-87790AA350CE}"/>
                </a:ext>
              </a:extLst>
            </p:cNvPr>
            <p:cNvSpPr/>
            <p:nvPr/>
          </p:nvSpPr>
          <p:spPr>
            <a:xfrm>
              <a:off x="4596696" y="2943667"/>
              <a:ext cx="619079" cy="275467"/>
            </a:xfrm>
            <a:prstGeom prst="rect">
              <a:avLst/>
            </a:prstGeom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6000">
                  <a:solidFill>
                    <a:schemeClr val="accent3">
                      <a:lumMod val="100000"/>
                    </a:schemeClr>
                  </a:solidFill>
                  <a:latin typeface="+mj-lt"/>
                </a:rPr>
                <a:t>67%</a:t>
              </a:r>
              <a:endParaRPr lang="en-US" altLang="zh-CN" sz="6000" dirty="0">
                <a:solidFill>
                  <a:schemeClr val="accent3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9" name="ValueText3">
              <a:extLst>
                <a:ext uri="{FF2B5EF4-FFF2-40B4-BE49-F238E27FC236}">
                  <a16:creationId xmlns:a16="http://schemas.microsoft.com/office/drawing/2014/main" id="{7FB5652D-579F-4F91-8CFF-1552D1F86200}"/>
                </a:ext>
              </a:extLst>
            </p:cNvPr>
            <p:cNvSpPr/>
            <p:nvPr/>
          </p:nvSpPr>
          <p:spPr>
            <a:xfrm>
              <a:off x="6959378" y="2943666"/>
              <a:ext cx="619079" cy="275467"/>
            </a:xfrm>
            <a:prstGeom prst="rect">
              <a:avLst/>
            </a:prstGeom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6000">
                  <a:solidFill>
                    <a:schemeClr val="accent5">
                      <a:lumMod val="100000"/>
                    </a:schemeClr>
                  </a:solidFill>
                  <a:latin typeface="+mj-lt"/>
                </a:rPr>
                <a:t>50%</a:t>
              </a:r>
              <a:endParaRPr lang="en-US" altLang="zh-CN" sz="6000" dirty="0">
                <a:solidFill>
                  <a:schemeClr val="accent5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20" name="ValueText4">
              <a:extLst>
                <a:ext uri="{FF2B5EF4-FFF2-40B4-BE49-F238E27FC236}">
                  <a16:creationId xmlns:a16="http://schemas.microsoft.com/office/drawing/2014/main" id="{0A69E384-033E-4E9B-84AA-A133BCF5714D}"/>
                </a:ext>
              </a:extLst>
            </p:cNvPr>
            <p:cNvSpPr/>
            <p:nvPr/>
          </p:nvSpPr>
          <p:spPr>
            <a:xfrm>
              <a:off x="9322060" y="2943665"/>
              <a:ext cx="619079" cy="275467"/>
            </a:xfrm>
            <a:prstGeom prst="rect">
              <a:avLst/>
            </a:prstGeom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6000">
                  <a:solidFill>
                    <a:schemeClr val="accent6">
                      <a:lumMod val="100000"/>
                    </a:schemeClr>
                  </a:solidFill>
                  <a:latin typeface="+mj-lt"/>
                </a:rPr>
                <a:t>77%</a:t>
              </a:r>
              <a:endParaRPr lang="en-US" altLang="zh-CN" sz="6000" dirty="0">
                <a:solidFill>
                  <a:schemeClr val="accent6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21" name="CustomText">
              <a:extLst>
                <a:ext uri="{FF2B5EF4-FFF2-40B4-BE49-F238E27FC236}">
                  <a16:creationId xmlns:a16="http://schemas.microsoft.com/office/drawing/2014/main" id="{16BD747B-3453-49FD-A6E8-36B24E35AAD9}"/>
                </a:ext>
              </a:extLst>
            </p:cNvPr>
            <p:cNvSpPr/>
            <p:nvPr/>
          </p:nvSpPr>
          <p:spPr>
            <a:xfrm>
              <a:off x="4114685" y="4099774"/>
              <a:ext cx="1583100" cy="338495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62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22" name="CustomText">
              <a:extLst>
                <a:ext uri="{FF2B5EF4-FFF2-40B4-BE49-F238E27FC236}">
                  <a16:creationId xmlns:a16="http://schemas.microsoft.com/office/drawing/2014/main" id="{8C975C61-8580-4971-9B10-C2C3D361DE94}"/>
                </a:ext>
              </a:extLst>
            </p:cNvPr>
            <p:cNvSpPr/>
            <p:nvPr/>
          </p:nvSpPr>
          <p:spPr>
            <a:xfrm>
              <a:off x="6457315" y="4099774"/>
              <a:ext cx="1583100" cy="338495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62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  <p:sp>
          <p:nvSpPr>
            <p:cNvPr id="23" name="CustomText">
              <a:extLst>
                <a:ext uri="{FF2B5EF4-FFF2-40B4-BE49-F238E27FC236}">
                  <a16:creationId xmlns:a16="http://schemas.microsoft.com/office/drawing/2014/main" id="{9D91D5D4-F78A-4BA6-9CEB-B541F832F935}"/>
                </a:ext>
              </a:extLst>
            </p:cNvPr>
            <p:cNvSpPr/>
            <p:nvPr/>
          </p:nvSpPr>
          <p:spPr>
            <a:xfrm>
              <a:off x="8860445" y="4099774"/>
              <a:ext cx="1583100" cy="338495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62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TEXT HERE</a:t>
              </a:r>
            </a:p>
          </p:txBody>
        </p:sp>
      </p:grpSp>
      <p:sp>
        <p:nvSpPr>
          <p:cNvPr id="24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26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1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7863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f1a45101-4cb3-4050-b20e-53a0f78456aa" descr="YBcAAB+LCAAAAAAABADVWF1v2jAU/S/e9oaqOCYk8AZj2SqtK2qrvUw8eOEC3vKBHFP1Q/3vc4IpNpAsyZQVXiK49k3Oucf35MIzes9maIAw6qD34nEF8vNtRLkYM7rgNLpKZhDKtQlPVsAFgxQNfjyrJFtL+k7DNahdjzJ+xWIWraM8jAbWhSVD9EELYSsPjiFgEQ3HbMGEvLeMXKYT4AHEQm0UfA0dpL549kWvbxPLVVcHd9BnnqxXOYeXzhYa0aB9TMKEa9DUrbZbu9rW6/mcBXC3hAjyLLl0x2IxjGe3SzrbEhlxtliKGNJUBa5//oJAaGkDVybmt8y3r9OlvPk73+8OHW88lDiPgnZ0EQRn8eIQNbI+oOPZPS17lCQh0PgwfVPMY+nu/xfTxRfYIV63p67E3kGzNWhedTH7bYiJreNq9tzhJ3+sq6mjxlZtOY10XF9PI/8NutNxze50NUGJjq1Ge+JW+rN/XFHfH/mWpStqwK7foEZ6gw6V+VOJkMUz+TDde7Her5MkZYIlsdq38+vHvI4c5upwoAmVpg4CeJqv7OVrqx30JeHsKYkFDYchW8SR1Fxu/QpzkYHNXgaBuSQrAiJYouyQqAN2y57gBlLg9yBBz2mYbg+L1GsF3+TTtqczD2Rn/gZCKti9scOI4ZzI3gtpx1H/MtWqr7vIHTyIXbH2pNyVzNGeVLGUOcLUKOQrkQzqhmz2fIymjXj093unVHVSDHXTeDrSTUsgn4XZO38YZH0uWy4FoRpl21evway79A40Fo4QVwIWMyc6c2Iwt63WmWe6tMT8b5KXEcfnLPmIBr+bErdPirhTmfhlkMT/dNRJXXd3z8Dd7Srubhe7u6sXzDUL1q3v7tgqsPeSWla3d7tE+TIiTq0j751WrysFi5l7OnPPZN5rnXnL9t6UuHvOkmf23pT4wQ+7NyXewN6bEu/XtXd8DtM7qeLvpNjfsTH2YnPuJVYDhy8a4MvKWd3iSYn65VzqDXT4xCY6pWMJeWO0weZsQ+oNdY3It2z0zbkf/PFxVsJnXt+ce/e0uDew+7rcpy9/AG6yTChgFwAA">
            <a:extLst>
              <a:ext uri="{FF2B5EF4-FFF2-40B4-BE49-F238E27FC236}">
                <a16:creationId xmlns:a16="http://schemas.microsoft.com/office/drawing/2014/main" id="{8A6969F8-D269-47B5-BE35-4C1BB2AAD84E}"/>
              </a:ext>
            </a:extLst>
          </p:cNvPr>
          <p:cNvGrpSpPr>
            <a:grpSpLocks noChangeAspect="1"/>
          </p:cNvGrpSpPr>
          <p:nvPr/>
        </p:nvGrpSpPr>
        <p:grpSpPr>
          <a:xfrm>
            <a:off x="1795903" y="1507810"/>
            <a:ext cx="8600194" cy="3842380"/>
            <a:chOff x="1795903" y="1507810"/>
            <a:chExt cx="8600194" cy="3842380"/>
          </a:xfrm>
        </p:grpSpPr>
        <p:sp>
          <p:nvSpPr>
            <p:cNvPr id="3" name="RelativeShape1">
              <a:extLst>
                <a:ext uri="{FF2B5EF4-FFF2-40B4-BE49-F238E27FC236}">
                  <a16:creationId xmlns:a16="http://schemas.microsoft.com/office/drawing/2014/main" id="{3AA02251-2D87-43FF-B62B-CF6E3BD93A82}"/>
                </a:ext>
              </a:extLst>
            </p:cNvPr>
            <p:cNvSpPr/>
            <p:nvPr/>
          </p:nvSpPr>
          <p:spPr>
            <a:xfrm>
              <a:off x="6206553" y="2360225"/>
              <a:ext cx="3440541" cy="337549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4" name="ValueShape1">
              <a:extLst>
                <a:ext uri="{FF2B5EF4-FFF2-40B4-BE49-F238E27FC236}">
                  <a16:creationId xmlns:a16="http://schemas.microsoft.com/office/drawing/2014/main" id="{C25977BE-835B-4ABE-970D-36C0C509D981}"/>
                </a:ext>
              </a:extLst>
            </p:cNvPr>
            <p:cNvSpPr/>
            <p:nvPr/>
          </p:nvSpPr>
          <p:spPr>
            <a:xfrm>
              <a:off x="6206553" y="2360225"/>
              <a:ext cx="2845063" cy="337549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5" name="RelativeShape2">
              <a:extLst>
                <a:ext uri="{FF2B5EF4-FFF2-40B4-BE49-F238E27FC236}">
                  <a16:creationId xmlns:a16="http://schemas.microsoft.com/office/drawing/2014/main" id="{83D69AC3-F86C-429A-B0C8-DA906A4BF82C}"/>
                </a:ext>
              </a:extLst>
            </p:cNvPr>
            <p:cNvSpPr/>
            <p:nvPr/>
          </p:nvSpPr>
          <p:spPr>
            <a:xfrm>
              <a:off x="6206553" y="3430819"/>
              <a:ext cx="3440541" cy="337549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6" name="ValueShape2">
              <a:extLst>
                <a:ext uri="{FF2B5EF4-FFF2-40B4-BE49-F238E27FC236}">
                  <a16:creationId xmlns:a16="http://schemas.microsoft.com/office/drawing/2014/main" id="{21D5501F-50E2-4E56-9CEE-C866B5F64F5B}"/>
                </a:ext>
              </a:extLst>
            </p:cNvPr>
            <p:cNvSpPr/>
            <p:nvPr/>
          </p:nvSpPr>
          <p:spPr>
            <a:xfrm>
              <a:off x="6206553" y="3430819"/>
              <a:ext cx="2448077" cy="337549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7" name="RelativeShape3">
              <a:extLst>
                <a:ext uri="{FF2B5EF4-FFF2-40B4-BE49-F238E27FC236}">
                  <a16:creationId xmlns:a16="http://schemas.microsoft.com/office/drawing/2014/main" id="{B0007316-F7F1-4A68-9114-F496395551FB}"/>
                </a:ext>
              </a:extLst>
            </p:cNvPr>
            <p:cNvSpPr/>
            <p:nvPr/>
          </p:nvSpPr>
          <p:spPr>
            <a:xfrm>
              <a:off x="6206553" y="4501412"/>
              <a:ext cx="3440541" cy="337549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8" name="ValueShape3">
              <a:extLst>
                <a:ext uri="{FF2B5EF4-FFF2-40B4-BE49-F238E27FC236}">
                  <a16:creationId xmlns:a16="http://schemas.microsoft.com/office/drawing/2014/main" id="{9B66A5C2-D49D-40FF-BE6B-988F2FFA500D}"/>
                </a:ext>
              </a:extLst>
            </p:cNvPr>
            <p:cNvSpPr/>
            <p:nvPr/>
          </p:nvSpPr>
          <p:spPr>
            <a:xfrm>
              <a:off x="6206553" y="4501412"/>
              <a:ext cx="1984928" cy="337549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9" name="ValueBack1">
              <a:extLst>
                <a:ext uri="{FF2B5EF4-FFF2-40B4-BE49-F238E27FC236}">
                  <a16:creationId xmlns:a16="http://schemas.microsoft.com/office/drawing/2014/main" id="{3E1E9524-FBC3-4D1D-B5F8-8C8539BCEA35}"/>
                </a:ext>
              </a:extLst>
            </p:cNvPr>
            <p:cNvSpPr/>
            <p:nvPr/>
          </p:nvSpPr>
          <p:spPr bwMode="auto">
            <a:xfrm>
              <a:off x="5372853" y="2242286"/>
              <a:ext cx="664928" cy="662894"/>
            </a:xfrm>
            <a:custGeom>
              <a:avLst/>
              <a:gdLst>
                <a:gd name="T0" fmla="*/ 78 w 157"/>
                <a:gd name="T1" fmla="*/ 4 h 157"/>
                <a:gd name="T2" fmla="*/ 153 w 157"/>
                <a:gd name="T3" fmla="*/ 79 h 157"/>
                <a:gd name="T4" fmla="*/ 78 w 157"/>
                <a:gd name="T5" fmla="*/ 153 h 157"/>
                <a:gd name="T6" fmla="*/ 4 w 157"/>
                <a:gd name="T7" fmla="*/ 79 h 157"/>
                <a:gd name="T8" fmla="*/ 78 w 157"/>
                <a:gd name="T9" fmla="*/ 4 h 157"/>
                <a:gd name="T10" fmla="*/ 78 w 157"/>
                <a:gd name="T11" fmla="*/ 0 h 157"/>
                <a:gd name="T12" fmla="*/ 0 w 157"/>
                <a:gd name="T13" fmla="*/ 79 h 157"/>
                <a:gd name="T14" fmla="*/ 78 w 157"/>
                <a:gd name="T15" fmla="*/ 157 h 157"/>
                <a:gd name="T16" fmla="*/ 157 w 157"/>
                <a:gd name="T17" fmla="*/ 79 h 157"/>
                <a:gd name="T18" fmla="*/ 78 w 157"/>
                <a:gd name="T19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7">
                  <a:moveTo>
                    <a:pt x="78" y="4"/>
                  </a:moveTo>
                  <a:cubicBezTo>
                    <a:pt x="119" y="4"/>
                    <a:pt x="153" y="38"/>
                    <a:pt x="153" y="79"/>
                  </a:cubicBezTo>
                  <a:cubicBezTo>
                    <a:pt x="153" y="120"/>
                    <a:pt x="119" y="153"/>
                    <a:pt x="78" y="153"/>
                  </a:cubicBezTo>
                  <a:cubicBezTo>
                    <a:pt x="37" y="153"/>
                    <a:pt x="4" y="120"/>
                    <a:pt x="4" y="79"/>
                  </a:cubicBezTo>
                  <a:cubicBezTo>
                    <a:pt x="4" y="38"/>
                    <a:pt x="37" y="4"/>
                    <a:pt x="78" y="4"/>
                  </a:cubicBezTo>
                  <a:moveTo>
                    <a:pt x="78" y="0"/>
                  </a:moveTo>
                  <a:cubicBezTo>
                    <a:pt x="35" y="0"/>
                    <a:pt x="0" y="36"/>
                    <a:pt x="0" y="79"/>
                  </a:cubicBezTo>
                  <a:cubicBezTo>
                    <a:pt x="0" y="122"/>
                    <a:pt x="35" y="157"/>
                    <a:pt x="78" y="157"/>
                  </a:cubicBezTo>
                  <a:cubicBezTo>
                    <a:pt x="122" y="157"/>
                    <a:pt x="157" y="122"/>
                    <a:pt x="157" y="79"/>
                  </a:cubicBezTo>
                  <a:cubicBezTo>
                    <a:pt x="157" y="36"/>
                    <a:pt x="122" y="0"/>
                    <a:pt x="78" y="0"/>
                  </a:cubicBezTo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" name="ValueBack2">
              <a:extLst>
                <a:ext uri="{FF2B5EF4-FFF2-40B4-BE49-F238E27FC236}">
                  <a16:creationId xmlns:a16="http://schemas.microsoft.com/office/drawing/2014/main" id="{1AF182CE-34E1-43C6-8D71-A1D80B041534}"/>
                </a:ext>
              </a:extLst>
            </p:cNvPr>
            <p:cNvSpPr/>
            <p:nvPr/>
          </p:nvSpPr>
          <p:spPr bwMode="auto">
            <a:xfrm>
              <a:off x="5372853" y="3312880"/>
              <a:ext cx="664928" cy="662894"/>
            </a:xfrm>
            <a:custGeom>
              <a:avLst/>
              <a:gdLst>
                <a:gd name="T0" fmla="*/ 78 w 157"/>
                <a:gd name="T1" fmla="*/ 4 h 157"/>
                <a:gd name="T2" fmla="*/ 153 w 157"/>
                <a:gd name="T3" fmla="*/ 79 h 157"/>
                <a:gd name="T4" fmla="*/ 78 w 157"/>
                <a:gd name="T5" fmla="*/ 153 h 157"/>
                <a:gd name="T6" fmla="*/ 4 w 157"/>
                <a:gd name="T7" fmla="*/ 79 h 157"/>
                <a:gd name="T8" fmla="*/ 78 w 157"/>
                <a:gd name="T9" fmla="*/ 4 h 157"/>
                <a:gd name="T10" fmla="*/ 78 w 157"/>
                <a:gd name="T11" fmla="*/ 0 h 157"/>
                <a:gd name="T12" fmla="*/ 0 w 157"/>
                <a:gd name="T13" fmla="*/ 79 h 157"/>
                <a:gd name="T14" fmla="*/ 78 w 157"/>
                <a:gd name="T15" fmla="*/ 157 h 157"/>
                <a:gd name="T16" fmla="*/ 157 w 157"/>
                <a:gd name="T17" fmla="*/ 79 h 157"/>
                <a:gd name="T18" fmla="*/ 78 w 157"/>
                <a:gd name="T19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7">
                  <a:moveTo>
                    <a:pt x="78" y="4"/>
                  </a:moveTo>
                  <a:cubicBezTo>
                    <a:pt x="119" y="4"/>
                    <a:pt x="153" y="38"/>
                    <a:pt x="153" y="79"/>
                  </a:cubicBezTo>
                  <a:cubicBezTo>
                    <a:pt x="153" y="120"/>
                    <a:pt x="119" y="153"/>
                    <a:pt x="78" y="153"/>
                  </a:cubicBezTo>
                  <a:cubicBezTo>
                    <a:pt x="37" y="153"/>
                    <a:pt x="4" y="120"/>
                    <a:pt x="4" y="79"/>
                  </a:cubicBezTo>
                  <a:cubicBezTo>
                    <a:pt x="4" y="38"/>
                    <a:pt x="37" y="4"/>
                    <a:pt x="78" y="4"/>
                  </a:cubicBezTo>
                  <a:moveTo>
                    <a:pt x="78" y="0"/>
                  </a:moveTo>
                  <a:cubicBezTo>
                    <a:pt x="35" y="0"/>
                    <a:pt x="0" y="36"/>
                    <a:pt x="0" y="79"/>
                  </a:cubicBezTo>
                  <a:cubicBezTo>
                    <a:pt x="0" y="122"/>
                    <a:pt x="35" y="157"/>
                    <a:pt x="78" y="157"/>
                  </a:cubicBezTo>
                  <a:cubicBezTo>
                    <a:pt x="122" y="157"/>
                    <a:pt x="157" y="122"/>
                    <a:pt x="157" y="79"/>
                  </a:cubicBezTo>
                  <a:cubicBezTo>
                    <a:pt x="157" y="36"/>
                    <a:pt x="122" y="0"/>
                    <a:pt x="78" y="0"/>
                  </a:cubicBezTo>
                </a:path>
              </a:pathLst>
            </a:custGeom>
            <a:solidFill>
              <a:schemeClr val="accent6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1" name="ValueBack3">
              <a:extLst>
                <a:ext uri="{FF2B5EF4-FFF2-40B4-BE49-F238E27FC236}">
                  <a16:creationId xmlns:a16="http://schemas.microsoft.com/office/drawing/2014/main" id="{958314CA-DAD4-4482-9B14-CE0F0759582B}"/>
                </a:ext>
              </a:extLst>
            </p:cNvPr>
            <p:cNvSpPr/>
            <p:nvPr/>
          </p:nvSpPr>
          <p:spPr bwMode="auto">
            <a:xfrm>
              <a:off x="5372853" y="4383473"/>
              <a:ext cx="664928" cy="662894"/>
            </a:xfrm>
            <a:custGeom>
              <a:avLst/>
              <a:gdLst>
                <a:gd name="T0" fmla="*/ 78 w 157"/>
                <a:gd name="T1" fmla="*/ 4 h 157"/>
                <a:gd name="T2" fmla="*/ 153 w 157"/>
                <a:gd name="T3" fmla="*/ 79 h 157"/>
                <a:gd name="T4" fmla="*/ 78 w 157"/>
                <a:gd name="T5" fmla="*/ 153 h 157"/>
                <a:gd name="T6" fmla="*/ 4 w 157"/>
                <a:gd name="T7" fmla="*/ 79 h 157"/>
                <a:gd name="T8" fmla="*/ 78 w 157"/>
                <a:gd name="T9" fmla="*/ 4 h 157"/>
                <a:gd name="T10" fmla="*/ 78 w 157"/>
                <a:gd name="T11" fmla="*/ 0 h 157"/>
                <a:gd name="T12" fmla="*/ 0 w 157"/>
                <a:gd name="T13" fmla="*/ 79 h 157"/>
                <a:gd name="T14" fmla="*/ 78 w 157"/>
                <a:gd name="T15" fmla="*/ 157 h 157"/>
                <a:gd name="T16" fmla="*/ 157 w 157"/>
                <a:gd name="T17" fmla="*/ 79 h 157"/>
                <a:gd name="T18" fmla="*/ 78 w 157"/>
                <a:gd name="T19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7">
                  <a:moveTo>
                    <a:pt x="78" y="4"/>
                  </a:moveTo>
                  <a:cubicBezTo>
                    <a:pt x="119" y="4"/>
                    <a:pt x="153" y="38"/>
                    <a:pt x="153" y="79"/>
                  </a:cubicBezTo>
                  <a:cubicBezTo>
                    <a:pt x="153" y="120"/>
                    <a:pt x="119" y="153"/>
                    <a:pt x="78" y="153"/>
                  </a:cubicBezTo>
                  <a:cubicBezTo>
                    <a:pt x="37" y="153"/>
                    <a:pt x="4" y="120"/>
                    <a:pt x="4" y="79"/>
                  </a:cubicBezTo>
                  <a:cubicBezTo>
                    <a:pt x="4" y="38"/>
                    <a:pt x="37" y="4"/>
                    <a:pt x="78" y="4"/>
                  </a:cubicBezTo>
                  <a:moveTo>
                    <a:pt x="78" y="0"/>
                  </a:moveTo>
                  <a:cubicBezTo>
                    <a:pt x="35" y="0"/>
                    <a:pt x="0" y="36"/>
                    <a:pt x="0" y="79"/>
                  </a:cubicBezTo>
                  <a:cubicBezTo>
                    <a:pt x="0" y="122"/>
                    <a:pt x="35" y="157"/>
                    <a:pt x="78" y="157"/>
                  </a:cubicBezTo>
                  <a:cubicBezTo>
                    <a:pt x="122" y="157"/>
                    <a:pt x="157" y="122"/>
                    <a:pt x="157" y="79"/>
                  </a:cubicBezTo>
                  <a:cubicBezTo>
                    <a:pt x="157" y="36"/>
                    <a:pt x="122" y="0"/>
                    <a:pt x="78" y="0"/>
                  </a:cubicBezTo>
                </a:path>
              </a:pathLst>
            </a:custGeom>
            <a:solidFill>
              <a:schemeClr val="accent5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2" name="IconShape1">
              <a:extLst>
                <a:ext uri="{FF2B5EF4-FFF2-40B4-BE49-F238E27FC236}">
                  <a16:creationId xmlns:a16="http://schemas.microsoft.com/office/drawing/2014/main" id="{6232B5D6-CDC6-493F-B8C9-DDD4A8CCBBF8}"/>
                </a:ext>
              </a:extLst>
            </p:cNvPr>
            <p:cNvSpPr/>
            <p:nvPr/>
          </p:nvSpPr>
          <p:spPr bwMode="auto">
            <a:xfrm>
              <a:off x="5462322" y="2360224"/>
              <a:ext cx="481920" cy="485987"/>
            </a:xfrm>
            <a:custGeom>
              <a:avLst/>
              <a:gdLst>
                <a:gd name="connsiteX0" fmla="*/ 240960 w 481920"/>
                <a:gd name="connsiteY0" fmla="*/ 270445 h 485987"/>
                <a:gd name="connsiteX1" fmla="*/ 481920 w 481920"/>
                <a:gd name="connsiteY1" fmla="*/ 346519 h 485987"/>
                <a:gd name="connsiteX2" fmla="*/ 240960 w 481920"/>
                <a:gd name="connsiteY2" fmla="*/ 485987 h 485987"/>
                <a:gd name="connsiteX3" fmla="*/ 0 w 481920"/>
                <a:gd name="connsiteY3" fmla="*/ 346519 h 485987"/>
                <a:gd name="connsiteX4" fmla="*/ 240960 w 481920"/>
                <a:gd name="connsiteY4" fmla="*/ 270445 h 485987"/>
                <a:gd name="connsiteX5" fmla="*/ 242994 w 481920"/>
                <a:gd name="connsiteY5" fmla="*/ 0 h 485987"/>
                <a:gd name="connsiteX6" fmla="*/ 363983 w 481920"/>
                <a:gd name="connsiteY6" fmla="*/ 119972 h 485987"/>
                <a:gd name="connsiteX7" fmla="*/ 242994 w 481920"/>
                <a:gd name="connsiteY7" fmla="*/ 239944 h 485987"/>
                <a:gd name="connsiteX8" fmla="*/ 122005 w 481920"/>
                <a:gd name="connsiteY8" fmla="*/ 119972 h 485987"/>
                <a:gd name="connsiteX9" fmla="*/ 242994 w 481920"/>
                <a:gd name="connsiteY9" fmla="*/ 0 h 4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1920" h="485987">
                  <a:moveTo>
                    <a:pt x="240960" y="270445"/>
                  </a:moveTo>
                  <a:cubicBezTo>
                    <a:pt x="329735" y="270445"/>
                    <a:pt x="414282" y="300029"/>
                    <a:pt x="481920" y="346519"/>
                  </a:cubicBezTo>
                  <a:cubicBezTo>
                    <a:pt x="435419" y="431045"/>
                    <a:pt x="346644" y="485987"/>
                    <a:pt x="240960" y="485987"/>
                  </a:cubicBezTo>
                  <a:cubicBezTo>
                    <a:pt x="139503" y="485987"/>
                    <a:pt x="46501" y="431045"/>
                    <a:pt x="0" y="346519"/>
                  </a:cubicBezTo>
                  <a:cubicBezTo>
                    <a:pt x="71865" y="300029"/>
                    <a:pt x="152186" y="270445"/>
                    <a:pt x="240960" y="270445"/>
                  </a:cubicBezTo>
                  <a:close/>
                  <a:moveTo>
                    <a:pt x="242994" y="0"/>
                  </a:moveTo>
                  <a:cubicBezTo>
                    <a:pt x="309814" y="0"/>
                    <a:pt x="363983" y="53713"/>
                    <a:pt x="363983" y="119972"/>
                  </a:cubicBezTo>
                  <a:cubicBezTo>
                    <a:pt x="363983" y="186231"/>
                    <a:pt x="309814" y="239944"/>
                    <a:pt x="242994" y="239944"/>
                  </a:cubicBezTo>
                  <a:cubicBezTo>
                    <a:pt x="176174" y="239944"/>
                    <a:pt x="122005" y="186231"/>
                    <a:pt x="122005" y="119972"/>
                  </a:cubicBezTo>
                  <a:cubicBezTo>
                    <a:pt x="122005" y="53713"/>
                    <a:pt x="176174" y="0"/>
                    <a:pt x="242994" y="0"/>
                  </a:cubicBezTo>
                  <a:close/>
                </a:path>
              </a:pathLst>
            </a:custGeom>
            <a:solidFill>
              <a:schemeClr val="accent3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3" name="IconShape2">
              <a:extLst>
                <a:ext uri="{FF2B5EF4-FFF2-40B4-BE49-F238E27FC236}">
                  <a16:creationId xmlns:a16="http://schemas.microsoft.com/office/drawing/2014/main" id="{A3A573B9-1B0F-4779-AFDE-B64C9F9603D8}"/>
                </a:ext>
              </a:extLst>
            </p:cNvPr>
            <p:cNvSpPr/>
            <p:nvPr/>
          </p:nvSpPr>
          <p:spPr bwMode="auto">
            <a:xfrm>
              <a:off x="5462322" y="3430818"/>
              <a:ext cx="481920" cy="485987"/>
            </a:xfrm>
            <a:custGeom>
              <a:avLst/>
              <a:gdLst>
                <a:gd name="connsiteX0" fmla="*/ 240960 w 481920"/>
                <a:gd name="connsiteY0" fmla="*/ 270445 h 485987"/>
                <a:gd name="connsiteX1" fmla="*/ 481920 w 481920"/>
                <a:gd name="connsiteY1" fmla="*/ 346519 h 485987"/>
                <a:gd name="connsiteX2" fmla="*/ 240960 w 481920"/>
                <a:gd name="connsiteY2" fmla="*/ 485987 h 485987"/>
                <a:gd name="connsiteX3" fmla="*/ 0 w 481920"/>
                <a:gd name="connsiteY3" fmla="*/ 346519 h 485987"/>
                <a:gd name="connsiteX4" fmla="*/ 240960 w 481920"/>
                <a:gd name="connsiteY4" fmla="*/ 270445 h 485987"/>
                <a:gd name="connsiteX5" fmla="*/ 242994 w 481920"/>
                <a:gd name="connsiteY5" fmla="*/ 0 h 485987"/>
                <a:gd name="connsiteX6" fmla="*/ 363983 w 481920"/>
                <a:gd name="connsiteY6" fmla="*/ 119972 h 485987"/>
                <a:gd name="connsiteX7" fmla="*/ 242994 w 481920"/>
                <a:gd name="connsiteY7" fmla="*/ 239944 h 485987"/>
                <a:gd name="connsiteX8" fmla="*/ 122005 w 481920"/>
                <a:gd name="connsiteY8" fmla="*/ 119972 h 485987"/>
                <a:gd name="connsiteX9" fmla="*/ 242994 w 481920"/>
                <a:gd name="connsiteY9" fmla="*/ 0 h 4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1920" h="485987">
                  <a:moveTo>
                    <a:pt x="240960" y="270445"/>
                  </a:moveTo>
                  <a:cubicBezTo>
                    <a:pt x="329735" y="270445"/>
                    <a:pt x="414282" y="300029"/>
                    <a:pt x="481920" y="346519"/>
                  </a:cubicBezTo>
                  <a:cubicBezTo>
                    <a:pt x="435419" y="431045"/>
                    <a:pt x="346644" y="485987"/>
                    <a:pt x="240960" y="485987"/>
                  </a:cubicBezTo>
                  <a:cubicBezTo>
                    <a:pt x="139503" y="485987"/>
                    <a:pt x="46501" y="431045"/>
                    <a:pt x="0" y="346519"/>
                  </a:cubicBezTo>
                  <a:cubicBezTo>
                    <a:pt x="71865" y="300029"/>
                    <a:pt x="152186" y="270445"/>
                    <a:pt x="240960" y="270445"/>
                  </a:cubicBezTo>
                  <a:close/>
                  <a:moveTo>
                    <a:pt x="242994" y="0"/>
                  </a:moveTo>
                  <a:cubicBezTo>
                    <a:pt x="309814" y="0"/>
                    <a:pt x="363983" y="53713"/>
                    <a:pt x="363983" y="119972"/>
                  </a:cubicBezTo>
                  <a:cubicBezTo>
                    <a:pt x="363983" y="186231"/>
                    <a:pt x="309814" y="239944"/>
                    <a:pt x="242994" y="239944"/>
                  </a:cubicBezTo>
                  <a:cubicBezTo>
                    <a:pt x="176174" y="239944"/>
                    <a:pt x="122005" y="186231"/>
                    <a:pt x="122005" y="119972"/>
                  </a:cubicBezTo>
                  <a:cubicBezTo>
                    <a:pt x="122005" y="53713"/>
                    <a:pt x="176174" y="0"/>
                    <a:pt x="242994" y="0"/>
                  </a:cubicBezTo>
                  <a:close/>
                </a:path>
              </a:pathLst>
            </a:custGeom>
            <a:solidFill>
              <a:schemeClr val="accent6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4" name="IconShape3">
              <a:extLst>
                <a:ext uri="{FF2B5EF4-FFF2-40B4-BE49-F238E27FC236}">
                  <a16:creationId xmlns:a16="http://schemas.microsoft.com/office/drawing/2014/main" id="{8F0C4B5B-15A7-42DF-BF1E-C252039D626A}"/>
                </a:ext>
              </a:extLst>
            </p:cNvPr>
            <p:cNvSpPr/>
            <p:nvPr/>
          </p:nvSpPr>
          <p:spPr bwMode="auto">
            <a:xfrm>
              <a:off x="5462322" y="4501411"/>
              <a:ext cx="481920" cy="485987"/>
            </a:xfrm>
            <a:custGeom>
              <a:avLst/>
              <a:gdLst>
                <a:gd name="connsiteX0" fmla="*/ 240960 w 481920"/>
                <a:gd name="connsiteY0" fmla="*/ 270445 h 485987"/>
                <a:gd name="connsiteX1" fmla="*/ 481920 w 481920"/>
                <a:gd name="connsiteY1" fmla="*/ 346519 h 485987"/>
                <a:gd name="connsiteX2" fmla="*/ 240960 w 481920"/>
                <a:gd name="connsiteY2" fmla="*/ 485987 h 485987"/>
                <a:gd name="connsiteX3" fmla="*/ 0 w 481920"/>
                <a:gd name="connsiteY3" fmla="*/ 346519 h 485987"/>
                <a:gd name="connsiteX4" fmla="*/ 240960 w 481920"/>
                <a:gd name="connsiteY4" fmla="*/ 270445 h 485987"/>
                <a:gd name="connsiteX5" fmla="*/ 242994 w 481920"/>
                <a:gd name="connsiteY5" fmla="*/ 0 h 485987"/>
                <a:gd name="connsiteX6" fmla="*/ 363983 w 481920"/>
                <a:gd name="connsiteY6" fmla="*/ 119972 h 485987"/>
                <a:gd name="connsiteX7" fmla="*/ 242994 w 481920"/>
                <a:gd name="connsiteY7" fmla="*/ 239944 h 485987"/>
                <a:gd name="connsiteX8" fmla="*/ 122005 w 481920"/>
                <a:gd name="connsiteY8" fmla="*/ 119972 h 485987"/>
                <a:gd name="connsiteX9" fmla="*/ 242994 w 481920"/>
                <a:gd name="connsiteY9" fmla="*/ 0 h 4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1920" h="485987">
                  <a:moveTo>
                    <a:pt x="240960" y="270445"/>
                  </a:moveTo>
                  <a:cubicBezTo>
                    <a:pt x="329735" y="270445"/>
                    <a:pt x="414282" y="300029"/>
                    <a:pt x="481920" y="346519"/>
                  </a:cubicBezTo>
                  <a:cubicBezTo>
                    <a:pt x="435419" y="431045"/>
                    <a:pt x="346644" y="485987"/>
                    <a:pt x="240960" y="485987"/>
                  </a:cubicBezTo>
                  <a:cubicBezTo>
                    <a:pt x="139503" y="485987"/>
                    <a:pt x="46501" y="431045"/>
                    <a:pt x="0" y="346519"/>
                  </a:cubicBezTo>
                  <a:cubicBezTo>
                    <a:pt x="71865" y="300029"/>
                    <a:pt x="152186" y="270445"/>
                    <a:pt x="240960" y="270445"/>
                  </a:cubicBezTo>
                  <a:close/>
                  <a:moveTo>
                    <a:pt x="242994" y="0"/>
                  </a:moveTo>
                  <a:cubicBezTo>
                    <a:pt x="309814" y="0"/>
                    <a:pt x="363983" y="53713"/>
                    <a:pt x="363983" y="119972"/>
                  </a:cubicBezTo>
                  <a:cubicBezTo>
                    <a:pt x="363983" y="186231"/>
                    <a:pt x="309814" y="239944"/>
                    <a:pt x="242994" y="239944"/>
                  </a:cubicBezTo>
                  <a:cubicBezTo>
                    <a:pt x="176174" y="239944"/>
                    <a:pt x="122005" y="186231"/>
                    <a:pt x="122005" y="119972"/>
                  </a:cubicBezTo>
                  <a:cubicBezTo>
                    <a:pt x="122005" y="53713"/>
                    <a:pt x="176174" y="0"/>
                    <a:pt x="242994" y="0"/>
                  </a:cubicBezTo>
                  <a:close/>
                </a:path>
              </a:pathLst>
            </a:custGeom>
            <a:solidFill>
              <a:schemeClr val="accent5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5" name="ValueText1">
              <a:extLst>
                <a:ext uri="{FF2B5EF4-FFF2-40B4-BE49-F238E27FC236}">
                  <a16:creationId xmlns:a16="http://schemas.microsoft.com/office/drawing/2014/main" id="{A7243B86-4672-4C81-B0B7-9F50032451DE}"/>
                </a:ext>
              </a:extLst>
            </p:cNvPr>
            <p:cNvSpPr/>
            <p:nvPr/>
          </p:nvSpPr>
          <p:spPr>
            <a:xfrm>
              <a:off x="9761413" y="2373987"/>
              <a:ext cx="634684" cy="329491"/>
            </a:xfrm>
            <a:prstGeom prst="rect">
              <a:avLst/>
            </a:prstGeom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325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6000">
                  <a:solidFill>
                    <a:schemeClr val="accent3">
                      <a:lumMod val="100000"/>
                    </a:schemeClr>
                  </a:solidFill>
                  <a:latin typeface="+mj-lt"/>
                </a:rPr>
                <a:t>83%</a:t>
              </a:r>
              <a:endParaRPr lang="en-US" altLang="zh-CN" sz="6000" dirty="0">
                <a:solidFill>
                  <a:schemeClr val="accent3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6" name="ValueText2">
              <a:extLst>
                <a:ext uri="{FF2B5EF4-FFF2-40B4-BE49-F238E27FC236}">
                  <a16:creationId xmlns:a16="http://schemas.microsoft.com/office/drawing/2014/main" id="{D801B34B-A62E-409C-871E-3FB6310A3B05}"/>
                </a:ext>
              </a:extLst>
            </p:cNvPr>
            <p:cNvSpPr/>
            <p:nvPr/>
          </p:nvSpPr>
          <p:spPr>
            <a:xfrm>
              <a:off x="9761413" y="3429000"/>
              <a:ext cx="634684" cy="329491"/>
            </a:xfrm>
            <a:prstGeom prst="rect">
              <a:avLst/>
            </a:prstGeom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325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6000">
                  <a:solidFill>
                    <a:schemeClr val="accent6">
                      <a:lumMod val="100000"/>
                    </a:schemeClr>
                  </a:solidFill>
                  <a:latin typeface="+mj-lt"/>
                </a:rPr>
                <a:t>71%</a:t>
              </a:r>
              <a:endParaRPr lang="en-US" altLang="zh-CN" sz="6000" dirty="0">
                <a:solidFill>
                  <a:schemeClr val="accent6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7" name="ValueText3">
              <a:extLst>
                <a:ext uri="{FF2B5EF4-FFF2-40B4-BE49-F238E27FC236}">
                  <a16:creationId xmlns:a16="http://schemas.microsoft.com/office/drawing/2014/main" id="{5B29E457-05B5-4D06-9769-7326012AEDED}"/>
                </a:ext>
              </a:extLst>
            </p:cNvPr>
            <p:cNvSpPr/>
            <p:nvPr/>
          </p:nvSpPr>
          <p:spPr>
            <a:xfrm>
              <a:off x="9761413" y="4509470"/>
              <a:ext cx="634684" cy="329491"/>
            </a:xfrm>
            <a:prstGeom prst="rect">
              <a:avLst/>
            </a:prstGeom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325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6000">
                  <a:solidFill>
                    <a:schemeClr val="accent5">
                      <a:lumMod val="100000"/>
                    </a:schemeClr>
                  </a:solidFill>
                  <a:latin typeface="+mj-lt"/>
                </a:rPr>
                <a:t>58%</a:t>
              </a:r>
              <a:endParaRPr lang="en-US" altLang="zh-CN" sz="6000" dirty="0">
                <a:solidFill>
                  <a:schemeClr val="accent5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18" name="ExtraShape1">
              <a:extLst>
                <a:ext uri="{FF2B5EF4-FFF2-40B4-BE49-F238E27FC236}">
                  <a16:creationId xmlns:a16="http://schemas.microsoft.com/office/drawing/2014/main" id="{48A76990-ABE3-4A76-A533-F964EDB0AC2C}"/>
                </a:ext>
              </a:extLst>
            </p:cNvPr>
            <p:cNvSpPr/>
            <p:nvPr/>
          </p:nvSpPr>
          <p:spPr bwMode="auto">
            <a:xfrm>
              <a:off x="1795903" y="2031549"/>
              <a:ext cx="787384" cy="866741"/>
            </a:xfrm>
            <a:custGeom>
              <a:avLst/>
              <a:gdLst>
                <a:gd name="connsiteX0" fmla="*/ 200708 w 787384"/>
                <a:gd name="connsiteY0" fmla="*/ 653131 h 866741"/>
                <a:gd name="connsiteX1" fmla="*/ 251441 w 787384"/>
                <a:gd name="connsiteY1" fmla="*/ 659404 h 866741"/>
                <a:gd name="connsiteX2" fmla="*/ 393559 w 787384"/>
                <a:gd name="connsiteY2" fmla="*/ 784179 h 866741"/>
                <a:gd name="connsiteX3" fmla="*/ 125720 w 787384"/>
                <a:gd name="connsiteY3" fmla="*/ 865554 h 866741"/>
                <a:gd name="connsiteX4" fmla="*/ 38263 w 787384"/>
                <a:gd name="connsiteY4" fmla="*/ 843854 h 866741"/>
                <a:gd name="connsiteX5" fmla="*/ 0 w 787384"/>
                <a:gd name="connsiteY5" fmla="*/ 767904 h 866741"/>
                <a:gd name="connsiteX6" fmla="*/ 54661 w 787384"/>
                <a:gd name="connsiteY6" fmla="*/ 697379 h 866741"/>
                <a:gd name="connsiteX7" fmla="*/ 148951 w 787384"/>
                <a:gd name="connsiteY7" fmla="*/ 658048 h 866741"/>
                <a:gd name="connsiteX8" fmla="*/ 200708 w 787384"/>
                <a:gd name="connsiteY8" fmla="*/ 653131 h 866741"/>
                <a:gd name="connsiteX9" fmla="*/ 709490 w 787384"/>
                <a:gd name="connsiteY9" fmla="*/ 314075 h 866741"/>
                <a:gd name="connsiteX10" fmla="*/ 737163 w 787384"/>
                <a:gd name="connsiteY10" fmla="*/ 315691 h 866741"/>
                <a:gd name="connsiteX11" fmla="*/ 786510 w 787384"/>
                <a:gd name="connsiteY11" fmla="*/ 402769 h 866741"/>
                <a:gd name="connsiteX12" fmla="*/ 567188 w 787384"/>
                <a:gd name="connsiteY12" fmla="*/ 767410 h 866741"/>
                <a:gd name="connsiteX13" fmla="*/ 556222 w 787384"/>
                <a:gd name="connsiteY13" fmla="*/ 761968 h 866741"/>
                <a:gd name="connsiteX14" fmla="*/ 643951 w 787384"/>
                <a:gd name="connsiteY14" fmla="*/ 359230 h 866741"/>
                <a:gd name="connsiteX15" fmla="*/ 709490 w 787384"/>
                <a:gd name="connsiteY15" fmla="*/ 314075 h 866741"/>
                <a:gd name="connsiteX16" fmla="*/ 108754 w 787384"/>
                <a:gd name="connsiteY16" fmla="*/ 205 h 866741"/>
                <a:gd name="connsiteX17" fmla="*/ 360127 w 787384"/>
                <a:gd name="connsiteY17" fmla="*/ 230017 h 866741"/>
                <a:gd name="connsiteX18" fmla="*/ 398283 w 787384"/>
                <a:gd name="connsiteY18" fmla="*/ 567179 h 866741"/>
                <a:gd name="connsiteX19" fmla="*/ 109382 w 787384"/>
                <a:gd name="connsiteY19" fmla="*/ 349655 h 866741"/>
                <a:gd name="connsiteX20" fmla="*/ 38520 w 787384"/>
                <a:gd name="connsiteY20" fmla="*/ 186513 h 866741"/>
                <a:gd name="connsiteX21" fmla="*/ 76677 w 787384"/>
                <a:gd name="connsiteY21" fmla="*/ 12494 h 866741"/>
                <a:gd name="connsiteX22" fmla="*/ 108754 w 787384"/>
                <a:gd name="connsiteY22" fmla="*/ 205 h 866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87384" h="866741">
                  <a:moveTo>
                    <a:pt x="200708" y="653131"/>
                  </a:moveTo>
                  <a:cubicBezTo>
                    <a:pt x="217961" y="653301"/>
                    <a:pt x="235042" y="655335"/>
                    <a:pt x="251441" y="659404"/>
                  </a:cubicBezTo>
                  <a:cubicBezTo>
                    <a:pt x="317034" y="670254"/>
                    <a:pt x="371695" y="719079"/>
                    <a:pt x="393559" y="784179"/>
                  </a:cubicBezTo>
                  <a:cubicBezTo>
                    <a:pt x="322500" y="860129"/>
                    <a:pt x="224110" y="870979"/>
                    <a:pt x="125720" y="865554"/>
                  </a:cubicBezTo>
                  <a:cubicBezTo>
                    <a:pt x="92924" y="865554"/>
                    <a:pt x="65593" y="860129"/>
                    <a:pt x="38263" y="843854"/>
                  </a:cubicBezTo>
                  <a:cubicBezTo>
                    <a:pt x="16398" y="827579"/>
                    <a:pt x="0" y="795029"/>
                    <a:pt x="0" y="767904"/>
                  </a:cubicBezTo>
                  <a:cubicBezTo>
                    <a:pt x="5466" y="735354"/>
                    <a:pt x="27331" y="713654"/>
                    <a:pt x="54661" y="697379"/>
                  </a:cubicBezTo>
                  <a:cubicBezTo>
                    <a:pt x="81992" y="678392"/>
                    <a:pt x="114788" y="664829"/>
                    <a:pt x="148951" y="658048"/>
                  </a:cubicBezTo>
                  <a:cubicBezTo>
                    <a:pt x="166033" y="654657"/>
                    <a:pt x="183456" y="652962"/>
                    <a:pt x="200708" y="653131"/>
                  </a:cubicBezTo>
                  <a:close/>
                  <a:moveTo>
                    <a:pt x="709490" y="314075"/>
                  </a:moveTo>
                  <a:cubicBezTo>
                    <a:pt x="718315" y="312629"/>
                    <a:pt x="727567" y="312969"/>
                    <a:pt x="737163" y="315691"/>
                  </a:cubicBezTo>
                  <a:cubicBezTo>
                    <a:pt x="770061" y="326575"/>
                    <a:pt x="781027" y="364672"/>
                    <a:pt x="786510" y="402769"/>
                  </a:cubicBezTo>
                  <a:cubicBezTo>
                    <a:pt x="797476" y="555156"/>
                    <a:pt x="704264" y="707544"/>
                    <a:pt x="567188" y="767410"/>
                  </a:cubicBezTo>
                  <a:lnTo>
                    <a:pt x="556222" y="761968"/>
                  </a:lnTo>
                  <a:cubicBezTo>
                    <a:pt x="517841" y="625907"/>
                    <a:pt x="550739" y="468078"/>
                    <a:pt x="643951" y="359230"/>
                  </a:cubicBezTo>
                  <a:cubicBezTo>
                    <a:pt x="660400" y="338821"/>
                    <a:pt x="683018" y="318412"/>
                    <a:pt x="709490" y="314075"/>
                  </a:cubicBezTo>
                  <a:close/>
                  <a:moveTo>
                    <a:pt x="108754" y="205"/>
                  </a:moveTo>
                  <a:cubicBezTo>
                    <a:pt x="190806" y="-6115"/>
                    <a:pt x="317200" y="134851"/>
                    <a:pt x="360127" y="230017"/>
                  </a:cubicBezTo>
                  <a:cubicBezTo>
                    <a:pt x="392832" y="300713"/>
                    <a:pt x="441891" y="442103"/>
                    <a:pt x="398283" y="567179"/>
                  </a:cubicBezTo>
                  <a:cubicBezTo>
                    <a:pt x="289264" y="518236"/>
                    <a:pt x="174794" y="447541"/>
                    <a:pt x="109382" y="349655"/>
                  </a:cubicBezTo>
                  <a:cubicBezTo>
                    <a:pt x="76677" y="300713"/>
                    <a:pt x="43971" y="246332"/>
                    <a:pt x="38520" y="186513"/>
                  </a:cubicBezTo>
                  <a:cubicBezTo>
                    <a:pt x="27618" y="126694"/>
                    <a:pt x="38520" y="61437"/>
                    <a:pt x="76677" y="12494"/>
                  </a:cubicBezTo>
                  <a:cubicBezTo>
                    <a:pt x="86216" y="5017"/>
                    <a:pt x="97033" y="1108"/>
                    <a:pt x="108754" y="20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9" name="ExtraShape2">
              <a:extLst>
                <a:ext uri="{FF2B5EF4-FFF2-40B4-BE49-F238E27FC236}">
                  <a16:creationId xmlns:a16="http://schemas.microsoft.com/office/drawing/2014/main" id="{4E000276-838A-4FC9-A09F-29DE49DB08D6}"/>
                </a:ext>
              </a:extLst>
            </p:cNvPr>
            <p:cNvSpPr/>
            <p:nvPr/>
          </p:nvSpPr>
          <p:spPr bwMode="auto">
            <a:xfrm>
              <a:off x="1961612" y="2195311"/>
              <a:ext cx="521294" cy="887008"/>
            </a:xfrm>
            <a:custGeom>
              <a:avLst/>
              <a:gdLst>
                <a:gd name="connsiteX0" fmla="*/ 512403 w 521294"/>
                <a:gd name="connsiteY0" fmla="*/ 879332 h 887008"/>
                <a:gd name="connsiteX1" fmla="*/ 517844 w 521294"/>
                <a:gd name="connsiteY1" fmla="*/ 884760 h 887008"/>
                <a:gd name="connsiteX2" fmla="*/ 512403 w 521294"/>
                <a:gd name="connsiteY2" fmla="*/ 879332 h 887008"/>
                <a:gd name="connsiteX3" fmla="*/ 22704 w 521294"/>
                <a:gd name="connsiteY3" fmla="*/ 0 h 887008"/>
                <a:gd name="connsiteX4" fmla="*/ 39027 w 521294"/>
                <a:gd name="connsiteY4" fmla="*/ 27140 h 887008"/>
                <a:gd name="connsiteX5" fmla="*/ 93438 w 521294"/>
                <a:gd name="connsiteY5" fmla="*/ 124844 h 887008"/>
                <a:gd name="connsiteX6" fmla="*/ 267554 w 521294"/>
                <a:gd name="connsiteY6" fmla="*/ 439666 h 887008"/>
                <a:gd name="connsiteX7" fmla="*/ 407577 w 521294"/>
                <a:gd name="connsiteY7" fmla="*/ 690795 h 887008"/>
                <a:gd name="connsiteX8" fmla="*/ 429020 w 521294"/>
                <a:gd name="connsiteY8" fmla="*/ 725343 h 887008"/>
                <a:gd name="connsiteX9" fmla="*/ 418492 w 521294"/>
                <a:gd name="connsiteY9" fmla="*/ 696224 h 887008"/>
                <a:gd name="connsiteX10" fmla="*/ 407368 w 521294"/>
                <a:gd name="connsiteY10" fmla="*/ 582198 h 887008"/>
                <a:gd name="connsiteX11" fmla="*/ 424054 w 521294"/>
                <a:gd name="connsiteY11" fmla="*/ 462743 h 887008"/>
                <a:gd name="connsiteX12" fmla="*/ 457427 w 521294"/>
                <a:gd name="connsiteY12" fmla="*/ 375866 h 887008"/>
                <a:gd name="connsiteX13" fmla="*/ 474113 w 521294"/>
                <a:gd name="connsiteY13" fmla="*/ 343287 h 887008"/>
                <a:gd name="connsiteX14" fmla="*/ 490799 w 521294"/>
                <a:gd name="connsiteY14" fmla="*/ 321568 h 887008"/>
                <a:gd name="connsiteX15" fmla="*/ 507485 w 521294"/>
                <a:gd name="connsiteY15" fmla="*/ 299849 h 887008"/>
                <a:gd name="connsiteX16" fmla="*/ 468551 w 521294"/>
                <a:gd name="connsiteY16" fmla="*/ 375866 h 887008"/>
                <a:gd name="connsiteX17" fmla="*/ 435178 w 521294"/>
                <a:gd name="connsiteY17" fmla="*/ 468173 h 887008"/>
                <a:gd name="connsiteX18" fmla="*/ 418492 w 521294"/>
                <a:gd name="connsiteY18" fmla="*/ 582198 h 887008"/>
                <a:gd name="connsiteX19" fmla="*/ 429616 w 521294"/>
                <a:gd name="connsiteY19" fmla="*/ 690794 h 887008"/>
                <a:gd name="connsiteX20" fmla="*/ 443521 w 521294"/>
                <a:gd name="connsiteY20" fmla="*/ 741019 h 887008"/>
                <a:gd name="connsiteX21" fmla="*/ 449532 w 521294"/>
                <a:gd name="connsiteY21" fmla="*/ 759209 h 887008"/>
                <a:gd name="connsiteX22" fmla="*/ 476356 w 521294"/>
                <a:gd name="connsiteY22" fmla="*/ 811483 h 887008"/>
                <a:gd name="connsiteX23" fmla="*/ 494020 w 521294"/>
                <a:gd name="connsiteY23" fmla="*/ 840059 h 887008"/>
                <a:gd name="connsiteX24" fmla="*/ 505004 w 521294"/>
                <a:gd name="connsiteY24" fmla="*/ 854494 h 887008"/>
                <a:gd name="connsiteX25" fmla="*/ 521294 w 521294"/>
                <a:gd name="connsiteY25" fmla="*/ 876380 h 887008"/>
                <a:gd name="connsiteX26" fmla="*/ 517221 w 521294"/>
                <a:gd name="connsiteY26" fmla="*/ 872277 h 887008"/>
                <a:gd name="connsiteX27" fmla="*/ 506810 w 521294"/>
                <a:gd name="connsiteY27" fmla="*/ 861786 h 887008"/>
                <a:gd name="connsiteX28" fmla="*/ 509002 w 521294"/>
                <a:gd name="connsiteY28" fmla="*/ 865762 h 887008"/>
                <a:gd name="connsiteX29" fmla="*/ 512403 w 521294"/>
                <a:gd name="connsiteY29" fmla="*/ 879332 h 887008"/>
                <a:gd name="connsiteX30" fmla="*/ 496080 w 521294"/>
                <a:gd name="connsiteY30" fmla="*/ 852192 h 887008"/>
                <a:gd name="connsiteX31" fmla="*/ 487199 w 521294"/>
                <a:gd name="connsiteY31" fmla="*/ 838437 h 887008"/>
                <a:gd name="connsiteX32" fmla="*/ 484641 w 521294"/>
                <a:gd name="connsiteY32" fmla="*/ 835344 h 887008"/>
                <a:gd name="connsiteX33" fmla="*/ 482160 w 521294"/>
                <a:gd name="connsiteY33" fmla="*/ 833201 h 887008"/>
                <a:gd name="connsiteX34" fmla="*/ 485237 w 521294"/>
                <a:gd name="connsiteY34" fmla="*/ 839434 h 887008"/>
                <a:gd name="connsiteX35" fmla="*/ 496361 w 521294"/>
                <a:gd name="connsiteY35" fmla="*/ 859117 h 887008"/>
                <a:gd name="connsiteX36" fmla="*/ 479675 w 521294"/>
                <a:gd name="connsiteY36" fmla="*/ 842828 h 887008"/>
                <a:gd name="connsiteX37" fmla="*/ 474113 w 521294"/>
                <a:gd name="connsiteY37" fmla="*/ 831968 h 887008"/>
                <a:gd name="connsiteX38" fmla="*/ 468862 w 521294"/>
                <a:gd name="connsiteY38" fmla="*/ 821716 h 887008"/>
                <a:gd name="connsiteX39" fmla="*/ 456132 w 521294"/>
                <a:gd name="connsiteY39" fmla="*/ 810722 h 887008"/>
                <a:gd name="connsiteX40" fmla="*/ 293228 w 521294"/>
                <a:gd name="connsiteY40" fmla="*/ 668462 h 887008"/>
                <a:gd name="connsiteX41" fmla="*/ 92313 w 521294"/>
                <a:gd name="connsiteY41" fmla="*/ 597332 h 887008"/>
                <a:gd name="connsiteX42" fmla="*/ 0 w 521294"/>
                <a:gd name="connsiteY42" fmla="*/ 602804 h 887008"/>
                <a:gd name="connsiteX43" fmla="*/ 27151 w 521294"/>
                <a:gd name="connsiteY43" fmla="*/ 591861 h 887008"/>
                <a:gd name="connsiteX44" fmla="*/ 92313 w 521294"/>
                <a:gd name="connsiteY44" fmla="*/ 586389 h 887008"/>
                <a:gd name="connsiteX45" fmla="*/ 298658 w 521294"/>
                <a:gd name="connsiteY45" fmla="*/ 657519 h 887008"/>
                <a:gd name="connsiteX46" fmla="*/ 433054 w 521294"/>
                <a:gd name="connsiteY46" fmla="*/ 769856 h 887008"/>
                <a:gd name="connsiteX47" fmla="*/ 458447 w 521294"/>
                <a:gd name="connsiteY47" fmla="*/ 801383 h 887008"/>
                <a:gd name="connsiteX48" fmla="*/ 451865 w 521294"/>
                <a:gd name="connsiteY48" fmla="*/ 788530 h 887008"/>
                <a:gd name="connsiteX49" fmla="*/ 448132 w 521294"/>
                <a:gd name="connsiteY49" fmla="*/ 778205 h 887008"/>
                <a:gd name="connsiteX50" fmla="*/ 436228 w 521294"/>
                <a:gd name="connsiteY50" fmla="*/ 759917 h 887008"/>
                <a:gd name="connsiteX51" fmla="*/ 256671 w 521294"/>
                <a:gd name="connsiteY51" fmla="*/ 445094 h 887008"/>
                <a:gd name="connsiteX52" fmla="*/ 82556 w 521294"/>
                <a:gd name="connsiteY52" fmla="*/ 124844 h 887008"/>
                <a:gd name="connsiteX53" fmla="*/ 33586 w 521294"/>
                <a:gd name="connsiteY53" fmla="*/ 27140 h 887008"/>
                <a:gd name="connsiteX54" fmla="*/ 22704 w 521294"/>
                <a:gd name="connsiteY54" fmla="*/ 0 h 887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521294" h="887008">
                  <a:moveTo>
                    <a:pt x="512403" y="879332"/>
                  </a:moveTo>
                  <a:cubicBezTo>
                    <a:pt x="517844" y="884760"/>
                    <a:pt x="517844" y="884760"/>
                    <a:pt x="517844" y="884760"/>
                  </a:cubicBezTo>
                  <a:cubicBezTo>
                    <a:pt x="517844" y="890188"/>
                    <a:pt x="517844" y="884760"/>
                    <a:pt x="512403" y="879332"/>
                  </a:cubicBezTo>
                  <a:close/>
                  <a:moveTo>
                    <a:pt x="22704" y="0"/>
                  </a:moveTo>
                  <a:cubicBezTo>
                    <a:pt x="28145" y="5428"/>
                    <a:pt x="33586" y="16284"/>
                    <a:pt x="39027" y="27140"/>
                  </a:cubicBezTo>
                  <a:cubicBezTo>
                    <a:pt x="55351" y="48852"/>
                    <a:pt x="71674" y="81420"/>
                    <a:pt x="93438" y="124844"/>
                  </a:cubicBezTo>
                  <a:cubicBezTo>
                    <a:pt x="136967" y="206263"/>
                    <a:pt x="196819" y="314823"/>
                    <a:pt x="267554" y="439666"/>
                  </a:cubicBezTo>
                  <a:cubicBezTo>
                    <a:pt x="316524" y="533299"/>
                    <a:pt x="365493" y="620825"/>
                    <a:pt x="407577" y="690795"/>
                  </a:cubicBezTo>
                  <a:lnTo>
                    <a:pt x="429020" y="725343"/>
                  </a:lnTo>
                  <a:lnTo>
                    <a:pt x="418492" y="696224"/>
                  </a:lnTo>
                  <a:cubicBezTo>
                    <a:pt x="412930" y="658215"/>
                    <a:pt x="407368" y="620207"/>
                    <a:pt x="407368" y="582198"/>
                  </a:cubicBezTo>
                  <a:cubicBezTo>
                    <a:pt x="412930" y="538760"/>
                    <a:pt x="418492" y="500751"/>
                    <a:pt x="424054" y="462743"/>
                  </a:cubicBezTo>
                  <a:cubicBezTo>
                    <a:pt x="435178" y="430164"/>
                    <a:pt x="446303" y="397585"/>
                    <a:pt x="457427" y="375866"/>
                  </a:cubicBezTo>
                  <a:cubicBezTo>
                    <a:pt x="462989" y="365007"/>
                    <a:pt x="468551" y="354147"/>
                    <a:pt x="474113" y="343287"/>
                  </a:cubicBezTo>
                  <a:cubicBezTo>
                    <a:pt x="479675" y="332428"/>
                    <a:pt x="485237" y="326998"/>
                    <a:pt x="490799" y="321568"/>
                  </a:cubicBezTo>
                  <a:cubicBezTo>
                    <a:pt x="501923" y="305279"/>
                    <a:pt x="507485" y="299849"/>
                    <a:pt x="507485" y="299849"/>
                  </a:cubicBezTo>
                  <a:cubicBezTo>
                    <a:pt x="507485" y="299849"/>
                    <a:pt x="490799" y="326998"/>
                    <a:pt x="468551" y="375866"/>
                  </a:cubicBezTo>
                  <a:cubicBezTo>
                    <a:pt x="457427" y="403015"/>
                    <a:pt x="446303" y="430164"/>
                    <a:pt x="435178" y="468173"/>
                  </a:cubicBezTo>
                  <a:cubicBezTo>
                    <a:pt x="429616" y="500751"/>
                    <a:pt x="424054" y="538760"/>
                    <a:pt x="418492" y="582198"/>
                  </a:cubicBezTo>
                  <a:cubicBezTo>
                    <a:pt x="418492" y="620207"/>
                    <a:pt x="424054" y="658215"/>
                    <a:pt x="429616" y="690794"/>
                  </a:cubicBezTo>
                  <a:cubicBezTo>
                    <a:pt x="435178" y="709798"/>
                    <a:pt x="439350" y="726087"/>
                    <a:pt x="443521" y="741019"/>
                  </a:cubicBezTo>
                  <a:lnTo>
                    <a:pt x="449532" y="759209"/>
                  </a:lnTo>
                  <a:lnTo>
                    <a:pt x="476356" y="811483"/>
                  </a:lnTo>
                  <a:lnTo>
                    <a:pt x="494020" y="840059"/>
                  </a:lnTo>
                  <a:lnTo>
                    <a:pt x="505004" y="854494"/>
                  </a:lnTo>
                  <a:cubicBezTo>
                    <a:pt x="515864" y="865437"/>
                    <a:pt x="521294" y="876380"/>
                    <a:pt x="521294" y="876380"/>
                  </a:cubicBezTo>
                  <a:cubicBezTo>
                    <a:pt x="521294" y="876380"/>
                    <a:pt x="519937" y="875012"/>
                    <a:pt x="517221" y="872277"/>
                  </a:cubicBezTo>
                  <a:lnTo>
                    <a:pt x="506810" y="861786"/>
                  </a:lnTo>
                  <a:lnTo>
                    <a:pt x="509002" y="865762"/>
                  </a:lnTo>
                  <a:cubicBezTo>
                    <a:pt x="511043" y="869833"/>
                    <a:pt x="512403" y="873904"/>
                    <a:pt x="512403" y="879332"/>
                  </a:cubicBezTo>
                  <a:cubicBezTo>
                    <a:pt x="506962" y="873904"/>
                    <a:pt x="501521" y="863048"/>
                    <a:pt x="496080" y="852192"/>
                  </a:cubicBezTo>
                  <a:lnTo>
                    <a:pt x="487199" y="838437"/>
                  </a:lnTo>
                  <a:lnTo>
                    <a:pt x="484641" y="835344"/>
                  </a:lnTo>
                  <a:lnTo>
                    <a:pt x="482160" y="833201"/>
                  </a:lnTo>
                  <a:lnTo>
                    <a:pt x="485237" y="839434"/>
                  </a:lnTo>
                  <a:cubicBezTo>
                    <a:pt x="492190" y="852330"/>
                    <a:pt x="496361" y="859117"/>
                    <a:pt x="496361" y="859117"/>
                  </a:cubicBezTo>
                  <a:cubicBezTo>
                    <a:pt x="496361" y="859117"/>
                    <a:pt x="490799" y="853687"/>
                    <a:pt x="479675" y="842828"/>
                  </a:cubicBezTo>
                  <a:cubicBezTo>
                    <a:pt x="476894" y="840113"/>
                    <a:pt x="475503" y="836041"/>
                    <a:pt x="474113" y="831968"/>
                  </a:cubicBezTo>
                  <a:lnTo>
                    <a:pt x="468862" y="821716"/>
                  </a:lnTo>
                  <a:lnTo>
                    <a:pt x="456132" y="810722"/>
                  </a:lnTo>
                  <a:cubicBezTo>
                    <a:pt x="418121" y="766950"/>
                    <a:pt x="363820" y="712234"/>
                    <a:pt x="293228" y="668462"/>
                  </a:cubicBezTo>
                  <a:cubicBezTo>
                    <a:pt x="222636" y="619218"/>
                    <a:pt x="146614" y="597332"/>
                    <a:pt x="92313" y="597332"/>
                  </a:cubicBezTo>
                  <a:cubicBezTo>
                    <a:pt x="32581" y="591861"/>
                    <a:pt x="0" y="602804"/>
                    <a:pt x="0" y="602804"/>
                  </a:cubicBezTo>
                  <a:cubicBezTo>
                    <a:pt x="0" y="602804"/>
                    <a:pt x="10860" y="597332"/>
                    <a:pt x="27151" y="591861"/>
                  </a:cubicBezTo>
                  <a:cubicBezTo>
                    <a:pt x="38011" y="591861"/>
                    <a:pt x="65162" y="586389"/>
                    <a:pt x="92313" y="586389"/>
                  </a:cubicBezTo>
                  <a:cubicBezTo>
                    <a:pt x="146614" y="586389"/>
                    <a:pt x="228066" y="608275"/>
                    <a:pt x="298658" y="657519"/>
                  </a:cubicBezTo>
                  <a:cubicBezTo>
                    <a:pt x="355675" y="690348"/>
                    <a:pt x="400473" y="732411"/>
                    <a:pt x="433054" y="769856"/>
                  </a:cubicBezTo>
                  <a:lnTo>
                    <a:pt x="458447" y="801383"/>
                  </a:lnTo>
                  <a:lnTo>
                    <a:pt x="451865" y="788530"/>
                  </a:lnTo>
                  <a:lnTo>
                    <a:pt x="448132" y="778205"/>
                  </a:lnTo>
                  <a:lnTo>
                    <a:pt x="436228" y="759917"/>
                  </a:lnTo>
                  <a:cubicBezTo>
                    <a:pt x="387258" y="683925"/>
                    <a:pt x="321965" y="569938"/>
                    <a:pt x="256671" y="445094"/>
                  </a:cubicBezTo>
                  <a:cubicBezTo>
                    <a:pt x="185937" y="320251"/>
                    <a:pt x="126085" y="211691"/>
                    <a:pt x="82556" y="124844"/>
                  </a:cubicBezTo>
                  <a:cubicBezTo>
                    <a:pt x="60792" y="86848"/>
                    <a:pt x="44469" y="48852"/>
                    <a:pt x="33586" y="27140"/>
                  </a:cubicBezTo>
                  <a:cubicBezTo>
                    <a:pt x="28145" y="16284"/>
                    <a:pt x="28145" y="5428"/>
                    <a:pt x="22704" y="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0" name="ExtraShape3">
              <a:extLst>
                <a:ext uri="{FF2B5EF4-FFF2-40B4-BE49-F238E27FC236}">
                  <a16:creationId xmlns:a16="http://schemas.microsoft.com/office/drawing/2014/main" id="{86E15FA0-311C-48CB-848C-900D3BB0396F}"/>
                </a:ext>
              </a:extLst>
            </p:cNvPr>
            <p:cNvSpPr/>
            <p:nvPr/>
          </p:nvSpPr>
          <p:spPr bwMode="auto">
            <a:xfrm>
              <a:off x="2068635" y="2301833"/>
              <a:ext cx="3003477" cy="2996572"/>
            </a:xfrm>
            <a:custGeom>
              <a:avLst/>
              <a:gdLst>
                <a:gd name="T0" fmla="*/ 3 w 551"/>
                <a:gd name="T1" fmla="*/ 270 h 551"/>
                <a:gd name="T2" fmla="*/ 271 w 551"/>
                <a:gd name="T3" fmla="*/ 548 h 551"/>
                <a:gd name="T4" fmla="*/ 548 w 551"/>
                <a:gd name="T5" fmla="*/ 280 h 551"/>
                <a:gd name="T6" fmla="*/ 281 w 551"/>
                <a:gd name="T7" fmla="*/ 3 h 551"/>
                <a:gd name="T8" fmla="*/ 3 w 551"/>
                <a:gd name="T9" fmla="*/ 270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1" h="551">
                  <a:moveTo>
                    <a:pt x="3" y="270"/>
                  </a:moveTo>
                  <a:cubicBezTo>
                    <a:pt x="0" y="420"/>
                    <a:pt x="120" y="545"/>
                    <a:pt x="271" y="548"/>
                  </a:cubicBezTo>
                  <a:cubicBezTo>
                    <a:pt x="421" y="551"/>
                    <a:pt x="545" y="431"/>
                    <a:pt x="548" y="280"/>
                  </a:cubicBezTo>
                  <a:cubicBezTo>
                    <a:pt x="551" y="130"/>
                    <a:pt x="432" y="6"/>
                    <a:pt x="281" y="3"/>
                  </a:cubicBezTo>
                  <a:cubicBezTo>
                    <a:pt x="131" y="0"/>
                    <a:pt x="6" y="119"/>
                    <a:pt x="3" y="27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1" name="ExtraShape4">
              <a:extLst>
                <a:ext uri="{FF2B5EF4-FFF2-40B4-BE49-F238E27FC236}">
                  <a16:creationId xmlns:a16="http://schemas.microsoft.com/office/drawing/2014/main" id="{B61C5627-25FA-479C-831D-DC77784241BF}"/>
                </a:ext>
              </a:extLst>
            </p:cNvPr>
            <p:cNvSpPr/>
            <p:nvPr/>
          </p:nvSpPr>
          <p:spPr bwMode="auto">
            <a:xfrm>
              <a:off x="4250471" y="3889878"/>
              <a:ext cx="718073" cy="914853"/>
            </a:xfrm>
            <a:custGeom>
              <a:avLst/>
              <a:gdLst>
                <a:gd name="T0" fmla="*/ 132 w 132"/>
                <a:gd name="T1" fmla="*/ 75 h 168"/>
                <a:gd name="T2" fmla="*/ 83 w 132"/>
                <a:gd name="T3" fmla="*/ 0 h 168"/>
                <a:gd name="T4" fmla="*/ 0 w 132"/>
                <a:gd name="T5" fmla="*/ 52 h 168"/>
                <a:gd name="T6" fmla="*/ 75 w 132"/>
                <a:gd name="T7" fmla="*/ 168 h 168"/>
                <a:gd name="T8" fmla="*/ 132 w 132"/>
                <a:gd name="T9" fmla="*/ 75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68">
                  <a:moveTo>
                    <a:pt x="132" y="75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75" y="168"/>
                    <a:pt x="75" y="168"/>
                    <a:pt x="75" y="168"/>
                  </a:cubicBezTo>
                  <a:cubicBezTo>
                    <a:pt x="75" y="168"/>
                    <a:pt x="117" y="123"/>
                    <a:pt x="132" y="75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2" name="ExtraShape5">
              <a:extLst>
                <a:ext uri="{FF2B5EF4-FFF2-40B4-BE49-F238E27FC236}">
                  <a16:creationId xmlns:a16="http://schemas.microsoft.com/office/drawing/2014/main" id="{0A9CB982-9874-48E3-B5F5-3058C0A01267}"/>
                </a:ext>
              </a:extLst>
            </p:cNvPr>
            <p:cNvSpPr/>
            <p:nvPr/>
          </p:nvSpPr>
          <p:spPr bwMode="auto">
            <a:xfrm>
              <a:off x="3152648" y="1507810"/>
              <a:ext cx="1201391" cy="756049"/>
            </a:xfrm>
            <a:custGeom>
              <a:avLst/>
              <a:gdLst>
                <a:gd name="T0" fmla="*/ 26 w 220"/>
                <a:gd name="T1" fmla="*/ 139 h 139"/>
                <a:gd name="T2" fmla="*/ 18 w 220"/>
                <a:gd name="T3" fmla="*/ 126 h 139"/>
                <a:gd name="T4" fmla="*/ 3 w 220"/>
                <a:gd name="T5" fmla="*/ 117 h 139"/>
                <a:gd name="T6" fmla="*/ 7 w 220"/>
                <a:gd name="T7" fmla="*/ 96 h 139"/>
                <a:gd name="T8" fmla="*/ 2 w 220"/>
                <a:gd name="T9" fmla="*/ 74 h 139"/>
                <a:gd name="T10" fmla="*/ 12 w 220"/>
                <a:gd name="T11" fmla="*/ 47 h 139"/>
                <a:gd name="T12" fmla="*/ 40 w 220"/>
                <a:gd name="T13" fmla="*/ 41 h 139"/>
                <a:gd name="T14" fmla="*/ 65 w 220"/>
                <a:gd name="T15" fmla="*/ 7 h 139"/>
                <a:gd name="T16" fmla="*/ 106 w 220"/>
                <a:gd name="T17" fmla="*/ 19 h 139"/>
                <a:gd name="T18" fmla="*/ 130 w 220"/>
                <a:gd name="T19" fmla="*/ 4 h 139"/>
                <a:gd name="T20" fmla="*/ 157 w 220"/>
                <a:gd name="T21" fmla="*/ 4 h 139"/>
                <a:gd name="T22" fmla="*/ 170 w 220"/>
                <a:gd name="T23" fmla="*/ 26 h 139"/>
                <a:gd name="T24" fmla="*/ 198 w 220"/>
                <a:gd name="T25" fmla="*/ 21 h 139"/>
                <a:gd name="T26" fmla="*/ 216 w 220"/>
                <a:gd name="T27" fmla="*/ 44 h 139"/>
                <a:gd name="T28" fmla="*/ 206 w 220"/>
                <a:gd name="T29" fmla="*/ 83 h 139"/>
                <a:gd name="T30" fmla="*/ 168 w 220"/>
                <a:gd name="T31" fmla="*/ 7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0" h="139">
                  <a:moveTo>
                    <a:pt x="26" y="139"/>
                  </a:moveTo>
                  <a:cubicBezTo>
                    <a:pt x="30" y="135"/>
                    <a:pt x="24" y="128"/>
                    <a:pt x="18" y="126"/>
                  </a:cubicBezTo>
                  <a:cubicBezTo>
                    <a:pt x="13" y="124"/>
                    <a:pt x="6" y="123"/>
                    <a:pt x="3" y="117"/>
                  </a:cubicBezTo>
                  <a:cubicBezTo>
                    <a:pt x="0" y="111"/>
                    <a:pt x="6" y="104"/>
                    <a:pt x="7" y="96"/>
                  </a:cubicBezTo>
                  <a:cubicBezTo>
                    <a:pt x="8" y="89"/>
                    <a:pt x="3" y="81"/>
                    <a:pt x="2" y="74"/>
                  </a:cubicBezTo>
                  <a:cubicBezTo>
                    <a:pt x="0" y="64"/>
                    <a:pt x="4" y="53"/>
                    <a:pt x="12" y="47"/>
                  </a:cubicBezTo>
                  <a:cubicBezTo>
                    <a:pt x="19" y="40"/>
                    <a:pt x="30" y="38"/>
                    <a:pt x="40" y="41"/>
                  </a:cubicBezTo>
                  <a:cubicBezTo>
                    <a:pt x="40" y="26"/>
                    <a:pt x="51" y="12"/>
                    <a:pt x="65" y="7"/>
                  </a:cubicBezTo>
                  <a:cubicBezTo>
                    <a:pt x="80" y="3"/>
                    <a:pt x="97" y="8"/>
                    <a:pt x="106" y="19"/>
                  </a:cubicBezTo>
                  <a:cubicBezTo>
                    <a:pt x="114" y="14"/>
                    <a:pt x="121" y="8"/>
                    <a:pt x="130" y="4"/>
                  </a:cubicBezTo>
                  <a:cubicBezTo>
                    <a:pt x="138" y="1"/>
                    <a:pt x="149" y="0"/>
                    <a:pt x="157" y="4"/>
                  </a:cubicBezTo>
                  <a:cubicBezTo>
                    <a:pt x="166" y="7"/>
                    <a:pt x="172" y="17"/>
                    <a:pt x="170" y="26"/>
                  </a:cubicBezTo>
                  <a:cubicBezTo>
                    <a:pt x="177" y="18"/>
                    <a:pt x="189" y="17"/>
                    <a:pt x="198" y="21"/>
                  </a:cubicBezTo>
                  <a:cubicBezTo>
                    <a:pt x="207" y="25"/>
                    <a:pt x="213" y="35"/>
                    <a:pt x="216" y="44"/>
                  </a:cubicBezTo>
                  <a:cubicBezTo>
                    <a:pt x="220" y="58"/>
                    <a:pt x="216" y="74"/>
                    <a:pt x="206" y="83"/>
                  </a:cubicBezTo>
                  <a:cubicBezTo>
                    <a:pt x="195" y="92"/>
                    <a:pt x="176" y="91"/>
                    <a:pt x="168" y="79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3" name="ExtraShape6">
              <a:extLst>
                <a:ext uri="{FF2B5EF4-FFF2-40B4-BE49-F238E27FC236}">
                  <a16:creationId xmlns:a16="http://schemas.microsoft.com/office/drawing/2014/main" id="{44ABC4F4-43EC-4346-A889-ADA8B36B976E}"/>
                </a:ext>
              </a:extLst>
            </p:cNvPr>
            <p:cNvSpPr/>
            <p:nvPr/>
          </p:nvSpPr>
          <p:spPr bwMode="auto">
            <a:xfrm>
              <a:off x="3280381" y="1763278"/>
              <a:ext cx="914853" cy="1753754"/>
            </a:xfrm>
            <a:custGeom>
              <a:avLst/>
              <a:gdLst>
                <a:gd name="T0" fmla="*/ 56 w 168"/>
                <a:gd name="T1" fmla="*/ 322 h 322"/>
                <a:gd name="T2" fmla="*/ 111 w 168"/>
                <a:gd name="T3" fmla="*/ 270 h 322"/>
                <a:gd name="T4" fmla="*/ 114 w 168"/>
                <a:gd name="T5" fmla="*/ 221 h 322"/>
                <a:gd name="T6" fmla="*/ 163 w 168"/>
                <a:gd name="T7" fmla="*/ 174 h 322"/>
                <a:gd name="T8" fmla="*/ 168 w 168"/>
                <a:gd name="T9" fmla="*/ 26 h 322"/>
                <a:gd name="T10" fmla="*/ 10 w 168"/>
                <a:gd name="T11" fmla="*/ 33 h 322"/>
                <a:gd name="T12" fmla="*/ 5 w 168"/>
                <a:gd name="T13" fmla="*/ 36 h 322"/>
                <a:gd name="T14" fmla="*/ 0 w 168"/>
                <a:gd name="T15" fmla="*/ 266 h 322"/>
                <a:gd name="T16" fmla="*/ 56 w 168"/>
                <a:gd name="T17" fmla="*/ 32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8" h="322">
                  <a:moveTo>
                    <a:pt x="56" y="322"/>
                  </a:moveTo>
                  <a:cubicBezTo>
                    <a:pt x="85" y="322"/>
                    <a:pt x="110" y="299"/>
                    <a:pt x="111" y="270"/>
                  </a:cubicBezTo>
                  <a:cubicBezTo>
                    <a:pt x="113" y="245"/>
                    <a:pt x="114" y="221"/>
                    <a:pt x="114" y="221"/>
                  </a:cubicBezTo>
                  <a:cubicBezTo>
                    <a:pt x="114" y="221"/>
                    <a:pt x="159" y="218"/>
                    <a:pt x="163" y="174"/>
                  </a:cubicBezTo>
                  <a:cubicBezTo>
                    <a:pt x="168" y="129"/>
                    <a:pt x="168" y="26"/>
                    <a:pt x="168" y="26"/>
                  </a:cubicBezTo>
                  <a:cubicBezTo>
                    <a:pt x="118" y="0"/>
                    <a:pt x="57" y="3"/>
                    <a:pt x="10" y="33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297"/>
                    <a:pt x="25" y="322"/>
                    <a:pt x="56" y="322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4" name="ExtraShape7">
              <a:extLst>
                <a:ext uri="{FF2B5EF4-FFF2-40B4-BE49-F238E27FC236}">
                  <a16:creationId xmlns:a16="http://schemas.microsoft.com/office/drawing/2014/main" id="{C6F1FA19-B41A-4D0A-A37A-2A97967C74D2}"/>
                </a:ext>
              </a:extLst>
            </p:cNvPr>
            <p:cNvSpPr/>
            <p:nvPr/>
          </p:nvSpPr>
          <p:spPr bwMode="auto">
            <a:xfrm>
              <a:off x="3670489" y="2277668"/>
              <a:ext cx="82855" cy="75950"/>
            </a:xfrm>
            <a:custGeom>
              <a:avLst/>
              <a:gdLst>
                <a:gd name="T0" fmla="*/ 10 w 15"/>
                <a:gd name="T1" fmla="*/ 1 h 14"/>
                <a:gd name="T2" fmla="*/ 14 w 15"/>
                <a:gd name="T3" fmla="*/ 9 h 14"/>
                <a:gd name="T4" fmla="*/ 6 w 15"/>
                <a:gd name="T5" fmla="*/ 13 h 14"/>
                <a:gd name="T6" fmla="*/ 1 w 15"/>
                <a:gd name="T7" fmla="*/ 5 h 14"/>
                <a:gd name="T8" fmla="*/ 10 w 15"/>
                <a:gd name="T9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10" y="1"/>
                  </a:moveTo>
                  <a:cubicBezTo>
                    <a:pt x="13" y="2"/>
                    <a:pt x="15" y="6"/>
                    <a:pt x="14" y="9"/>
                  </a:cubicBezTo>
                  <a:cubicBezTo>
                    <a:pt x="13" y="12"/>
                    <a:pt x="9" y="14"/>
                    <a:pt x="6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3" y="1"/>
                    <a:pt x="6" y="0"/>
                    <a:pt x="1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5" name="ExtraShape8">
              <a:extLst>
                <a:ext uri="{FF2B5EF4-FFF2-40B4-BE49-F238E27FC236}">
                  <a16:creationId xmlns:a16="http://schemas.microsoft.com/office/drawing/2014/main" id="{5A5FDE25-A712-4FEA-BB2D-0440FE6691D0}"/>
                </a:ext>
              </a:extLst>
            </p:cNvPr>
            <p:cNvSpPr/>
            <p:nvPr/>
          </p:nvSpPr>
          <p:spPr bwMode="auto">
            <a:xfrm>
              <a:off x="3667035" y="2253501"/>
              <a:ext cx="131186" cy="44881"/>
            </a:xfrm>
            <a:custGeom>
              <a:avLst/>
              <a:gdLst>
                <a:gd name="T0" fmla="*/ 23 w 24"/>
                <a:gd name="T1" fmla="*/ 7 h 8"/>
                <a:gd name="T2" fmla="*/ 12 w 24"/>
                <a:gd name="T3" fmla="*/ 4 h 8"/>
                <a:gd name="T4" fmla="*/ 1 w 24"/>
                <a:gd name="T5" fmla="*/ 5 h 8"/>
                <a:gd name="T6" fmla="*/ 3 w 24"/>
                <a:gd name="T7" fmla="*/ 2 h 8"/>
                <a:gd name="T8" fmla="*/ 12 w 24"/>
                <a:gd name="T9" fmla="*/ 0 h 8"/>
                <a:gd name="T10" fmla="*/ 21 w 24"/>
                <a:gd name="T11" fmla="*/ 4 h 8"/>
                <a:gd name="T12" fmla="*/ 23 w 24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8">
                  <a:moveTo>
                    <a:pt x="23" y="7"/>
                  </a:moveTo>
                  <a:cubicBezTo>
                    <a:pt x="22" y="8"/>
                    <a:pt x="18" y="4"/>
                    <a:pt x="12" y="4"/>
                  </a:cubicBezTo>
                  <a:cubicBezTo>
                    <a:pt x="6" y="3"/>
                    <a:pt x="1" y="6"/>
                    <a:pt x="1" y="5"/>
                  </a:cubicBezTo>
                  <a:cubicBezTo>
                    <a:pt x="0" y="5"/>
                    <a:pt x="1" y="4"/>
                    <a:pt x="3" y="2"/>
                  </a:cubicBezTo>
                  <a:cubicBezTo>
                    <a:pt x="5" y="1"/>
                    <a:pt x="8" y="0"/>
                    <a:pt x="12" y="0"/>
                  </a:cubicBezTo>
                  <a:cubicBezTo>
                    <a:pt x="16" y="0"/>
                    <a:pt x="19" y="2"/>
                    <a:pt x="21" y="4"/>
                  </a:cubicBezTo>
                  <a:cubicBezTo>
                    <a:pt x="23" y="5"/>
                    <a:pt x="24" y="7"/>
                    <a:pt x="23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6" name="ExtraShape9">
              <a:extLst>
                <a:ext uri="{FF2B5EF4-FFF2-40B4-BE49-F238E27FC236}">
                  <a16:creationId xmlns:a16="http://schemas.microsoft.com/office/drawing/2014/main" id="{205CB3FB-54A6-4BCA-8336-A6F156093D72}"/>
                </a:ext>
              </a:extLst>
            </p:cNvPr>
            <p:cNvSpPr/>
            <p:nvPr/>
          </p:nvSpPr>
          <p:spPr bwMode="auto">
            <a:xfrm>
              <a:off x="4043334" y="2277668"/>
              <a:ext cx="79403" cy="75950"/>
            </a:xfrm>
            <a:custGeom>
              <a:avLst/>
              <a:gdLst>
                <a:gd name="T0" fmla="*/ 10 w 15"/>
                <a:gd name="T1" fmla="*/ 1 h 14"/>
                <a:gd name="T2" fmla="*/ 14 w 15"/>
                <a:gd name="T3" fmla="*/ 9 h 14"/>
                <a:gd name="T4" fmla="*/ 6 w 15"/>
                <a:gd name="T5" fmla="*/ 13 h 14"/>
                <a:gd name="T6" fmla="*/ 1 w 15"/>
                <a:gd name="T7" fmla="*/ 5 h 14"/>
                <a:gd name="T8" fmla="*/ 10 w 15"/>
                <a:gd name="T9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10" y="1"/>
                  </a:moveTo>
                  <a:cubicBezTo>
                    <a:pt x="13" y="2"/>
                    <a:pt x="15" y="6"/>
                    <a:pt x="14" y="9"/>
                  </a:cubicBezTo>
                  <a:cubicBezTo>
                    <a:pt x="13" y="12"/>
                    <a:pt x="9" y="14"/>
                    <a:pt x="6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3" y="1"/>
                    <a:pt x="6" y="0"/>
                    <a:pt x="1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7" name="ExtraShape1">
              <a:extLst>
                <a:ext uri="{FF2B5EF4-FFF2-40B4-BE49-F238E27FC236}">
                  <a16:creationId xmlns:a16="http://schemas.microsoft.com/office/drawing/2014/main" id="{31EA1A47-B632-4B91-883C-96E724A995C1}"/>
                </a:ext>
              </a:extLst>
            </p:cNvPr>
            <p:cNvSpPr/>
            <p:nvPr/>
          </p:nvSpPr>
          <p:spPr bwMode="auto">
            <a:xfrm>
              <a:off x="4043334" y="2253501"/>
              <a:ext cx="124282" cy="44881"/>
            </a:xfrm>
            <a:custGeom>
              <a:avLst/>
              <a:gdLst>
                <a:gd name="T0" fmla="*/ 23 w 23"/>
                <a:gd name="T1" fmla="*/ 7 h 8"/>
                <a:gd name="T2" fmla="*/ 12 w 23"/>
                <a:gd name="T3" fmla="*/ 4 h 8"/>
                <a:gd name="T4" fmla="*/ 0 w 23"/>
                <a:gd name="T5" fmla="*/ 6 h 8"/>
                <a:gd name="T6" fmla="*/ 3 w 23"/>
                <a:gd name="T7" fmla="*/ 2 h 8"/>
                <a:gd name="T8" fmla="*/ 12 w 23"/>
                <a:gd name="T9" fmla="*/ 0 h 8"/>
                <a:gd name="T10" fmla="*/ 21 w 23"/>
                <a:gd name="T11" fmla="*/ 4 h 8"/>
                <a:gd name="T12" fmla="*/ 23 w 23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8">
                  <a:moveTo>
                    <a:pt x="23" y="7"/>
                  </a:moveTo>
                  <a:cubicBezTo>
                    <a:pt x="22" y="8"/>
                    <a:pt x="18" y="4"/>
                    <a:pt x="12" y="4"/>
                  </a:cubicBezTo>
                  <a:cubicBezTo>
                    <a:pt x="6" y="3"/>
                    <a:pt x="1" y="6"/>
                    <a:pt x="0" y="6"/>
                  </a:cubicBezTo>
                  <a:cubicBezTo>
                    <a:pt x="0" y="5"/>
                    <a:pt x="1" y="4"/>
                    <a:pt x="3" y="2"/>
                  </a:cubicBezTo>
                  <a:cubicBezTo>
                    <a:pt x="5" y="1"/>
                    <a:pt x="8" y="0"/>
                    <a:pt x="12" y="0"/>
                  </a:cubicBezTo>
                  <a:cubicBezTo>
                    <a:pt x="16" y="0"/>
                    <a:pt x="19" y="2"/>
                    <a:pt x="21" y="4"/>
                  </a:cubicBezTo>
                  <a:cubicBezTo>
                    <a:pt x="23" y="5"/>
                    <a:pt x="23" y="7"/>
                    <a:pt x="23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8" name="ExtraShape2">
              <a:extLst>
                <a:ext uri="{FF2B5EF4-FFF2-40B4-BE49-F238E27FC236}">
                  <a16:creationId xmlns:a16="http://schemas.microsoft.com/office/drawing/2014/main" id="{90C8828C-6FA4-4E90-999C-07B24B552632}"/>
                </a:ext>
              </a:extLst>
            </p:cNvPr>
            <p:cNvSpPr/>
            <p:nvPr/>
          </p:nvSpPr>
          <p:spPr bwMode="auto">
            <a:xfrm>
              <a:off x="3912148" y="2260405"/>
              <a:ext cx="93212" cy="303800"/>
            </a:xfrm>
            <a:custGeom>
              <a:avLst/>
              <a:gdLst>
                <a:gd name="T0" fmla="*/ 0 w 17"/>
                <a:gd name="T1" fmla="*/ 54 h 56"/>
                <a:gd name="T2" fmla="*/ 10 w 17"/>
                <a:gd name="T3" fmla="*/ 53 h 56"/>
                <a:gd name="T4" fmla="*/ 14 w 17"/>
                <a:gd name="T5" fmla="*/ 52 h 56"/>
                <a:gd name="T6" fmla="*/ 13 w 17"/>
                <a:gd name="T7" fmla="*/ 47 h 56"/>
                <a:gd name="T8" fmla="*/ 9 w 17"/>
                <a:gd name="T9" fmla="*/ 34 h 56"/>
                <a:gd name="T10" fmla="*/ 1 w 17"/>
                <a:gd name="T11" fmla="*/ 1 h 56"/>
                <a:gd name="T12" fmla="*/ 12 w 17"/>
                <a:gd name="T13" fmla="*/ 33 h 56"/>
                <a:gd name="T14" fmla="*/ 16 w 17"/>
                <a:gd name="T15" fmla="*/ 46 h 56"/>
                <a:gd name="T16" fmla="*/ 16 w 17"/>
                <a:gd name="T17" fmla="*/ 53 h 56"/>
                <a:gd name="T18" fmla="*/ 13 w 17"/>
                <a:gd name="T19" fmla="*/ 55 h 56"/>
                <a:gd name="T20" fmla="*/ 10 w 17"/>
                <a:gd name="T21" fmla="*/ 55 h 56"/>
                <a:gd name="T22" fmla="*/ 0 w 17"/>
                <a:gd name="T23" fmla="*/ 5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56">
                  <a:moveTo>
                    <a:pt x="0" y="54"/>
                  </a:moveTo>
                  <a:cubicBezTo>
                    <a:pt x="0" y="54"/>
                    <a:pt x="4" y="53"/>
                    <a:pt x="10" y="53"/>
                  </a:cubicBezTo>
                  <a:cubicBezTo>
                    <a:pt x="12" y="53"/>
                    <a:pt x="13" y="53"/>
                    <a:pt x="14" y="52"/>
                  </a:cubicBezTo>
                  <a:cubicBezTo>
                    <a:pt x="14" y="51"/>
                    <a:pt x="13" y="49"/>
                    <a:pt x="13" y="47"/>
                  </a:cubicBezTo>
                  <a:cubicBezTo>
                    <a:pt x="12" y="43"/>
                    <a:pt x="10" y="39"/>
                    <a:pt x="9" y="34"/>
                  </a:cubicBezTo>
                  <a:cubicBezTo>
                    <a:pt x="4" y="16"/>
                    <a:pt x="0" y="1"/>
                    <a:pt x="1" y="1"/>
                  </a:cubicBezTo>
                  <a:cubicBezTo>
                    <a:pt x="2" y="0"/>
                    <a:pt x="7" y="15"/>
                    <a:pt x="12" y="33"/>
                  </a:cubicBezTo>
                  <a:cubicBezTo>
                    <a:pt x="14" y="38"/>
                    <a:pt x="15" y="42"/>
                    <a:pt x="16" y="46"/>
                  </a:cubicBezTo>
                  <a:cubicBezTo>
                    <a:pt x="16" y="48"/>
                    <a:pt x="17" y="50"/>
                    <a:pt x="16" y="53"/>
                  </a:cubicBezTo>
                  <a:cubicBezTo>
                    <a:pt x="16" y="54"/>
                    <a:pt x="14" y="55"/>
                    <a:pt x="13" y="55"/>
                  </a:cubicBezTo>
                  <a:cubicBezTo>
                    <a:pt x="12" y="56"/>
                    <a:pt x="11" y="55"/>
                    <a:pt x="10" y="55"/>
                  </a:cubicBezTo>
                  <a:cubicBezTo>
                    <a:pt x="4" y="55"/>
                    <a:pt x="0" y="55"/>
                    <a:pt x="0" y="5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9" name="ExtraShape3">
              <a:extLst>
                <a:ext uri="{FF2B5EF4-FFF2-40B4-BE49-F238E27FC236}">
                  <a16:creationId xmlns:a16="http://schemas.microsoft.com/office/drawing/2014/main" id="{16F49B4F-B6C6-4AAA-92B9-AC8228F6C2A1}"/>
                </a:ext>
              </a:extLst>
            </p:cNvPr>
            <p:cNvSpPr/>
            <p:nvPr/>
          </p:nvSpPr>
          <p:spPr bwMode="auto">
            <a:xfrm>
              <a:off x="3774057" y="2581468"/>
              <a:ext cx="186423" cy="124282"/>
            </a:xfrm>
            <a:custGeom>
              <a:avLst/>
              <a:gdLst>
                <a:gd name="T0" fmla="*/ 5 w 34"/>
                <a:gd name="T1" fmla="*/ 0 h 23"/>
                <a:gd name="T2" fmla="*/ 34 w 34"/>
                <a:gd name="T3" fmla="*/ 12 h 23"/>
                <a:gd name="T4" fmla="*/ 13 w 34"/>
                <a:gd name="T5" fmla="*/ 17 h 23"/>
                <a:gd name="T6" fmla="*/ 5 w 34"/>
                <a:gd name="T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23">
                  <a:moveTo>
                    <a:pt x="5" y="0"/>
                  </a:moveTo>
                  <a:cubicBezTo>
                    <a:pt x="17" y="6"/>
                    <a:pt x="23" y="8"/>
                    <a:pt x="34" y="12"/>
                  </a:cubicBezTo>
                  <a:cubicBezTo>
                    <a:pt x="34" y="12"/>
                    <a:pt x="26" y="23"/>
                    <a:pt x="13" y="17"/>
                  </a:cubicBezTo>
                  <a:cubicBezTo>
                    <a:pt x="0" y="11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0" name="ExtraShape4">
              <a:extLst>
                <a:ext uri="{FF2B5EF4-FFF2-40B4-BE49-F238E27FC236}">
                  <a16:creationId xmlns:a16="http://schemas.microsoft.com/office/drawing/2014/main" id="{D5B14BD6-7C57-413C-BC27-5C935C3B367E}"/>
                </a:ext>
              </a:extLst>
            </p:cNvPr>
            <p:cNvSpPr/>
            <p:nvPr/>
          </p:nvSpPr>
          <p:spPr bwMode="auto">
            <a:xfrm>
              <a:off x="3584181" y="2854196"/>
              <a:ext cx="317609" cy="179518"/>
            </a:xfrm>
            <a:custGeom>
              <a:avLst/>
              <a:gdLst>
                <a:gd name="T0" fmla="*/ 58 w 58"/>
                <a:gd name="T1" fmla="*/ 21 h 33"/>
                <a:gd name="T2" fmla="*/ 0 w 58"/>
                <a:gd name="T3" fmla="*/ 0 h 33"/>
                <a:gd name="T4" fmla="*/ 57 w 58"/>
                <a:gd name="T5" fmla="*/ 32 h 33"/>
                <a:gd name="T6" fmla="*/ 58 w 58"/>
                <a:gd name="T7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33">
                  <a:moveTo>
                    <a:pt x="58" y="21"/>
                  </a:moveTo>
                  <a:cubicBezTo>
                    <a:pt x="58" y="21"/>
                    <a:pt x="29" y="21"/>
                    <a:pt x="0" y="0"/>
                  </a:cubicBezTo>
                  <a:cubicBezTo>
                    <a:pt x="0" y="0"/>
                    <a:pt x="12" y="33"/>
                    <a:pt x="57" y="32"/>
                  </a:cubicBezTo>
                  <a:lnTo>
                    <a:pt x="58" y="21"/>
                  </a:ln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1" name="ExtraShape5">
              <a:extLst>
                <a:ext uri="{FF2B5EF4-FFF2-40B4-BE49-F238E27FC236}">
                  <a16:creationId xmlns:a16="http://schemas.microsoft.com/office/drawing/2014/main" id="{222E02AF-7981-41A7-9700-33A8CD68F09F}"/>
                </a:ext>
              </a:extLst>
            </p:cNvPr>
            <p:cNvSpPr/>
            <p:nvPr/>
          </p:nvSpPr>
          <p:spPr bwMode="auto">
            <a:xfrm>
              <a:off x="3121576" y="2277668"/>
              <a:ext cx="179518" cy="321062"/>
            </a:xfrm>
            <a:custGeom>
              <a:avLst/>
              <a:gdLst>
                <a:gd name="T0" fmla="*/ 33 w 33"/>
                <a:gd name="T1" fmla="*/ 7 h 59"/>
                <a:gd name="T2" fmla="*/ 27 w 33"/>
                <a:gd name="T3" fmla="*/ 0 h 59"/>
                <a:gd name="T4" fmla="*/ 3 w 33"/>
                <a:gd name="T5" fmla="*/ 26 h 59"/>
                <a:gd name="T6" fmla="*/ 32 w 33"/>
                <a:gd name="T7" fmla="*/ 50 h 59"/>
                <a:gd name="T8" fmla="*/ 33 w 33"/>
                <a:gd name="T9" fmla="*/ 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59">
                  <a:moveTo>
                    <a:pt x="33" y="7"/>
                  </a:moveTo>
                  <a:cubicBezTo>
                    <a:pt x="33" y="4"/>
                    <a:pt x="30" y="1"/>
                    <a:pt x="27" y="0"/>
                  </a:cubicBezTo>
                  <a:cubicBezTo>
                    <a:pt x="18" y="0"/>
                    <a:pt x="5" y="3"/>
                    <a:pt x="3" y="26"/>
                  </a:cubicBezTo>
                  <a:cubicBezTo>
                    <a:pt x="0" y="59"/>
                    <a:pt x="32" y="51"/>
                    <a:pt x="32" y="50"/>
                  </a:cubicBezTo>
                  <a:cubicBezTo>
                    <a:pt x="33" y="50"/>
                    <a:pt x="33" y="20"/>
                    <a:pt x="33" y="7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2" name="ExtraShape6">
              <a:extLst>
                <a:ext uri="{FF2B5EF4-FFF2-40B4-BE49-F238E27FC236}">
                  <a16:creationId xmlns:a16="http://schemas.microsoft.com/office/drawing/2014/main" id="{91E39B38-6A38-4EEC-8F55-13A2F69E975B}"/>
                </a:ext>
              </a:extLst>
            </p:cNvPr>
            <p:cNvSpPr/>
            <p:nvPr/>
          </p:nvSpPr>
          <p:spPr bwMode="auto">
            <a:xfrm>
              <a:off x="3180266" y="2336355"/>
              <a:ext cx="82855" cy="158805"/>
            </a:xfrm>
            <a:custGeom>
              <a:avLst/>
              <a:gdLst>
                <a:gd name="T0" fmla="*/ 14 w 15"/>
                <a:gd name="T1" fmla="*/ 26 h 29"/>
                <a:gd name="T2" fmla="*/ 13 w 15"/>
                <a:gd name="T3" fmla="*/ 27 h 29"/>
                <a:gd name="T4" fmla="*/ 9 w 15"/>
                <a:gd name="T5" fmla="*/ 27 h 29"/>
                <a:gd name="T6" fmla="*/ 3 w 15"/>
                <a:gd name="T7" fmla="*/ 14 h 29"/>
                <a:gd name="T8" fmla="*/ 5 w 15"/>
                <a:gd name="T9" fmla="*/ 6 h 29"/>
                <a:gd name="T10" fmla="*/ 10 w 15"/>
                <a:gd name="T11" fmla="*/ 1 h 29"/>
                <a:gd name="T12" fmla="*/ 13 w 15"/>
                <a:gd name="T13" fmla="*/ 3 h 29"/>
                <a:gd name="T14" fmla="*/ 13 w 15"/>
                <a:gd name="T15" fmla="*/ 5 h 29"/>
                <a:gd name="T16" fmla="*/ 14 w 15"/>
                <a:gd name="T17" fmla="*/ 3 h 29"/>
                <a:gd name="T18" fmla="*/ 13 w 15"/>
                <a:gd name="T19" fmla="*/ 1 h 29"/>
                <a:gd name="T20" fmla="*/ 10 w 15"/>
                <a:gd name="T21" fmla="*/ 0 h 29"/>
                <a:gd name="T22" fmla="*/ 3 w 15"/>
                <a:gd name="T23" fmla="*/ 4 h 29"/>
                <a:gd name="T24" fmla="*/ 1 w 15"/>
                <a:gd name="T25" fmla="*/ 13 h 29"/>
                <a:gd name="T26" fmla="*/ 8 w 15"/>
                <a:gd name="T27" fmla="*/ 28 h 29"/>
                <a:gd name="T28" fmla="*/ 13 w 15"/>
                <a:gd name="T29" fmla="*/ 28 h 29"/>
                <a:gd name="T30" fmla="*/ 14 w 15"/>
                <a:gd name="T31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29">
                  <a:moveTo>
                    <a:pt x="14" y="26"/>
                  </a:moveTo>
                  <a:cubicBezTo>
                    <a:pt x="14" y="26"/>
                    <a:pt x="14" y="27"/>
                    <a:pt x="13" y="27"/>
                  </a:cubicBezTo>
                  <a:cubicBezTo>
                    <a:pt x="12" y="27"/>
                    <a:pt x="10" y="27"/>
                    <a:pt x="9" y="27"/>
                  </a:cubicBezTo>
                  <a:cubicBezTo>
                    <a:pt x="5" y="25"/>
                    <a:pt x="3" y="19"/>
                    <a:pt x="3" y="14"/>
                  </a:cubicBezTo>
                  <a:cubicBezTo>
                    <a:pt x="3" y="11"/>
                    <a:pt x="4" y="8"/>
                    <a:pt x="5" y="6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1"/>
                    <a:pt x="13" y="2"/>
                    <a:pt x="13" y="3"/>
                  </a:cubicBezTo>
                  <a:cubicBezTo>
                    <a:pt x="13" y="4"/>
                    <a:pt x="13" y="5"/>
                    <a:pt x="13" y="5"/>
                  </a:cubicBezTo>
                  <a:cubicBezTo>
                    <a:pt x="13" y="5"/>
                    <a:pt x="14" y="4"/>
                    <a:pt x="14" y="3"/>
                  </a:cubicBezTo>
                  <a:cubicBezTo>
                    <a:pt x="14" y="2"/>
                    <a:pt x="14" y="2"/>
                    <a:pt x="13" y="1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7" y="0"/>
                    <a:pt x="5" y="2"/>
                    <a:pt x="3" y="4"/>
                  </a:cubicBezTo>
                  <a:cubicBezTo>
                    <a:pt x="2" y="7"/>
                    <a:pt x="1" y="10"/>
                    <a:pt x="1" y="13"/>
                  </a:cubicBezTo>
                  <a:cubicBezTo>
                    <a:pt x="0" y="20"/>
                    <a:pt x="3" y="27"/>
                    <a:pt x="8" y="28"/>
                  </a:cubicBezTo>
                  <a:cubicBezTo>
                    <a:pt x="10" y="29"/>
                    <a:pt x="12" y="28"/>
                    <a:pt x="13" y="28"/>
                  </a:cubicBezTo>
                  <a:cubicBezTo>
                    <a:pt x="14" y="27"/>
                    <a:pt x="15" y="26"/>
                    <a:pt x="14" y="26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3" name="ExtraShape7">
              <a:extLst>
                <a:ext uri="{FF2B5EF4-FFF2-40B4-BE49-F238E27FC236}">
                  <a16:creationId xmlns:a16="http://schemas.microsoft.com/office/drawing/2014/main" id="{8595A0FA-B66F-429F-89E1-CBBB9B93E8BD}"/>
                </a:ext>
              </a:extLst>
            </p:cNvPr>
            <p:cNvSpPr/>
            <p:nvPr/>
          </p:nvSpPr>
          <p:spPr bwMode="auto">
            <a:xfrm>
              <a:off x="3667035" y="2146481"/>
              <a:ext cx="151900" cy="58690"/>
            </a:xfrm>
            <a:custGeom>
              <a:avLst/>
              <a:gdLst>
                <a:gd name="T0" fmla="*/ 1 w 28"/>
                <a:gd name="T1" fmla="*/ 9 h 11"/>
                <a:gd name="T2" fmla="*/ 14 w 28"/>
                <a:gd name="T3" fmla="*/ 9 h 11"/>
                <a:gd name="T4" fmla="*/ 26 w 28"/>
                <a:gd name="T5" fmla="*/ 7 h 11"/>
                <a:gd name="T6" fmla="*/ 13 w 28"/>
                <a:gd name="T7" fmla="*/ 1 h 11"/>
                <a:gd name="T8" fmla="*/ 1 w 28"/>
                <a:gd name="T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1">
                  <a:moveTo>
                    <a:pt x="1" y="9"/>
                  </a:moveTo>
                  <a:cubicBezTo>
                    <a:pt x="3" y="11"/>
                    <a:pt x="7" y="10"/>
                    <a:pt x="14" y="9"/>
                  </a:cubicBezTo>
                  <a:cubicBezTo>
                    <a:pt x="20" y="9"/>
                    <a:pt x="25" y="9"/>
                    <a:pt x="26" y="7"/>
                  </a:cubicBezTo>
                  <a:cubicBezTo>
                    <a:pt x="28" y="5"/>
                    <a:pt x="21" y="0"/>
                    <a:pt x="13" y="1"/>
                  </a:cubicBezTo>
                  <a:cubicBezTo>
                    <a:pt x="5" y="1"/>
                    <a:pt x="0" y="7"/>
                    <a:pt x="1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4" name="ExtraShape8">
              <a:extLst>
                <a:ext uri="{FF2B5EF4-FFF2-40B4-BE49-F238E27FC236}">
                  <a16:creationId xmlns:a16="http://schemas.microsoft.com/office/drawing/2014/main" id="{5E7C6F61-BCD8-4025-8244-6FD95CCA40A4}"/>
                </a:ext>
              </a:extLst>
            </p:cNvPr>
            <p:cNvSpPr/>
            <p:nvPr/>
          </p:nvSpPr>
          <p:spPr bwMode="auto">
            <a:xfrm>
              <a:off x="4057143" y="2160291"/>
              <a:ext cx="117377" cy="51785"/>
            </a:xfrm>
            <a:custGeom>
              <a:avLst/>
              <a:gdLst>
                <a:gd name="T0" fmla="*/ 1 w 21"/>
                <a:gd name="T1" fmla="*/ 5 h 9"/>
                <a:gd name="T2" fmla="*/ 10 w 21"/>
                <a:gd name="T3" fmla="*/ 8 h 9"/>
                <a:gd name="T4" fmla="*/ 20 w 21"/>
                <a:gd name="T5" fmla="*/ 6 h 9"/>
                <a:gd name="T6" fmla="*/ 11 w 21"/>
                <a:gd name="T7" fmla="*/ 0 h 9"/>
                <a:gd name="T8" fmla="*/ 1 w 21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9">
                  <a:moveTo>
                    <a:pt x="1" y="5"/>
                  </a:moveTo>
                  <a:cubicBezTo>
                    <a:pt x="1" y="7"/>
                    <a:pt x="5" y="8"/>
                    <a:pt x="10" y="8"/>
                  </a:cubicBezTo>
                  <a:cubicBezTo>
                    <a:pt x="15" y="9"/>
                    <a:pt x="19" y="8"/>
                    <a:pt x="20" y="6"/>
                  </a:cubicBezTo>
                  <a:cubicBezTo>
                    <a:pt x="21" y="4"/>
                    <a:pt x="17" y="1"/>
                    <a:pt x="11" y="0"/>
                  </a:cubicBezTo>
                  <a:cubicBezTo>
                    <a:pt x="5" y="0"/>
                    <a:pt x="0" y="2"/>
                    <a:pt x="1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5" name="ExtraShape9">
              <a:extLst>
                <a:ext uri="{FF2B5EF4-FFF2-40B4-BE49-F238E27FC236}">
                  <a16:creationId xmlns:a16="http://schemas.microsoft.com/office/drawing/2014/main" id="{71E486FF-E9CE-4746-9748-462F0D94615D}"/>
                </a:ext>
              </a:extLst>
            </p:cNvPr>
            <p:cNvSpPr/>
            <p:nvPr/>
          </p:nvSpPr>
          <p:spPr bwMode="auto">
            <a:xfrm>
              <a:off x="3235503" y="1763278"/>
              <a:ext cx="1004612" cy="566173"/>
            </a:xfrm>
            <a:custGeom>
              <a:avLst/>
              <a:gdLst>
                <a:gd name="T0" fmla="*/ 182 w 184"/>
                <a:gd name="T1" fmla="*/ 40 h 104"/>
                <a:gd name="T2" fmla="*/ 120 w 184"/>
                <a:gd name="T3" fmla="*/ 36 h 104"/>
                <a:gd name="T4" fmla="*/ 64 w 184"/>
                <a:gd name="T5" fmla="*/ 23 h 104"/>
                <a:gd name="T6" fmla="*/ 34 w 184"/>
                <a:gd name="T7" fmla="*/ 59 h 104"/>
                <a:gd name="T8" fmla="*/ 18 w 184"/>
                <a:gd name="T9" fmla="*/ 102 h 104"/>
                <a:gd name="T10" fmla="*/ 11 w 184"/>
                <a:gd name="T11" fmla="*/ 31 h 104"/>
                <a:gd name="T12" fmla="*/ 55 w 184"/>
                <a:gd name="T13" fmla="*/ 9 h 104"/>
                <a:gd name="T14" fmla="*/ 104 w 184"/>
                <a:gd name="T15" fmla="*/ 0 h 104"/>
                <a:gd name="T16" fmla="*/ 149 w 184"/>
                <a:gd name="T17" fmla="*/ 6 h 104"/>
                <a:gd name="T18" fmla="*/ 184 w 184"/>
                <a:gd name="T19" fmla="*/ 16 h 104"/>
                <a:gd name="T20" fmla="*/ 182 w 184"/>
                <a:gd name="T21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4" h="104">
                  <a:moveTo>
                    <a:pt x="182" y="40"/>
                  </a:moveTo>
                  <a:cubicBezTo>
                    <a:pt x="182" y="40"/>
                    <a:pt x="155" y="53"/>
                    <a:pt x="120" y="36"/>
                  </a:cubicBezTo>
                  <a:cubicBezTo>
                    <a:pt x="97" y="24"/>
                    <a:pt x="70" y="19"/>
                    <a:pt x="64" y="23"/>
                  </a:cubicBezTo>
                  <a:cubicBezTo>
                    <a:pt x="58" y="28"/>
                    <a:pt x="57" y="52"/>
                    <a:pt x="34" y="59"/>
                  </a:cubicBezTo>
                  <a:cubicBezTo>
                    <a:pt x="34" y="59"/>
                    <a:pt x="36" y="104"/>
                    <a:pt x="18" y="102"/>
                  </a:cubicBezTo>
                  <a:cubicBezTo>
                    <a:pt x="0" y="101"/>
                    <a:pt x="11" y="31"/>
                    <a:pt x="11" y="31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84" y="16"/>
                    <a:pt x="184" y="16"/>
                    <a:pt x="184" y="16"/>
                  </a:cubicBezTo>
                  <a:lnTo>
                    <a:pt x="182" y="4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6" name="ExtraShape1">
              <a:extLst>
                <a:ext uri="{FF2B5EF4-FFF2-40B4-BE49-F238E27FC236}">
                  <a16:creationId xmlns:a16="http://schemas.microsoft.com/office/drawing/2014/main" id="{E292C73F-BE36-479F-8CD1-8FD13F0DC7D4}"/>
                </a:ext>
              </a:extLst>
            </p:cNvPr>
            <p:cNvSpPr/>
            <p:nvPr/>
          </p:nvSpPr>
          <p:spPr bwMode="auto">
            <a:xfrm>
              <a:off x="2583022" y="3147640"/>
              <a:ext cx="2364807" cy="2136958"/>
            </a:xfrm>
            <a:custGeom>
              <a:avLst/>
              <a:gdLst>
                <a:gd name="T0" fmla="*/ 0 w 434"/>
                <a:gd name="T1" fmla="*/ 49 h 393"/>
                <a:gd name="T2" fmla="*/ 130 w 434"/>
                <a:gd name="T3" fmla="*/ 5 h 393"/>
                <a:gd name="T4" fmla="*/ 238 w 434"/>
                <a:gd name="T5" fmla="*/ 9 h 393"/>
                <a:gd name="T6" fmla="*/ 318 w 434"/>
                <a:gd name="T7" fmla="*/ 34 h 393"/>
                <a:gd name="T8" fmla="*/ 321 w 434"/>
                <a:gd name="T9" fmla="*/ 35 h 393"/>
                <a:gd name="T10" fmla="*/ 321 w 434"/>
                <a:gd name="T11" fmla="*/ 35 h 393"/>
                <a:gd name="T12" fmla="*/ 434 w 434"/>
                <a:gd name="T13" fmla="*/ 129 h 393"/>
                <a:gd name="T14" fmla="*/ 386 w 434"/>
                <a:gd name="T15" fmla="*/ 175 h 393"/>
                <a:gd name="T16" fmla="*/ 332 w 434"/>
                <a:gd name="T17" fmla="*/ 223 h 393"/>
                <a:gd name="T18" fmla="*/ 332 w 434"/>
                <a:gd name="T19" fmla="*/ 224 h 393"/>
                <a:gd name="T20" fmla="*/ 349 w 434"/>
                <a:gd name="T21" fmla="*/ 335 h 393"/>
                <a:gd name="T22" fmla="*/ 177 w 434"/>
                <a:gd name="T23" fmla="*/ 392 h 393"/>
                <a:gd name="T24" fmla="*/ 62 w 434"/>
                <a:gd name="T25" fmla="*/ 364 h 393"/>
                <a:gd name="T26" fmla="*/ 58 w 434"/>
                <a:gd name="T27" fmla="*/ 318 h 393"/>
                <a:gd name="T28" fmla="*/ 51 w 434"/>
                <a:gd name="T29" fmla="*/ 223 h 393"/>
                <a:gd name="T30" fmla="*/ 0 w 434"/>
                <a:gd name="T31" fmla="*/ 49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4" h="393">
                  <a:moveTo>
                    <a:pt x="0" y="49"/>
                  </a:moveTo>
                  <a:cubicBezTo>
                    <a:pt x="47" y="0"/>
                    <a:pt x="130" y="5"/>
                    <a:pt x="130" y="5"/>
                  </a:cubicBezTo>
                  <a:cubicBezTo>
                    <a:pt x="238" y="9"/>
                    <a:pt x="238" y="9"/>
                    <a:pt x="238" y="9"/>
                  </a:cubicBezTo>
                  <a:cubicBezTo>
                    <a:pt x="238" y="9"/>
                    <a:pt x="279" y="14"/>
                    <a:pt x="318" y="34"/>
                  </a:cubicBezTo>
                  <a:cubicBezTo>
                    <a:pt x="321" y="35"/>
                    <a:pt x="321" y="35"/>
                    <a:pt x="321" y="35"/>
                  </a:cubicBezTo>
                  <a:cubicBezTo>
                    <a:pt x="321" y="35"/>
                    <a:pt x="321" y="35"/>
                    <a:pt x="321" y="35"/>
                  </a:cubicBezTo>
                  <a:cubicBezTo>
                    <a:pt x="351" y="52"/>
                    <a:pt x="394" y="91"/>
                    <a:pt x="434" y="129"/>
                  </a:cubicBezTo>
                  <a:cubicBezTo>
                    <a:pt x="386" y="175"/>
                    <a:pt x="386" y="175"/>
                    <a:pt x="386" y="175"/>
                  </a:cubicBezTo>
                  <a:cubicBezTo>
                    <a:pt x="332" y="223"/>
                    <a:pt x="332" y="223"/>
                    <a:pt x="332" y="223"/>
                  </a:cubicBezTo>
                  <a:cubicBezTo>
                    <a:pt x="332" y="223"/>
                    <a:pt x="332" y="223"/>
                    <a:pt x="332" y="224"/>
                  </a:cubicBezTo>
                  <a:cubicBezTo>
                    <a:pt x="331" y="226"/>
                    <a:pt x="340" y="285"/>
                    <a:pt x="349" y="335"/>
                  </a:cubicBezTo>
                  <a:cubicBezTo>
                    <a:pt x="301" y="372"/>
                    <a:pt x="241" y="393"/>
                    <a:pt x="177" y="392"/>
                  </a:cubicBezTo>
                  <a:cubicBezTo>
                    <a:pt x="135" y="391"/>
                    <a:pt x="96" y="381"/>
                    <a:pt x="62" y="364"/>
                  </a:cubicBezTo>
                  <a:cubicBezTo>
                    <a:pt x="58" y="318"/>
                    <a:pt x="58" y="318"/>
                    <a:pt x="58" y="318"/>
                  </a:cubicBezTo>
                  <a:cubicBezTo>
                    <a:pt x="54" y="275"/>
                    <a:pt x="51" y="223"/>
                    <a:pt x="51" y="223"/>
                  </a:cubicBezTo>
                  <a:cubicBezTo>
                    <a:pt x="0" y="49"/>
                    <a:pt x="0" y="49"/>
                    <a:pt x="0" y="49"/>
                  </a:cubicBezTo>
                </a:path>
              </a:pathLst>
            </a:custGeom>
            <a:solidFill>
              <a:srgbClr val="93B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7" name="ExtraShape2">
              <a:extLst>
                <a:ext uri="{FF2B5EF4-FFF2-40B4-BE49-F238E27FC236}">
                  <a16:creationId xmlns:a16="http://schemas.microsoft.com/office/drawing/2014/main" id="{3AF987AE-52F4-4DC2-BD3C-8C49B166BDE1}"/>
                </a:ext>
              </a:extLst>
            </p:cNvPr>
            <p:cNvSpPr/>
            <p:nvPr/>
          </p:nvSpPr>
          <p:spPr bwMode="auto">
            <a:xfrm>
              <a:off x="4112380" y="3244304"/>
              <a:ext cx="272731" cy="1115085"/>
            </a:xfrm>
            <a:custGeom>
              <a:avLst/>
              <a:gdLst>
                <a:gd name="T0" fmla="*/ 1 w 50"/>
                <a:gd name="T1" fmla="*/ 0 h 205"/>
                <a:gd name="T2" fmla="*/ 1 w 50"/>
                <a:gd name="T3" fmla="*/ 2 h 205"/>
                <a:gd name="T4" fmla="*/ 3 w 50"/>
                <a:gd name="T5" fmla="*/ 8 h 205"/>
                <a:gd name="T6" fmla="*/ 10 w 50"/>
                <a:gd name="T7" fmla="*/ 29 h 205"/>
                <a:gd name="T8" fmla="*/ 30 w 50"/>
                <a:gd name="T9" fmla="*/ 101 h 205"/>
                <a:gd name="T10" fmla="*/ 45 w 50"/>
                <a:gd name="T11" fmla="*/ 174 h 205"/>
                <a:gd name="T12" fmla="*/ 49 w 50"/>
                <a:gd name="T13" fmla="*/ 196 h 205"/>
                <a:gd name="T14" fmla="*/ 50 w 50"/>
                <a:gd name="T15" fmla="*/ 203 h 205"/>
                <a:gd name="T16" fmla="*/ 50 w 50"/>
                <a:gd name="T17" fmla="*/ 205 h 205"/>
                <a:gd name="T18" fmla="*/ 49 w 50"/>
                <a:gd name="T19" fmla="*/ 203 h 205"/>
                <a:gd name="T20" fmla="*/ 48 w 50"/>
                <a:gd name="T21" fmla="*/ 197 h 205"/>
                <a:gd name="T22" fmla="*/ 44 w 50"/>
                <a:gd name="T23" fmla="*/ 174 h 205"/>
                <a:gd name="T24" fmla="*/ 28 w 50"/>
                <a:gd name="T25" fmla="*/ 102 h 205"/>
                <a:gd name="T26" fmla="*/ 9 w 50"/>
                <a:gd name="T27" fmla="*/ 29 h 205"/>
                <a:gd name="T28" fmla="*/ 3 w 50"/>
                <a:gd name="T29" fmla="*/ 8 h 205"/>
                <a:gd name="T30" fmla="*/ 1 w 50"/>
                <a:gd name="T31" fmla="*/ 2 h 205"/>
                <a:gd name="T32" fmla="*/ 1 w 50"/>
                <a:gd name="T3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205">
                  <a:moveTo>
                    <a:pt x="1" y="0"/>
                  </a:moveTo>
                  <a:cubicBezTo>
                    <a:pt x="1" y="0"/>
                    <a:pt x="1" y="0"/>
                    <a:pt x="1" y="2"/>
                  </a:cubicBezTo>
                  <a:cubicBezTo>
                    <a:pt x="2" y="3"/>
                    <a:pt x="3" y="5"/>
                    <a:pt x="3" y="8"/>
                  </a:cubicBezTo>
                  <a:cubicBezTo>
                    <a:pt x="5" y="13"/>
                    <a:pt x="8" y="20"/>
                    <a:pt x="10" y="29"/>
                  </a:cubicBezTo>
                  <a:cubicBezTo>
                    <a:pt x="16" y="47"/>
                    <a:pt x="23" y="73"/>
                    <a:pt x="30" y="101"/>
                  </a:cubicBezTo>
                  <a:cubicBezTo>
                    <a:pt x="37" y="129"/>
                    <a:pt x="42" y="155"/>
                    <a:pt x="45" y="174"/>
                  </a:cubicBezTo>
                  <a:cubicBezTo>
                    <a:pt x="47" y="183"/>
                    <a:pt x="48" y="191"/>
                    <a:pt x="49" y="196"/>
                  </a:cubicBezTo>
                  <a:cubicBezTo>
                    <a:pt x="49" y="199"/>
                    <a:pt x="50" y="201"/>
                    <a:pt x="50" y="203"/>
                  </a:cubicBezTo>
                  <a:cubicBezTo>
                    <a:pt x="50" y="204"/>
                    <a:pt x="50" y="205"/>
                    <a:pt x="50" y="205"/>
                  </a:cubicBezTo>
                  <a:cubicBezTo>
                    <a:pt x="50" y="205"/>
                    <a:pt x="50" y="204"/>
                    <a:pt x="49" y="203"/>
                  </a:cubicBezTo>
                  <a:cubicBezTo>
                    <a:pt x="49" y="201"/>
                    <a:pt x="49" y="199"/>
                    <a:pt x="48" y="197"/>
                  </a:cubicBezTo>
                  <a:cubicBezTo>
                    <a:pt x="47" y="191"/>
                    <a:pt x="46" y="183"/>
                    <a:pt x="44" y="174"/>
                  </a:cubicBezTo>
                  <a:cubicBezTo>
                    <a:pt x="40" y="156"/>
                    <a:pt x="35" y="130"/>
                    <a:pt x="28" y="102"/>
                  </a:cubicBezTo>
                  <a:cubicBezTo>
                    <a:pt x="21" y="73"/>
                    <a:pt x="14" y="48"/>
                    <a:pt x="9" y="29"/>
                  </a:cubicBezTo>
                  <a:cubicBezTo>
                    <a:pt x="6" y="21"/>
                    <a:pt x="4" y="13"/>
                    <a:pt x="3" y="8"/>
                  </a:cubicBezTo>
                  <a:cubicBezTo>
                    <a:pt x="2" y="5"/>
                    <a:pt x="1" y="3"/>
                    <a:pt x="1" y="2"/>
                  </a:cubicBezTo>
                  <a:cubicBezTo>
                    <a:pt x="1" y="0"/>
                    <a:pt x="0" y="0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8" name="ExtraShape3">
              <a:extLst>
                <a:ext uri="{FF2B5EF4-FFF2-40B4-BE49-F238E27FC236}">
                  <a16:creationId xmlns:a16="http://schemas.microsoft.com/office/drawing/2014/main" id="{C1353B94-EF08-41C6-B0F5-F8B41DDC9D95}"/>
                </a:ext>
              </a:extLst>
            </p:cNvPr>
            <p:cNvSpPr/>
            <p:nvPr/>
          </p:nvSpPr>
          <p:spPr bwMode="auto">
            <a:xfrm>
              <a:off x="4357490" y="3772501"/>
              <a:ext cx="514390" cy="417726"/>
            </a:xfrm>
            <a:custGeom>
              <a:avLst/>
              <a:gdLst>
                <a:gd name="T0" fmla="*/ 0 w 94"/>
                <a:gd name="T1" fmla="*/ 77 h 77"/>
                <a:gd name="T2" fmla="*/ 46 w 94"/>
                <a:gd name="T3" fmla="*/ 38 h 77"/>
                <a:gd name="T4" fmla="*/ 94 w 94"/>
                <a:gd name="T5" fmla="*/ 0 h 77"/>
                <a:gd name="T6" fmla="*/ 47 w 94"/>
                <a:gd name="T7" fmla="*/ 39 h 77"/>
                <a:gd name="T8" fmla="*/ 0 w 94"/>
                <a:gd name="T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77">
                  <a:moveTo>
                    <a:pt x="0" y="77"/>
                  </a:moveTo>
                  <a:cubicBezTo>
                    <a:pt x="0" y="76"/>
                    <a:pt x="20" y="59"/>
                    <a:pt x="46" y="38"/>
                  </a:cubicBezTo>
                  <a:cubicBezTo>
                    <a:pt x="72" y="16"/>
                    <a:pt x="93" y="0"/>
                    <a:pt x="94" y="0"/>
                  </a:cubicBezTo>
                  <a:cubicBezTo>
                    <a:pt x="94" y="1"/>
                    <a:pt x="73" y="18"/>
                    <a:pt x="47" y="39"/>
                  </a:cubicBezTo>
                  <a:cubicBezTo>
                    <a:pt x="22" y="60"/>
                    <a:pt x="0" y="77"/>
                    <a:pt x="0" y="7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39" name="ExtraShape4">
              <a:extLst>
                <a:ext uri="{FF2B5EF4-FFF2-40B4-BE49-F238E27FC236}">
                  <a16:creationId xmlns:a16="http://schemas.microsoft.com/office/drawing/2014/main" id="{054B78E1-A0DE-422F-9C0A-576B64BB51AD}"/>
                </a:ext>
              </a:extLst>
            </p:cNvPr>
            <p:cNvSpPr/>
            <p:nvPr/>
          </p:nvSpPr>
          <p:spPr bwMode="auto">
            <a:xfrm>
              <a:off x="2690044" y="4162608"/>
              <a:ext cx="169162" cy="414273"/>
            </a:xfrm>
            <a:custGeom>
              <a:avLst/>
              <a:gdLst>
                <a:gd name="T0" fmla="*/ 32 w 49"/>
                <a:gd name="T1" fmla="*/ 0 h 120"/>
                <a:gd name="T2" fmla="*/ 0 w 49"/>
                <a:gd name="T3" fmla="*/ 107 h 120"/>
                <a:gd name="T4" fmla="*/ 26 w 49"/>
                <a:gd name="T5" fmla="*/ 120 h 120"/>
                <a:gd name="T6" fmla="*/ 49 w 49"/>
                <a:gd name="T7" fmla="*/ 57 h 120"/>
                <a:gd name="T8" fmla="*/ 32 w 49"/>
                <a:gd name="T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20">
                  <a:moveTo>
                    <a:pt x="32" y="0"/>
                  </a:moveTo>
                  <a:lnTo>
                    <a:pt x="0" y="107"/>
                  </a:lnTo>
                  <a:lnTo>
                    <a:pt x="26" y="120"/>
                  </a:lnTo>
                  <a:lnTo>
                    <a:pt x="49" y="57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0" name="ExtraShape5">
              <a:extLst>
                <a:ext uri="{FF2B5EF4-FFF2-40B4-BE49-F238E27FC236}">
                  <a16:creationId xmlns:a16="http://schemas.microsoft.com/office/drawing/2014/main" id="{32031F6E-FC4C-44C2-8159-A3AD6AAA00E0}"/>
                </a:ext>
              </a:extLst>
            </p:cNvPr>
            <p:cNvSpPr/>
            <p:nvPr/>
          </p:nvSpPr>
          <p:spPr bwMode="auto">
            <a:xfrm>
              <a:off x="2690044" y="4162608"/>
              <a:ext cx="169162" cy="414273"/>
            </a:xfrm>
            <a:custGeom>
              <a:avLst/>
              <a:gdLst>
                <a:gd name="T0" fmla="*/ 32 w 49"/>
                <a:gd name="T1" fmla="*/ 0 h 120"/>
                <a:gd name="T2" fmla="*/ 0 w 49"/>
                <a:gd name="T3" fmla="*/ 107 h 120"/>
                <a:gd name="T4" fmla="*/ 26 w 49"/>
                <a:gd name="T5" fmla="*/ 120 h 120"/>
                <a:gd name="T6" fmla="*/ 49 w 49"/>
                <a:gd name="T7" fmla="*/ 57 h 120"/>
                <a:gd name="T8" fmla="*/ 32 w 49"/>
                <a:gd name="T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20">
                  <a:moveTo>
                    <a:pt x="32" y="0"/>
                  </a:moveTo>
                  <a:lnTo>
                    <a:pt x="0" y="107"/>
                  </a:lnTo>
                  <a:lnTo>
                    <a:pt x="26" y="120"/>
                  </a:lnTo>
                  <a:lnTo>
                    <a:pt x="49" y="57"/>
                  </a:lnTo>
                  <a:lnTo>
                    <a:pt x="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1" name="ExtraShape6">
              <a:extLst>
                <a:ext uri="{FF2B5EF4-FFF2-40B4-BE49-F238E27FC236}">
                  <a16:creationId xmlns:a16="http://schemas.microsoft.com/office/drawing/2014/main" id="{64746616-A0A4-4506-A861-5F3478A4B67D}"/>
                </a:ext>
              </a:extLst>
            </p:cNvPr>
            <p:cNvSpPr/>
            <p:nvPr/>
          </p:nvSpPr>
          <p:spPr bwMode="auto">
            <a:xfrm>
              <a:off x="2800516" y="3772501"/>
              <a:ext cx="144995" cy="586886"/>
            </a:xfrm>
            <a:custGeom>
              <a:avLst/>
              <a:gdLst>
                <a:gd name="T0" fmla="*/ 22 w 27"/>
                <a:gd name="T1" fmla="*/ 0 h 108"/>
                <a:gd name="T2" fmla="*/ 0 w 27"/>
                <a:gd name="T3" fmla="*/ 72 h 108"/>
                <a:gd name="T4" fmla="*/ 11 w 27"/>
                <a:gd name="T5" fmla="*/ 108 h 108"/>
                <a:gd name="T6" fmla="*/ 22 w 27"/>
                <a:gd name="T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08">
                  <a:moveTo>
                    <a:pt x="22" y="0"/>
                  </a:moveTo>
                  <a:cubicBezTo>
                    <a:pt x="0" y="72"/>
                    <a:pt x="0" y="72"/>
                    <a:pt x="0" y="72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1" y="108"/>
                    <a:pt x="27" y="26"/>
                    <a:pt x="22" y="0"/>
                  </a:cubicBezTo>
                </a:path>
              </a:pathLst>
            </a:custGeom>
            <a:solidFill>
              <a:srgbClr val="BA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2" name="ExtraShape7">
              <a:extLst>
                <a:ext uri="{FF2B5EF4-FFF2-40B4-BE49-F238E27FC236}">
                  <a16:creationId xmlns:a16="http://schemas.microsoft.com/office/drawing/2014/main" id="{1E735370-1395-4516-8E70-3BAFF3787F3D}"/>
                </a:ext>
              </a:extLst>
            </p:cNvPr>
            <p:cNvSpPr/>
            <p:nvPr/>
          </p:nvSpPr>
          <p:spPr bwMode="auto">
            <a:xfrm>
              <a:off x="3891434" y="3195972"/>
              <a:ext cx="193327" cy="41427"/>
            </a:xfrm>
            <a:custGeom>
              <a:avLst/>
              <a:gdLst>
                <a:gd name="T0" fmla="*/ 0 w 36"/>
                <a:gd name="T1" fmla="*/ 0 h 8"/>
                <a:gd name="T2" fmla="*/ 0 w 36"/>
                <a:gd name="T3" fmla="*/ 0 h 8"/>
                <a:gd name="T4" fmla="*/ 36 w 36"/>
                <a:gd name="T5" fmla="*/ 8 h 8"/>
                <a:gd name="T6" fmla="*/ 0 w 36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"/>
                    <a:pt x="18" y="3"/>
                    <a:pt x="36" y="8"/>
                  </a:cubicBezTo>
                  <a:cubicBezTo>
                    <a:pt x="28" y="5"/>
                    <a:pt x="8" y="2"/>
                    <a:pt x="0" y="0"/>
                  </a:cubicBezTo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3" name="ExtraShape8">
              <a:extLst>
                <a:ext uri="{FF2B5EF4-FFF2-40B4-BE49-F238E27FC236}">
                  <a16:creationId xmlns:a16="http://schemas.microsoft.com/office/drawing/2014/main" id="{7021B636-5CB5-4BE0-8C4A-07DB92164E78}"/>
                </a:ext>
              </a:extLst>
            </p:cNvPr>
            <p:cNvSpPr/>
            <p:nvPr/>
          </p:nvSpPr>
          <p:spPr bwMode="auto">
            <a:xfrm>
              <a:off x="3863816" y="3195972"/>
              <a:ext cx="27618" cy="0"/>
            </a:xfrm>
            <a:custGeom>
              <a:avLst/>
              <a:gdLst>
                <a:gd name="T0" fmla="*/ 1 w 5"/>
                <a:gd name="T1" fmla="*/ 0 w 5"/>
                <a:gd name="T2" fmla="*/ 3 w 5"/>
                <a:gd name="T3" fmla="*/ 5 w 5"/>
                <a:gd name="T4" fmla="*/ 5 w 5"/>
                <a:gd name="T5" fmla="*/ 1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5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1" y="0"/>
                    <a:pt x="1" y="0"/>
                  </a:cubicBezTo>
                </a:path>
              </a:pathLst>
            </a:custGeom>
            <a:solidFill>
              <a:srgbClr val="CC98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4" name="ExtraShape9">
              <a:extLst>
                <a:ext uri="{FF2B5EF4-FFF2-40B4-BE49-F238E27FC236}">
                  <a16:creationId xmlns:a16="http://schemas.microsoft.com/office/drawing/2014/main" id="{F95D63AA-5949-4272-918C-AA77687EE9BD}"/>
                </a:ext>
              </a:extLst>
            </p:cNvPr>
            <p:cNvSpPr/>
            <p:nvPr/>
          </p:nvSpPr>
          <p:spPr bwMode="auto">
            <a:xfrm>
              <a:off x="3763699" y="3195972"/>
              <a:ext cx="448795" cy="265826"/>
            </a:xfrm>
            <a:custGeom>
              <a:avLst/>
              <a:gdLst>
                <a:gd name="T0" fmla="*/ 18 w 82"/>
                <a:gd name="T1" fmla="*/ 0 h 49"/>
                <a:gd name="T2" fmla="*/ 0 w 82"/>
                <a:gd name="T3" fmla="*/ 49 h 49"/>
                <a:gd name="T4" fmla="*/ 1 w 82"/>
                <a:gd name="T5" fmla="*/ 49 h 49"/>
                <a:gd name="T6" fmla="*/ 60 w 82"/>
                <a:gd name="T7" fmla="*/ 9 h 49"/>
                <a:gd name="T8" fmla="*/ 59 w 82"/>
                <a:gd name="T9" fmla="*/ 8 h 49"/>
                <a:gd name="T10" fmla="*/ 23 w 82"/>
                <a:gd name="T11" fmla="*/ 0 h 49"/>
                <a:gd name="T12" fmla="*/ 21 w 82"/>
                <a:gd name="T13" fmla="*/ 0 h 49"/>
                <a:gd name="T14" fmla="*/ 18 w 82"/>
                <a:gd name="T15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49">
                  <a:moveTo>
                    <a:pt x="18" y="0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1" y="49"/>
                  </a:cubicBezTo>
                  <a:cubicBezTo>
                    <a:pt x="27" y="49"/>
                    <a:pt x="82" y="21"/>
                    <a:pt x="60" y="9"/>
                  </a:cubicBezTo>
                  <a:cubicBezTo>
                    <a:pt x="60" y="9"/>
                    <a:pt x="59" y="8"/>
                    <a:pt x="59" y="8"/>
                  </a:cubicBezTo>
                  <a:cubicBezTo>
                    <a:pt x="41" y="3"/>
                    <a:pt x="27" y="1"/>
                    <a:pt x="23" y="0"/>
                  </a:cubicBezTo>
                  <a:cubicBezTo>
                    <a:pt x="22" y="0"/>
                    <a:pt x="21" y="0"/>
                    <a:pt x="21" y="0"/>
                  </a:cubicBezTo>
                  <a:cubicBezTo>
                    <a:pt x="18" y="0"/>
                    <a:pt x="18" y="0"/>
                    <a:pt x="18" y="0"/>
                  </a:cubicBezTo>
                </a:path>
              </a:pathLst>
            </a:custGeom>
            <a:solidFill>
              <a:srgbClr val="5B8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5" name="ExtraShape1">
              <a:extLst>
                <a:ext uri="{FF2B5EF4-FFF2-40B4-BE49-F238E27FC236}">
                  <a16:creationId xmlns:a16="http://schemas.microsoft.com/office/drawing/2014/main" id="{19EE016B-DB54-41E5-ADF2-532AAE0A886B}"/>
                </a:ext>
              </a:extLst>
            </p:cNvPr>
            <p:cNvSpPr/>
            <p:nvPr/>
          </p:nvSpPr>
          <p:spPr bwMode="auto">
            <a:xfrm>
              <a:off x="3252763" y="2995740"/>
              <a:ext cx="687003" cy="628314"/>
            </a:xfrm>
            <a:custGeom>
              <a:avLst/>
              <a:gdLst>
                <a:gd name="T0" fmla="*/ 0 w 126"/>
                <a:gd name="T1" fmla="*/ 37 h 116"/>
                <a:gd name="T2" fmla="*/ 0 w 126"/>
                <a:gd name="T3" fmla="*/ 0 h 116"/>
                <a:gd name="T4" fmla="*/ 75 w 126"/>
                <a:gd name="T5" fmla="*/ 61 h 116"/>
                <a:gd name="T6" fmla="*/ 121 w 126"/>
                <a:gd name="T7" fmla="*/ 11 h 116"/>
                <a:gd name="T8" fmla="*/ 126 w 126"/>
                <a:gd name="T9" fmla="*/ 78 h 116"/>
                <a:gd name="T10" fmla="*/ 83 w 126"/>
                <a:gd name="T11" fmla="*/ 116 h 116"/>
                <a:gd name="T12" fmla="*/ 40 w 126"/>
                <a:gd name="T13" fmla="*/ 116 h 116"/>
                <a:gd name="T14" fmla="*/ 5 w 126"/>
                <a:gd name="T15" fmla="*/ 86 h 116"/>
                <a:gd name="T16" fmla="*/ 0 w 126"/>
                <a:gd name="T17" fmla="*/ 4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116">
                  <a:moveTo>
                    <a:pt x="0" y="3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2" y="18"/>
                    <a:pt x="75" y="61"/>
                  </a:cubicBezTo>
                  <a:cubicBezTo>
                    <a:pt x="75" y="61"/>
                    <a:pt x="84" y="14"/>
                    <a:pt x="121" y="11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83" y="116"/>
                    <a:pt x="83" y="116"/>
                    <a:pt x="83" y="11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0" y="40"/>
                    <a:pt x="0" y="40"/>
                    <a:pt x="0" y="40"/>
                  </a:cubicBezTo>
                </a:path>
              </a:pathLst>
            </a:custGeom>
            <a:solidFill>
              <a:srgbClr val="93B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6" name="ExtraShape2">
              <a:extLst>
                <a:ext uri="{FF2B5EF4-FFF2-40B4-BE49-F238E27FC236}">
                  <a16:creationId xmlns:a16="http://schemas.microsoft.com/office/drawing/2014/main" id="{16ADC6A1-4961-4F2D-ADE1-D7CB4E3A56CE}"/>
                </a:ext>
              </a:extLst>
            </p:cNvPr>
            <p:cNvSpPr/>
            <p:nvPr/>
          </p:nvSpPr>
          <p:spPr bwMode="auto">
            <a:xfrm>
              <a:off x="3660131" y="3365132"/>
              <a:ext cx="100117" cy="1087467"/>
            </a:xfrm>
            <a:custGeom>
              <a:avLst/>
              <a:gdLst>
                <a:gd name="T0" fmla="*/ 16 w 18"/>
                <a:gd name="T1" fmla="*/ 200 h 200"/>
                <a:gd name="T2" fmla="*/ 16 w 18"/>
                <a:gd name="T3" fmla="*/ 198 h 200"/>
                <a:gd name="T4" fmla="*/ 16 w 18"/>
                <a:gd name="T5" fmla="*/ 192 h 200"/>
                <a:gd name="T6" fmla="*/ 16 w 18"/>
                <a:gd name="T7" fmla="*/ 170 h 200"/>
                <a:gd name="T8" fmla="*/ 14 w 18"/>
                <a:gd name="T9" fmla="*/ 99 h 200"/>
                <a:gd name="T10" fmla="*/ 5 w 18"/>
                <a:gd name="T11" fmla="*/ 29 h 200"/>
                <a:gd name="T12" fmla="*/ 1 w 18"/>
                <a:gd name="T13" fmla="*/ 8 h 200"/>
                <a:gd name="T14" fmla="*/ 0 w 18"/>
                <a:gd name="T15" fmla="*/ 2 h 200"/>
                <a:gd name="T16" fmla="*/ 0 w 18"/>
                <a:gd name="T17" fmla="*/ 0 h 200"/>
                <a:gd name="T18" fmla="*/ 0 w 18"/>
                <a:gd name="T19" fmla="*/ 2 h 200"/>
                <a:gd name="T20" fmla="*/ 2 w 18"/>
                <a:gd name="T21" fmla="*/ 7 h 200"/>
                <a:gd name="T22" fmla="*/ 6 w 18"/>
                <a:gd name="T23" fmla="*/ 29 h 200"/>
                <a:gd name="T24" fmla="*/ 16 w 18"/>
                <a:gd name="T25" fmla="*/ 99 h 200"/>
                <a:gd name="T26" fmla="*/ 18 w 18"/>
                <a:gd name="T27" fmla="*/ 170 h 200"/>
                <a:gd name="T28" fmla="*/ 17 w 18"/>
                <a:gd name="T29" fmla="*/ 192 h 200"/>
                <a:gd name="T30" fmla="*/ 17 w 18"/>
                <a:gd name="T31" fmla="*/ 198 h 200"/>
                <a:gd name="T32" fmla="*/ 16 w 18"/>
                <a:gd name="T33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" h="200">
                  <a:moveTo>
                    <a:pt x="16" y="200"/>
                  </a:moveTo>
                  <a:cubicBezTo>
                    <a:pt x="16" y="200"/>
                    <a:pt x="16" y="199"/>
                    <a:pt x="16" y="198"/>
                  </a:cubicBezTo>
                  <a:cubicBezTo>
                    <a:pt x="16" y="196"/>
                    <a:pt x="16" y="194"/>
                    <a:pt x="16" y="192"/>
                  </a:cubicBezTo>
                  <a:cubicBezTo>
                    <a:pt x="16" y="187"/>
                    <a:pt x="16" y="179"/>
                    <a:pt x="16" y="170"/>
                  </a:cubicBezTo>
                  <a:cubicBezTo>
                    <a:pt x="17" y="152"/>
                    <a:pt x="16" y="127"/>
                    <a:pt x="14" y="99"/>
                  </a:cubicBezTo>
                  <a:cubicBezTo>
                    <a:pt x="11" y="72"/>
                    <a:pt x="8" y="47"/>
                    <a:pt x="5" y="29"/>
                  </a:cubicBezTo>
                  <a:cubicBezTo>
                    <a:pt x="3" y="20"/>
                    <a:pt x="2" y="13"/>
                    <a:pt x="1" y="8"/>
                  </a:cubicBezTo>
                  <a:cubicBezTo>
                    <a:pt x="0" y="5"/>
                    <a:pt x="0" y="3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2"/>
                  </a:cubicBezTo>
                  <a:cubicBezTo>
                    <a:pt x="1" y="3"/>
                    <a:pt x="1" y="5"/>
                    <a:pt x="2" y="7"/>
                  </a:cubicBezTo>
                  <a:cubicBezTo>
                    <a:pt x="3" y="12"/>
                    <a:pt x="4" y="20"/>
                    <a:pt x="6" y="29"/>
                  </a:cubicBezTo>
                  <a:cubicBezTo>
                    <a:pt x="10" y="46"/>
                    <a:pt x="13" y="71"/>
                    <a:pt x="16" y="99"/>
                  </a:cubicBezTo>
                  <a:cubicBezTo>
                    <a:pt x="18" y="127"/>
                    <a:pt x="18" y="152"/>
                    <a:pt x="18" y="170"/>
                  </a:cubicBezTo>
                  <a:cubicBezTo>
                    <a:pt x="18" y="180"/>
                    <a:pt x="17" y="187"/>
                    <a:pt x="17" y="192"/>
                  </a:cubicBezTo>
                  <a:cubicBezTo>
                    <a:pt x="17" y="194"/>
                    <a:pt x="17" y="196"/>
                    <a:pt x="17" y="198"/>
                  </a:cubicBezTo>
                  <a:cubicBezTo>
                    <a:pt x="16" y="199"/>
                    <a:pt x="16" y="200"/>
                    <a:pt x="16" y="20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7" name="ExtraShape3">
              <a:extLst>
                <a:ext uri="{FF2B5EF4-FFF2-40B4-BE49-F238E27FC236}">
                  <a16:creationId xmlns:a16="http://schemas.microsoft.com/office/drawing/2014/main" id="{185E1104-7764-44D7-8E99-B9621AABC537}"/>
                </a:ext>
              </a:extLst>
            </p:cNvPr>
            <p:cNvSpPr/>
            <p:nvPr/>
          </p:nvSpPr>
          <p:spPr bwMode="auto">
            <a:xfrm>
              <a:off x="3242407" y="3157996"/>
              <a:ext cx="400464" cy="379750"/>
            </a:xfrm>
            <a:custGeom>
              <a:avLst/>
              <a:gdLst>
                <a:gd name="T0" fmla="*/ 74 w 74"/>
                <a:gd name="T1" fmla="*/ 19 h 70"/>
                <a:gd name="T2" fmla="*/ 69 w 74"/>
                <a:gd name="T3" fmla="*/ 19 h 70"/>
                <a:gd name="T4" fmla="*/ 65 w 74"/>
                <a:gd name="T5" fmla="*/ 22 h 70"/>
                <a:gd name="T6" fmla="*/ 62 w 74"/>
                <a:gd name="T7" fmla="*/ 28 h 70"/>
                <a:gd name="T8" fmla="*/ 48 w 74"/>
                <a:gd name="T9" fmla="*/ 68 h 70"/>
                <a:gd name="T10" fmla="*/ 48 w 74"/>
                <a:gd name="T11" fmla="*/ 70 h 70"/>
                <a:gd name="T12" fmla="*/ 47 w 74"/>
                <a:gd name="T13" fmla="*/ 69 h 70"/>
                <a:gd name="T14" fmla="*/ 34 w 74"/>
                <a:gd name="T15" fmla="*/ 60 h 70"/>
                <a:gd name="T16" fmla="*/ 10 w 74"/>
                <a:gd name="T17" fmla="*/ 43 h 70"/>
                <a:gd name="T18" fmla="*/ 2 w 74"/>
                <a:gd name="T19" fmla="*/ 32 h 70"/>
                <a:gd name="T20" fmla="*/ 0 w 74"/>
                <a:gd name="T21" fmla="*/ 21 h 70"/>
                <a:gd name="T22" fmla="*/ 1 w 74"/>
                <a:gd name="T23" fmla="*/ 5 h 70"/>
                <a:gd name="T24" fmla="*/ 3 w 74"/>
                <a:gd name="T25" fmla="*/ 0 h 70"/>
                <a:gd name="T26" fmla="*/ 2 w 74"/>
                <a:gd name="T27" fmla="*/ 5 h 70"/>
                <a:gd name="T28" fmla="*/ 1 w 74"/>
                <a:gd name="T29" fmla="*/ 21 h 70"/>
                <a:gd name="T30" fmla="*/ 4 w 74"/>
                <a:gd name="T31" fmla="*/ 32 h 70"/>
                <a:gd name="T32" fmla="*/ 12 w 74"/>
                <a:gd name="T33" fmla="*/ 41 h 70"/>
                <a:gd name="T34" fmla="*/ 35 w 74"/>
                <a:gd name="T35" fmla="*/ 59 h 70"/>
                <a:gd name="T36" fmla="*/ 48 w 74"/>
                <a:gd name="T37" fmla="*/ 67 h 70"/>
                <a:gd name="T38" fmla="*/ 46 w 74"/>
                <a:gd name="T39" fmla="*/ 68 h 70"/>
                <a:gd name="T40" fmla="*/ 61 w 74"/>
                <a:gd name="T41" fmla="*/ 28 h 70"/>
                <a:gd name="T42" fmla="*/ 65 w 74"/>
                <a:gd name="T43" fmla="*/ 22 h 70"/>
                <a:gd name="T44" fmla="*/ 69 w 74"/>
                <a:gd name="T45" fmla="*/ 19 h 70"/>
                <a:gd name="T46" fmla="*/ 74 w 74"/>
                <a:gd name="T47" fmla="*/ 1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4" h="70">
                  <a:moveTo>
                    <a:pt x="74" y="19"/>
                  </a:moveTo>
                  <a:cubicBezTo>
                    <a:pt x="74" y="19"/>
                    <a:pt x="72" y="18"/>
                    <a:pt x="69" y="19"/>
                  </a:cubicBezTo>
                  <a:cubicBezTo>
                    <a:pt x="68" y="20"/>
                    <a:pt x="67" y="21"/>
                    <a:pt x="65" y="22"/>
                  </a:cubicBezTo>
                  <a:cubicBezTo>
                    <a:pt x="64" y="24"/>
                    <a:pt x="63" y="26"/>
                    <a:pt x="62" y="28"/>
                  </a:cubicBezTo>
                  <a:cubicBezTo>
                    <a:pt x="58" y="38"/>
                    <a:pt x="52" y="52"/>
                    <a:pt x="48" y="68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2" y="66"/>
                    <a:pt x="38" y="63"/>
                    <a:pt x="34" y="60"/>
                  </a:cubicBezTo>
                  <a:cubicBezTo>
                    <a:pt x="25" y="55"/>
                    <a:pt x="17" y="49"/>
                    <a:pt x="10" y="43"/>
                  </a:cubicBezTo>
                  <a:cubicBezTo>
                    <a:pt x="7" y="40"/>
                    <a:pt x="4" y="36"/>
                    <a:pt x="2" y="32"/>
                  </a:cubicBezTo>
                  <a:cubicBezTo>
                    <a:pt x="1" y="29"/>
                    <a:pt x="0" y="25"/>
                    <a:pt x="0" y="21"/>
                  </a:cubicBezTo>
                  <a:cubicBezTo>
                    <a:pt x="0" y="14"/>
                    <a:pt x="1" y="9"/>
                    <a:pt x="1" y="5"/>
                  </a:cubicBezTo>
                  <a:cubicBezTo>
                    <a:pt x="2" y="2"/>
                    <a:pt x="3" y="0"/>
                    <a:pt x="3" y="0"/>
                  </a:cubicBezTo>
                  <a:cubicBezTo>
                    <a:pt x="3" y="0"/>
                    <a:pt x="3" y="2"/>
                    <a:pt x="2" y="5"/>
                  </a:cubicBezTo>
                  <a:cubicBezTo>
                    <a:pt x="2" y="9"/>
                    <a:pt x="1" y="15"/>
                    <a:pt x="1" y="21"/>
                  </a:cubicBezTo>
                  <a:cubicBezTo>
                    <a:pt x="2" y="25"/>
                    <a:pt x="2" y="28"/>
                    <a:pt x="4" y="32"/>
                  </a:cubicBezTo>
                  <a:cubicBezTo>
                    <a:pt x="6" y="35"/>
                    <a:pt x="8" y="38"/>
                    <a:pt x="12" y="41"/>
                  </a:cubicBezTo>
                  <a:cubicBezTo>
                    <a:pt x="18" y="47"/>
                    <a:pt x="26" y="53"/>
                    <a:pt x="35" y="59"/>
                  </a:cubicBezTo>
                  <a:cubicBezTo>
                    <a:pt x="39" y="62"/>
                    <a:pt x="44" y="65"/>
                    <a:pt x="48" y="67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50" y="51"/>
                    <a:pt x="56" y="37"/>
                    <a:pt x="61" y="28"/>
                  </a:cubicBezTo>
                  <a:cubicBezTo>
                    <a:pt x="62" y="25"/>
                    <a:pt x="63" y="23"/>
                    <a:pt x="65" y="22"/>
                  </a:cubicBezTo>
                  <a:cubicBezTo>
                    <a:pt x="66" y="20"/>
                    <a:pt x="68" y="19"/>
                    <a:pt x="69" y="19"/>
                  </a:cubicBezTo>
                  <a:cubicBezTo>
                    <a:pt x="72" y="18"/>
                    <a:pt x="74" y="19"/>
                    <a:pt x="74" y="1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8" name="ExtraShape4">
              <a:extLst>
                <a:ext uri="{FF2B5EF4-FFF2-40B4-BE49-F238E27FC236}">
                  <a16:creationId xmlns:a16="http://schemas.microsoft.com/office/drawing/2014/main" id="{FEB8F856-BB8E-4DB8-8E80-4F1D4D1CD55B}"/>
                </a:ext>
              </a:extLst>
            </p:cNvPr>
            <p:cNvSpPr/>
            <p:nvPr/>
          </p:nvSpPr>
          <p:spPr bwMode="auto">
            <a:xfrm>
              <a:off x="3687749" y="3054428"/>
              <a:ext cx="262373" cy="462604"/>
            </a:xfrm>
            <a:custGeom>
              <a:avLst/>
              <a:gdLst>
                <a:gd name="T0" fmla="*/ 41 w 48"/>
                <a:gd name="T1" fmla="*/ 0 h 85"/>
                <a:gd name="T2" fmla="*/ 42 w 48"/>
                <a:gd name="T3" fmla="*/ 6 h 85"/>
                <a:gd name="T4" fmla="*/ 43 w 48"/>
                <a:gd name="T5" fmla="*/ 22 h 85"/>
                <a:gd name="T6" fmla="*/ 46 w 48"/>
                <a:gd name="T7" fmla="*/ 45 h 85"/>
                <a:gd name="T8" fmla="*/ 46 w 48"/>
                <a:gd name="T9" fmla="*/ 59 h 85"/>
                <a:gd name="T10" fmla="*/ 37 w 48"/>
                <a:gd name="T11" fmla="*/ 71 h 85"/>
                <a:gd name="T12" fmla="*/ 21 w 48"/>
                <a:gd name="T13" fmla="*/ 83 h 85"/>
                <a:gd name="T14" fmla="*/ 20 w 48"/>
                <a:gd name="T15" fmla="*/ 85 h 85"/>
                <a:gd name="T16" fmla="*/ 19 w 48"/>
                <a:gd name="T17" fmla="*/ 82 h 85"/>
                <a:gd name="T18" fmla="*/ 9 w 48"/>
                <a:gd name="T19" fmla="*/ 47 h 85"/>
                <a:gd name="T20" fmla="*/ 1 w 48"/>
                <a:gd name="T21" fmla="*/ 34 h 85"/>
                <a:gd name="T22" fmla="*/ 3 w 48"/>
                <a:gd name="T23" fmla="*/ 37 h 85"/>
                <a:gd name="T24" fmla="*/ 10 w 48"/>
                <a:gd name="T25" fmla="*/ 46 h 85"/>
                <a:gd name="T26" fmla="*/ 21 w 48"/>
                <a:gd name="T27" fmla="*/ 82 h 85"/>
                <a:gd name="T28" fmla="*/ 20 w 48"/>
                <a:gd name="T29" fmla="*/ 82 h 85"/>
                <a:gd name="T30" fmla="*/ 36 w 48"/>
                <a:gd name="T31" fmla="*/ 69 h 85"/>
                <a:gd name="T32" fmla="*/ 44 w 48"/>
                <a:gd name="T33" fmla="*/ 59 h 85"/>
                <a:gd name="T34" fmla="*/ 44 w 48"/>
                <a:gd name="T35" fmla="*/ 45 h 85"/>
                <a:gd name="T36" fmla="*/ 41 w 48"/>
                <a:gd name="T37" fmla="*/ 22 h 85"/>
                <a:gd name="T38" fmla="*/ 41 w 48"/>
                <a:gd name="T39" fmla="*/ 6 h 85"/>
                <a:gd name="T40" fmla="*/ 41 w 48"/>
                <a:gd name="T41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85">
                  <a:moveTo>
                    <a:pt x="41" y="0"/>
                  </a:moveTo>
                  <a:cubicBezTo>
                    <a:pt x="41" y="0"/>
                    <a:pt x="42" y="2"/>
                    <a:pt x="42" y="6"/>
                  </a:cubicBezTo>
                  <a:cubicBezTo>
                    <a:pt x="42" y="10"/>
                    <a:pt x="42" y="16"/>
                    <a:pt x="43" y="22"/>
                  </a:cubicBezTo>
                  <a:cubicBezTo>
                    <a:pt x="43" y="28"/>
                    <a:pt x="44" y="36"/>
                    <a:pt x="46" y="45"/>
                  </a:cubicBezTo>
                  <a:cubicBezTo>
                    <a:pt x="46" y="49"/>
                    <a:pt x="48" y="54"/>
                    <a:pt x="46" y="59"/>
                  </a:cubicBezTo>
                  <a:cubicBezTo>
                    <a:pt x="45" y="64"/>
                    <a:pt x="41" y="68"/>
                    <a:pt x="37" y="71"/>
                  </a:cubicBezTo>
                  <a:cubicBezTo>
                    <a:pt x="31" y="75"/>
                    <a:pt x="25" y="78"/>
                    <a:pt x="21" y="83"/>
                  </a:cubicBezTo>
                  <a:cubicBezTo>
                    <a:pt x="20" y="85"/>
                    <a:pt x="20" y="85"/>
                    <a:pt x="20" y="85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8" y="67"/>
                    <a:pt x="13" y="55"/>
                    <a:pt x="9" y="47"/>
                  </a:cubicBezTo>
                  <a:cubicBezTo>
                    <a:pt x="4" y="38"/>
                    <a:pt x="0" y="34"/>
                    <a:pt x="1" y="34"/>
                  </a:cubicBezTo>
                  <a:cubicBezTo>
                    <a:pt x="1" y="34"/>
                    <a:pt x="2" y="35"/>
                    <a:pt x="3" y="37"/>
                  </a:cubicBezTo>
                  <a:cubicBezTo>
                    <a:pt x="5" y="39"/>
                    <a:pt x="7" y="42"/>
                    <a:pt x="10" y="46"/>
                  </a:cubicBezTo>
                  <a:cubicBezTo>
                    <a:pt x="15" y="54"/>
                    <a:pt x="20" y="67"/>
                    <a:pt x="21" y="82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24" y="77"/>
                    <a:pt x="30" y="73"/>
                    <a:pt x="36" y="69"/>
                  </a:cubicBezTo>
                  <a:cubicBezTo>
                    <a:pt x="40" y="66"/>
                    <a:pt x="43" y="63"/>
                    <a:pt x="44" y="59"/>
                  </a:cubicBezTo>
                  <a:cubicBezTo>
                    <a:pt x="45" y="54"/>
                    <a:pt x="44" y="50"/>
                    <a:pt x="44" y="45"/>
                  </a:cubicBezTo>
                  <a:cubicBezTo>
                    <a:pt x="42" y="37"/>
                    <a:pt x="42" y="29"/>
                    <a:pt x="41" y="22"/>
                  </a:cubicBezTo>
                  <a:cubicBezTo>
                    <a:pt x="41" y="15"/>
                    <a:pt x="41" y="10"/>
                    <a:pt x="41" y="6"/>
                  </a:cubicBezTo>
                  <a:cubicBezTo>
                    <a:pt x="41" y="2"/>
                    <a:pt x="41" y="0"/>
                    <a:pt x="4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9" name="ExtraShape5">
              <a:extLst>
                <a:ext uri="{FF2B5EF4-FFF2-40B4-BE49-F238E27FC236}">
                  <a16:creationId xmlns:a16="http://schemas.microsoft.com/office/drawing/2014/main" id="{BA96DBB5-2E70-4147-BA7C-60DB582405AC}"/>
                </a:ext>
              </a:extLst>
            </p:cNvPr>
            <p:cNvSpPr/>
            <p:nvPr/>
          </p:nvSpPr>
          <p:spPr bwMode="auto">
            <a:xfrm>
              <a:off x="4581889" y="3109664"/>
              <a:ext cx="676645" cy="831999"/>
            </a:xfrm>
            <a:custGeom>
              <a:avLst/>
              <a:gdLst>
                <a:gd name="T0" fmla="*/ 109 w 124"/>
                <a:gd name="T1" fmla="*/ 0 h 153"/>
                <a:gd name="T2" fmla="*/ 0 w 124"/>
                <a:gd name="T3" fmla="*/ 145 h 153"/>
                <a:gd name="T4" fmla="*/ 15 w 124"/>
                <a:gd name="T5" fmla="*/ 153 h 153"/>
                <a:gd name="T6" fmla="*/ 124 w 124"/>
                <a:gd name="T7" fmla="*/ 13 h 153"/>
                <a:gd name="T8" fmla="*/ 109 w 124"/>
                <a:gd name="T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53">
                  <a:moveTo>
                    <a:pt x="109" y="0"/>
                  </a:moveTo>
                  <a:cubicBezTo>
                    <a:pt x="106" y="3"/>
                    <a:pt x="0" y="145"/>
                    <a:pt x="0" y="145"/>
                  </a:cubicBezTo>
                  <a:cubicBezTo>
                    <a:pt x="15" y="153"/>
                    <a:pt x="15" y="153"/>
                    <a:pt x="15" y="153"/>
                  </a:cubicBezTo>
                  <a:cubicBezTo>
                    <a:pt x="124" y="13"/>
                    <a:pt x="124" y="13"/>
                    <a:pt x="124" y="13"/>
                  </a:cubicBezTo>
                  <a:lnTo>
                    <a:pt x="109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0" name="ExtraShape6">
              <a:extLst>
                <a:ext uri="{FF2B5EF4-FFF2-40B4-BE49-F238E27FC236}">
                  <a16:creationId xmlns:a16="http://schemas.microsoft.com/office/drawing/2014/main" id="{333C0C1C-6F0E-4AA7-AEB3-FAEBB1F931ED}"/>
                </a:ext>
              </a:extLst>
            </p:cNvPr>
            <p:cNvSpPr/>
            <p:nvPr/>
          </p:nvSpPr>
          <p:spPr bwMode="auto">
            <a:xfrm>
              <a:off x="2482907" y="3444536"/>
              <a:ext cx="2596109" cy="1905654"/>
            </a:xfrm>
            <a:custGeom>
              <a:avLst/>
              <a:gdLst>
                <a:gd name="T0" fmla="*/ 68 w 476"/>
                <a:gd name="T1" fmla="*/ 50 h 350"/>
                <a:gd name="T2" fmla="*/ 186 w 476"/>
                <a:gd name="T3" fmla="*/ 213 h 350"/>
                <a:gd name="T4" fmla="*/ 367 w 476"/>
                <a:gd name="T5" fmla="*/ 75 h 350"/>
                <a:gd name="T6" fmla="*/ 381 w 476"/>
                <a:gd name="T7" fmla="*/ 56 h 350"/>
                <a:gd name="T8" fmla="*/ 406 w 476"/>
                <a:gd name="T9" fmla="*/ 5 h 350"/>
                <a:gd name="T10" fmla="*/ 407 w 476"/>
                <a:gd name="T11" fmla="*/ 54 h 350"/>
                <a:gd name="T12" fmla="*/ 455 w 476"/>
                <a:gd name="T13" fmla="*/ 20 h 350"/>
                <a:gd name="T14" fmla="*/ 465 w 476"/>
                <a:gd name="T15" fmla="*/ 7 h 350"/>
                <a:gd name="T16" fmla="*/ 475 w 476"/>
                <a:gd name="T17" fmla="*/ 49 h 350"/>
                <a:gd name="T18" fmla="*/ 435 w 476"/>
                <a:gd name="T19" fmla="*/ 135 h 350"/>
                <a:gd name="T20" fmla="*/ 154 w 476"/>
                <a:gd name="T21" fmla="*/ 348 h 350"/>
                <a:gd name="T22" fmla="*/ 24 w 476"/>
                <a:gd name="T23" fmla="*/ 186 h 350"/>
                <a:gd name="T24" fmla="*/ 51 w 476"/>
                <a:gd name="T25" fmla="*/ 62 h 350"/>
                <a:gd name="T26" fmla="*/ 68 w 476"/>
                <a:gd name="T27" fmla="*/ 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6" h="350">
                  <a:moveTo>
                    <a:pt x="68" y="50"/>
                  </a:moveTo>
                  <a:cubicBezTo>
                    <a:pt x="68" y="50"/>
                    <a:pt x="180" y="210"/>
                    <a:pt x="186" y="213"/>
                  </a:cubicBezTo>
                  <a:cubicBezTo>
                    <a:pt x="200" y="219"/>
                    <a:pt x="352" y="88"/>
                    <a:pt x="367" y="75"/>
                  </a:cubicBezTo>
                  <a:cubicBezTo>
                    <a:pt x="369" y="72"/>
                    <a:pt x="373" y="67"/>
                    <a:pt x="381" y="56"/>
                  </a:cubicBezTo>
                  <a:cubicBezTo>
                    <a:pt x="381" y="56"/>
                    <a:pt x="393" y="0"/>
                    <a:pt x="406" y="5"/>
                  </a:cubicBezTo>
                  <a:cubicBezTo>
                    <a:pt x="419" y="9"/>
                    <a:pt x="399" y="33"/>
                    <a:pt x="407" y="54"/>
                  </a:cubicBezTo>
                  <a:cubicBezTo>
                    <a:pt x="416" y="75"/>
                    <a:pt x="454" y="25"/>
                    <a:pt x="455" y="20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5" y="7"/>
                    <a:pt x="476" y="37"/>
                    <a:pt x="475" y="49"/>
                  </a:cubicBezTo>
                  <a:cubicBezTo>
                    <a:pt x="473" y="88"/>
                    <a:pt x="435" y="135"/>
                    <a:pt x="435" y="135"/>
                  </a:cubicBezTo>
                  <a:cubicBezTo>
                    <a:pt x="435" y="135"/>
                    <a:pt x="269" y="342"/>
                    <a:pt x="154" y="348"/>
                  </a:cubicBezTo>
                  <a:cubicBezTo>
                    <a:pt x="121" y="350"/>
                    <a:pt x="63" y="256"/>
                    <a:pt x="24" y="186"/>
                  </a:cubicBezTo>
                  <a:cubicBezTo>
                    <a:pt x="0" y="144"/>
                    <a:pt x="12" y="91"/>
                    <a:pt x="51" y="62"/>
                  </a:cubicBezTo>
                  <a:lnTo>
                    <a:pt x="68" y="5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1" name="ExtraShape7">
              <a:extLst>
                <a:ext uri="{FF2B5EF4-FFF2-40B4-BE49-F238E27FC236}">
                  <a16:creationId xmlns:a16="http://schemas.microsoft.com/office/drawing/2014/main" id="{1ADBCEE5-9F0F-4475-ADA2-BA14A9ACCDB2}"/>
                </a:ext>
              </a:extLst>
            </p:cNvPr>
            <p:cNvSpPr/>
            <p:nvPr/>
          </p:nvSpPr>
          <p:spPr bwMode="auto">
            <a:xfrm>
              <a:off x="4968543" y="3592982"/>
              <a:ext cx="82855" cy="155353"/>
            </a:xfrm>
            <a:custGeom>
              <a:avLst/>
              <a:gdLst>
                <a:gd name="T0" fmla="*/ 0 w 15"/>
                <a:gd name="T1" fmla="*/ 29 h 29"/>
                <a:gd name="T2" fmla="*/ 7 w 15"/>
                <a:gd name="T3" fmla="*/ 14 h 29"/>
                <a:gd name="T4" fmla="*/ 15 w 15"/>
                <a:gd name="T5" fmla="*/ 0 h 29"/>
                <a:gd name="T6" fmla="*/ 9 w 15"/>
                <a:gd name="T7" fmla="*/ 15 h 29"/>
                <a:gd name="T8" fmla="*/ 0 w 1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9">
                  <a:moveTo>
                    <a:pt x="0" y="29"/>
                  </a:moveTo>
                  <a:cubicBezTo>
                    <a:pt x="0" y="29"/>
                    <a:pt x="3" y="22"/>
                    <a:pt x="7" y="14"/>
                  </a:cubicBezTo>
                  <a:cubicBezTo>
                    <a:pt x="11" y="6"/>
                    <a:pt x="14" y="0"/>
                    <a:pt x="15" y="0"/>
                  </a:cubicBezTo>
                  <a:cubicBezTo>
                    <a:pt x="15" y="0"/>
                    <a:pt x="13" y="7"/>
                    <a:pt x="9" y="15"/>
                  </a:cubicBezTo>
                  <a:cubicBezTo>
                    <a:pt x="5" y="23"/>
                    <a:pt x="0" y="29"/>
                    <a:pt x="0" y="29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2" name="ExtraShape8">
              <a:extLst>
                <a:ext uri="{FF2B5EF4-FFF2-40B4-BE49-F238E27FC236}">
                  <a16:creationId xmlns:a16="http://schemas.microsoft.com/office/drawing/2014/main" id="{0D120C60-5684-44A2-BA46-F76696E60F9A}"/>
                </a:ext>
              </a:extLst>
            </p:cNvPr>
            <p:cNvSpPr/>
            <p:nvPr/>
          </p:nvSpPr>
          <p:spPr bwMode="auto">
            <a:xfrm>
              <a:off x="2103157" y="3289182"/>
              <a:ext cx="1235913" cy="1325673"/>
            </a:xfrm>
            <a:custGeom>
              <a:avLst/>
              <a:gdLst>
                <a:gd name="T0" fmla="*/ 119 w 227"/>
                <a:gd name="T1" fmla="*/ 0 h 244"/>
                <a:gd name="T2" fmla="*/ 89 w 227"/>
                <a:gd name="T3" fmla="*/ 244 h 244"/>
                <a:gd name="T4" fmla="*/ 227 w 227"/>
                <a:gd name="T5" fmla="*/ 161 h 244"/>
                <a:gd name="T6" fmla="*/ 207 w 227"/>
                <a:gd name="T7" fmla="*/ 114 h 244"/>
                <a:gd name="T8" fmla="*/ 119 w 227"/>
                <a:gd name="T9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244">
                  <a:moveTo>
                    <a:pt x="119" y="0"/>
                  </a:moveTo>
                  <a:cubicBezTo>
                    <a:pt x="119" y="0"/>
                    <a:pt x="0" y="43"/>
                    <a:pt x="89" y="244"/>
                  </a:cubicBezTo>
                  <a:cubicBezTo>
                    <a:pt x="227" y="161"/>
                    <a:pt x="227" y="161"/>
                    <a:pt x="227" y="161"/>
                  </a:cubicBezTo>
                  <a:cubicBezTo>
                    <a:pt x="207" y="114"/>
                    <a:pt x="207" y="114"/>
                    <a:pt x="207" y="114"/>
                  </a:cubicBezTo>
                  <a:lnTo>
                    <a:pt x="119" y="0"/>
                  </a:lnTo>
                  <a:close/>
                </a:path>
              </a:pathLst>
            </a:custGeom>
            <a:solidFill>
              <a:srgbClr val="93B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3" name="ExtraShape9">
              <a:extLst>
                <a:ext uri="{FF2B5EF4-FFF2-40B4-BE49-F238E27FC236}">
                  <a16:creationId xmlns:a16="http://schemas.microsoft.com/office/drawing/2014/main" id="{721E280C-CA22-4A3F-BF93-94F93EB01D8F}"/>
                </a:ext>
              </a:extLst>
            </p:cNvPr>
            <p:cNvSpPr/>
            <p:nvPr/>
          </p:nvSpPr>
          <p:spPr bwMode="auto">
            <a:xfrm>
              <a:off x="2586475" y="3309896"/>
              <a:ext cx="759500" cy="1304959"/>
            </a:xfrm>
            <a:custGeom>
              <a:avLst/>
              <a:gdLst>
                <a:gd name="T0" fmla="*/ 21 w 139"/>
                <a:gd name="T1" fmla="*/ 0 h 240"/>
                <a:gd name="T2" fmla="*/ 22 w 139"/>
                <a:gd name="T3" fmla="*/ 0 h 240"/>
                <a:gd name="T4" fmla="*/ 25 w 139"/>
                <a:gd name="T5" fmla="*/ 0 h 240"/>
                <a:gd name="T6" fmla="*/ 36 w 139"/>
                <a:gd name="T7" fmla="*/ 1 h 240"/>
                <a:gd name="T8" fmla="*/ 51 w 139"/>
                <a:gd name="T9" fmla="*/ 8 h 240"/>
                <a:gd name="T10" fmla="*/ 69 w 139"/>
                <a:gd name="T11" fmla="*/ 22 h 240"/>
                <a:gd name="T12" fmla="*/ 101 w 139"/>
                <a:gd name="T13" fmla="*/ 71 h 240"/>
                <a:gd name="T14" fmla="*/ 130 w 139"/>
                <a:gd name="T15" fmla="*/ 136 h 240"/>
                <a:gd name="T16" fmla="*/ 139 w 139"/>
                <a:gd name="T17" fmla="*/ 156 h 240"/>
                <a:gd name="T18" fmla="*/ 139 w 139"/>
                <a:gd name="T19" fmla="*/ 157 h 240"/>
                <a:gd name="T20" fmla="*/ 138 w 139"/>
                <a:gd name="T21" fmla="*/ 158 h 240"/>
                <a:gd name="T22" fmla="*/ 39 w 139"/>
                <a:gd name="T23" fmla="*/ 215 h 240"/>
                <a:gd name="T24" fmla="*/ 10 w 139"/>
                <a:gd name="T25" fmla="*/ 233 h 240"/>
                <a:gd name="T26" fmla="*/ 2 w 139"/>
                <a:gd name="T27" fmla="*/ 238 h 240"/>
                <a:gd name="T28" fmla="*/ 0 w 139"/>
                <a:gd name="T29" fmla="*/ 240 h 240"/>
                <a:gd name="T30" fmla="*/ 2 w 139"/>
                <a:gd name="T31" fmla="*/ 238 h 240"/>
                <a:gd name="T32" fmla="*/ 10 w 139"/>
                <a:gd name="T33" fmla="*/ 233 h 240"/>
                <a:gd name="T34" fmla="*/ 38 w 139"/>
                <a:gd name="T35" fmla="*/ 214 h 240"/>
                <a:gd name="T36" fmla="*/ 137 w 139"/>
                <a:gd name="T37" fmla="*/ 156 h 240"/>
                <a:gd name="T38" fmla="*/ 137 w 139"/>
                <a:gd name="T39" fmla="*/ 157 h 240"/>
                <a:gd name="T40" fmla="*/ 128 w 139"/>
                <a:gd name="T41" fmla="*/ 137 h 240"/>
                <a:gd name="T42" fmla="*/ 99 w 139"/>
                <a:gd name="T43" fmla="*/ 71 h 240"/>
                <a:gd name="T44" fmla="*/ 68 w 139"/>
                <a:gd name="T45" fmla="*/ 23 h 240"/>
                <a:gd name="T46" fmla="*/ 51 w 139"/>
                <a:gd name="T47" fmla="*/ 9 h 240"/>
                <a:gd name="T48" fmla="*/ 35 w 139"/>
                <a:gd name="T49" fmla="*/ 2 h 240"/>
                <a:gd name="T50" fmla="*/ 21 w 139"/>
                <a:gd name="T51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9" h="240">
                  <a:moveTo>
                    <a:pt x="21" y="0"/>
                  </a:moveTo>
                  <a:cubicBezTo>
                    <a:pt x="21" y="0"/>
                    <a:pt x="22" y="0"/>
                    <a:pt x="22" y="0"/>
                  </a:cubicBezTo>
                  <a:cubicBezTo>
                    <a:pt x="23" y="0"/>
                    <a:pt x="24" y="0"/>
                    <a:pt x="25" y="0"/>
                  </a:cubicBezTo>
                  <a:cubicBezTo>
                    <a:pt x="27" y="0"/>
                    <a:pt x="31" y="0"/>
                    <a:pt x="36" y="1"/>
                  </a:cubicBezTo>
                  <a:cubicBezTo>
                    <a:pt x="40" y="2"/>
                    <a:pt x="46" y="4"/>
                    <a:pt x="51" y="8"/>
                  </a:cubicBezTo>
                  <a:cubicBezTo>
                    <a:pt x="57" y="11"/>
                    <a:pt x="63" y="16"/>
                    <a:pt x="69" y="22"/>
                  </a:cubicBezTo>
                  <a:cubicBezTo>
                    <a:pt x="80" y="34"/>
                    <a:pt x="91" y="51"/>
                    <a:pt x="101" y="71"/>
                  </a:cubicBezTo>
                  <a:cubicBezTo>
                    <a:pt x="111" y="90"/>
                    <a:pt x="121" y="112"/>
                    <a:pt x="130" y="136"/>
                  </a:cubicBezTo>
                  <a:cubicBezTo>
                    <a:pt x="133" y="143"/>
                    <a:pt x="136" y="150"/>
                    <a:pt x="139" y="156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8" y="158"/>
                    <a:pt x="138" y="158"/>
                    <a:pt x="138" y="158"/>
                  </a:cubicBezTo>
                  <a:cubicBezTo>
                    <a:pt x="98" y="179"/>
                    <a:pt x="64" y="200"/>
                    <a:pt x="39" y="215"/>
                  </a:cubicBezTo>
                  <a:cubicBezTo>
                    <a:pt x="27" y="223"/>
                    <a:pt x="17" y="229"/>
                    <a:pt x="10" y="233"/>
                  </a:cubicBezTo>
                  <a:cubicBezTo>
                    <a:pt x="7" y="236"/>
                    <a:pt x="4" y="237"/>
                    <a:pt x="2" y="238"/>
                  </a:cubicBezTo>
                  <a:cubicBezTo>
                    <a:pt x="1" y="240"/>
                    <a:pt x="0" y="240"/>
                    <a:pt x="0" y="240"/>
                  </a:cubicBezTo>
                  <a:cubicBezTo>
                    <a:pt x="0" y="240"/>
                    <a:pt x="1" y="239"/>
                    <a:pt x="2" y="238"/>
                  </a:cubicBezTo>
                  <a:cubicBezTo>
                    <a:pt x="4" y="237"/>
                    <a:pt x="6" y="235"/>
                    <a:pt x="10" y="233"/>
                  </a:cubicBezTo>
                  <a:cubicBezTo>
                    <a:pt x="16" y="228"/>
                    <a:pt x="26" y="222"/>
                    <a:pt x="38" y="214"/>
                  </a:cubicBezTo>
                  <a:cubicBezTo>
                    <a:pt x="63" y="198"/>
                    <a:pt x="97" y="178"/>
                    <a:pt x="137" y="156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34" y="151"/>
                    <a:pt x="131" y="144"/>
                    <a:pt x="128" y="137"/>
                  </a:cubicBezTo>
                  <a:cubicBezTo>
                    <a:pt x="119" y="113"/>
                    <a:pt x="109" y="91"/>
                    <a:pt x="99" y="71"/>
                  </a:cubicBezTo>
                  <a:cubicBezTo>
                    <a:pt x="89" y="52"/>
                    <a:pt x="79" y="35"/>
                    <a:pt x="68" y="23"/>
                  </a:cubicBezTo>
                  <a:cubicBezTo>
                    <a:pt x="62" y="17"/>
                    <a:pt x="56" y="12"/>
                    <a:pt x="51" y="9"/>
                  </a:cubicBezTo>
                  <a:cubicBezTo>
                    <a:pt x="45" y="5"/>
                    <a:pt x="40" y="3"/>
                    <a:pt x="35" y="2"/>
                  </a:cubicBezTo>
                  <a:cubicBezTo>
                    <a:pt x="26" y="0"/>
                    <a:pt x="21" y="0"/>
                    <a:pt x="2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4" name="CustomText">
              <a:extLst>
                <a:ext uri="{FF2B5EF4-FFF2-40B4-BE49-F238E27FC236}">
                  <a16:creationId xmlns:a16="http://schemas.microsoft.com/office/drawing/2014/main" id="{4D6BFC74-F015-4C32-BF6E-E8809E5A45BF}"/>
                </a:ext>
              </a:extLst>
            </p:cNvPr>
            <p:cNvSpPr/>
            <p:nvPr/>
          </p:nvSpPr>
          <p:spPr>
            <a:xfrm>
              <a:off x="5286708" y="1873561"/>
              <a:ext cx="828938" cy="316059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  <a:latin typeface="+mj-lt"/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55" name="CustomText1">
              <a:extLst>
                <a:ext uri="{FF2B5EF4-FFF2-40B4-BE49-F238E27FC236}">
                  <a16:creationId xmlns:a16="http://schemas.microsoft.com/office/drawing/2014/main" id="{B2D75C74-642E-4A3B-AC94-1FC52932E9C2}"/>
                </a:ext>
              </a:extLst>
            </p:cNvPr>
            <p:cNvSpPr/>
            <p:nvPr/>
          </p:nvSpPr>
          <p:spPr bwMode="auto">
            <a:xfrm>
              <a:off x="6211754" y="1916920"/>
              <a:ext cx="944395" cy="216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000" dirty="0">
                  <a:solidFill>
                    <a:schemeClr val="tx2"/>
                  </a:solidFill>
                  <a:latin typeface="+mj-lt"/>
                </a:rPr>
                <a:t>Text Here</a:t>
              </a:r>
              <a:endParaRPr lang="zh-CN" altLang="en-US" sz="10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56" name="CustomText">
              <a:extLst>
                <a:ext uri="{FF2B5EF4-FFF2-40B4-BE49-F238E27FC236}">
                  <a16:creationId xmlns:a16="http://schemas.microsoft.com/office/drawing/2014/main" id="{6B25F6F2-318B-41CC-81C9-B30675C6F3D9}"/>
                </a:ext>
              </a:extLst>
            </p:cNvPr>
            <p:cNvSpPr/>
            <p:nvPr/>
          </p:nvSpPr>
          <p:spPr>
            <a:xfrm>
              <a:off x="5286708" y="2969442"/>
              <a:ext cx="828938" cy="316059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  <a:latin typeface="+mj-lt"/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57" name="CustomText1">
              <a:extLst>
                <a:ext uri="{FF2B5EF4-FFF2-40B4-BE49-F238E27FC236}">
                  <a16:creationId xmlns:a16="http://schemas.microsoft.com/office/drawing/2014/main" id="{3F332F80-AF9C-44CF-B864-3942071D1492}"/>
                </a:ext>
              </a:extLst>
            </p:cNvPr>
            <p:cNvSpPr/>
            <p:nvPr/>
          </p:nvSpPr>
          <p:spPr bwMode="auto">
            <a:xfrm>
              <a:off x="6211754" y="3012801"/>
              <a:ext cx="944395" cy="216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000" dirty="0">
                  <a:solidFill>
                    <a:schemeClr val="tx2"/>
                  </a:solidFill>
                  <a:latin typeface="+mj-lt"/>
                </a:rPr>
                <a:t>Text Here</a:t>
              </a:r>
              <a:endParaRPr lang="zh-CN" altLang="en-US" sz="10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58" name="CustomText">
              <a:extLst>
                <a:ext uri="{FF2B5EF4-FFF2-40B4-BE49-F238E27FC236}">
                  <a16:creationId xmlns:a16="http://schemas.microsoft.com/office/drawing/2014/main" id="{07DAFD5F-477A-4FB7-A29F-7084CC9E9556}"/>
                </a:ext>
              </a:extLst>
            </p:cNvPr>
            <p:cNvSpPr/>
            <p:nvPr/>
          </p:nvSpPr>
          <p:spPr>
            <a:xfrm>
              <a:off x="5286708" y="4086575"/>
              <a:ext cx="828938" cy="316059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  <a:latin typeface="+mj-lt"/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59" name="CustomText1">
              <a:extLst>
                <a:ext uri="{FF2B5EF4-FFF2-40B4-BE49-F238E27FC236}">
                  <a16:creationId xmlns:a16="http://schemas.microsoft.com/office/drawing/2014/main" id="{D5A7C17F-D66A-4DBE-8637-22D75447D937}"/>
                </a:ext>
              </a:extLst>
            </p:cNvPr>
            <p:cNvSpPr/>
            <p:nvPr/>
          </p:nvSpPr>
          <p:spPr bwMode="auto">
            <a:xfrm>
              <a:off x="6211754" y="4129934"/>
              <a:ext cx="944395" cy="216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000" dirty="0">
                  <a:solidFill>
                    <a:schemeClr val="tx2"/>
                  </a:solidFill>
                  <a:latin typeface="+mj-lt"/>
                </a:rPr>
                <a:t>Text Here</a:t>
              </a:r>
              <a:endParaRPr lang="zh-CN" altLang="en-US" sz="1000" dirty="0">
                <a:solidFill>
                  <a:schemeClr val="tx2"/>
                </a:solidFill>
                <a:latin typeface="+mj-lt"/>
              </a:endParaRPr>
            </a:p>
          </p:txBody>
        </p:sp>
      </p:grpSp>
      <p:sp>
        <p:nvSpPr>
          <p:cNvPr id="60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62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1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28220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d37dbe55-f60b-4c0c-bcdd-198ff4b73534" descr="HSIAAB+LCAAAAAAABADdWN9zmkAQ/l+u6Zt1OBBQ37TWNjNN4ySZTjIdHyieei0/HDgzMZn87zngCIsCFQ1U8sJ4e7vH7vft3q48oTM6Q32EUQudsc2K8N/XtuGxETUWnmFfuDNi8b2J566IxyjxUf/XkzCSgdFPw1oTobXh8gvqUHtth2LUl9oSFxkPQISlUDgiJrUNa0QXlPGzueTcnxDPJA4TisxbkxYSC01uq0q3o+H4qbTQV89dr8IYnluxawpw7bNruR5wTRwVq3aA6uV8Tk1ysyQ2Ca341g112MCZXS+NWRzI0KOLJXOI7wvB5e8/xGTArK9zw/DIUH3tL/nhH8bjzkDtjgbcz0ynVUgC86iz2PUaSR9RtrUGrIeuaxHD2TWPwMwy1+snU1fakq71ZEU8NS1xTQaudfcns1cFmVjKZlPTB1/GI8gm9BpLpelMmePyfKbs/0N1djrtVzKDJ5YT3xToW4nyxJXUZy+b0fF4OJYkyGjK7fIFmjI/oEK5/ZR7SJ0Zfxm8ezGs14nrU0ZdR+gl9/UmxNEjc5EcaGLwS50w4vnhzpY92G2hb65HH12HGdbAogvH5pxz1e9kzgJng2Zgprc4IoSZSxQkiUiwa/pIrohPvHvCnZ4blh8nC+drRX7wt8XZGQqCnL8ilsHofUojJcNhIFsNKYnx2MUUMAZvntiHY8HePicFOk9wn7DbOG/D1V1qdSvqb7hJgcJLFljk6UhtdfecBH7U/wQ07go0sjkcGubfPAohybXx12sQf5nI18bfuek6hSUICK6LPhl20BvywBLKtm7fhDgVeLcnoWGUforG18CD8KLQg/djNK0tdrzdIgvzVckPL+qvMLqo86ExtYLRfmAGSRKljOiHcft8FQbpCxttaiMDLJFJ+WgpMPIDFxAtucloRVVVH1g709ebgxUUS0Vg/asO3xqsTtk5S2/AnCXvM2fJ+Re9DgE7cAFBVg/t0wVgv/M5K49CSHJt/GkN4u9E5qxC/iKCa6NPLz9nYSln0CpgdP9BSy644N86+J2vS4UJ2z2t0UGkUj5aXRj5gQuIVq/JaEVlVRtYilQ5WBUPWnWChcsOWrgJX7SUfSYtJf+qx6n/iMesINbyof26CPN3PnDlMQm5rplGpUk0nsjcVUhjxHPNLHYOmL7yPnMVEbv/+KUUXPvVYKCW6pT4xD7giMQqAC31heGYFQRNazRoUa3VjZlePWYVz2R1YTZ9fgG7nRm3HSIAAA==">
            <a:extLst>
              <a:ext uri="{FF2B5EF4-FFF2-40B4-BE49-F238E27FC236}">
                <a16:creationId xmlns:a16="http://schemas.microsoft.com/office/drawing/2014/main" id="{4487F585-D67E-46C5-800F-9E4377367EEA}"/>
              </a:ext>
            </a:extLst>
          </p:cNvPr>
          <p:cNvGrpSpPr>
            <a:grpSpLocks noChangeAspect="1"/>
          </p:cNvGrpSpPr>
          <p:nvPr/>
        </p:nvGrpSpPr>
        <p:grpSpPr>
          <a:xfrm>
            <a:off x="1723572" y="1084036"/>
            <a:ext cx="8744857" cy="4689929"/>
            <a:chOff x="2235200" y="1130300"/>
            <a:chExt cx="8744857" cy="4689929"/>
          </a:xfrm>
        </p:grpSpPr>
        <p:sp>
          <p:nvSpPr>
            <p:cNvPr id="3" name="AreaShape">
              <a:extLst>
                <a:ext uri="{FF2B5EF4-FFF2-40B4-BE49-F238E27FC236}">
                  <a16:creationId xmlns:a16="http://schemas.microsoft.com/office/drawing/2014/main" id="{41E0688C-5112-41CE-8E07-6071432A42A3}"/>
                </a:ext>
              </a:extLst>
            </p:cNvPr>
            <p:cNvSpPr/>
            <p:nvPr/>
          </p:nvSpPr>
          <p:spPr>
            <a:xfrm>
              <a:off x="2235200" y="1130300"/>
              <a:ext cx="8744857" cy="46899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4" name="ExtraShape4">
              <a:extLst>
                <a:ext uri="{FF2B5EF4-FFF2-40B4-BE49-F238E27FC236}">
                  <a16:creationId xmlns:a16="http://schemas.microsoft.com/office/drawing/2014/main" id="{BEDE4C9D-AA68-4E29-A283-494C4B2BB9D1}"/>
                </a:ext>
              </a:extLst>
            </p:cNvPr>
            <p:cNvSpPr/>
            <p:nvPr/>
          </p:nvSpPr>
          <p:spPr bwMode="auto">
            <a:xfrm>
              <a:off x="3559515" y="5150651"/>
              <a:ext cx="150354" cy="249883"/>
            </a:xfrm>
            <a:custGeom>
              <a:avLst/>
              <a:gdLst>
                <a:gd name="T0" fmla="*/ 0 w 71"/>
                <a:gd name="T1" fmla="*/ 118 h 118"/>
                <a:gd name="T2" fmla="*/ 51 w 71"/>
                <a:gd name="T3" fmla="*/ 118 h 118"/>
                <a:gd name="T4" fmla="*/ 71 w 71"/>
                <a:gd name="T5" fmla="*/ 0 h 118"/>
                <a:gd name="T6" fmla="*/ 19 w 71"/>
                <a:gd name="T7" fmla="*/ 0 h 118"/>
                <a:gd name="T8" fmla="*/ 0 w 71"/>
                <a:gd name="T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18">
                  <a:moveTo>
                    <a:pt x="0" y="118"/>
                  </a:moveTo>
                  <a:lnTo>
                    <a:pt x="51" y="118"/>
                  </a:lnTo>
                  <a:lnTo>
                    <a:pt x="71" y="0"/>
                  </a:lnTo>
                  <a:lnTo>
                    <a:pt x="19" y="0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" name="ExtraShape5">
              <a:extLst>
                <a:ext uri="{FF2B5EF4-FFF2-40B4-BE49-F238E27FC236}">
                  <a16:creationId xmlns:a16="http://schemas.microsoft.com/office/drawing/2014/main" id="{9EFC640D-18EA-47CE-83BA-E0CB862F9CEE}"/>
                </a:ext>
              </a:extLst>
            </p:cNvPr>
            <p:cNvSpPr/>
            <p:nvPr/>
          </p:nvSpPr>
          <p:spPr bwMode="auto">
            <a:xfrm>
              <a:off x="3559515" y="5150651"/>
              <a:ext cx="150354" cy="249883"/>
            </a:xfrm>
            <a:custGeom>
              <a:avLst/>
              <a:gdLst>
                <a:gd name="T0" fmla="*/ 0 w 71"/>
                <a:gd name="T1" fmla="*/ 118 h 118"/>
                <a:gd name="T2" fmla="*/ 51 w 71"/>
                <a:gd name="T3" fmla="*/ 118 h 118"/>
                <a:gd name="T4" fmla="*/ 71 w 71"/>
                <a:gd name="T5" fmla="*/ 0 h 118"/>
                <a:gd name="T6" fmla="*/ 19 w 71"/>
                <a:gd name="T7" fmla="*/ 0 h 118"/>
                <a:gd name="T8" fmla="*/ 0 w 71"/>
                <a:gd name="T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18">
                  <a:moveTo>
                    <a:pt x="0" y="118"/>
                  </a:moveTo>
                  <a:lnTo>
                    <a:pt x="51" y="118"/>
                  </a:lnTo>
                  <a:lnTo>
                    <a:pt x="71" y="0"/>
                  </a:lnTo>
                  <a:lnTo>
                    <a:pt x="19" y="0"/>
                  </a:lnTo>
                  <a:lnTo>
                    <a:pt x="0" y="1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" name="ExtraShape6">
              <a:extLst>
                <a:ext uri="{FF2B5EF4-FFF2-40B4-BE49-F238E27FC236}">
                  <a16:creationId xmlns:a16="http://schemas.microsoft.com/office/drawing/2014/main" id="{B4AA2281-E8B9-4CE9-86B8-A27F28FBE372}"/>
                </a:ext>
              </a:extLst>
            </p:cNvPr>
            <p:cNvSpPr/>
            <p:nvPr/>
          </p:nvSpPr>
          <p:spPr bwMode="auto">
            <a:xfrm>
              <a:off x="2919985" y="5150651"/>
              <a:ext cx="207529" cy="249883"/>
            </a:xfrm>
            <a:custGeom>
              <a:avLst/>
              <a:gdLst>
                <a:gd name="T0" fmla="*/ 0 w 98"/>
                <a:gd name="T1" fmla="*/ 118 h 118"/>
                <a:gd name="T2" fmla="*/ 52 w 98"/>
                <a:gd name="T3" fmla="*/ 118 h 118"/>
                <a:gd name="T4" fmla="*/ 98 w 98"/>
                <a:gd name="T5" fmla="*/ 0 h 118"/>
                <a:gd name="T6" fmla="*/ 47 w 98"/>
                <a:gd name="T7" fmla="*/ 0 h 118"/>
                <a:gd name="T8" fmla="*/ 0 w 98"/>
                <a:gd name="T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18">
                  <a:moveTo>
                    <a:pt x="0" y="118"/>
                  </a:moveTo>
                  <a:lnTo>
                    <a:pt x="52" y="118"/>
                  </a:lnTo>
                  <a:lnTo>
                    <a:pt x="98" y="0"/>
                  </a:lnTo>
                  <a:lnTo>
                    <a:pt x="47" y="0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" name="ExtraShape7">
              <a:extLst>
                <a:ext uri="{FF2B5EF4-FFF2-40B4-BE49-F238E27FC236}">
                  <a16:creationId xmlns:a16="http://schemas.microsoft.com/office/drawing/2014/main" id="{12A5128D-47FA-4CDF-9DD8-FEF234B68730}"/>
                </a:ext>
              </a:extLst>
            </p:cNvPr>
            <p:cNvSpPr/>
            <p:nvPr/>
          </p:nvSpPr>
          <p:spPr bwMode="auto">
            <a:xfrm>
              <a:off x="2919985" y="5150651"/>
              <a:ext cx="207529" cy="249883"/>
            </a:xfrm>
            <a:custGeom>
              <a:avLst/>
              <a:gdLst>
                <a:gd name="T0" fmla="*/ 0 w 98"/>
                <a:gd name="T1" fmla="*/ 118 h 118"/>
                <a:gd name="T2" fmla="*/ 52 w 98"/>
                <a:gd name="T3" fmla="*/ 118 h 118"/>
                <a:gd name="T4" fmla="*/ 98 w 98"/>
                <a:gd name="T5" fmla="*/ 0 h 118"/>
                <a:gd name="T6" fmla="*/ 47 w 98"/>
                <a:gd name="T7" fmla="*/ 0 h 118"/>
                <a:gd name="T8" fmla="*/ 0 w 98"/>
                <a:gd name="T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18">
                  <a:moveTo>
                    <a:pt x="0" y="118"/>
                  </a:moveTo>
                  <a:lnTo>
                    <a:pt x="52" y="118"/>
                  </a:lnTo>
                  <a:lnTo>
                    <a:pt x="98" y="0"/>
                  </a:lnTo>
                  <a:lnTo>
                    <a:pt x="47" y="0"/>
                  </a:lnTo>
                  <a:lnTo>
                    <a:pt x="0" y="1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" name="ExtraShape8">
              <a:extLst>
                <a:ext uri="{FF2B5EF4-FFF2-40B4-BE49-F238E27FC236}">
                  <a16:creationId xmlns:a16="http://schemas.microsoft.com/office/drawing/2014/main" id="{A77F99C6-2309-42A9-8A6F-90BCD8060FC7}"/>
                </a:ext>
              </a:extLst>
            </p:cNvPr>
            <p:cNvSpPr/>
            <p:nvPr/>
          </p:nvSpPr>
          <p:spPr bwMode="auto">
            <a:xfrm>
              <a:off x="2871278" y="5389944"/>
              <a:ext cx="347295" cy="122824"/>
            </a:xfrm>
            <a:custGeom>
              <a:avLst/>
              <a:gdLst>
                <a:gd name="T0" fmla="*/ 49 w 99"/>
                <a:gd name="T1" fmla="*/ 0 h 35"/>
                <a:gd name="T2" fmla="*/ 12 w 99"/>
                <a:gd name="T3" fmla="*/ 0 h 35"/>
                <a:gd name="T4" fmla="*/ 9 w 99"/>
                <a:gd name="T5" fmla="*/ 2 h 35"/>
                <a:gd name="T6" fmla="*/ 1 w 99"/>
                <a:gd name="T7" fmla="*/ 29 h 35"/>
                <a:gd name="T8" fmla="*/ 5 w 99"/>
                <a:gd name="T9" fmla="*/ 35 h 35"/>
                <a:gd name="T10" fmla="*/ 42 w 99"/>
                <a:gd name="T11" fmla="*/ 34 h 35"/>
                <a:gd name="T12" fmla="*/ 83 w 99"/>
                <a:gd name="T13" fmla="*/ 35 h 35"/>
                <a:gd name="T14" fmla="*/ 93 w 99"/>
                <a:gd name="T15" fmla="*/ 21 h 35"/>
                <a:gd name="T16" fmla="*/ 54 w 99"/>
                <a:gd name="T17" fmla="*/ 2 h 35"/>
                <a:gd name="T18" fmla="*/ 49 w 99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35">
                  <a:moveTo>
                    <a:pt x="4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9" y="1"/>
                    <a:pt x="9" y="2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32"/>
                    <a:pt x="2" y="35"/>
                    <a:pt x="5" y="35"/>
                  </a:cubicBezTo>
                  <a:cubicBezTo>
                    <a:pt x="17" y="35"/>
                    <a:pt x="26" y="34"/>
                    <a:pt x="42" y="34"/>
                  </a:cubicBezTo>
                  <a:cubicBezTo>
                    <a:pt x="51" y="34"/>
                    <a:pt x="70" y="35"/>
                    <a:pt x="83" y="35"/>
                  </a:cubicBezTo>
                  <a:cubicBezTo>
                    <a:pt x="96" y="35"/>
                    <a:pt x="99" y="22"/>
                    <a:pt x="93" y="21"/>
                  </a:cubicBezTo>
                  <a:cubicBezTo>
                    <a:pt x="70" y="16"/>
                    <a:pt x="61" y="9"/>
                    <a:pt x="54" y="2"/>
                  </a:cubicBezTo>
                  <a:cubicBezTo>
                    <a:pt x="53" y="0"/>
                    <a:pt x="51" y="0"/>
                    <a:pt x="4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" name="ExtraShape9">
              <a:extLst>
                <a:ext uri="{FF2B5EF4-FFF2-40B4-BE49-F238E27FC236}">
                  <a16:creationId xmlns:a16="http://schemas.microsoft.com/office/drawing/2014/main" id="{DB5E179B-8F07-4059-AEA0-58239441EB00}"/>
                </a:ext>
              </a:extLst>
            </p:cNvPr>
            <p:cNvSpPr/>
            <p:nvPr/>
          </p:nvSpPr>
          <p:spPr bwMode="auto">
            <a:xfrm>
              <a:off x="3508692" y="5389944"/>
              <a:ext cx="425648" cy="122824"/>
            </a:xfrm>
            <a:custGeom>
              <a:avLst/>
              <a:gdLst>
                <a:gd name="T0" fmla="*/ 45 w 121"/>
                <a:gd name="T1" fmla="*/ 0 h 35"/>
                <a:gd name="T2" fmla="*/ 11 w 121"/>
                <a:gd name="T3" fmla="*/ 0 h 35"/>
                <a:gd name="T4" fmla="*/ 8 w 121"/>
                <a:gd name="T5" fmla="*/ 2 h 35"/>
                <a:gd name="T6" fmla="*/ 0 w 121"/>
                <a:gd name="T7" fmla="*/ 29 h 35"/>
                <a:gd name="T8" fmla="*/ 5 w 121"/>
                <a:gd name="T9" fmla="*/ 35 h 35"/>
                <a:gd name="T10" fmla="*/ 50 w 121"/>
                <a:gd name="T11" fmla="*/ 34 h 35"/>
                <a:gd name="T12" fmla="*/ 104 w 121"/>
                <a:gd name="T13" fmla="*/ 35 h 35"/>
                <a:gd name="T14" fmla="*/ 116 w 121"/>
                <a:gd name="T15" fmla="*/ 21 h 35"/>
                <a:gd name="T16" fmla="*/ 52 w 121"/>
                <a:gd name="T17" fmla="*/ 2 h 35"/>
                <a:gd name="T18" fmla="*/ 45 w 121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35">
                  <a:moveTo>
                    <a:pt x="45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8" y="1"/>
                    <a:pt x="8" y="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2"/>
                    <a:pt x="2" y="35"/>
                    <a:pt x="5" y="35"/>
                  </a:cubicBezTo>
                  <a:cubicBezTo>
                    <a:pt x="17" y="35"/>
                    <a:pt x="34" y="34"/>
                    <a:pt x="50" y="34"/>
                  </a:cubicBezTo>
                  <a:cubicBezTo>
                    <a:pt x="68" y="34"/>
                    <a:pt x="83" y="35"/>
                    <a:pt x="104" y="35"/>
                  </a:cubicBezTo>
                  <a:cubicBezTo>
                    <a:pt x="117" y="35"/>
                    <a:pt x="121" y="22"/>
                    <a:pt x="116" y="21"/>
                  </a:cubicBezTo>
                  <a:cubicBezTo>
                    <a:pt x="92" y="16"/>
                    <a:pt x="72" y="15"/>
                    <a:pt x="52" y="2"/>
                  </a:cubicBezTo>
                  <a:cubicBezTo>
                    <a:pt x="50" y="1"/>
                    <a:pt x="47" y="0"/>
                    <a:pt x="4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0" name="ExtraShape1">
              <a:extLst>
                <a:ext uri="{FF2B5EF4-FFF2-40B4-BE49-F238E27FC236}">
                  <a16:creationId xmlns:a16="http://schemas.microsoft.com/office/drawing/2014/main" id="{9C41F236-905F-4AD0-9886-4C94741732A6}"/>
                </a:ext>
              </a:extLst>
            </p:cNvPr>
            <p:cNvSpPr/>
            <p:nvPr/>
          </p:nvSpPr>
          <p:spPr bwMode="auto">
            <a:xfrm>
              <a:off x="3580691" y="5260768"/>
              <a:ext cx="112236" cy="21176"/>
            </a:xfrm>
            <a:custGeom>
              <a:avLst/>
              <a:gdLst>
                <a:gd name="T0" fmla="*/ 1 w 53"/>
                <a:gd name="T1" fmla="*/ 0 h 10"/>
                <a:gd name="T2" fmla="*/ 1 w 53"/>
                <a:gd name="T3" fmla="*/ 0 h 10"/>
                <a:gd name="T4" fmla="*/ 0 w 53"/>
                <a:gd name="T5" fmla="*/ 10 h 10"/>
                <a:gd name="T6" fmla="*/ 0 w 53"/>
                <a:gd name="T7" fmla="*/ 10 h 10"/>
                <a:gd name="T8" fmla="*/ 1 w 53"/>
                <a:gd name="T9" fmla="*/ 0 h 10"/>
                <a:gd name="T10" fmla="*/ 53 w 53"/>
                <a:gd name="T11" fmla="*/ 0 h 10"/>
                <a:gd name="T12" fmla="*/ 53 w 53"/>
                <a:gd name="T13" fmla="*/ 0 h 10"/>
                <a:gd name="T14" fmla="*/ 51 w 53"/>
                <a:gd name="T15" fmla="*/ 10 h 10"/>
                <a:gd name="T16" fmla="*/ 51 w 53"/>
                <a:gd name="T17" fmla="*/ 10 h 10"/>
                <a:gd name="T18" fmla="*/ 53 w 53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10">
                  <a:moveTo>
                    <a:pt x="1" y="0"/>
                  </a:moveTo>
                  <a:lnTo>
                    <a:pt x="1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0"/>
                  </a:lnTo>
                  <a:close/>
                  <a:moveTo>
                    <a:pt x="53" y="0"/>
                  </a:moveTo>
                  <a:lnTo>
                    <a:pt x="53" y="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1" name="ExtraShape2">
              <a:extLst>
                <a:ext uri="{FF2B5EF4-FFF2-40B4-BE49-F238E27FC236}">
                  <a16:creationId xmlns:a16="http://schemas.microsoft.com/office/drawing/2014/main" id="{E6CC11B0-98F4-4DFC-AA4F-765329EC6BBC}"/>
                </a:ext>
              </a:extLst>
            </p:cNvPr>
            <p:cNvSpPr/>
            <p:nvPr/>
          </p:nvSpPr>
          <p:spPr bwMode="auto">
            <a:xfrm>
              <a:off x="3580691" y="5260768"/>
              <a:ext cx="112236" cy="21176"/>
            </a:xfrm>
            <a:custGeom>
              <a:avLst/>
              <a:gdLst>
                <a:gd name="T0" fmla="*/ 1 w 53"/>
                <a:gd name="T1" fmla="*/ 0 h 10"/>
                <a:gd name="T2" fmla="*/ 1 w 53"/>
                <a:gd name="T3" fmla="*/ 0 h 10"/>
                <a:gd name="T4" fmla="*/ 0 w 53"/>
                <a:gd name="T5" fmla="*/ 10 h 10"/>
                <a:gd name="T6" fmla="*/ 0 w 53"/>
                <a:gd name="T7" fmla="*/ 10 h 10"/>
                <a:gd name="T8" fmla="*/ 1 w 53"/>
                <a:gd name="T9" fmla="*/ 0 h 10"/>
                <a:gd name="T10" fmla="*/ 53 w 53"/>
                <a:gd name="T11" fmla="*/ 0 h 10"/>
                <a:gd name="T12" fmla="*/ 53 w 53"/>
                <a:gd name="T13" fmla="*/ 0 h 10"/>
                <a:gd name="T14" fmla="*/ 51 w 53"/>
                <a:gd name="T15" fmla="*/ 10 h 10"/>
                <a:gd name="T16" fmla="*/ 51 w 53"/>
                <a:gd name="T17" fmla="*/ 10 h 10"/>
                <a:gd name="T18" fmla="*/ 53 w 53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10">
                  <a:moveTo>
                    <a:pt x="1" y="0"/>
                  </a:moveTo>
                  <a:lnTo>
                    <a:pt x="1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0"/>
                  </a:lnTo>
                  <a:moveTo>
                    <a:pt x="53" y="0"/>
                  </a:moveTo>
                  <a:lnTo>
                    <a:pt x="53" y="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2" name="ExtraShape3">
              <a:extLst>
                <a:ext uri="{FF2B5EF4-FFF2-40B4-BE49-F238E27FC236}">
                  <a16:creationId xmlns:a16="http://schemas.microsoft.com/office/drawing/2014/main" id="{0B4C1B09-F8F8-42C2-911C-003B96E44637}"/>
                </a:ext>
              </a:extLst>
            </p:cNvPr>
            <p:cNvSpPr/>
            <p:nvPr/>
          </p:nvSpPr>
          <p:spPr bwMode="auto">
            <a:xfrm>
              <a:off x="3580691" y="5260768"/>
              <a:ext cx="112236" cy="21176"/>
            </a:xfrm>
            <a:custGeom>
              <a:avLst/>
              <a:gdLst>
                <a:gd name="T0" fmla="*/ 53 w 53"/>
                <a:gd name="T1" fmla="*/ 0 h 10"/>
                <a:gd name="T2" fmla="*/ 1 w 53"/>
                <a:gd name="T3" fmla="*/ 0 h 10"/>
                <a:gd name="T4" fmla="*/ 0 w 53"/>
                <a:gd name="T5" fmla="*/ 10 h 10"/>
                <a:gd name="T6" fmla="*/ 51 w 53"/>
                <a:gd name="T7" fmla="*/ 10 h 10"/>
                <a:gd name="T8" fmla="*/ 53 w 53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10">
                  <a:moveTo>
                    <a:pt x="53" y="0"/>
                  </a:moveTo>
                  <a:lnTo>
                    <a:pt x="1" y="0"/>
                  </a:lnTo>
                  <a:lnTo>
                    <a:pt x="0" y="10"/>
                  </a:lnTo>
                  <a:lnTo>
                    <a:pt x="51" y="10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CC9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3" name="ExtraShape4">
              <a:extLst>
                <a:ext uri="{FF2B5EF4-FFF2-40B4-BE49-F238E27FC236}">
                  <a16:creationId xmlns:a16="http://schemas.microsoft.com/office/drawing/2014/main" id="{A6ECCE42-B903-4728-8CE9-2F658F9283F3}"/>
                </a:ext>
              </a:extLst>
            </p:cNvPr>
            <p:cNvSpPr/>
            <p:nvPr/>
          </p:nvSpPr>
          <p:spPr bwMode="auto">
            <a:xfrm>
              <a:off x="3580691" y="5260768"/>
              <a:ext cx="112236" cy="21176"/>
            </a:xfrm>
            <a:custGeom>
              <a:avLst/>
              <a:gdLst>
                <a:gd name="T0" fmla="*/ 53 w 53"/>
                <a:gd name="T1" fmla="*/ 0 h 10"/>
                <a:gd name="T2" fmla="*/ 1 w 53"/>
                <a:gd name="T3" fmla="*/ 0 h 10"/>
                <a:gd name="T4" fmla="*/ 0 w 53"/>
                <a:gd name="T5" fmla="*/ 10 h 10"/>
                <a:gd name="T6" fmla="*/ 51 w 53"/>
                <a:gd name="T7" fmla="*/ 10 h 10"/>
                <a:gd name="T8" fmla="*/ 53 w 53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10">
                  <a:moveTo>
                    <a:pt x="53" y="0"/>
                  </a:moveTo>
                  <a:lnTo>
                    <a:pt x="1" y="0"/>
                  </a:lnTo>
                  <a:lnTo>
                    <a:pt x="0" y="10"/>
                  </a:lnTo>
                  <a:lnTo>
                    <a:pt x="51" y="10"/>
                  </a:lnTo>
                  <a:lnTo>
                    <a:pt x="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4" name="ExtraShape5">
              <a:extLst>
                <a:ext uri="{FF2B5EF4-FFF2-40B4-BE49-F238E27FC236}">
                  <a16:creationId xmlns:a16="http://schemas.microsoft.com/office/drawing/2014/main" id="{8B81CE90-4FB5-4E44-B9D3-AB60378406FC}"/>
                </a:ext>
              </a:extLst>
            </p:cNvPr>
            <p:cNvSpPr/>
            <p:nvPr/>
          </p:nvSpPr>
          <p:spPr bwMode="auto">
            <a:xfrm>
              <a:off x="2968690" y="5260768"/>
              <a:ext cx="8471" cy="21176"/>
            </a:xfrm>
            <a:custGeom>
              <a:avLst/>
              <a:gdLst>
                <a:gd name="T0" fmla="*/ 4 w 4"/>
                <a:gd name="T1" fmla="*/ 0 h 10"/>
                <a:gd name="T2" fmla="*/ 4 w 4"/>
                <a:gd name="T3" fmla="*/ 0 h 10"/>
                <a:gd name="T4" fmla="*/ 0 w 4"/>
                <a:gd name="T5" fmla="*/ 10 h 10"/>
                <a:gd name="T6" fmla="*/ 0 w 4"/>
                <a:gd name="T7" fmla="*/ 10 h 10"/>
                <a:gd name="T8" fmla="*/ 4 w 4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4" y="0"/>
                  </a:moveTo>
                  <a:lnTo>
                    <a:pt x="4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5" name="ExtraShape6">
              <a:extLst>
                <a:ext uri="{FF2B5EF4-FFF2-40B4-BE49-F238E27FC236}">
                  <a16:creationId xmlns:a16="http://schemas.microsoft.com/office/drawing/2014/main" id="{63916031-B817-4516-AE08-16A1EBFB5E6F}"/>
                </a:ext>
              </a:extLst>
            </p:cNvPr>
            <p:cNvSpPr/>
            <p:nvPr/>
          </p:nvSpPr>
          <p:spPr bwMode="auto">
            <a:xfrm>
              <a:off x="2968690" y="5260768"/>
              <a:ext cx="8471" cy="21176"/>
            </a:xfrm>
            <a:custGeom>
              <a:avLst/>
              <a:gdLst>
                <a:gd name="T0" fmla="*/ 4 w 4"/>
                <a:gd name="T1" fmla="*/ 0 h 10"/>
                <a:gd name="T2" fmla="*/ 4 w 4"/>
                <a:gd name="T3" fmla="*/ 0 h 10"/>
                <a:gd name="T4" fmla="*/ 0 w 4"/>
                <a:gd name="T5" fmla="*/ 10 h 10"/>
                <a:gd name="T6" fmla="*/ 0 w 4"/>
                <a:gd name="T7" fmla="*/ 10 h 10"/>
                <a:gd name="T8" fmla="*/ 4 w 4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4" y="0"/>
                  </a:moveTo>
                  <a:lnTo>
                    <a:pt x="4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6" name="ExtraShape7">
              <a:extLst>
                <a:ext uri="{FF2B5EF4-FFF2-40B4-BE49-F238E27FC236}">
                  <a16:creationId xmlns:a16="http://schemas.microsoft.com/office/drawing/2014/main" id="{EF30F900-F73B-41B6-BD7F-8B913A755084}"/>
                </a:ext>
              </a:extLst>
            </p:cNvPr>
            <p:cNvSpPr/>
            <p:nvPr/>
          </p:nvSpPr>
          <p:spPr bwMode="auto">
            <a:xfrm>
              <a:off x="2968690" y="5260768"/>
              <a:ext cx="116471" cy="21176"/>
            </a:xfrm>
            <a:custGeom>
              <a:avLst/>
              <a:gdLst>
                <a:gd name="T0" fmla="*/ 55 w 55"/>
                <a:gd name="T1" fmla="*/ 0 h 10"/>
                <a:gd name="T2" fmla="*/ 4 w 55"/>
                <a:gd name="T3" fmla="*/ 0 h 10"/>
                <a:gd name="T4" fmla="*/ 0 w 55"/>
                <a:gd name="T5" fmla="*/ 10 h 10"/>
                <a:gd name="T6" fmla="*/ 52 w 55"/>
                <a:gd name="T7" fmla="*/ 10 h 10"/>
                <a:gd name="T8" fmla="*/ 55 w 55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10">
                  <a:moveTo>
                    <a:pt x="55" y="0"/>
                  </a:moveTo>
                  <a:lnTo>
                    <a:pt x="4" y="0"/>
                  </a:lnTo>
                  <a:lnTo>
                    <a:pt x="0" y="10"/>
                  </a:lnTo>
                  <a:lnTo>
                    <a:pt x="52" y="1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CC9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7" name="ExtraShape1">
              <a:extLst>
                <a:ext uri="{FF2B5EF4-FFF2-40B4-BE49-F238E27FC236}">
                  <a16:creationId xmlns:a16="http://schemas.microsoft.com/office/drawing/2014/main" id="{5EF2CA7C-78AC-4A6A-B59D-96BA5016FFF9}"/>
                </a:ext>
              </a:extLst>
            </p:cNvPr>
            <p:cNvSpPr/>
            <p:nvPr/>
          </p:nvSpPr>
          <p:spPr bwMode="auto">
            <a:xfrm>
              <a:off x="2968690" y="5260768"/>
              <a:ext cx="116471" cy="21176"/>
            </a:xfrm>
            <a:custGeom>
              <a:avLst/>
              <a:gdLst>
                <a:gd name="T0" fmla="*/ 55 w 55"/>
                <a:gd name="T1" fmla="*/ 0 h 10"/>
                <a:gd name="T2" fmla="*/ 4 w 55"/>
                <a:gd name="T3" fmla="*/ 0 h 10"/>
                <a:gd name="T4" fmla="*/ 0 w 55"/>
                <a:gd name="T5" fmla="*/ 10 h 10"/>
                <a:gd name="T6" fmla="*/ 52 w 55"/>
                <a:gd name="T7" fmla="*/ 10 h 10"/>
                <a:gd name="T8" fmla="*/ 55 w 55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10">
                  <a:moveTo>
                    <a:pt x="55" y="0"/>
                  </a:moveTo>
                  <a:lnTo>
                    <a:pt x="4" y="0"/>
                  </a:lnTo>
                  <a:lnTo>
                    <a:pt x="0" y="10"/>
                  </a:lnTo>
                  <a:lnTo>
                    <a:pt x="52" y="10"/>
                  </a:lnTo>
                  <a:lnTo>
                    <a:pt x="5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8" name="ExtraShape2">
              <a:extLst>
                <a:ext uri="{FF2B5EF4-FFF2-40B4-BE49-F238E27FC236}">
                  <a16:creationId xmlns:a16="http://schemas.microsoft.com/office/drawing/2014/main" id="{EDEF83F5-6613-49D2-9B0E-C32A2A57788D}"/>
                </a:ext>
              </a:extLst>
            </p:cNvPr>
            <p:cNvSpPr/>
            <p:nvPr/>
          </p:nvSpPr>
          <p:spPr bwMode="auto">
            <a:xfrm>
              <a:off x="2913631" y="5186649"/>
              <a:ext cx="283765" cy="74119"/>
            </a:xfrm>
            <a:custGeom>
              <a:avLst/>
              <a:gdLst>
                <a:gd name="T0" fmla="*/ 117 w 134"/>
                <a:gd name="T1" fmla="*/ 35 h 35"/>
                <a:gd name="T2" fmla="*/ 0 w 134"/>
                <a:gd name="T3" fmla="*/ 35 h 35"/>
                <a:gd name="T4" fmla="*/ 6 w 134"/>
                <a:gd name="T5" fmla="*/ 0 h 35"/>
                <a:gd name="T6" fmla="*/ 134 w 134"/>
                <a:gd name="T7" fmla="*/ 0 h 35"/>
                <a:gd name="T8" fmla="*/ 117 w 134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35">
                  <a:moveTo>
                    <a:pt x="117" y="35"/>
                  </a:moveTo>
                  <a:lnTo>
                    <a:pt x="0" y="35"/>
                  </a:lnTo>
                  <a:lnTo>
                    <a:pt x="6" y="0"/>
                  </a:lnTo>
                  <a:lnTo>
                    <a:pt x="134" y="0"/>
                  </a:lnTo>
                  <a:lnTo>
                    <a:pt x="117" y="35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19" name="ExtraShape3">
              <a:extLst>
                <a:ext uri="{FF2B5EF4-FFF2-40B4-BE49-F238E27FC236}">
                  <a16:creationId xmlns:a16="http://schemas.microsoft.com/office/drawing/2014/main" id="{6DE51561-F4B2-4391-AC68-F4BE8CBEBC1D}"/>
                </a:ext>
              </a:extLst>
            </p:cNvPr>
            <p:cNvSpPr/>
            <p:nvPr/>
          </p:nvSpPr>
          <p:spPr bwMode="auto">
            <a:xfrm>
              <a:off x="2913631" y="5186649"/>
              <a:ext cx="283765" cy="74119"/>
            </a:xfrm>
            <a:custGeom>
              <a:avLst/>
              <a:gdLst>
                <a:gd name="T0" fmla="*/ 117 w 134"/>
                <a:gd name="T1" fmla="*/ 35 h 35"/>
                <a:gd name="T2" fmla="*/ 0 w 134"/>
                <a:gd name="T3" fmla="*/ 35 h 35"/>
                <a:gd name="T4" fmla="*/ 6 w 134"/>
                <a:gd name="T5" fmla="*/ 0 h 35"/>
                <a:gd name="T6" fmla="*/ 134 w 134"/>
                <a:gd name="T7" fmla="*/ 0 h 35"/>
                <a:gd name="T8" fmla="*/ 117 w 134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35">
                  <a:moveTo>
                    <a:pt x="117" y="35"/>
                  </a:moveTo>
                  <a:lnTo>
                    <a:pt x="0" y="35"/>
                  </a:lnTo>
                  <a:lnTo>
                    <a:pt x="6" y="0"/>
                  </a:lnTo>
                  <a:lnTo>
                    <a:pt x="134" y="0"/>
                  </a:lnTo>
                  <a:lnTo>
                    <a:pt x="117" y="3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0" name="ExtraShape4">
              <a:extLst>
                <a:ext uri="{FF2B5EF4-FFF2-40B4-BE49-F238E27FC236}">
                  <a16:creationId xmlns:a16="http://schemas.microsoft.com/office/drawing/2014/main" id="{421DEF7C-D7DF-4660-BD88-2B4B36ADF1C4}"/>
                </a:ext>
              </a:extLst>
            </p:cNvPr>
            <p:cNvSpPr/>
            <p:nvPr/>
          </p:nvSpPr>
          <p:spPr bwMode="auto">
            <a:xfrm>
              <a:off x="3519279" y="5186649"/>
              <a:ext cx="264707" cy="74119"/>
            </a:xfrm>
            <a:custGeom>
              <a:avLst/>
              <a:gdLst>
                <a:gd name="T0" fmla="*/ 118 w 125"/>
                <a:gd name="T1" fmla="*/ 35 h 35"/>
                <a:gd name="T2" fmla="*/ 0 w 125"/>
                <a:gd name="T3" fmla="*/ 35 h 35"/>
                <a:gd name="T4" fmla="*/ 2 w 125"/>
                <a:gd name="T5" fmla="*/ 2 h 35"/>
                <a:gd name="T6" fmla="*/ 125 w 125"/>
                <a:gd name="T7" fmla="*/ 0 h 35"/>
                <a:gd name="T8" fmla="*/ 118 w 125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35">
                  <a:moveTo>
                    <a:pt x="118" y="35"/>
                  </a:moveTo>
                  <a:lnTo>
                    <a:pt x="0" y="35"/>
                  </a:lnTo>
                  <a:lnTo>
                    <a:pt x="2" y="2"/>
                  </a:lnTo>
                  <a:lnTo>
                    <a:pt x="125" y="0"/>
                  </a:lnTo>
                  <a:lnTo>
                    <a:pt x="118" y="35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1" name="ExtraShape5">
              <a:extLst>
                <a:ext uri="{FF2B5EF4-FFF2-40B4-BE49-F238E27FC236}">
                  <a16:creationId xmlns:a16="http://schemas.microsoft.com/office/drawing/2014/main" id="{F1236CC7-AF61-4A8D-BD6C-CDB1D040B9DF}"/>
                </a:ext>
              </a:extLst>
            </p:cNvPr>
            <p:cNvSpPr/>
            <p:nvPr/>
          </p:nvSpPr>
          <p:spPr bwMode="auto">
            <a:xfrm>
              <a:off x="3519279" y="5186649"/>
              <a:ext cx="264707" cy="74119"/>
            </a:xfrm>
            <a:custGeom>
              <a:avLst/>
              <a:gdLst>
                <a:gd name="T0" fmla="*/ 118 w 125"/>
                <a:gd name="T1" fmla="*/ 35 h 35"/>
                <a:gd name="T2" fmla="*/ 0 w 125"/>
                <a:gd name="T3" fmla="*/ 35 h 35"/>
                <a:gd name="T4" fmla="*/ 2 w 125"/>
                <a:gd name="T5" fmla="*/ 2 h 35"/>
                <a:gd name="T6" fmla="*/ 125 w 125"/>
                <a:gd name="T7" fmla="*/ 0 h 35"/>
                <a:gd name="T8" fmla="*/ 118 w 125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35">
                  <a:moveTo>
                    <a:pt x="118" y="35"/>
                  </a:moveTo>
                  <a:lnTo>
                    <a:pt x="0" y="35"/>
                  </a:lnTo>
                  <a:lnTo>
                    <a:pt x="2" y="2"/>
                  </a:lnTo>
                  <a:lnTo>
                    <a:pt x="125" y="0"/>
                  </a:lnTo>
                  <a:lnTo>
                    <a:pt x="118" y="3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2" name="ExtraShape6">
              <a:extLst>
                <a:ext uri="{FF2B5EF4-FFF2-40B4-BE49-F238E27FC236}">
                  <a16:creationId xmlns:a16="http://schemas.microsoft.com/office/drawing/2014/main" id="{A042AAEC-1B3B-4216-A3F2-A8BF406046AD}"/>
                </a:ext>
              </a:extLst>
            </p:cNvPr>
            <p:cNvSpPr/>
            <p:nvPr/>
          </p:nvSpPr>
          <p:spPr bwMode="auto">
            <a:xfrm>
              <a:off x="3049160" y="5375122"/>
              <a:ext cx="57177" cy="31765"/>
            </a:xfrm>
            <a:custGeom>
              <a:avLst/>
              <a:gdLst>
                <a:gd name="T0" fmla="*/ 8 w 16"/>
                <a:gd name="T1" fmla="*/ 9 h 9"/>
                <a:gd name="T2" fmla="*/ 0 w 16"/>
                <a:gd name="T3" fmla="*/ 8 h 9"/>
                <a:gd name="T4" fmla="*/ 0 w 16"/>
                <a:gd name="T5" fmla="*/ 8 h 9"/>
                <a:gd name="T6" fmla="*/ 0 w 16"/>
                <a:gd name="T7" fmla="*/ 7 h 9"/>
                <a:gd name="T8" fmla="*/ 15 w 16"/>
                <a:gd name="T9" fmla="*/ 2 h 9"/>
                <a:gd name="T10" fmla="*/ 16 w 16"/>
                <a:gd name="T11" fmla="*/ 4 h 9"/>
                <a:gd name="T12" fmla="*/ 14 w 16"/>
                <a:gd name="T13" fmla="*/ 8 h 9"/>
                <a:gd name="T14" fmla="*/ 8 w 16"/>
                <a:gd name="T15" fmla="*/ 9 h 9"/>
                <a:gd name="T16" fmla="*/ 2 w 16"/>
                <a:gd name="T17" fmla="*/ 7 h 9"/>
                <a:gd name="T18" fmla="*/ 13 w 16"/>
                <a:gd name="T19" fmla="*/ 7 h 9"/>
                <a:gd name="T20" fmla="*/ 14 w 16"/>
                <a:gd name="T21" fmla="*/ 4 h 9"/>
                <a:gd name="T22" fmla="*/ 14 w 16"/>
                <a:gd name="T23" fmla="*/ 3 h 9"/>
                <a:gd name="T24" fmla="*/ 2 w 16"/>
                <a:gd name="T2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9">
                  <a:moveTo>
                    <a:pt x="8" y="9"/>
                  </a:moveTo>
                  <a:cubicBezTo>
                    <a:pt x="5" y="9"/>
                    <a:pt x="2" y="9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6"/>
                    <a:pt x="11" y="0"/>
                    <a:pt x="15" y="2"/>
                  </a:cubicBezTo>
                  <a:cubicBezTo>
                    <a:pt x="15" y="2"/>
                    <a:pt x="16" y="3"/>
                    <a:pt x="16" y="4"/>
                  </a:cubicBezTo>
                  <a:cubicBezTo>
                    <a:pt x="16" y="5"/>
                    <a:pt x="15" y="7"/>
                    <a:pt x="14" y="8"/>
                  </a:cubicBezTo>
                  <a:cubicBezTo>
                    <a:pt x="13" y="9"/>
                    <a:pt x="10" y="9"/>
                    <a:pt x="8" y="9"/>
                  </a:cubicBezTo>
                  <a:close/>
                  <a:moveTo>
                    <a:pt x="2" y="7"/>
                  </a:moveTo>
                  <a:cubicBezTo>
                    <a:pt x="7" y="8"/>
                    <a:pt x="11" y="8"/>
                    <a:pt x="13" y="7"/>
                  </a:cubicBezTo>
                  <a:cubicBezTo>
                    <a:pt x="14" y="6"/>
                    <a:pt x="14" y="5"/>
                    <a:pt x="14" y="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2"/>
                    <a:pt x="6" y="5"/>
                    <a:pt x="2" y="7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3" name="ExtraShape7">
              <a:extLst>
                <a:ext uri="{FF2B5EF4-FFF2-40B4-BE49-F238E27FC236}">
                  <a16:creationId xmlns:a16="http://schemas.microsoft.com/office/drawing/2014/main" id="{B3EF4973-8BD0-48CF-956B-3E4C7E8B18FD}"/>
                </a:ext>
              </a:extLst>
            </p:cNvPr>
            <p:cNvSpPr/>
            <p:nvPr/>
          </p:nvSpPr>
          <p:spPr bwMode="auto">
            <a:xfrm>
              <a:off x="3049160" y="5353945"/>
              <a:ext cx="36001" cy="50823"/>
            </a:xfrm>
            <a:custGeom>
              <a:avLst/>
              <a:gdLst>
                <a:gd name="T0" fmla="*/ 0 w 10"/>
                <a:gd name="T1" fmla="*/ 14 h 14"/>
                <a:gd name="T2" fmla="*/ 0 w 10"/>
                <a:gd name="T3" fmla="*/ 14 h 14"/>
                <a:gd name="T4" fmla="*/ 0 w 10"/>
                <a:gd name="T5" fmla="*/ 13 h 14"/>
                <a:gd name="T6" fmla="*/ 5 w 10"/>
                <a:gd name="T7" fmla="*/ 1 h 14"/>
                <a:gd name="T8" fmla="*/ 8 w 10"/>
                <a:gd name="T9" fmla="*/ 0 h 14"/>
                <a:gd name="T10" fmla="*/ 10 w 10"/>
                <a:gd name="T11" fmla="*/ 2 h 14"/>
                <a:gd name="T12" fmla="*/ 1 w 10"/>
                <a:gd name="T13" fmla="*/ 14 h 14"/>
                <a:gd name="T14" fmla="*/ 0 w 10"/>
                <a:gd name="T15" fmla="*/ 14 h 14"/>
                <a:gd name="T16" fmla="*/ 7 w 10"/>
                <a:gd name="T17" fmla="*/ 2 h 14"/>
                <a:gd name="T18" fmla="*/ 6 w 10"/>
                <a:gd name="T19" fmla="*/ 2 h 14"/>
                <a:gd name="T20" fmla="*/ 1 w 10"/>
                <a:gd name="T21" fmla="*/ 12 h 14"/>
                <a:gd name="T22" fmla="*/ 9 w 10"/>
                <a:gd name="T23" fmla="*/ 2 h 14"/>
                <a:gd name="T24" fmla="*/ 8 w 10"/>
                <a:gd name="T25" fmla="*/ 2 h 14"/>
                <a:gd name="T26" fmla="*/ 7 w 10"/>
                <a:gd name="T2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14">
                  <a:moveTo>
                    <a:pt x="0" y="14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1" y="4"/>
                    <a:pt x="5" y="1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10" y="0"/>
                    <a:pt x="10" y="1"/>
                    <a:pt x="10" y="2"/>
                  </a:cubicBezTo>
                  <a:cubicBezTo>
                    <a:pt x="10" y="6"/>
                    <a:pt x="4" y="12"/>
                    <a:pt x="1" y="14"/>
                  </a:cubicBezTo>
                  <a:lnTo>
                    <a:pt x="0" y="14"/>
                  </a:lnTo>
                  <a:close/>
                  <a:moveTo>
                    <a:pt x="7" y="2"/>
                  </a:moveTo>
                  <a:cubicBezTo>
                    <a:pt x="7" y="2"/>
                    <a:pt x="6" y="2"/>
                    <a:pt x="6" y="2"/>
                  </a:cubicBezTo>
                  <a:cubicBezTo>
                    <a:pt x="3" y="4"/>
                    <a:pt x="2" y="9"/>
                    <a:pt x="1" y="12"/>
                  </a:cubicBezTo>
                  <a:cubicBezTo>
                    <a:pt x="5" y="10"/>
                    <a:pt x="9" y="4"/>
                    <a:pt x="9" y="2"/>
                  </a:cubicBezTo>
                  <a:cubicBezTo>
                    <a:pt x="9" y="2"/>
                    <a:pt x="8" y="2"/>
                    <a:pt x="8" y="2"/>
                  </a:cubicBezTo>
                  <a:lnTo>
                    <a:pt x="7" y="2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4" name="ExtraShape8">
              <a:extLst>
                <a:ext uri="{FF2B5EF4-FFF2-40B4-BE49-F238E27FC236}">
                  <a16:creationId xmlns:a16="http://schemas.microsoft.com/office/drawing/2014/main" id="{928F85B0-2129-4517-BEE9-41DE8D7C909F}"/>
                </a:ext>
              </a:extLst>
            </p:cNvPr>
            <p:cNvSpPr/>
            <p:nvPr/>
          </p:nvSpPr>
          <p:spPr bwMode="auto">
            <a:xfrm>
              <a:off x="3673868" y="5375122"/>
              <a:ext cx="67765" cy="31765"/>
            </a:xfrm>
            <a:custGeom>
              <a:avLst/>
              <a:gdLst>
                <a:gd name="T0" fmla="*/ 10 w 19"/>
                <a:gd name="T1" fmla="*/ 9 h 9"/>
                <a:gd name="T2" fmla="*/ 0 w 19"/>
                <a:gd name="T3" fmla="*/ 8 h 9"/>
                <a:gd name="T4" fmla="*/ 0 w 19"/>
                <a:gd name="T5" fmla="*/ 8 h 9"/>
                <a:gd name="T6" fmla="*/ 0 w 19"/>
                <a:gd name="T7" fmla="*/ 7 h 9"/>
                <a:gd name="T8" fmla="*/ 18 w 19"/>
                <a:gd name="T9" fmla="*/ 2 h 9"/>
                <a:gd name="T10" fmla="*/ 19 w 19"/>
                <a:gd name="T11" fmla="*/ 4 h 9"/>
                <a:gd name="T12" fmla="*/ 18 w 19"/>
                <a:gd name="T13" fmla="*/ 7 h 9"/>
                <a:gd name="T14" fmla="*/ 10 w 19"/>
                <a:gd name="T15" fmla="*/ 9 h 9"/>
                <a:gd name="T16" fmla="*/ 3 w 19"/>
                <a:gd name="T17" fmla="*/ 7 h 9"/>
                <a:gd name="T18" fmla="*/ 17 w 19"/>
                <a:gd name="T19" fmla="*/ 6 h 9"/>
                <a:gd name="T20" fmla="*/ 18 w 19"/>
                <a:gd name="T21" fmla="*/ 4 h 9"/>
                <a:gd name="T22" fmla="*/ 17 w 19"/>
                <a:gd name="T23" fmla="*/ 3 h 9"/>
                <a:gd name="T24" fmla="*/ 3 w 19"/>
                <a:gd name="T2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9">
                  <a:moveTo>
                    <a:pt x="10" y="9"/>
                  </a:moveTo>
                  <a:cubicBezTo>
                    <a:pt x="7" y="9"/>
                    <a:pt x="3" y="9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6"/>
                    <a:pt x="15" y="0"/>
                    <a:pt x="18" y="2"/>
                  </a:cubicBezTo>
                  <a:cubicBezTo>
                    <a:pt x="19" y="2"/>
                    <a:pt x="19" y="3"/>
                    <a:pt x="19" y="4"/>
                  </a:cubicBezTo>
                  <a:cubicBezTo>
                    <a:pt x="19" y="5"/>
                    <a:pt x="19" y="6"/>
                    <a:pt x="18" y="7"/>
                  </a:cubicBezTo>
                  <a:cubicBezTo>
                    <a:pt x="16" y="9"/>
                    <a:pt x="13" y="9"/>
                    <a:pt x="10" y="9"/>
                  </a:cubicBezTo>
                  <a:close/>
                  <a:moveTo>
                    <a:pt x="3" y="7"/>
                  </a:moveTo>
                  <a:cubicBezTo>
                    <a:pt x="10" y="8"/>
                    <a:pt x="15" y="8"/>
                    <a:pt x="17" y="6"/>
                  </a:cubicBezTo>
                  <a:cubicBezTo>
                    <a:pt x="18" y="6"/>
                    <a:pt x="18" y="5"/>
                    <a:pt x="18" y="4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5" y="2"/>
                    <a:pt x="8" y="5"/>
                    <a:pt x="3" y="7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5" name="ExtraShape9">
              <a:extLst>
                <a:ext uri="{FF2B5EF4-FFF2-40B4-BE49-F238E27FC236}">
                  <a16:creationId xmlns:a16="http://schemas.microsoft.com/office/drawing/2014/main" id="{C8829B79-9A65-460A-BA67-E93BFA06FAF2}"/>
                </a:ext>
              </a:extLst>
            </p:cNvPr>
            <p:cNvSpPr/>
            <p:nvPr/>
          </p:nvSpPr>
          <p:spPr bwMode="auto">
            <a:xfrm>
              <a:off x="3673868" y="5353945"/>
              <a:ext cx="46588" cy="50823"/>
            </a:xfrm>
            <a:custGeom>
              <a:avLst/>
              <a:gdLst>
                <a:gd name="T0" fmla="*/ 1 w 13"/>
                <a:gd name="T1" fmla="*/ 14 h 14"/>
                <a:gd name="T2" fmla="*/ 0 w 13"/>
                <a:gd name="T3" fmla="*/ 14 h 14"/>
                <a:gd name="T4" fmla="*/ 0 w 13"/>
                <a:gd name="T5" fmla="*/ 13 h 14"/>
                <a:gd name="T6" fmla="*/ 5 w 13"/>
                <a:gd name="T7" fmla="*/ 1 h 14"/>
                <a:gd name="T8" fmla="*/ 10 w 13"/>
                <a:gd name="T9" fmla="*/ 0 h 14"/>
                <a:gd name="T10" fmla="*/ 12 w 13"/>
                <a:gd name="T11" fmla="*/ 2 h 14"/>
                <a:gd name="T12" fmla="*/ 1 w 13"/>
                <a:gd name="T13" fmla="*/ 14 h 14"/>
                <a:gd name="T14" fmla="*/ 9 w 13"/>
                <a:gd name="T15" fmla="*/ 2 h 14"/>
                <a:gd name="T16" fmla="*/ 6 w 13"/>
                <a:gd name="T17" fmla="*/ 3 h 14"/>
                <a:gd name="T18" fmla="*/ 2 w 13"/>
                <a:gd name="T19" fmla="*/ 12 h 14"/>
                <a:gd name="T20" fmla="*/ 11 w 13"/>
                <a:gd name="T21" fmla="*/ 2 h 14"/>
                <a:gd name="T22" fmla="*/ 9 w 13"/>
                <a:gd name="T23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" y="14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1" y="5"/>
                    <a:pt x="5" y="1"/>
                  </a:cubicBezTo>
                  <a:cubicBezTo>
                    <a:pt x="7" y="0"/>
                    <a:pt x="8" y="0"/>
                    <a:pt x="10" y="0"/>
                  </a:cubicBezTo>
                  <a:cubicBezTo>
                    <a:pt x="12" y="0"/>
                    <a:pt x="12" y="1"/>
                    <a:pt x="12" y="2"/>
                  </a:cubicBezTo>
                  <a:cubicBezTo>
                    <a:pt x="13" y="6"/>
                    <a:pt x="5" y="12"/>
                    <a:pt x="1" y="14"/>
                  </a:cubicBezTo>
                  <a:close/>
                  <a:moveTo>
                    <a:pt x="9" y="2"/>
                  </a:moveTo>
                  <a:cubicBezTo>
                    <a:pt x="8" y="2"/>
                    <a:pt x="7" y="2"/>
                    <a:pt x="6" y="3"/>
                  </a:cubicBezTo>
                  <a:cubicBezTo>
                    <a:pt x="4" y="5"/>
                    <a:pt x="2" y="10"/>
                    <a:pt x="2" y="12"/>
                  </a:cubicBezTo>
                  <a:cubicBezTo>
                    <a:pt x="6" y="10"/>
                    <a:pt x="11" y="5"/>
                    <a:pt x="11" y="2"/>
                  </a:cubicBezTo>
                  <a:cubicBezTo>
                    <a:pt x="11" y="2"/>
                    <a:pt x="11" y="2"/>
                    <a:pt x="9" y="2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6" name="ExtraShape">
              <a:extLst>
                <a:ext uri="{FF2B5EF4-FFF2-40B4-BE49-F238E27FC236}">
                  <a16:creationId xmlns:a16="http://schemas.microsoft.com/office/drawing/2014/main" id="{C60C6B9B-332D-4F5E-B946-35CFC46BAE05}"/>
                </a:ext>
              </a:extLst>
            </p:cNvPr>
            <p:cNvSpPr/>
            <p:nvPr/>
          </p:nvSpPr>
          <p:spPr bwMode="auto">
            <a:xfrm>
              <a:off x="2930572" y="3191823"/>
              <a:ext cx="1032679" cy="2064710"/>
            </a:xfrm>
            <a:custGeom>
              <a:avLst/>
              <a:gdLst>
                <a:gd name="connsiteX0" fmla="*/ 764527 w 1032679"/>
                <a:gd name="connsiteY0" fmla="*/ 0 h 2064710"/>
                <a:gd name="connsiteX1" fmla="*/ 1030797 w 1032679"/>
                <a:gd name="connsiteY1" fmla="*/ 1139271 h 2064710"/>
                <a:gd name="connsiteX2" fmla="*/ 799563 w 1032679"/>
                <a:gd name="connsiteY2" fmla="*/ 2064710 h 2064710"/>
                <a:gd name="connsiteX3" fmla="*/ 613875 w 1032679"/>
                <a:gd name="connsiteY3" fmla="*/ 2064710 h 2064710"/>
                <a:gd name="connsiteX4" fmla="*/ 732996 w 1032679"/>
                <a:gd name="connsiteY4" fmla="*/ 1163810 h 2064710"/>
                <a:gd name="connsiteX5" fmla="*/ 636060 w 1032679"/>
                <a:gd name="connsiteY5" fmla="*/ 724218 h 2064710"/>
                <a:gd name="connsiteX6" fmla="*/ 598163 w 1032679"/>
                <a:gd name="connsiteY6" fmla="*/ 632353 h 2064710"/>
                <a:gd name="connsiteX7" fmla="*/ 598660 w 1032679"/>
                <a:gd name="connsiteY7" fmla="*/ 649210 h 2064710"/>
                <a:gd name="connsiteX8" fmla="*/ 561638 w 1032679"/>
                <a:gd name="connsiteY8" fmla="*/ 1136163 h 2064710"/>
                <a:gd name="connsiteX9" fmla="*/ 196574 w 1032679"/>
                <a:gd name="connsiteY9" fmla="*/ 2064710 h 2064710"/>
                <a:gd name="connsiteX10" fmla="*/ 0 w 1032679"/>
                <a:gd name="connsiteY10" fmla="*/ 2064710 h 2064710"/>
                <a:gd name="connsiteX11" fmla="*/ 235186 w 1032679"/>
                <a:gd name="connsiteY11" fmla="*/ 1167699 h 2064710"/>
                <a:gd name="connsiteX12" fmla="*/ 193063 w 1032679"/>
                <a:gd name="connsiteY12" fmla="*/ 74466 h 2064710"/>
                <a:gd name="connsiteX13" fmla="*/ 561638 w 1032679"/>
                <a:gd name="connsiteY13" fmla="*/ 25411 h 2064710"/>
                <a:gd name="connsiteX14" fmla="*/ 561684 w 1032679"/>
                <a:gd name="connsiteY14" fmla="*/ 25860 h 2064710"/>
                <a:gd name="connsiteX15" fmla="*/ 585244 w 1032679"/>
                <a:gd name="connsiteY15" fmla="*/ 22765 h 2064710"/>
                <a:gd name="connsiteX16" fmla="*/ 764527 w 1032679"/>
                <a:gd name="connsiteY16" fmla="*/ 0 h 206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2679" h="2064710">
                  <a:moveTo>
                    <a:pt x="764527" y="0"/>
                  </a:moveTo>
                  <a:cubicBezTo>
                    <a:pt x="764527" y="0"/>
                    <a:pt x="1058825" y="809759"/>
                    <a:pt x="1030797" y="1139271"/>
                  </a:cubicBezTo>
                  <a:cubicBezTo>
                    <a:pt x="995761" y="1482806"/>
                    <a:pt x="799563" y="2064710"/>
                    <a:pt x="799563" y="2064710"/>
                  </a:cubicBezTo>
                  <a:cubicBezTo>
                    <a:pt x="613875" y="2064710"/>
                    <a:pt x="613875" y="2064710"/>
                    <a:pt x="613875" y="2064710"/>
                  </a:cubicBezTo>
                  <a:cubicBezTo>
                    <a:pt x="613875" y="2064710"/>
                    <a:pt x="722485" y="1503838"/>
                    <a:pt x="732996" y="1163810"/>
                  </a:cubicBezTo>
                  <a:cubicBezTo>
                    <a:pt x="738251" y="1025783"/>
                    <a:pt x="694238" y="874446"/>
                    <a:pt x="636060" y="724218"/>
                  </a:cubicBezTo>
                  <a:lnTo>
                    <a:pt x="598163" y="632353"/>
                  </a:lnTo>
                  <a:lnTo>
                    <a:pt x="598660" y="649210"/>
                  </a:lnTo>
                  <a:cubicBezTo>
                    <a:pt x="601129" y="835426"/>
                    <a:pt x="593231" y="1020533"/>
                    <a:pt x="561638" y="1136163"/>
                  </a:cubicBezTo>
                  <a:cubicBezTo>
                    <a:pt x="466862" y="1476047"/>
                    <a:pt x="196574" y="2064710"/>
                    <a:pt x="196574" y="2064710"/>
                  </a:cubicBezTo>
                  <a:cubicBezTo>
                    <a:pt x="0" y="2064710"/>
                    <a:pt x="0" y="2064710"/>
                    <a:pt x="0" y="2064710"/>
                  </a:cubicBezTo>
                  <a:cubicBezTo>
                    <a:pt x="0" y="2064710"/>
                    <a:pt x="172002" y="1504078"/>
                    <a:pt x="235186" y="1167699"/>
                  </a:cubicBezTo>
                  <a:cubicBezTo>
                    <a:pt x="301881" y="803288"/>
                    <a:pt x="210614" y="344271"/>
                    <a:pt x="193063" y="74466"/>
                  </a:cubicBezTo>
                  <a:cubicBezTo>
                    <a:pt x="410698" y="46435"/>
                    <a:pt x="561638" y="25411"/>
                    <a:pt x="561638" y="25411"/>
                  </a:cubicBezTo>
                  <a:lnTo>
                    <a:pt x="561684" y="25860"/>
                  </a:lnTo>
                  <a:lnTo>
                    <a:pt x="585244" y="22765"/>
                  </a:lnTo>
                  <a:cubicBezTo>
                    <a:pt x="686519" y="9585"/>
                    <a:pt x="764527" y="0"/>
                    <a:pt x="764527" y="0"/>
                  </a:cubicBez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27" name="RelativeShape1">
              <a:extLst>
                <a:ext uri="{FF2B5EF4-FFF2-40B4-BE49-F238E27FC236}">
                  <a16:creationId xmlns:a16="http://schemas.microsoft.com/office/drawing/2014/main" id="{BDB3FDFA-008E-482F-86E7-64B365F3E755}"/>
                </a:ext>
              </a:extLst>
            </p:cNvPr>
            <p:cNvSpPr/>
            <p:nvPr/>
          </p:nvSpPr>
          <p:spPr bwMode="auto">
            <a:xfrm flipH="1">
              <a:off x="5655195" y="2192282"/>
              <a:ext cx="4635434" cy="418313"/>
            </a:xfrm>
            <a:prstGeom prst="roundRect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28" name="ValueShape1">
              <a:extLst>
                <a:ext uri="{FF2B5EF4-FFF2-40B4-BE49-F238E27FC236}">
                  <a16:creationId xmlns:a16="http://schemas.microsoft.com/office/drawing/2014/main" id="{DA474CBE-59A5-4945-9287-7BB3C0CCF316}"/>
                </a:ext>
              </a:extLst>
            </p:cNvPr>
            <p:cNvSpPr/>
            <p:nvPr/>
          </p:nvSpPr>
          <p:spPr bwMode="auto">
            <a:xfrm flipH="1">
              <a:off x="5655195" y="2192282"/>
              <a:ext cx="2898929" cy="418313"/>
            </a:xfrm>
            <a:prstGeom prst="roundRect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29" name="ValueText1">
              <a:extLst>
                <a:ext uri="{FF2B5EF4-FFF2-40B4-BE49-F238E27FC236}">
                  <a16:creationId xmlns:a16="http://schemas.microsoft.com/office/drawing/2014/main" id="{F96B7952-BE51-402F-AB9E-D440013998CC}"/>
                </a:ext>
              </a:extLst>
            </p:cNvPr>
            <p:cNvSpPr txBox="1"/>
            <p:nvPr/>
          </p:nvSpPr>
          <p:spPr>
            <a:xfrm>
              <a:off x="6544668" y="1620812"/>
              <a:ext cx="523793" cy="392841"/>
            </a:xfrm>
            <a:prstGeom prst="rect">
              <a:avLst/>
            </a:prstGeom>
            <a:noFill/>
          </p:spPr>
          <p:txBody>
            <a:bodyPr wrap="none" anchor="ctr" anchorCtr="0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sz="6000">
                  <a:solidFill>
                    <a:schemeClr val="accent3">
                      <a:lumMod val="100000"/>
                    </a:schemeClr>
                  </a:solidFill>
                  <a:latin typeface="+mj-lt"/>
                </a:rPr>
                <a:t>63%</a:t>
              </a:r>
              <a:endParaRPr lang="en-US" sz="6000" dirty="0">
                <a:solidFill>
                  <a:schemeClr val="accent3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30" name="ValueBack1">
              <a:extLst>
                <a:ext uri="{FF2B5EF4-FFF2-40B4-BE49-F238E27FC236}">
                  <a16:creationId xmlns:a16="http://schemas.microsoft.com/office/drawing/2014/main" id="{19939C36-819F-45E2-891D-173C9C279B1C}"/>
                </a:ext>
              </a:extLst>
            </p:cNvPr>
            <p:cNvSpPr/>
            <p:nvPr/>
          </p:nvSpPr>
          <p:spPr>
            <a:xfrm>
              <a:off x="8289157" y="2136471"/>
              <a:ext cx="529934" cy="529934"/>
            </a:xfrm>
            <a:prstGeom prst="ellipse">
              <a:avLst/>
            </a:prstGeom>
            <a:solidFill>
              <a:schemeClr val="accent3">
                <a:lumMod val="100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31" name="IconShape1">
              <a:extLst>
                <a:ext uri="{FF2B5EF4-FFF2-40B4-BE49-F238E27FC236}">
                  <a16:creationId xmlns:a16="http://schemas.microsoft.com/office/drawing/2014/main" id="{55973DC6-AB3A-4EF7-A98B-C2AB07A2B6E6}"/>
                </a:ext>
              </a:extLst>
            </p:cNvPr>
            <p:cNvSpPr/>
            <p:nvPr/>
          </p:nvSpPr>
          <p:spPr bwMode="auto">
            <a:xfrm>
              <a:off x="8441596" y="2300524"/>
              <a:ext cx="225057" cy="201828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09544" h="546632">
                  <a:moveTo>
                    <a:pt x="153550" y="385358"/>
                  </a:moveTo>
                  <a:cubicBezTo>
                    <a:pt x="157866" y="386597"/>
                    <a:pt x="221810" y="399282"/>
                    <a:pt x="239569" y="402850"/>
                  </a:cubicBezTo>
                  <a:lnTo>
                    <a:pt x="239569" y="500666"/>
                  </a:lnTo>
                  <a:cubicBezTo>
                    <a:pt x="239569" y="505621"/>
                    <a:pt x="236841" y="510180"/>
                    <a:pt x="232426" y="512409"/>
                  </a:cubicBezTo>
                  <a:lnTo>
                    <a:pt x="168035" y="545510"/>
                  </a:lnTo>
                  <a:cubicBezTo>
                    <a:pt x="161438" y="548929"/>
                    <a:pt x="153550" y="544123"/>
                    <a:pt x="153550" y="536739"/>
                  </a:cubicBezTo>
                  <a:close/>
                  <a:moveTo>
                    <a:pt x="567205" y="166111"/>
                  </a:moveTo>
                  <a:cubicBezTo>
                    <a:pt x="592469" y="180390"/>
                    <a:pt x="609544" y="207510"/>
                    <a:pt x="609544" y="238645"/>
                  </a:cubicBezTo>
                  <a:lnTo>
                    <a:pt x="609544" y="238843"/>
                  </a:lnTo>
                  <a:lnTo>
                    <a:pt x="609544" y="239042"/>
                  </a:lnTo>
                  <a:cubicBezTo>
                    <a:pt x="609544" y="270128"/>
                    <a:pt x="592469" y="297198"/>
                    <a:pt x="567205" y="311476"/>
                  </a:cubicBezTo>
                  <a:lnTo>
                    <a:pt x="567205" y="246826"/>
                  </a:lnTo>
                  <a:lnTo>
                    <a:pt x="567205" y="238794"/>
                  </a:lnTo>
                  <a:lnTo>
                    <a:pt x="567205" y="230861"/>
                  </a:lnTo>
                  <a:close/>
                  <a:moveTo>
                    <a:pt x="528145" y="0"/>
                  </a:moveTo>
                  <a:cubicBezTo>
                    <a:pt x="535045" y="0"/>
                    <a:pt x="541448" y="5353"/>
                    <a:pt x="541448" y="13233"/>
                  </a:cubicBezTo>
                  <a:lnTo>
                    <a:pt x="541448" y="167027"/>
                  </a:lnTo>
                  <a:lnTo>
                    <a:pt x="541448" y="238794"/>
                  </a:lnTo>
                  <a:lnTo>
                    <a:pt x="541448" y="326074"/>
                  </a:lnTo>
                  <a:lnTo>
                    <a:pt x="541448" y="464404"/>
                  </a:lnTo>
                  <a:cubicBezTo>
                    <a:pt x="541448" y="472234"/>
                    <a:pt x="535045" y="477587"/>
                    <a:pt x="528145" y="477587"/>
                  </a:cubicBezTo>
                  <a:cubicBezTo>
                    <a:pt x="525365" y="477587"/>
                    <a:pt x="522586" y="476745"/>
                    <a:pt x="520054" y="474812"/>
                  </a:cubicBezTo>
                  <a:cubicBezTo>
                    <a:pt x="453887" y="424159"/>
                    <a:pt x="338380" y="396503"/>
                    <a:pt x="239601" y="376777"/>
                  </a:cubicBezTo>
                  <a:cubicBezTo>
                    <a:pt x="216470" y="372118"/>
                    <a:pt x="171399" y="363543"/>
                    <a:pt x="170208" y="363295"/>
                  </a:cubicBezTo>
                  <a:cubicBezTo>
                    <a:pt x="164400" y="362007"/>
                    <a:pt x="158841" y="360520"/>
                    <a:pt x="153529" y="358736"/>
                  </a:cubicBezTo>
                  <a:cubicBezTo>
                    <a:pt x="124839" y="348922"/>
                    <a:pt x="103395" y="331278"/>
                    <a:pt x="89348" y="308826"/>
                  </a:cubicBezTo>
                  <a:lnTo>
                    <a:pt x="70287" y="308975"/>
                  </a:lnTo>
                  <a:cubicBezTo>
                    <a:pt x="31570" y="308876"/>
                    <a:pt x="50" y="277750"/>
                    <a:pt x="50" y="238794"/>
                  </a:cubicBezTo>
                  <a:lnTo>
                    <a:pt x="0" y="238794"/>
                  </a:lnTo>
                  <a:cubicBezTo>
                    <a:pt x="0" y="199788"/>
                    <a:pt x="31371" y="168712"/>
                    <a:pt x="70138" y="168662"/>
                  </a:cubicBezTo>
                  <a:lnTo>
                    <a:pt x="89298" y="168712"/>
                  </a:lnTo>
                  <a:cubicBezTo>
                    <a:pt x="105877" y="142295"/>
                    <a:pt x="132880" y="122122"/>
                    <a:pt x="170208" y="114292"/>
                  </a:cubicBezTo>
                  <a:cubicBezTo>
                    <a:pt x="171349" y="114093"/>
                    <a:pt x="172541" y="113746"/>
                    <a:pt x="173732" y="113548"/>
                  </a:cubicBezTo>
                  <a:cubicBezTo>
                    <a:pt x="281595" y="92732"/>
                    <a:pt x="438400" y="65373"/>
                    <a:pt x="520054" y="2775"/>
                  </a:cubicBezTo>
                  <a:cubicBezTo>
                    <a:pt x="522586" y="892"/>
                    <a:pt x="525415" y="0"/>
                    <a:pt x="52814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2" name="ValueText2">
              <a:extLst>
                <a:ext uri="{FF2B5EF4-FFF2-40B4-BE49-F238E27FC236}">
                  <a16:creationId xmlns:a16="http://schemas.microsoft.com/office/drawing/2014/main" id="{8433BF9B-5E22-41D8-806B-CABC357ABC2A}"/>
                </a:ext>
              </a:extLst>
            </p:cNvPr>
            <p:cNvSpPr txBox="1"/>
            <p:nvPr/>
          </p:nvSpPr>
          <p:spPr>
            <a:xfrm>
              <a:off x="6543606" y="2995896"/>
              <a:ext cx="523793" cy="392841"/>
            </a:xfrm>
            <a:prstGeom prst="rect">
              <a:avLst/>
            </a:prstGeom>
            <a:noFill/>
          </p:spPr>
          <p:txBody>
            <a:bodyPr wrap="none" anchor="ctr" anchorCtr="0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sz="6000">
                  <a:solidFill>
                    <a:schemeClr val="accent6">
                      <a:lumMod val="100000"/>
                    </a:schemeClr>
                  </a:solidFill>
                  <a:latin typeface="+mj-lt"/>
                </a:rPr>
                <a:t>73%</a:t>
              </a:r>
              <a:endParaRPr lang="en-US" sz="6000" dirty="0">
                <a:solidFill>
                  <a:schemeClr val="accent6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33" name="RelativeShape2">
              <a:extLst>
                <a:ext uri="{FF2B5EF4-FFF2-40B4-BE49-F238E27FC236}">
                  <a16:creationId xmlns:a16="http://schemas.microsoft.com/office/drawing/2014/main" id="{BC7CD3D4-39C7-4320-B384-07A7123DDE2C}"/>
                </a:ext>
              </a:extLst>
            </p:cNvPr>
            <p:cNvSpPr/>
            <p:nvPr/>
          </p:nvSpPr>
          <p:spPr bwMode="auto">
            <a:xfrm flipH="1">
              <a:off x="5655192" y="3527274"/>
              <a:ext cx="4635432" cy="418313"/>
            </a:xfrm>
            <a:prstGeom prst="roundRect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34" name="ValueShape2">
              <a:extLst>
                <a:ext uri="{FF2B5EF4-FFF2-40B4-BE49-F238E27FC236}">
                  <a16:creationId xmlns:a16="http://schemas.microsoft.com/office/drawing/2014/main" id="{8CE92878-527B-47F7-9322-A8EFA4134A7E}"/>
                </a:ext>
              </a:extLst>
            </p:cNvPr>
            <p:cNvSpPr/>
            <p:nvPr/>
          </p:nvSpPr>
          <p:spPr bwMode="auto">
            <a:xfrm flipH="1">
              <a:off x="5655192" y="3527274"/>
              <a:ext cx="3387431" cy="418313"/>
            </a:xfrm>
            <a:prstGeom prst="roundRect">
              <a:avLst/>
            </a:prstGeom>
            <a:solidFill>
              <a:schemeClr val="accent6">
                <a:lumMod val="10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35" name="ValueBack2">
              <a:extLst>
                <a:ext uri="{FF2B5EF4-FFF2-40B4-BE49-F238E27FC236}">
                  <a16:creationId xmlns:a16="http://schemas.microsoft.com/office/drawing/2014/main" id="{9096A1F9-9963-430A-B3BE-28AD6DB075F6}"/>
                </a:ext>
              </a:extLst>
            </p:cNvPr>
            <p:cNvSpPr/>
            <p:nvPr/>
          </p:nvSpPr>
          <p:spPr>
            <a:xfrm>
              <a:off x="8777656" y="3471463"/>
              <a:ext cx="529934" cy="529934"/>
            </a:xfrm>
            <a:prstGeom prst="ellipse">
              <a:avLst/>
            </a:prstGeom>
            <a:solidFill>
              <a:schemeClr val="accent6">
                <a:lumMod val="100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36" name="IconShape2">
              <a:extLst>
                <a:ext uri="{FF2B5EF4-FFF2-40B4-BE49-F238E27FC236}">
                  <a16:creationId xmlns:a16="http://schemas.microsoft.com/office/drawing/2014/main" id="{9A40DBEB-0B81-484E-B018-CEC57398334C}"/>
                </a:ext>
              </a:extLst>
            </p:cNvPr>
            <p:cNvSpPr/>
            <p:nvPr/>
          </p:nvSpPr>
          <p:spPr bwMode="auto">
            <a:xfrm>
              <a:off x="8930095" y="3635516"/>
              <a:ext cx="225057" cy="201828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09544" h="546632">
                  <a:moveTo>
                    <a:pt x="153550" y="385358"/>
                  </a:moveTo>
                  <a:cubicBezTo>
                    <a:pt x="157866" y="386597"/>
                    <a:pt x="221810" y="399282"/>
                    <a:pt x="239569" y="402850"/>
                  </a:cubicBezTo>
                  <a:lnTo>
                    <a:pt x="239569" y="500666"/>
                  </a:lnTo>
                  <a:cubicBezTo>
                    <a:pt x="239569" y="505621"/>
                    <a:pt x="236841" y="510180"/>
                    <a:pt x="232426" y="512409"/>
                  </a:cubicBezTo>
                  <a:lnTo>
                    <a:pt x="168035" y="545510"/>
                  </a:lnTo>
                  <a:cubicBezTo>
                    <a:pt x="161438" y="548929"/>
                    <a:pt x="153550" y="544123"/>
                    <a:pt x="153550" y="536739"/>
                  </a:cubicBezTo>
                  <a:close/>
                  <a:moveTo>
                    <a:pt x="567205" y="166111"/>
                  </a:moveTo>
                  <a:cubicBezTo>
                    <a:pt x="592469" y="180390"/>
                    <a:pt x="609544" y="207510"/>
                    <a:pt x="609544" y="238645"/>
                  </a:cubicBezTo>
                  <a:lnTo>
                    <a:pt x="609544" y="238843"/>
                  </a:lnTo>
                  <a:lnTo>
                    <a:pt x="609544" y="239042"/>
                  </a:lnTo>
                  <a:cubicBezTo>
                    <a:pt x="609544" y="270128"/>
                    <a:pt x="592469" y="297198"/>
                    <a:pt x="567205" y="311476"/>
                  </a:cubicBezTo>
                  <a:lnTo>
                    <a:pt x="567205" y="246826"/>
                  </a:lnTo>
                  <a:lnTo>
                    <a:pt x="567205" y="238794"/>
                  </a:lnTo>
                  <a:lnTo>
                    <a:pt x="567205" y="230861"/>
                  </a:lnTo>
                  <a:close/>
                  <a:moveTo>
                    <a:pt x="528145" y="0"/>
                  </a:moveTo>
                  <a:cubicBezTo>
                    <a:pt x="535045" y="0"/>
                    <a:pt x="541448" y="5353"/>
                    <a:pt x="541448" y="13233"/>
                  </a:cubicBezTo>
                  <a:lnTo>
                    <a:pt x="541448" y="167027"/>
                  </a:lnTo>
                  <a:lnTo>
                    <a:pt x="541448" y="238794"/>
                  </a:lnTo>
                  <a:lnTo>
                    <a:pt x="541448" y="326074"/>
                  </a:lnTo>
                  <a:lnTo>
                    <a:pt x="541448" y="464404"/>
                  </a:lnTo>
                  <a:cubicBezTo>
                    <a:pt x="541448" y="472234"/>
                    <a:pt x="535045" y="477587"/>
                    <a:pt x="528145" y="477587"/>
                  </a:cubicBezTo>
                  <a:cubicBezTo>
                    <a:pt x="525365" y="477587"/>
                    <a:pt x="522586" y="476745"/>
                    <a:pt x="520054" y="474812"/>
                  </a:cubicBezTo>
                  <a:cubicBezTo>
                    <a:pt x="453887" y="424159"/>
                    <a:pt x="338380" y="396503"/>
                    <a:pt x="239601" y="376777"/>
                  </a:cubicBezTo>
                  <a:cubicBezTo>
                    <a:pt x="216470" y="372118"/>
                    <a:pt x="171399" y="363543"/>
                    <a:pt x="170208" y="363295"/>
                  </a:cubicBezTo>
                  <a:cubicBezTo>
                    <a:pt x="164400" y="362007"/>
                    <a:pt x="158841" y="360520"/>
                    <a:pt x="153529" y="358736"/>
                  </a:cubicBezTo>
                  <a:cubicBezTo>
                    <a:pt x="124839" y="348922"/>
                    <a:pt x="103395" y="331278"/>
                    <a:pt x="89348" y="308826"/>
                  </a:cubicBezTo>
                  <a:lnTo>
                    <a:pt x="70287" y="308975"/>
                  </a:lnTo>
                  <a:cubicBezTo>
                    <a:pt x="31570" y="308876"/>
                    <a:pt x="50" y="277750"/>
                    <a:pt x="50" y="238794"/>
                  </a:cubicBezTo>
                  <a:lnTo>
                    <a:pt x="0" y="238794"/>
                  </a:lnTo>
                  <a:cubicBezTo>
                    <a:pt x="0" y="199788"/>
                    <a:pt x="31371" y="168712"/>
                    <a:pt x="70138" y="168662"/>
                  </a:cubicBezTo>
                  <a:lnTo>
                    <a:pt x="89298" y="168712"/>
                  </a:lnTo>
                  <a:cubicBezTo>
                    <a:pt x="105877" y="142295"/>
                    <a:pt x="132880" y="122122"/>
                    <a:pt x="170208" y="114292"/>
                  </a:cubicBezTo>
                  <a:cubicBezTo>
                    <a:pt x="171349" y="114093"/>
                    <a:pt x="172541" y="113746"/>
                    <a:pt x="173732" y="113548"/>
                  </a:cubicBezTo>
                  <a:cubicBezTo>
                    <a:pt x="281595" y="92732"/>
                    <a:pt x="438400" y="65373"/>
                    <a:pt x="520054" y="2775"/>
                  </a:cubicBezTo>
                  <a:cubicBezTo>
                    <a:pt x="522586" y="892"/>
                    <a:pt x="525415" y="0"/>
                    <a:pt x="52814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7" name="ValueText3">
              <a:extLst>
                <a:ext uri="{FF2B5EF4-FFF2-40B4-BE49-F238E27FC236}">
                  <a16:creationId xmlns:a16="http://schemas.microsoft.com/office/drawing/2014/main" id="{37122DC5-FBC4-4FE9-9308-5C4C097958CE}"/>
                </a:ext>
              </a:extLst>
            </p:cNvPr>
            <p:cNvSpPr txBox="1"/>
            <p:nvPr/>
          </p:nvSpPr>
          <p:spPr>
            <a:xfrm>
              <a:off x="6590320" y="4327591"/>
              <a:ext cx="523793" cy="392841"/>
            </a:xfrm>
            <a:prstGeom prst="rect">
              <a:avLst/>
            </a:prstGeom>
            <a:noFill/>
          </p:spPr>
          <p:txBody>
            <a:bodyPr wrap="none" anchor="ctr" anchorCtr="0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sz="6000">
                  <a:solidFill>
                    <a:schemeClr val="accent5">
                      <a:lumMod val="100000"/>
                    </a:schemeClr>
                  </a:solidFill>
                  <a:latin typeface="+mj-lt"/>
                </a:rPr>
                <a:t>44%</a:t>
              </a:r>
              <a:endParaRPr lang="en-US" sz="6000" dirty="0">
                <a:solidFill>
                  <a:schemeClr val="accent5">
                    <a:lumMod val="100000"/>
                  </a:schemeClr>
                </a:solidFill>
                <a:latin typeface="+mj-lt"/>
              </a:endParaRPr>
            </a:p>
          </p:txBody>
        </p:sp>
        <p:sp>
          <p:nvSpPr>
            <p:cNvPr id="38" name="RelativeShape3">
              <a:extLst>
                <a:ext uri="{FF2B5EF4-FFF2-40B4-BE49-F238E27FC236}">
                  <a16:creationId xmlns:a16="http://schemas.microsoft.com/office/drawing/2014/main" id="{FDF9D6A7-0926-40D7-B1C8-070FDC4E7484}"/>
                </a:ext>
              </a:extLst>
            </p:cNvPr>
            <p:cNvSpPr/>
            <p:nvPr/>
          </p:nvSpPr>
          <p:spPr bwMode="auto">
            <a:xfrm flipH="1">
              <a:off x="5654130" y="4862907"/>
              <a:ext cx="4635432" cy="418313"/>
            </a:xfrm>
            <a:prstGeom prst="roundRect">
              <a:avLst/>
            </a:prstGeom>
            <a:noFill/>
            <a:ln>
              <a:noFill/>
            </a:ln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39" name="ValueShape3">
              <a:extLst>
                <a:ext uri="{FF2B5EF4-FFF2-40B4-BE49-F238E27FC236}">
                  <a16:creationId xmlns:a16="http://schemas.microsoft.com/office/drawing/2014/main" id="{1A8A12B5-634D-4D19-85E8-B7639A2066D4}"/>
                </a:ext>
              </a:extLst>
            </p:cNvPr>
            <p:cNvSpPr/>
            <p:nvPr/>
          </p:nvSpPr>
          <p:spPr bwMode="auto">
            <a:xfrm flipH="1">
              <a:off x="5654130" y="4862907"/>
              <a:ext cx="2050287" cy="418313"/>
            </a:xfrm>
            <a:prstGeom prst="roundRect">
              <a:avLst/>
            </a:prstGeom>
            <a:solidFill>
              <a:schemeClr val="accent5">
                <a:lumMod val="10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latin typeface="+mj-lt"/>
              </a:endParaRPr>
            </a:p>
          </p:txBody>
        </p:sp>
        <p:sp>
          <p:nvSpPr>
            <p:cNvPr id="40" name="ValueBack3">
              <a:extLst>
                <a:ext uri="{FF2B5EF4-FFF2-40B4-BE49-F238E27FC236}">
                  <a16:creationId xmlns:a16="http://schemas.microsoft.com/office/drawing/2014/main" id="{80394D8F-9E2A-4569-BADF-40BAE5A6FEC8}"/>
                </a:ext>
              </a:extLst>
            </p:cNvPr>
            <p:cNvSpPr/>
            <p:nvPr/>
          </p:nvSpPr>
          <p:spPr>
            <a:xfrm>
              <a:off x="7439450" y="4807096"/>
              <a:ext cx="529934" cy="529934"/>
            </a:xfrm>
            <a:prstGeom prst="ellipse">
              <a:avLst/>
            </a:prstGeom>
            <a:solidFill>
              <a:schemeClr val="accent5">
                <a:lumMod val="100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+mj-lt"/>
              </a:endParaRPr>
            </a:p>
          </p:txBody>
        </p:sp>
        <p:sp>
          <p:nvSpPr>
            <p:cNvPr id="41" name="IconShape3">
              <a:extLst>
                <a:ext uri="{FF2B5EF4-FFF2-40B4-BE49-F238E27FC236}">
                  <a16:creationId xmlns:a16="http://schemas.microsoft.com/office/drawing/2014/main" id="{035354AB-CB9E-4726-AC50-A324E0B9AC88}"/>
                </a:ext>
              </a:extLst>
            </p:cNvPr>
            <p:cNvSpPr/>
            <p:nvPr/>
          </p:nvSpPr>
          <p:spPr bwMode="auto">
            <a:xfrm>
              <a:off x="7591889" y="4971149"/>
              <a:ext cx="225057" cy="201828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09544" h="546632">
                  <a:moveTo>
                    <a:pt x="153550" y="385358"/>
                  </a:moveTo>
                  <a:cubicBezTo>
                    <a:pt x="157866" y="386597"/>
                    <a:pt x="221810" y="399282"/>
                    <a:pt x="239569" y="402850"/>
                  </a:cubicBezTo>
                  <a:lnTo>
                    <a:pt x="239569" y="500666"/>
                  </a:lnTo>
                  <a:cubicBezTo>
                    <a:pt x="239569" y="505621"/>
                    <a:pt x="236841" y="510180"/>
                    <a:pt x="232426" y="512409"/>
                  </a:cubicBezTo>
                  <a:lnTo>
                    <a:pt x="168035" y="545510"/>
                  </a:lnTo>
                  <a:cubicBezTo>
                    <a:pt x="161438" y="548929"/>
                    <a:pt x="153550" y="544123"/>
                    <a:pt x="153550" y="536739"/>
                  </a:cubicBezTo>
                  <a:close/>
                  <a:moveTo>
                    <a:pt x="567205" y="166111"/>
                  </a:moveTo>
                  <a:cubicBezTo>
                    <a:pt x="592469" y="180390"/>
                    <a:pt x="609544" y="207510"/>
                    <a:pt x="609544" y="238645"/>
                  </a:cubicBezTo>
                  <a:lnTo>
                    <a:pt x="609544" y="238843"/>
                  </a:lnTo>
                  <a:lnTo>
                    <a:pt x="609544" y="239042"/>
                  </a:lnTo>
                  <a:cubicBezTo>
                    <a:pt x="609544" y="270128"/>
                    <a:pt x="592469" y="297198"/>
                    <a:pt x="567205" y="311476"/>
                  </a:cubicBezTo>
                  <a:lnTo>
                    <a:pt x="567205" y="246826"/>
                  </a:lnTo>
                  <a:lnTo>
                    <a:pt x="567205" y="238794"/>
                  </a:lnTo>
                  <a:lnTo>
                    <a:pt x="567205" y="230861"/>
                  </a:lnTo>
                  <a:close/>
                  <a:moveTo>
                    <a:pt x="528145" y="0"/>
                  </a:moveTo>
                  <a:cubicBezTo>
                    <a:pt x="535045" y="0"/>
                    <a:pt x="541448" y="5353"/>
                    <a:pt x="541448" y="13233"/>
                  </a:cubicBezTo>
                  <a:lnTo>
                    <a:pt x="541448" y="167027"/>
                  </a:lnTo>
                  <a:lnTo>
                    <a:pt x="541448" y="238794"/>
                  </a:lnTo>
                  <a:lnTo>
                    <a:pt x="541448" y="326074"/>
                  </a:lnTo>
                  <a:lnTo>
                    <a:pt x="541448" y="464404"/>
                  </a:lnTo>
                  <a:cubicBezTo>
                    <a:pt x="541448" y="472234"/>
                    <a:pt x="535045" y="477587"/>
                    <a:pt x="528145" y="477587"/>
                  </a:cubicBezTo>
                  <a:cubicBezTo>
                    <a:pt x="525365" y="477587"/>
                    <a:pt x="522586" y="476745"/>
                    <a:pt x="520054" y="474812"/>
                  </a:cubicBezTo>
                  <a:cubicBezTo>
                    <a:pt x="453887" y="424159"/>
                    <a:pt x="338380" y="396503"/>
                    <a:pt x="239601" y="376777"/>
                  </a:cubicBezTo>
                  <a:cubicBezTo>
                    <a:pt x="216470" y="372118"/>
                    <a:pt x="171399" y="363543"/>
                    <a:pt x="170208" y="363295"/>
                  </a:cubicBezTo>
                  <a:cubicBezTo>
                    <a:pt x="164400" y="362007"/>
                    <a:pt x="158841" y="360520"/>
                    <a:pt x="153529" y="358736"/>
                  </a:cubicBezTo>
                  <a:cubicBezTo>
                    <a:pt x="124839" y="348922"/>
                    <a:pt x="103395" y="331278"/>
                    <a:pt x="89348" y="308826"/>
                  </a:cubicBezTo>
                  <a:lnTo>
                    <a:pt x="70287" y="308975"/>
                  </a:lnTo>
                  <a:cubicBezTo>
                    <a:pt x="31570" y="308876"/>
                    <a:pt x="50" y="277750"/>
                    <a:pt x="50" y="238794"/>
                  </a:cubicBezTo>
                  <a:lnTo>
                    <a:pt x="0" y="238794"/>
                  </a:lnTo>
                  <a:cubicBezTo>
                    <a:pt x="0" y="199788"/>
                    <a:pt x="31371" y="168712"/>
                    <a:pt x="70138" y="168662"/>
                  </a:cubicBezTo>
                  <a:lnTo>
                    <a:pt x="89298" y="168712"/>
                  </a:lnTo>
                  <a:cubicBezTo>
                    <a:pt x="105877" y="142295"/>
                    <a:pt x="132880" y="122122"/>
                    <a:pt x="170208" y="114292"/>
                  </a:cubicBezTo>
                  <a:cubicBezTo>
                    <a:pt x="171349" y="114093"/>
                    <a:pt x="172541" y="113746"/>
                    <a:pt x="173732" y="113548"/>
                  </a:cubicBezTo>
                  <a:cubicBezTo>
                    <a:pt x="281595" y="92732"/>
                    <a:pt x="438400" y="65373"/>
                    <a:pt x="520054" y="2775"/>
                  </a:cubicBezTo>
                  <a:cubicBezTo>
                    <a:pt x="522586" y="892"/>
                    <a:pt x="525415" y="0"/>
                    <a:pt x="52814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2" name="CustomText">
              <a:extLst>
                <a:ext uri="{FF2B5EF4-FFF2-40B4-BE49-F238E27FC236}">
                  <a16:creationId xmlns:a16="http://schemas.microsoft.com/office/drawing/2014/main" id="{F6FC490D-C88D-40DB-A6E9-1084CA47FA83}"/>
                </a:ext>
              </a:extLst>
            </p:cNvPr>
            <p:cNvSpPr/>
            <p:nvPr/>
          </p:nvSpPr>
          <p:spPr>
            <a:xfrm>
              <a:off x="5655194" y="1618347"/>
              <a:ext cx="944399" cy="316059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  <a:latin typeface="+mj-lt"/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43" name="CustomText1">
              <a:extLst>
                <a:ext uri="{FF2B5EF4-FFF2-40B4-BE49-F238E27FC236}">
                  <a16:creationId xmlns:a16="http://schemas.microsoft.com/office/drawing/2014/main" id="{2DEDCC17-3D78-40B4-BA72-29879B3B7E11}"/>
                </a:ext>
              </a:extLst>
            </p:cNvPr>
            <p:cNvSpPr/>
            <p:nvPr/>
          </p:nvSpPr>
          <p:spPr bwMode="auto">
            <a:xfrm>
              <a:off x="5655194" y="1875313"/>
              <a:ext cx="944395" cy="216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700" dirty="0">
                  <a:solidFill>
                    <a:schemeClr val="tx2"/>
                  </a:solidFill>
                  <a:latin typeface="+mj-lt"/>
                </a:rPr>
                <a:t>Text Here</a:t>
              </a:r>
              <a:endParaRPr lang="zh-CN" altLang="en-US" sz="700" dirty="0">
                <a:solidFill>
                  <a:schemeClr val="tx2"/>
                </a:solidFill>
                <a:latin typeface="+mj-lt"/>
              </a:endParaRPr>
            </a:p>
            <a:p>
              <a:pPr>
                <a:spcBef>
                  <a:spcPct val="0"/>
                </a:spcBef>
              </a:pPr>
              <a:endParaRPr lang="zh-CN" altLang="en-US" sz="7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44" name="CustomText2">
              <a:extLst>
                <a:ext uri="{FF2B5EF4-FFF2-40B4-BE49-F238E27FC236}">
                  <a16:creationId xmlns:a16="http://schemas.microsoft.com/office/drawing/2014/main" id="{D744CE3D-0D6C-4CE6-8DC9-F69C440D9B1B}"/>
                </a:ext>
              </a:extLst>
            </p:cNvPr>
            <p:cNvSpPr/>
            <p:nvPr/>
          </p:nvSpPr>
          <p:spPr>
            <a:xfrm>
              <a:off x="5654132" y="2955299"/>
              <a:ext cx="944399" cy="316059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  <a:latin typeface="+mj-lt"/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45" name="CustomText">
              <a:extLst>
                <a:ext uri="{FF2B5EF4-FFF2-40B4-BE49-F238E27FC236}">
                  <a16:creationId xmlns:a16="http://schemas.microsoft.com/office/drawing/2014/main" id="{25B1E10D-B02F-40DA-860E-0E2B232F6043}"/>
                </a:ext>
              </a:extLst>
            </p:cNvPr>
            <p:cNvSpPr/>
            <p:nvPr/>
          </p:nvSpPr>
          <p:spPr bwMode="auto">
            <a:xfrm>
              <a:off x="5654132" y="3212265"/>
              <a:ext cx="944395" cy="216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700" dirty="0">
                  <a:solidFill>
                    <a:schemeClr val="tx2"/>
                  </a:solidFill>
                  <a:latin typeface="+mj-lt"/>
                </a:rPr>
                <a:t>Text Here</a:t>
              </a:r>
              <a:endParaRPr lang="zh-CN" altLang="en-US" sz="700" dirty="0">
                <a:solidFill>
                  <a:schemeClr val="tx2"/>
                </a:solidFill>
                <a:latin typeface="+mj-lt"/>
              </a:endParaRPr>
            </a:p>
            <a:p>
              <a:pPr>
                <a:spcBef>
                  <a:spcPct val="0"/>
                </a:spcBef>
              </a:pPr>
              <a:endParaRPr lang="zh-CN" altLang="en-US" sz="7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46" name="CustomText2">
              <a:extLst>
                <a:ext uri="{FF2B5EF4-FFF2-40B4-BE49-F238E27FC236}">
                  <a16:creationId xmlns:a16="http://schemas.microsoft.com/office/drawing/2014/main" id="{01197F70-9673-49CA-94EB-185660FD99C2}"/>
                </a:ext>
              </a:extLst>
            </p:cNvPr>
            <p:cNvSpPr/>
            <p:nvPr/>
          </p:nvSpPr>
          <p:spPr>
            <a:xfrm>
              <a:off x="5700847" y="4290932"/>
              <a:ext cx="944399" cy="316059"/>
            </a:xfrm>
            <a:prstGeom prst="rect">
              <a:avLst/>
            </a:prstGeom>
          </p:spPr>
          <p:txBody>
            <a:bodyPr wrap="square" lIns="90000" tIns="46800" rIns="90000" bIns="46800">
              <a:normAutofit/>
            </a:bodyPr>
            <a:lstStyle/>
            <a:p>
              <a:r>
                <a:rPr lang="en-US" altLang="zh-CN" sz="1200" dirty="0">
                  <a:solidFill>
                    <a:schemeClr val="tx2"/>
                  </a:solidFill>
                  <a:latin typeface="+mj-lt"/>
                </a:rPr>
                <a:t>Category</a:t>
              </a:r>
              <a:endParaRPr lang="zh-CN" altLang="en-US" sz="12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47" name="CustomText">
              <a:extLst>
                <a:ext uri="{FF2B5EF4-FFF2-40B4-BE49-F238E27FC236}">
                  <a16:creationId xmlns:a16="http://schemas.microsoft.com/office/drawing/2014/main" id="{EDA65FA9-84BE-40F4-8235-6C50939BB9B1}"/>
                </a:ext>
              </a:extLst>
            </p:cNvPr>
            <p:cNvSpPr/>
            <p:nvPr/>
          </p:nvSpPr>
          <p:spPr bwMode="auto">
            <a:xfrm>
              <a:off x="5700847" y="4547898"/>
              <a:ext cx="944395" cy="216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700" dirty="0">
                  <a:solidFill>
                    <a:schemeClr val="tx2"/>
                  </a:solidFill>
                  <a:latin typeface="+mj-lt"/>
                </a:rPr>
                <a:t>Text Here</a:t>
              </a:r>
              <a:endParaRPr lang="zh-CN" altLang="en-US" sz="700" dirty="0">
                <a:solidFill>
                  <a:schemeClr val="tx2"/>
                </a:solidFill>
                <a:latin typeface="+mj-lt"/>
              </a:endParaRPr>
            </a:p>
            <a:p>
              <a:pPr>
                <a:spcBef>
                  <a:spcPct val="0"/>
                </a:spcBef>
              </a:pPr>
              <a:endParaRPr lang="zh-CN" altLang="en-US" sz="7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48" name="ExtraShape1">
              <a:extLst>
                <a:ext uri="{FF2B5EF4-FFF2-40B4-BE49-F238E27FC236}">
                  <a16:creationId xmlns:a16="http://schemas.microsoft.com/office/drawing/2014/main" id="{25141560-24F2-4345-B933-D43BA43A440A}"/>
                </a:ext>
              </a:extLst>
            </p:cNvPr>
            <p:cNvSpPr/>
            <p:nvPr/>
          </p:nvSpPr>
          <p:spPr bwMode="auto">
            <a:xfrm>
              <a:off x="3453632" y="2336292"/>
              <a:ext cx="455295" cy="63529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49" name="ExtraShape2">
              <a:extLst>
                <a:ext uri="{FF2B5EF4-FFF2-40B4-BE49-F238E27FC236}">
                  <a16:creationId xmlns:a16="http://schemas.microsoft.com/office/drawing/2014/main" id="{DEE6B20A-B341-4BAB-814E-7B57DBEC8C40}"/>
                </a:ext>
              </a:extLst>
            </p:cNvPr>
            <p:cNvSpPr/>
            <p:nvPr/>
          </p:nvSpPr>
          <p:spPr bwMode="auto">
            <a:xfrm>
              <a:off x="3453632" y="2336292"/>
              <a:ext cx="455295" cy="635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0" name="ExtraShape3">
              <a:extLst>
                <a:ext uri="{FF2B5EF4-FFF2-40B4-BE49-F238E27FC236}">
                  <a16:creationId xmlns:a16="http://schemas.microsoft.com/office/drawing/2014/main" id="{281D5C8B-10DF-4C96-993C-6FD7FDB0588F}"/>
                </a:ext>
              </a:extLst>
            </p:cNvPr>
            <p:cNvSpPr/>
            <p:nvPr/>
          </p:nvSpPr>
          <p:spPr bwMode="auto">
            <a:xfrm>
              <a:off x="3110573" y="1345232"/>
              <a:ext cx="482824" cy="654355"/>
            </a:xfrm>
            <a:custGeom>
              <a:avLst/>
              <a:gdLst>
                <a:gd name="T0" fmla="*/ 0 w 228"/>
                <a:gd name="T1" fmla="*/ 299 h 309"/>
                <a:gd name="T2" fmla="*/ 215 w 228"/>
                <a:gd name="T3" fmla="*/ 309 h 309"/>
                <a:gd name="T4" fmla="*/ 228 w 228"/>
                <a:gd name="T5" fmla="*/ 10 h 309"/>
                <a:gd name="T6" fmla="*/ 13 w 228"/>
                <a:gd name="T7" fmla="*/ 0 h 309"/>
                <a:gd name="T8" fmla="*/ 0 w 228"/>
                <a:gd name="T9" fmla="*/ 299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8" h="309">
                  <a:moveTo>
                    <a:pt x="0" y="299"/>
                  </a:moveTo>
                  <a:lnTo>
                    <a:pt x="215" y="309"/>
                  </a:lnTo>
                  <a:lnTo>
                    <a:pt x="228" y="10"/>
                  </a:lnTo>
                  <a:lnTo>
                    <a:pt x="13" y="0"/>
                  </a:lnTo>
                  <a:lnTo>
                    <a:pt x="0" y="2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1" name="ExtraShape1">
              <a:extLst>
                <a:ext uri="{FF2B5EF4-FFF2-40B4-BE49-F238E27FC236}">
                  <a16:creationId xmlns:a16="http://schemas.microsoft.com/office/drawing/2014/main" id="{9D5BFE9D-1FA1-4777-9C67-25B3AAC57F78}"/>
                </a:ext>
              </a:extLst>
            </p:cNvPr>
            <p:cNvSpPr/>
            <p:nvPr/>
          </p:nvSpPr>
          <p:spPr bwMode="auto">
            <a:xfrm>
              <a:off x="3570102" y="2298174"/>
              <a:ext cx="785649" cy="391765"/>
            </a:xfrm>
            <a:custGeom>
              <a:avLst/>
              <a:gdLst>
                <a:gd name="T0" fmla="*/ 26 w 224"/>
                <a:gd name="T1" fmla="*/ 0 h 112"/>
                <a:gd name="T2" fmla="*/ 76 w 224"/>
                <a:gd name="T3" fmla="*/ 31 h 112"/>
                <a:gd name="T4" fmla="*/ 128 w 224"/>
                <a:gd name="T5" fmla="*/ 58 h 112"/>
                <a:gd name="T6" fmla="*/ 141 w 224"/>
                <a:gd name="T7" fmla="*/ 64 h 112"/>
                <a:gd name="T8" fmla="*/ 147 w 224"/>
                <a:gd name="T9" fmla="*/ 67 h 112"/>
                <a:gd name="T10" fmla="*/ 150 w 224"/>
                <a:gd name="T11" fmla="*/ 68 h 112"/>
                <a:gd name="T12" fmla="*/ 153 w 224"/>
                <a:gd name="T13" fmla="*/ 69 h 112"/>
                <a:gd name="T14" fmla="*/ 170 w 224"/>
                <a:gd name="T15" fmla="*/ 71 h 112"/>
                <a:gd name="T16" fmla="*/ 187 w 224"/>
                <a:gd name="T17" fmla="*/ 61 h 112"/>
                <a:gd name="T18" fmla="*/ 194 w 224"/>
                <a:gd name="T19" fmla="*/ 51 h 112"/>
                <a:gd name="T20" fmla="*/ 198 w 224"/>
                <a:gd name="T21" fmla="*/ 46 h 112"/>
                <a:gd name="T22" fmla="*/ 201 w 224"/>
                <a:gd name="T23" fmla="*/ 40 h 112"/>
                <a:gd name="T24" fmla="*/ 224 w 224"/>
                <a:gd name="T25" fmla="*/ 45 h 112"/>
                <a:gd name="T26" fmla="*/ 222 w 224"/>
                <a:gd name="T27" fmla="*/ 54 h 112"/>
                <a:gd name="T28" fmla="*/ 220 w 224"/>
                <a:gd name="T29" fmla="*/ 63 h 112"/>
                <a:gd name="T30" fmla="*/ 213 w 224"/>
                <a:gd name="T31" fmla="*/ 79 h 112"/>
                <a:gd name="T32" fmla="*/ 201 w 224"/>
                <a:gd name="T33" fmla="*/ 95 h 112"/>
                <a:gd name="T34" fmla="*/ 183 w 224"/>
                <a:gd name="T35" fmla="*/ 107 h 112"/>
                <a:gd name="T36" fmla="*/ 162 w 224"/>
                <a:gd name="T37" fmla="*/ 111 h 112"/>
                <a:gd name="T38" fmla="*/ 141 w 224"/>
                <a:gd name="T39" fmla="*/ 109 h 112"/>
                <a:gd name="T40" fmla="*/ 137 w 224"/>
                <a:gd name="T41" fmla="*/ 108 h 112"/>
                <a:gd name="T42" fmla="*/ 133 w 224"/>
                <a:gd name="T43" fmla="*/ 107 h 112"/>
                <a:gd name="T44" fmla="*/ 125 w 224"/>
                <a:gd name="T45" fmla="*/ 104 h 112"/>
                <a:gd name="T46" fmla="*/ 110 w 224"/>
                <a:gd name="T47" fmla="*/ 99 h 112"/>
                <a:gd name="T48" fmla="*/ 53 w 224"/>
                <a:gd name="T49" fmla="*/ 72 h 112"/>
                <a:gd name="T50" fmla="*/ 27 w 224"/>
                <a:gd name="T51" fmla="*/ 56 h 112"/>
                <a:gd name="T52" fmla="*/ 0 w 224"/>
                <a:gd name="T53" fmla="*/ 40 h 112"/>
                <a:gd name="T54" fmla="*/ 26 w 224"/>
                <a:gd name="T55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4" h="112">
                  <a:moveTo>
                    <a:pt x="26" y="0"/>
                  </a:moveTo>
                  <a:cubicBezTo>
                    <a:pt x="42" y="11"/>
                    <a:pt x="59" y="21"/>
                    <a:pt x="76" y="31"/>
                  </a:cubicBezTo>
                  <a:cubicBezTo>
                    <a:pt x="93" y="41"/>
                    <a:pt x="110" y="50"/>
                    <a:pt x="128" y="58"/>
                  </a:cubicBezTo>
                  <a:cubicBezTo>
                    <a:pt x="132" y="60"/>
                    <a:pt x="136" y="62"/>
                    <a:pt x="141" y="64"/>
                  </a:cubicBezTo>
                  <a:cubicBezTo>
                    <a:pt x="143" y="65"/>
                    <a:pt x="145" y="66"/>
                    <a:pt x="147" y="67"/>
                  </a:cubicBezTo>
                  <a:cubicBezTo>
                    <a:pt x="150" y="68"/>
                    <a:pt x="150" y="68"/>
                    <a:pt x="150" y="68"/>
                  </a:cubicBezTo>
                  <a:cubicBezTo>
                    <a:pt x="153" y="69"/>
                    <a:pt x="153" y="69"/>
                    <a:pt x="153" y="69"/>
                  </a:cubicBezTo>
                  <a:cubicBezTo>
                    <a:pt x="159" y="72"/>
                    <a:pt x="165" y="72"/>
                    <a:pt x="170" y="71"/>
                  </a:cubicBezTo>
                  <a:cubicBezTo>
                    <a:pt x="175" y="70"/>
                    <a:pt x="181" y="67"/>
                    <a:pt x="187" y="61"/>
                  </a:cubicBezTo>
                  <a:cubicBezTo>
                    <a:pt x="189" y="58"/>
                    <a:pt x="192" y="55"/>
                    <a:pt x="194" y="51"/>
                  </a:cubicBezTo>
                  <a:cubicBezTo>
                    <a:pt x="196" y="49"/>
                    <a:pt x="197" y="48"/>
                    <a:pt x="198" y="46"/>
                  </a:cubicBezTo>
                  <a:cubicBezTo>
                    <a:pt x="201" y="40"/>
                    <a:pt x="201" y="40"/>
                    <a:pt x="201" y="40"/>
                  </a:cubicBezTo>
                  <a:cubicBezTo>
                    <a:pt x="224" y="45"/>
                    <a:pt x="224" y="45"/>
                    <a:pt x="224" y="45"/>
                  </a:cubicBezTo>
                  <a:cubicBezTo>
                    <a:pt x="223" y="49"/>
                    <a:pt x="223" y="51"/>
                    <a:pt x="222" y="54"/>
                  </a:cubicBezTo>
                  <a:cubicBezTo>
                    <a:pt x="221" y="57"/>
                    <a:pt x="221" y="60"/>
                    <a:pt x="220" y="63"/>
                  </a:cubicBezTo>
                  <a:cubicBezTo>
                    <a:pt x="218" y="68"/>
                    <a:pt x="216" y="74"/>
                    <a:pt x="213" y="79"/>
                  </a:cubicBezTo>
                  <a:cubicBezTo>
                    <a:pt x="210" y="85"/>
                    <a:pt x="206" y="90"/>
                    <a:pt x="201" y="95"/>
                  </a:cubicBezTo>
                  <a:cubicBezTo>
                    <a:pt x="196" y="99"/>
                    <a:pt x="190" y="104"/>
                    <a:pt x="183" y="107"/>
                  </a:cubicBezTo>
                  <a:cubicBezTo>
                    <a:pt x="176" y="110"/>
                    <a:pt x="169" y="111"/>
                    <a:pt x="162" y="111"/>
                  </a:cubicBezTo>
                  <a:cubicBezTo>
                    <a:pt x="155" y="112"/>
                    <a:pt x="148" y="111"/>
                    <a:pt x="141" y="109"/>
                  </a:cubicBezTo>
                  <a:cubicBezTo>
                    <a:pt x="140" y="109"/>
                    <a:pt x="138" y="109"/>
                    <a:pt x="137" y="108"/>
                  </a:cubicBezTo>
                  <a:cubicBezTo>
                    <a:pt x="133" y="107"/>
                    <a:pt x="133" y="107"/>
                    <a:pt x="133" y="107"/>
                  </a:cubicBezTo>
                  <a:cubicBezTo>
                    <a:pt x="130" y="106"/>
                    <a:pt x="127" y="105"/>
                    <a:pt x="125" y="104"/>
                  </a:cubicBezTo>
                  <a:cubicBezTo>
                    <a:pt x="120" y="103"/>
                    <a:pt x="115" y="101"/>
                    <a:pt x="110" y="99"/>
                  </a:cubicBezTo>
                  <a:cubicBezTo>
                    <a:pt x="90" y="91"/>
                    <a:pt x="72" y="81"/>
                    <a:pt x="53" y="72"/>
                  </a:cubicBezTo>
                  <a:cubicBezTo>
                    <a:pt x="44" y="67"/>
                    <a:pt x="35" y="61"/>
                    <a:pt x="27" y="56"/>
                  </a:cubicBezTo>
                  <a:cubicBezTo>
                    <a:pt x="18" y="51"/>
                    <a:pt x="9" y="46"/>
                    <a:pt x="0" y="40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2" name="ExtraShape2">
              <a:extLst>
                <a:ext uri="{FF2B5EF4-FFF2-40B4-BE49-F238E27FC236}">
                  <a16:creationId xmlns:a16="http://schemas.microsoft.com/office/drawing/2014/main" id="{C9638932-530C-49AD-A057-504F135EB3B1}"/>
                </a:ext>
              </a:extLst>
            </p:cNvPr>
            <p:cNvSpPr/>
            <p:nvPr/>
          </p:nvSpPr>
          <p:spPr bwMode="auto">
            <a:xfrm>
              <a:off x="3474809" y="2207116"/>
              <a:ext cx="400236" cy="444707"/>
            </a:xfrm>
            <a:custGeom>
              <a:avLst/>
              <a:gdLst>
                <a:gd name="T0" fmla="*/ 6 w 114"/>
                <a:gd name="T1" fmla="*/ 55 h 127"/>
                <a:gd name="T2" fmla="*/ 87 w 114"/>
                <a:gd name="T3" fmla="*/ 127 h 127"/>
                <a:gd name="T4" fmla="*/ 114 w 114"/>
                <a:gd name="T5" fmla="*/ 56 h 127"/>
                <a:gd name="T6" fmla="*/ 61 w 114"/>
                <a:gd name="T7" fmla="*/ 21 h 127"/>
                <a:gd name="T8" fmla="*/ 6 w 114"/>
                <a:gd name="T9" fmla="*/ 5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27">
                  <a:moveTo>
                    <a:pt x="6" y="55"/>
                  </a:moveTo>
                  <a:cubicBezTo>
                    <a:pt x="13" y="84"/>
                    <a:pt x="87" y="127"/>
                    <a:pt x="87" y="127"/>
                  </a:cubicBezTo>
                  <a:cubicBezTo>
                    <a:pt x="114" y="56"/>
                    <a:pt x="114" y="56"/>
                    <a:pt x="114" y="56"/>
                  </a:cubicBezTo>
                  <a:cubicBezTo>
                    <a:pt x="114" y="56"/>
                    <a:pt x="93" y="43"/>
                    <a:pt x="61" y="21"/>
                  </a:cubicBezTo>
                  <a:cubicBezTo>
                    <a:pt x="29" y="0"/>
                    <a:pt x="0" y="22"/>
                    <a:pt x="6" y="55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3" name="ExtraShape3">
              <a:extLst>
                <a:ext uri="{FF2B5EF4-FFF2-40B4-BE49-F238E27FC236}">
                  <a16:creationId xmlns:a16="http://schemas.microsoft.com/office/drawing/2014/main" id="{2EE9C3C8-B18D-413B-AFCB-FA1B4D246375}"/>
                </a:ext>
              </a:extLst>
            </p:cNvPr>
            <p:cNvSpPr/>
            <p:nvPr/>
          </p:nvSpPr>
          <p:spPr bwMode="auto">
            <a:xfrm>
              <a:off x="4243516" y="2361704"/>
              <a:ext cx="131295" cy="196942"/>
            </a:xfrm>
            <a:custGeom>
              <a:avLst/>
              <a:gdLst>
                <a:gd name="T0" fmla="*/ 0 w 38"/>
                <a:gd name="T1" fmla="*/ 33 h 56"/>
                <a:gd name="T2" fmla="*/ 22 w 38"/>
                <a:gd name="T3" fmla="*/ 0 h 56"/>
                <a:gd name="T4" fmla="*/ 38 w 38"/>
                <a:gd name="T5" fmla="*/ 36 h 56"/>
                <a:gd name="T6" fmla="*/ 6 w 38"/>
                <a:gd name="T7" fmla="*/ 46 h 56"/>
                <a:gd name="T8" fmla="*/ 0 w 38"/>
                <a:gd name="T9" fmla="*/ 3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56">
                  <a:moveTo>
                    <a:pt x="0" y="33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6"/>
                    <a:pt x="25" y="56"/>
                    <a:pt x="6" y="46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4" name="ExtraShape4">
              <a:extLst>
                <a:ext uri="{FF2B5EF4-FFF2-40B4-BE49-F238E27FC236}">
                  <a16:creationId xmlns:a16="http://schemas.microsoft.com/office/drawing/2014/main" id="{A405BDB3-1869-4428-9B22-52956993EEB1}"/>
                </a:ext>
              </a:extLst>
            </p:cNvPr>
            <p:cNvSpPr/>
            <p:nvPr/>
          </p:nvSpPr>
          <p:spPr bwMode="auto">
            <a:xfrm>
              <a:off x="4319750" y="2315116"/>
              <a:ext cx="133413" cy="171531"/>
            </a:xfrm>
            <a:custGeom>
              <a:avLst/>
              <a:gdLst>
                <a:gd name="T0" fmla="*/ 45 w 63"/>
                <a:gd name="T1" fmla="*/ 0 h 81"/>
                <a:gd name="T2" fmla="*/ 63 w 63"/>
                <a:gd name="T3" fmla="*/ 45 h 81"/>
                <a:gd name="T4" fmla="*/ 26 w 63"/>
                <a:gd name="T5" fmla="*/ 81 h 81"/>
                <a:gd name="T6" fmla="*/ 0 w 63"/>
                <a:gd name="T7" fmla="*/ 22 h 81"/>
                <a:gd name="T8" fmla="*/ 45 w 63"/>
                <a:gd name="T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81">
                  <a:moveTo>
                    <a:pt x="45" y="0"/>
                  </a:moveTo>
                  <a:lnTo>
                    <a:pt x="63" y="45"/>
                  </a:lnTo>
                  <a:lnTo>
                    <a:pt x="26" y="81"/>
                  </a:lnTo>
                  <a:lnTo>
                    <a:pt x="0" y="2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5" name="ExtraShape5">
              <a:extLst>
                <a:ext uri="{FF2B5EF4-FFF2-40B4-BE49-F238E27FC236}">
                  <a16:creationId xmlns:a16="http://schemas.microsoft.com/office/drawing/2014/main" id="{509E2835-93DB-4E93-B3F1-D547071E5097}"/>
                </a:ext>
              </a:extLst>
            </p:cNvPr>
            <p:cNvSpPr/>
            <p:nvPr/>
          </p:nvSpPr>
          <p:spPr bwMode="auto">
            <a:xfrm>
              <a:off x="3021632" y="2245234"/>
              <a:ext cx="751767" cy="1020707"/>
            </a:xfrm>
            <a:custGeom>
              <a:avLst/>
              <a:gdLst>
                <a:gd name="T0" fmla="*/ 171 w 214"/>
                <a:gd name="T1" fmla="*/ 3 h 291"/>
                <a:gd name="T2" fmla="*/ 192 w 214"/>
                <a:gd name="T3" fmla="*/ 270 h 291"/>
                <a:gd name="T4" fmla="*/ 29 w 214"/>
                <a:gd name="T5" fmla="*/ 291 h 291"/>
                <a:gd name="T6" fmla="*/ 0 w 214"/>
                <a:gd name="T7" fmla="*/ 24 h 291"/>
                <a:gd name="T8" fmla="*/ 54 w 214"/>
                <a:gd name="T9" fmla="*/ 10 h 291"/>
                <a:gd name="T10" fmla="*/ 124 w 214"/>
                <a:gd name="T11" fmla="*/ 1 h 291"/>
                <a:gd name="T12" fmla="*/ 171 w 214"/>
                <a:gd name="T13" fmla="*/ 3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291">
                  <a:moveTo>
                    <a:pt x="171" y="3"/>
                  </a:moveTo>
                  <a:cubicBezTo>
                    <a:pt x="171" y="3"/>
                    <a:pt x="214" y="92"/>
                    <a:pt x="192" y="270"/>
                  </a:cubicBezTo>
                  <a:cubicBezTo>
                    <a:pt x="143" y="276"/>
                    <a:pt x="53" y="288"/>
                    <a:pt x="29" y="291"/>
                  </a:cubicBezTo>
                  <a:cubicBezTo>
                    <a:pt x="26" y="266"/>
                    <a:pt x="32" y="140"/>
                    <a:pt x="0" y="24"/>
                  </a:cubicBezTo>
                  <a:cubicBezTo>
                    <a:pt x="0" y="24"/>
                    <a:pt x="27" y="15"/>
                    <a:pt x="54" y="10"/>
                  </a:cubicBezTo>
                  <a:cubicBezTo>
                    <a:pt x="75" y="6"/>
                    <a:pt x="105" y="1"/>
                    <a:pt x="124" y="1"/>
                  </a:cubicBezTo>
                  <a:cubicBezTo>
                    <a:pt x="148" y="0"/>
                    <a:pt x="171" y="3"/>
                    <a:pt x="171" y="3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6" name="ExtraShape6">
              <a:extLst>
                <a:ext uri="{FF2B5EF4-FFF2-40B4-BE49-F238E27FC236}">
                  <a16:creationId xmlns:a16="http://schemas.microsoft.com/office/drawing/2014/main" id="{979E7E34-21EE-4A06-BBA6-36A18A8A37B3}"/>
                </a:ext>
              </a:extLst>
            </p:cNvPr>
            <p:cNvSpPr/>
            <p:nvPr/>
          </p:nvSpPr>
          <p:spPr bwMode="auto">
            <a:xfrm>
              <a:off x="3021632" y="2325705"/>
              <a:ext cx="266823" cy="470119"/>
            </a:xfrm>
            <a:custGeom>
              <a:avLst/>
              <a:gdLst>
                <a:gd name="T0" fmla="*/ 6 w 76"/>
                <a:gd name="T1" fmla="*/ 0 h 134"/>
                <a:gd name="T2" fmla="*/ 0 w 76"/>
                <a:gd name="T3" fmla="*/ 1 h 134"/>
                <a:gd name="T4" fmla="*/ 0 w 76"/>
                <a:gd name="T5" fmla="*/ 1 h 134"/>
                <a:gd name="T6" fmla="*/ 23 w 76"/>
                <a:gd name="T7" fmla="*/ 134 h 134"/>
                <a:gd name="T8" fmla="*/ 76 w 76"/>
                <a:gd name="T9" fmla="*/ 121 h 134"/>
                <a:gd name="T10" fmla="*/ 45 w 76"/>
                <a:gd name="T11" fmla="*/ 38 h 134"/>
                <a:gd name="T12" fmla="*/ 6 w 76"/>
                <a:gd name="T1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134">
                  <a:moveTo>
                    <a:pt x="6" y="0"/>
                  </a:moveTo>
                  <a:cubicBezTo>
                    <a:pt x="4" y="0"/>
                    <a:pt x="2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2" y="46"/>
                    <a:pt x="19" y="93"/>
                    <a:pt x="23" y="134"/>
                  </a:cubicBezTo>
                  <a:cubicBezTo>
                    <a:pt x="76" y="121"/>
                    <a:pt x="76" y="121"/>
                    <a:pt x="76" y="121"/>
                  </a:cubicBezTo>
                  <a:cubicBezTo>
                    <a:pt x="76" y="121"/>
                    <a:pt x="59" y="74"/>
                    <a:pt x="45" y="38"/>
                  </a:cubicBezTo>
                  <a:cubicBezTo>
                    <a:pt x="36" y="16"/>
                    <a:pt x="20" y="0"/>
                    <a:pt x="6" y="0"/>
                  </a:cubicBezTo>
                </a:path>
              </a:pathLst>
            </a:custGeom>
            <a:solidFill>
              <a:srgbClr val="1E28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7" name="ExtraShape7">
              <a:extLst>
                <a:ext uri="{FF2B5EF4-FFF2-40B4-BE49-F238E27FC236}">
                  <a16:creationId xmlns:a16="http://schemas.microsoft.com/office/drawing/2014/main" id="{906DB9CB-65F3-4DE3-B46A-0A227F130F4B}"/>
                </a:ext>
              </a:extLst>
            </p:cNvPr>
            <p:cNvSpPr/>
            <p:nvPr/>
          </p:nvSpPr>
          <p:spPr bwMode="auto">
            <a:xfrm>
              <a:off x="3212220" y="1999587"/>
              <a:ext cx="285884" cy="379060"/>
            </a:xfrm>
            <a:custGeom>
              <a:avLst/>
              <a:gdLst>
                <a:gd name="T0" fmla="*/ 1 w 82"/>
                <a:gd name="T1" fmla="*/ 0 h 108"/>
                <a:gd name="T2" fmla="*/ 0 w 82"/>
                <a:gd name="T3" fmla="*/ 80 h 108"/>
                <a:gd name="T4" fmla="*/ 66 w 82"/>
                <a:gd name="T5" fmla="*/ 108 h 108"/>
                <a:gd name="T6" fmla="*/ 70 w 82"/>
                <a:gd name="T7" fmla="*/ 71 h 108"/>
                <a:gd name="T8" fmla="*/ 46 w 82"/>
                <a:gd name="T9" fmla="*/ 31 h 108"/>
                <a:gd name="T10" fmla="*/ 1 w 82"/>
                <a:gd name="T1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108">
                  <a:moveTo>
                    <a:pt x="1" y="0"/>
                  </a:moveTo>
                  <a:cubicBezTo>
                    <a:pt x="7" y="22"/>
                    <a:pt x="14" y="63"/>
                    <a:pt x="0" y="80"/>
                  </a:cubicBezTo>
                  <a:cubicBezTo>
                    <a:pt x="0" y="80"/>
                    <a:pt x="27" y="104"/>
                    <a:pt x="66" y="108"/>
                  </a:cubicBezTo>
                  <a:cubicBezTo>
                    <a:pt x="82" y="92"/>
                    <a:pt x="70" y="71"/>
                    <a:pt x="70" y="71"/>
                  </a:cubicBezTo>
                  <a:cubicBezTo>
                    <a:pt x="44" y="68"/>
                    <a:pt x="43" y="49"/>
                    <a:pt x="46" y="3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8" name="ExtraShape8">
              <a:extLst>
                <a:ext uri="{FF2B5EF4-FFF2-40B4-BE49-F238E27FC236}">
                  <a16:creationId xmlns:a16="http://schemas.microsoft.com/office/drawing/2014/main" id="{697E0729-715A-4387-8AA3-7DB3AFEFE512}"/>
                </a:ext>
              </a:extLst>
            </p:cNvPr>
            <p:cNvSpPr/>
            <p:nvPr/>
          </p:nvSpPr>
          <p:spPr bwMode="auto">
            <a:xfrm>
              <a:off x="3368926" y="2249469"/>
              <a:ext cx="294355" cy="732707"/>
            </a:xfrm>
            <a:custGeom>
              <a:avLst/>
              <a:gdLst>
                <a:gd name="T0" fmla="*/ 84 w 84"/>
                <a:gd name="T1" fmla="*/ 204 h 209"/>
                <a:gd name="T2" fmla="*/ 47 w 84"/>
                <a:gd name="T3" fmla="*/ 0 h 209"/>
                <a:gd name="T4" fmla="*/ 5 w 84"/>
                <a:gd name="T5" fmla="*/ 60 h 209"/>
                <a:gd name="T6" fmla="*/ 23 w 84"/>
                <a:gd name="T7" fmla="*/ 161 h 209"/>
                <a:gd name="T8" fmla="*/ 84 w 84"/>
                <a:gd name="T9" fmla="*/ 20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209">
                  <a:moveTo>
                    <a:pt x="84" y="204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18" y="5"/>
                    <a:pt x="0" y="32"/>
                    <a:pt x="5" y="60"/>
                  </a:cubicBezTo>
                  <a:cubicBezTo>
                    <a:pt x="23" y="161"/>
                    <a:pt x="23" y="161"/>
                    <a:pt x="23" y="161"/>
                  </a:cubicBezTo>
                  <a:cubicBezTo>
                    <a:pt x="28" y="190"/>
                    <a:pt x="55" y="209"/>
                    <a:pt x="84" y="204"/>
                  </a:cubicBezTo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59" name="ExtraShape1">
              <a:extLst>
                <a:ext uri="{FF2B5EF4-FFF2-40B4-BE49-F238E27FC236}">
                  <a16:creationId xmlns:a16="http://schemas.microsoft.com/office/drawing/2014/main" id="{7EADAB67-2532-49BD-91D2-9AA2A3C51A58}"/>
                </a:ext>
              </a:extLst>
            </p:cNvPr>
            <p:cNvSpPr/>
            <p:nvPr/>
          </p:nvSpPr>
          <p:spPr bwMode="auto">
            <a:xfrm>
              <a:off x="3383749" y="2253705"/>
              <a:ext cx="262589" cy="713649"/>
            </a:xfrm>
            <a:custGeom>
              <a:avLst/>
              <a:gdLst>
                <a:gd name="T0" fmla="*/ 38 w 75"/>
                <a:gd name="T1" fmla="*/ 0 h 204"/>
                <a:gd name="T2" fmla="*/ 24 w 75"/>
                <a:gd name="T3" fmla="*/ 6 h 204"/>
                <a:gd name="T4" fmla="*/ 3 w 75"/>
                <a:gd name="T5" fmla="*/ 33 h 204"/>
                <a:gd name="T6" fmla="*/ 0 w 75"/>
                <a:gd name="T7" fmla="*/ 50 h 204"/>
                <a:gd name="T8" fmla="*/ 1 w 75"/>
                <a:gd name="T9" fmla="*/ 59 h 204"/>
                <a:gd name="T10" fmla="*/ 19 w 75"/>
                <a:gd name="T11" fmla="*/ 160 h 204"/>
                <a:gd name="T12" fmla="*/ 70 w 75"/>
                <a:gd name="T13" fmla="*/ 204 h 204"/>
                <a:gd name="T14" fmla="*/ 75 w 75"/>
                <a:gd name="T15" fmla="*/ 203 h 204"/>
                <a:gd name="T16" fmla="*/ 71 w 75"/>
                <a:gd name="T17" fmla="*/ 192 h 204"/>
                <a:gd name="T18" fmla="*/ 39 w 75"/>
                <a:gd name="T19" fmla="*/ 11 h 204"/>
                <a:gd name="T20" fmla="*/ 38 w 75"/>
                <a:gd name="T21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204">
                  <a:moveTo>
                    <a:pt x="38" y="0"/>
                  </a:moveTo>
                  <a:cubicBezTo>
                    <a:pt x="33" y="1"/>
                    <a:pt x="28" y="3"/>
                    <a:pt x="24" y="6"/>
                  </a:cubicBezTo>
                  <a:cubicBezTo>
                    <a:pt x="14" y="13"/>
                    <a:pt x="6" y="22"/>
                    <a:pt x="3" y="33"/>
                  </a:cubicBezTo>
                  <a:cubicBezTo>
                    <a:pt x="1" y="39"/>
                    <a:pt x="0" y="44"/>
                    <a:pt x="0" y="50"/>
                  </a:cubicBezTo>
                  <a:cubicBezTo>
                    <a:pt x="0" y="53"/>
                    <a:pt x="0" y="56"/>
                    <a:pt x="1" y="59"/>
                  </a:cubicBezTo>
                  <a:cubicBezTo>
                    <a:pt x="19" y="160"/>
                    <a:pt x="19" y="160"/>
                    <a:pt x="19" y="160"/>
                  </a:cubicBezTo>
                  <a:cubicBezTo>
                    <a:pt x="23" y="186"/>
                    <a:pt x="45" y="204"/>
                    <a:pt x="70" y="204"/>
                  </a:cubicBezTo>
                  <a:cubicBezTo>
                    <a:pt x="72" y="204"/>
                    <a:pt x="73" y="203"/>
                    <a:pt x="75" y="203"/>
                  </a:cubicBezTo>
                  <a:cubicBezTo>
                    <a:pt x="73" y="200"/>
                    <a:pt x="72" y="196"/>
                    <a:pt x="71" y="192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8" y="7"/>
                    <a:pt x="38" y="4"/>
                    <a:pt x="38" y="0"/>
                  </a:cubicBezTo>
                </a:path>
              </a:pathLst>
            </a:custGeom>
            <a:solidFill>
              <a:srgbClr val="2D56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0" name="ExtraShape9">
              <a:extLst>
                <a:ext uri="{FF2B5EF4-FFF2-40B4-BE49-F238E27FC236}">
                  <a16:creationId xmlns:a16="http://schemas.microsoft.com/office/drawing/2014/main" id="{0178512D-8229-4FFA-BCD8-EB1FA9F738C9}"/>
                </a:ext>
              </a:extLst>
            </p:cNvPr>
            <p:cNvSpPr/>
            <p:nvPr/>
          </p:nvSpPr>
          <p:spPr bwMode="auto">
            <a:xfrm>
              <a:off x="3896221" y="2708999"/>
              <a:ext cx="406589" cy="991060"/>
            </a:xfrm>
            <a:custGeom>
              <a:avLst/>
              <a:gdLst>
                <a:gd name="T0" fmla="*/ 75 w 116"/>
                <a:gd name="T1" fmla="*/ 275 h 283"/>
                <a:gd name="T2" fmla="*/ 49 w 116"/>
                <a:gd name="T3" fmla="*/ 279 h 283"/>
                <a:gd name="T4" fmla="*/ 11 w 116"/>
                <a:gd name="T5" fmla="*/ 250 h 283"/>
                <a:gd name="T6" fmla="*/ 1 w 116"/>
                <a:gd name="T7" fmla="*/ 46 h 283"/>
                <a:gd name="T8" fmla="*/ 27 w 116"/>
                <a:gd name="T9" fmla="*/ 13 h 283"/>
                <a:gd name="T10" fmla="*/ 75 w 116"/>
                <a:gd name="T11" fmla="*/ 4 h 283"/>
                <a:gd name="T12" fmla="*/ 111 w 116"/>
                <a:gd name="T13" fmla="*/ 42 h 283"/>
                <a:gd name="T14" fmla="*/ 92 w 116"/>
                <a:gd name="T15" fmla="*/ 132 h 283"/>
                <a:gd name="T16" fmla="*/ 92 w 116"/>
                <a:gd name="T17" fmla="*/ 141 h 283"/>
                <a:gd name="T18" fmla="*/ 100 w 116"/>
                <a:gd name="T19" fmla="*/ 241 h 283"/>
                <a:gd name="T20" fmla="*/ 75 w 116"/>
                <a:gd name="T21" fmla="*/ 275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" h="283">
                  <a:moveTo>
                    <a:pt x="75" y="275"/>
                  </a:moveTo>
                  <a:cubicBezTo>
                    <a:pt x="49" y="279"/>
                    <a:pt x="49" y="279"/>
                    <a:pt x="49" y="279"/>
                  </a:cubicBezTo>
                  <a:cubicBezTo>
                    <a:pt x="30" y="283"/>
                    <a:pt x="12" y="269"/>
                    <a:pt x="11" y="250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0" y="30"/>
                    <a:pt x="11" y="16"/>
                    <a:pt x="27" y="13"/>
                  </a:cubicBezTo>
                  <a:cubicBezTo>
                    <a:pt x="75" y="4"/>
                    <a:pt x="75" y="4"/>
                    <a:pt x="75" y="4"/>
                  </a:cubicBezTo>
                  <a:cubicBezTo>
                    <a:pt x="97" y="0"/>
                    <a:pt x="116" y="20"/>
                    <a:pt x="111" y="42"/>
                  </a:cubicBezTo>
                  <a:cubicBezTo>
                    <a:pt x="92" y="132"/>
                    <a:pt x="92" y="132"/>
                    <a:pt x="92" y="132"/>
                  </a:cubicBezTo>
                  <a:cubicBezTo>
                    <a:pt x="92" y="135"/>
                    <a:pt x="91" y="138"/>
                    <a:pt x="92" y="141"/>
                  </a:cubicBezTo>
                  <a:cubicBezTo>
                    <a:pt x="100" y="241"/>
                    <a:pt x="100" y="241"/>
                    <a:pt x="100" y="241"/>
                  </a:cubicBezTo>
                  <a:cubicBezTo>
                    <a:pt x="102" y="257"/>
                    <a:pt x="91" y="272"/>
                    <a:pt x="75" y="275"/>
                  </a:cubicBezTo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1" name="ExtraShape2">
              <a:extLst>
                <a:ext uri="{FF2B5EF4-FFF2-40B4-BE49-F238E27FC236}">
                  <a16:creationId xmlns:a16="http://schemas.microsoft.com/office/drawing/2014/main" id="{991FE403-042B-4637-8380-CD300396ACE5}"/>
                </a:ext>
              </a:extLst>
            </p:cNvPr>
            <p:cNvSpPr/>
            <p:nvPr/>
          </p:nvSpPr>
          <p:spPr bwMode="auto">
            <a:xfrm>
              <a:off x="3908927" y="3073234"/>
              <a:ext cx="0" cy="31765"/>
            </a:xfrm>
            <a:custGeom>
              <a:avLst/>
              <a:gdLst>
                <a:gd name="T0" fmla="*/ 0 h 9"/>
                <a:gd name="T1" fmla="*/ 0 h 9"/>
                <a:gd name="T2" fmla="*/ 9 h 9"/>
                <a:gd name="T3" fmla="*/ 9 h 9"/>
                <a:gd name="T4" fmla="*/ 0 h 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2" name="ExtraShape3">
              <a:extLst>
                <a:ext uri="{FF2B5EF4-FFF2-40B4-BE49-F238E27FC236}">
                  <a16:creationId xmlns:a16="http://schemas.microsoft.com/office/drawing/2014/main" id="{B8944DBB-A55A-4A20-8C64-9AE1B1D6CDB9}"/>
                </a:ext>
              </a:extLst>
            </p:cNvPr>
            <p:cNvSpPr/>
            <p:nvPr/>
          </p:nvSpPr>
          <p:spPr bwMode="auto">
            <a:xfrm>
              <a:off x="3908927" y="3024529"/>
              <a:ext cx="340942" cy="80470"/>
            </a:xfrm>
            <a:custGeom>
              <a:avLst/>
              <a:gdLst>
                <a:gd name="T0" fmla="*/ 97 w 97"/>
                <a:gd name="T1" fmla="*/ 0 h 23"/>
                <a:gd name="T2" fmla="*/ 0 w 97"/>
                <a:gd name="T3" fmla="*/ 14 h 23"/>
                <a:gd name="T4" fmla="*/ 0 w 97"/>
                <a:gd name="T5" fmla="*/ 23 h 23"/>
                <a:gd name="T6" fmla="*/ 95 w 97"/>
                <a:gd name="T7" fmla="*/ 10 h 23"/>
                <a:gd name="T8" fmla="*/ 97 w 97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23">
                  <a:moveTo>
                    <a:pt x="97" y="0"/>
                  </a:moveTo>
                  <a:cubicBezTo>
                    <a:pt x="64" y="4"/>
                    <a:pt x="32" y="8"/>
                    <a:pt x="0" y="1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32" y="18"/>
                    <a:pt x="63" y="13"/>
                    <a:pt x="95" y="10"/>
                  </a:cubicBezTo>
                  <a:cubicBezTo>
                    <a:pt x="97" y="0"/>
                    <a:pt x="97" y="0"/>
                    <a:pt x="97" y="0"/>
                  </a:cubicBezTo>
                </a:path>
              </a:pathLst>
            </a:custGeom>
            <a:solidFill>
              <a:srgbClr val="33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3" name="ExtraShape4">
              <a:extLst>
                <a:ext uri="{FF2B5EF4-FFF2-40B4-BE49-F238E27FC236}">
                  <a16:creationId xmlns:a16="http://schemas.microsoft.com/office/drawing/2014/main" id="{588E7944-9056-4E91-8653-88F0134D9F0F}"/>
                </a:ext>
              </a:extLst>
            </p:cNvPr>
            <p:cNvSpPr/>
            <p:nvPr/>
          </p:nvSpPr>
          <p:spPr bwMode="auto">
            <a:xfrm>
              <a:off x="4143986" y="3126177"/>
              <a:ext cx="150354" cy="290119"/>
            </a:xfrm>
            <a:custGeom>
              <a:avLst/>
              <a:gdLst>
                <a:gd name="T0" fmla="*/ 71 w 71"/>
                <a:gd name="T1" fmla="*/ 124 h 137"/>
                <a:gd name="T2" fmla="*/ 0 w 71"/>
                <a:gd name="T3" fmla="*/ 137 h 137"/>
                <a:gd name="T4" fmla="*/ 0 w 71"/>
                <a:gd name="T5" fmla="*/ 13 h 137"/>
                <a:gd name="T6" fmla="*/ 71 w 71"/>
                <a:gd name="T7" fmla="*/ 0 h 137"/>
                <a:gd name="T8" fmla="*/ 71 w 71"/>
                <a:gd name="T9" fmla="*/ 12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37">
                  <a:moveTo>
                    <a:pt x="71" y="124"/>
                  </a:moveTo>
                  <a:lnTo>
                    <a:pt x="0" y="137"/>
                  </a:lnTo>
                  <a:lnTo>
                    <a:pt x="0" y="13"/>
                  </a:lnTo>
                  <a:lnTo>
                    <a:pt x="71" y="0"/>
                  </a:lnTo>
                  <a:lnTo>
                    <a:pt x="71" y="124"/>
                  </a:lnTo>
                  <a:close/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4" name="ExtraShape5">
              <a:extLst>
                <a:ext uri="{FF2B5EF4-FFF2-40B4-BE49-F238E27FC236}">
                  <a16:creationId xmlns:a16="http://schemas.microsoft.com/office/drawing/2014/main" id="{7B1E45CF-165A-46ED-B9D7-F9A7340F38A4}"/>
                </a:ext>
              </a:extLst>
            </p:cNvPr>
            <p:cNvSpPr/>
            <p:nvPr/>
          </p:nvSpPr>
          <p:spPr bwMode="auto">
            <a:xfrm>
              <a:off x="4143986" y="3126177"/>
              <a:ext cx="150354" cy="290119"/>
            </a:xfrm>
            <a:custGeom>
              <a:avLst/>
              <a:gdLst>
                <a:gd name="T0" fmla="*/ 71 w 71"/>
                <a:gd name="T1" fmla="*/ 124 h 137"/>
                <a:gd name="T2" fmla="*/ 0 w 71"/>
                <a:gd name="T3" fmla="*/ 137 h 137"/>
                <a:gd name="T4" fmla="*/ 0 w 71"/>
                <a:gd name="T5" fmla="*/ 13 h 137"/>
                <a:gd name="T6" fmla="*/ 71 w 71"/>
                <a:gd name="T7" fmla="*/ 0 h 137"/>
                <a:gd name="T8" fmla="*/ 71 w 71"/>
                <a:gd name="T9" fmla="*/ 12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37">
                  <a:moveTo>
                    <a:pt x="71" y="124"/>
                  </a:moveTo>
                  <a:lnTo>
                    <a:pt x="0" y="137"/>
                  </a:lnTo>
                  <a:lnTo>
                    <a:pt x="0" y="13"/>
                  </a:lnTo>
                  <a:lnTo>
                    <a:pt x="71" y="0"/>
                  </a:lnTo>
                  <a:lnTo>
                    <a:pt x="71" y="12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5" name="ExtraShape6">
              <a:extLst>
                <a:ext uri="{FF2B5EF4-FFF2-40B4-BE49-F238E27FC236}">
                  <a16:creationId xmlns:a16="http://schemas.microsoft.com/office/drawing/2014/main" id="{FC9A141C-9B38-4932-A41B-EBF5A2A79657}"/>
                </a:ext>
              </a:extLst>
            </p:cNvPr>
            <p:cNvSpPr/>
            <p:nvPr/>
          </p:nvSpPr>
          <p:spPr bwMode="auto">
            <a:xfrm>
              <a:off x="4273163" y="3126177"/>
              <a:ext cx="46588" cy="264707"/>
            </a:xfrm>
            <a:custGeom>
              <a:avLst/>
              <a:gdLst>
                <a:gd name="T0" fmla="*/ 12 w 13"/>
                <a:gd name="T1" fmla="*/ 37 h 76"/>
                <a:gd name="T2" fmla="*/ 6 w 13"/>
                <a:gd name="T3" fmla="*/ 75 h 76"/>
                <a:gd name="T4" fmla="*/ 0 w 13"/>
                <a:gd name="T5" fmla="*/ 39 h 76"/>
                <a:gd name="T6" fmla="*/ 6 w 13"/>
                <a:gd name="T7" fmla="*/ 0 h 76"/>
                <a:gd name="T8" fmla="*/ 12 w 13"/>
                <a:gd name="T9" fmla="*/ 3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6">
                  <a:moveTo>
                    <a:pt x="12" y="37"/>
                  </a:moveTo>
                  <a:cubicBezTo>
                    <a:pt x="12" y="57"/>
                    <a:pt x="9" y="75"/>
                    <a:pt x="6" y="75"/>
                  </a:cubicBezTo>
                  <a:cubicBezTo>
                    <a:pt x="2" y="76"/>
                    <a:pt x="0" y="60"/>
                    <a:pt x="0" y="39"/>
                  </a:cubicBezTo>
                  <a:cubicBezTo>
                    <a:pt x="0" y="18"/>
                    <a:pt x="3" y="1"/>
                    <a:pt x="6" y="0"/>
                  </a:cubicBezTo>
                  <a:cubicBezTo>
                    <a:pt x="10" y="0"/>
                    <a:pt x="13" y="16"/>
                    <a:pt x="12" y="37"/>
                  </a:cubicBezTo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6" name="ExtraShape7">
              <a:extLst>
                <a:ext uri="{FF2B5EF4-FFF2-40B4-BE49-F238E27FC236}">
                  <a16:creationId xmlns:a16="http://schemas.microsoft.com/office/drawing/2014/main" id="{8AB9F6E7-C1A7-4ADE-B213-19E9D1B889AE}"/>
                </a:ext>
              </a:extLst>
            </p:cNvPr>
            <p:cNvSpPr/>
            <p:nvPr/>
          </p:nvSpPr>
          <p:spPr bwMode="auto">
            <a:xfrm>
              <a:off x="4273163" y="3126177"/>
              <a:ext cx="46588" cy="262589"/>
            </a:xfrm>
            <a:custGeom>
              <a:avLst/>
              <a:gdLst>
                <a:gd name="T0" fmla="*/ 6 w 13"/>
                <a:gd name="T1" fmla="*/ 0 h 75"/>
                <a:gd name="T2" fmla="*/ 6 w 13"/>
                <a:gd name="T3" fmla="*/ 0 h 75"/>
                <a:gd name="T4" fmla="*/ 0 w 13"/>
                <a:gd name="T5" fmla="*/ 39 h 75"/>
                <a:gd name="T6" fmla="*/ 0 w 13"/>
                <a:gd name="T7" fmla="*/ 40 h 75"/>
                <a:gd name="T8" fmla="*/ 6 w 13"/>
                <a:gd name="T9" fmla="*/ 75 h 75"/>
                <a:gd name="T10" fmla="*/ 6 w 13"/>
                <a:gd name="T11" fmla="*/ 75 h 75"/>
                <a:gd name="T12" fmla="*/ 12 w 13"/>
                <a:gd name="T13" fmla="*/ 37 h 75"/>
                <a:gd name="T14" fmla="*/ 13 w 13"/>
                <a:gd name="T15" fmla="*/ 36 h 75"/>
                <a:gd name="T16" fmla="*/ 6 w 13"/>
                <a:gd name="T1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75"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0" y="18"/>
                    <a:pt x="0" y="39"/>
                  </a:cubicBezTo>
                  <a:cubicBezTo>
                    <a:pt x="0" y="39"/>
                    <a:pt x="0" y="40"/>
                    <a:pt x="0" y="40"/>
                  </a:cubicBezTo>
                  <a:cubicBezTo>
                    <a:pt x="0" y="60"/>
                    <a:pt x="2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9" y="75"/>
                    <a:pt x="12" y="57"/>
                    <a:pt x="12" y="37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16"/>
                    <a:pt x="10" y="0"/>
                    <a:pt x="6" y="0"/>
                  </a:cubicBezTo>
                </a:path>
              </a:pathLst>
            </a:custGeom>
            <a:solidFill>
              <a:srgbClr val="33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7" name="ExtraShape8">
              <a:extLst>
                <a:ext uri="{FF2B5EF4-FFF2-40B4-BE49-F238E27FC236}">
                  <a16:creationId xmlns:a16="http://schemas.microsoft.com/office/drawing/2014/main" id="{FC1B4A5F-7FA5-42DA-BDC7-AA2EA50F52E5}"/>
                </a:ext>
              </a:extLst>
            </p:cNvPr>
            <p:cNvSpPr/>
            <p:nvPr/>
          </p:nvSpPr>
          <p:spPr bwMode="auto">
            <a:xfrm>
              <a:off x="3498103" y="1614174"/>
              <a:ext cx="1876239" cy="1486590"/>
            </a:xfrm>
            <a:custGeom>
              <a:avLst/>
              <a:gdLst>
                <a:gd name="T0" fmla="*/ 50 w 535"/>
                <a:gd name="T1" fmla="*/ 130 h 424"/>
                <a:gd name="T2" fmla="*/ 6 w 535"/>
                <a:gd name="T3" fmla="*/ 193 h 424"/>
                <a:gd name="T4" fmla="*/ 38 w 535"/>
                <a:gd name="T5" fmla="*/ 374 h 424"/>
                <a:gd name="T6" fmla="*/ 102 w 535"/>
                <a:gd name="T7" fmla="*/ 418 h 424"/>
                <a:gd name="T8" fmla="*/ 102 w 535"/>
                <a:gd name="T9" fmla="*/ 418 h 424"/>
                <a:gd name="T10" fmla="*/ 424 w 535"/>
                <a:gd name="T11" fmla="*/ 393 h 424"/>
                <a:gd name="T12" fmla="*/ 535 w 535"/>
                <a:gd name="T13" fmla="*/ 395 h 424"/>
                <a:gd name="T14" fmla="*/ 464 w 535"/>
                <a:gd name="T15" fmla="*/ 0 h 424"/>
                <a:gd name="T16" fmla="*/ 361 w 535"/>
                <a:gd name="T17" fmla="*/ 41 h 424"/>
                <a:gd name="T18" fmla="*/ 50 w 535"/>
                <a:gd name="T19" fmla="*/ 13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5" h="424">
                  <a:moveTo>
                    <a:pt x="50" y="130"/>
                  </a:moveTo>
                  <a:cubicBezTo>
                    <a:pt x="20" y="135"/>
                    <a:pt x="0" y="164"/>
                    <a:pt x="6" y="193"/>
                  </a:cubicBezTo>
                  <a:cubicBezTo>
                    <a:pt x="38" y="374"/>
                    <a:pt x="38" y="374"/>
                    <a:pt x="38" y="374"/>
                  </a:cubicBezTo>
                  <a:cubicBezTo>
                    <a:pt x="44" y="404"/>
                    <a:pt x="72" y="424"/>
                    <a:pt x="102" y="418"/>
                  </a:cubicBezTo>
                  <a:cubicBezTo>
                    <a:pt x="102" y="418"/>
                    <a:pt x="102" y="418"/>
                    <a:pt x="102" y="418"/>
                  </a:cubicBezTo>
                  <a:cubicBezTo>
                    <a:pt x="208" y="399"/>
                    <a:pt x="316" y="391"/>
                    <a:pt x="424" y="393"/>
                  </a:cubicBezTo>
                  <a:cubicBezTo>
                    <a:pt x="535" y="395"/>
                    <a:pt x="535" y="395"/>
                    <a:pt x="535" y="395"/>
                  </a:cubicBezTo>
                  <a:cubicBezTo>
                    <a:pt x="464" y="0"/>
                    <a:pt x="464" y="0"/>
                    <a:pt x="464" y="0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260" y="81"/>
                    <a:pt x="156" y="111"/>
                    <a:pt x="50" y="130"/>
                  </a:cubicBezTo>
                </a:path>
              </a:pathLst>
            </a:custGeom>
            <a:solidFill>
              <a:srgbClr val="407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8" name="ExtraShape9">
              <a:extLst>
                <a:ext uri="{FF2B5EF4-FFF2-40B4-BE49-F238E27FC236}">
                  <a16:creationId xmlns:a16="http://schemas.microsoft.com/office/drawing/2014/main" id="{7A7AD451-F3FB-414E-88DB-64966296FC41}"/>
                </a:ext>
              </a:extLst>
            </p:cNvPr>
            <p:cNvSpPr/>
            <p:nvPr/>
          </p:nvSpPr>
          <p:spPr bwMode="auto">
            <a:xfrm>
              <a:off x="4673399" y="1772997"/>
              <a:ext cx="273177" cy="1219767"/>
            </a:xfrm>
            <a:custGeom>
              <a:avLst/>
              <a:gdLst>
                <a:gd name="T0" fmla="*/ 61 w 78"/>
                <a:gd name="T1" fmla="*/ 348 h 348"/>
                <a:gd name="T2" fmla="*/ 61 w 78"/>
                <a:gd name="T3" fmla="*/ 348 h 348"/>
                <a:gd name="T4" fmla="*/ 78 w 78"/>
                <a:gd name="T5" fmla="*/ 348 h 348"/>
                <a:gd name="T6" fmla="*/ 78 w 78"/>
                <a:gd name="T7" fmla="*/ 348 h 348"/>
                <a:gd name="T8" fmla="*/ 61 w 78"/>
                <a:gd name="T9" fmla="*/ 348 h 348"/>
                <a:gd name="T10" fmla="*/ 5 w 78"/>
                <a:gd name="T11" fmla="*/ 4 h 348"/>
                <a:gd name="T12" fmla="*/ 0 w 78"/>
                <a:gd name="T13" fmla="*/ 6 h 348"/>
                <a:gd name="T14" fmla="*/ 0 w 78"/>
                <a:gd name="T15" fmla="*/ 6 h 348"/>
                <a:gd name="T16" fmla="*/ 5 w 78"/>
                <a:gd name="T17" fmla="*/ 4 h 348"/>
                <a:gd name="T18" fmla="*/ 15 w 78"/>
                <a:gd name="T19" fmla="*/ 0 h 348"/>
                <a:gd name="T20" fmla="*/ 12 w 78"/>
                <a:gd name="T21" fmla="*/ 2 h 348"/>
                <a:gd name="T22" fmla="*/ 15 w 78"/>
                <a:gd name="T23" fmla="*/ 0 h 348"/>
                <a:gd name="T24" fmla="*/ 15 w 78"/>
                <a:gd name="T25" fmla="*/ 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348">
                  <a:moveTo>
                    <a:pt x="61" y="348"/>
                  </a:moveTo>
                  <a:cubicBezTo>
                    <a:pt x="61" y="348"/>
                    <a:pt x="61" y="348"/>
                    <a:pt x="61" y="348"/>
                  </a:cubicBezTo>
                  <a:cubicBezTo>
                    <a:pt x="67" y="348"/>
                    <a:pt x="72" y="348"/>
                    <a:pt x="78" y="348"/>
                  </a:cubicBezTo>
                  <a:cubicBezTo>
                    <a:pt x="78" y="348"/>
                    <a:pt x="78" y="348"/>
                    <a:pt x="78" y="348"/>
                  </a:cubicBezTo>
                  <a:cubicBezTo>
                    <a:pt x="72" y="348"/>
                    <a:pt x="67" y="348"/>
                    <a:pt x="61" y="348"/>
                  </a:cubicBezTo>
                  <a:moveTo>
                    <a:pt x="5" y="4"/>
                  </a:moveTo>
                  <a:cubicBezTo>
                    <a:pt x="3" y="5"/>
                    <a:pt x="2" y="5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5"/>
                    <a:pt x="3" y="5"/>
                    <a:pt x="5" y="4"/>
                  </a:cubicBezTo>
                  <a:moveTo>
                    <a:pt x="15" y="0"/>
                  </a:moveTo>
                  <a:cubicBezTo>
                    <a:pt x="14" y="1"/>
                    <a:pt x="13" y="1"/>
                    <a:pt x="12" y="2"/>
                  </a:cubicBezTo>
                  <a:cubicBezTo>
                    <a:pt x="13" y="1"/>
                    <a:pt x="14" y="1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69" name="ExtraShape10">
              <a:extLst>
                <a:ext uri="{FF2B5EF4-FFF2-40B4-BE49-F238E27FC236}">
                  <a16:creationId xmlns:a16="http://schemas.microsoft.com/office/drawing/2014/main" id="{9C2D3C8F-24BC-4260-95E5-12B7D4F440A6}"/>
                </a:ext>
              </a:extLst>
            </p:cNvPr>
            <p:cNvSpPr/>
            <p:nvPr/>
          </p:nvSpPr>
          <p:spPr bwMode="auto">
            <a:xfrm>
              <a:off x="4673399" y="1772997"/>
              <a:ext cx="273177" cy="1219767"/>
            </a:xfrm>
            <a:custGeom>
              <a:avLst/>
              <a:gdLst>
                <a:gd name="T0" fmla="*/ 15 w 78"/>
                <a:gd name="T1" fmla="*/ 0 h 348"/>
                <a:gd name="T2" fmla="*/ 12 w 78"/>
                <a:gd name="T3" fmla="*/ 2 h 348"/>
                <a:gd name="T4" fmla="*/ 5 w 78"/>
                <a:gd name="T5" fmla="*/ 4 h 348"/>
                <a:gd name="T6" fmla="*/ 0 w 78"/>
                <a:gd name="T7" fmla="*/ 6 h 348"/>
                <a:gd name="T8" fmla="*/ 61 w 78"/>
                <a:gd name="T9" fmla="*/ 348 h 348"/>
                <a:gd name="T10" fmla="*/ 78 w 78"/>
                <a:gd name="T11" fmla="*/ 348 h 348"/>
                <a:gd name="T12" fmla="*/ 15 w 78"/>
                <a:gd name="T13" fmla="*/ 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348">
                  <a:moveTo>
                    <a:pt x="15" y="0"/>
                  </a:moveTo>
                  <a:cubicBezTo>
                    <a:pt x="14" y="1"/>
                    <a:pt x="13" y="1"/>
                    <a:pt x="12" y="2"/>
                  </a:cubicBezTo>
                  <a:cubicBezTo>
                    <a:pt x="9" y="3"/>
                    <a:pt x="7" y="3"/>
                    <a:pt x="5" y="4"/>
                  </a:cubicBezTo>
                  <a:cubicBezTo>
                    <a:pt x="3" y="5"/>
                    <a:pt x="2" y="5"/>
                    <a:pt x="0" y="6"/>
                  </a:cubicBezTo>
                  <a:cubicBezTo>
                    <a:pt x="61" y="348"/>
                    <a:pt x="61" y="348"/>
                    <a:pt x="61" y="348"/>
                  </a:cubicBezTo>
                  <a:cubicBezTo>
                    <a:pt x="67" y="348"/>
                    <a:pt x="72" y="348"/>
                    <a:pt x="78" y="348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2D56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0" name="ExtraShape1">
              <a:extLst>
                <a:ext uri="{FF2B5EF4-FFF2-40B4-BE49-F238E27FC236}">
                  <a16:creationId xmlns:a16="http://schemas.microsoft.com/office/drawing/2014/main" id="{8948F47F-14A7-4AB5-84C2-8D33BA322A26}"/>
                </a:ext>
              </a:extLst>
            </p:cNvPr>
            <p:cNvSpPr/>
            <p:nvPr/>
          </p:nvSpPr>
          <p:spPr bwMode="auto">
            <a:xfrm>
              <a:off x="5111752" y="1614174"/>
              <a:ext cx="277413" cy="1384943"/>
            </a:xfrm>
            <a:custGeom>
              <a:avLst/>
              <a:gdLst>
                <a:gd name="T0" fmla="*/ 4 w 79"/>
                <a:gd name="T1" fmla="*/ 0 h 395"/>
                <a:gd name="T2" fmla="*/ 4 w 79"/>
                <a:gd name="T3" fmla="*/ 0 h 395"/>
                <a:gd name="T4" fmla="*/ 0 w 79"/>
                <a:gd name="T5" fmla="*/ 20 h 395"/>
                <a:gd name="T6" fmla="*/ 23 w 79"/>
                <a:gd name="T7" fmla="*/ 201 h 395"/>
                <a:gd name="T8" fmla="*/ 75 w 79"/>
                <a:gd name="T9" fmla="*/ 395 h 395"/>
                <a:gd name="T10" fmla="*/ 75 w 79"/>
                <a:gd name="T11" fmla="*/ 395 h 395"/>
                <a:gd name="T12" fmla="*/ 79 w 79"/>
                <a:gd name="T13" fmla="*/ 375 h 395"/>
                <a:gd name="T14" fmla="*/ 74 w 79"/>
                <a:gd name="T15" fmla="*/ 308 h 395"/>
                <a:gd name="T16" fmla="*/ 56 w 79"/>
                <a:gd name="T17" fmla="*/ 195 h 395"/>
                <a:gd name="T18" fmla="*/ 4 w 79"/>
                <a:gd name="T1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395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1" y="1"/>
                    <a:pt x="0" y="8"/>
                    <a:pt x="0" y="20"/>
                  </a:cubicBezTo>
                  <a:cubicBezTo>
                    <a:pt x="0" y="53"/>
                    <a:pt x="9" y="122"/>
                    <a:pt x="23" y="201"/>
                  </a:cubicBezTo>
                  <a:cubicBezTo>
                    <a:pt x="42" y="309"/>
                    <a:pt x="65" y="395"/>
                    <a:pt x="75" y="395"/>
                  </a:cubicBezTo>
                  <a:cubicBezTo>
                    <a:pt x="75" y="395"/>
                    <a:pt x="75" y="395"/>
                    <a:pt x="75" y="395"/>
                  </a:cubicBezTo>
                  <a:cubicBezTo>
                    <a:pt x="78" y="395"/>
                    <a:pt x="79" y="388"/>
                    <a:pt x="79" y="375"/>
                  </a:cubicBezTo>
                  <a:cubicBezTo>
                    <a:pt x="79" y="360"/>
                    <a:pt x="77" y="337"/>
                    <a:pt x="74" y="308"/>
                  </a:cubicBezTo>
                  <a:cubicBezTo>
                    <a:pt x="70" y="275"/>
                    <a:pt x="64" y="237"/>
                    <a:pt x="56" y="195"/>
                  </a:cubicBezTo>
                  <a:cubicBezTo>
                    <a:pt x="37" y="87"/>
                    <a:pt x="14" y="0"/>
                    <a:pt x="4" y="0"/>
                  </a:cubicBezTo>
                </a:path>
              </a:pathLst>
            </a:custGeom>
            <a:solidFill>
              <a:srgbClr val="33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1" name="ExtraShape2">
              <a:extLst>
                <a:ext uri="{FF2B5EF4-FFF2-40B4-BE49-F238E27FC236}">
                  <a16:creationId xmlns:a16="http://schemas.microsoft.com/office/drawing/2014/main" id="{CF2AB607-62E4-405C-AF53-697A1547AD64}"/>
                </a:ext>
              </a:extLst>
            </p:cNvPr>
            <p:cNvSpPr/>
            <p:nvPr/>
          </p:nvSpPr>
          <p:spPr bwMode="auto">
            <a:xfrm>
              <a:off x="3345632" y="2088528"/>
              <a:ext cx="27530" cy="65648"/>
            </a:xfrm>
            <a:custGeom>
              <a:avLst/>
              <a:gdLst>
                <a:gd name="T0" fmla="*/ 7 w 8"/>
                <a:gd name="T1" fmla="*/ 18 h 19"/>
                <a:gd name="T2" fmla="*/ 7 w 8"/>
                <a:gd name="T3" fmla="*/ 19 h 19"/>
                <a:gd name="T4" fmla="*/ 7 w 8"/>
                <a:gd name="T5" fmla="*/ 19 h 19"/>
                <a:gd name="T6" fmla="*/ 7 w 8"/>
                <a:gd name="T7" fmla="*/ 18 h 19"/>
                <a:gd name="T8" fmla="*/ 0 w 8"/>
                <a:gd name="T9" fmla="*/ 0 h 19"/>
                <a:gd name="T10" fmla="*/ 8 w 8"/>
                <a:gd name="T11" fmla="*/ 6 h 19"/>
                <a:gd name="T12" fmla="*/ 8 w 8"/>
                <a:gd name="T13" fmla="*/ 6 h 19"/>
                <a:gd name="T14" fmla="*/ 0 w 8"/>
                <a:gd name="T1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9">
                  <a:moveTo>
                    <a:pt x="7" y="18"/>
                  </a:moveTo>
                  <a:cubicBezTo>
                    <a:pt x="7" y="18"/>
                    <a:pt x="7" y="18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8"/>
                    <a:pt x="7" y="18"/>
                    <a:pt x="7" y="18"/>
                  </a:cubicBezTo>
                  <a:moveTo>
                    <a:pt x="0" y="0"/>
                  </a:move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2" name="ExtraShape3">
              <a:extLst>
                <a:ext uri="{FF2B5EF4-FFF2-40B4-BE49-F238E27FC236}">
                  <a16:creationId xmlns:a16="http://schemas.microsoft.com/office/drawing/2014/main" id="{A8C69129-701B-4077-8B36-E5C8D903E2EC}"/>
                </a:ext>
              </a:extLst>
            </p:cNvPr>
            <p:cNvSpPr/>
            <p:nvPr/>
          </p:nvSpPr>
          <p:spPr bwMode="auto">
            <a:xfrm>
              <a:off x="3277867" y="2046175"/>
              <a:ext cx="95295" cy="108001"/>
            </a:xfrm>
            <a:custGeom>
              <a:avLst/>
              <a:gdLst>
                <a:gd name="T0" fmla="*/ 1 w 27"/>
                <a:gd name="T1" fmla="*/ 0 h 31"/>
                <a:gd name="T2" fmla="*/ 1 w 27"/>
                <a:gd name="T3" fmla="*/ 12 h 31"/>
                <a:gd name="T4" fmla="*/ 26 w 27"/>
                <a:gd name="T5" fmla="*/ 31 h 31"/>
                <a:gd name="T6" fmla="*/ 26 w 27"/>
                <a:gd name="T7" fmla="*/ 30 h 31"/>
                <a:gd name="T8" fmla="*/ 27 w 27"/>
                <a:gd name="T9" fmla="*/ 18 h 31"/>
                <a:gd name="T10" fmla="*/ 19 w 27"/>
                <a:gd name="T11" fmla="*/ 12 h 31"/>
                <a:gd name="T12" fmla="*/ 1 w 27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1">
                  <a:moveTo>
                    <a:pt x="1" y="0"/>
                  </a:moveTo>
                  <a:cubicBezTo>
                    <a:pt x="0" y="2"/>
                    <a:pt x="0" y="7"/>
                    <a:pt x="1" y="12"/>
                  </a:cubicBezTo>
                  <a:cubicBezTo>
                    <a:pt x="3" y="22"/>
                    <a:pt x="17" y="31"/>
                    <a:pt x="26" y="31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26"/>
                    <a:pt x="27" y="22"/>
                    <a:pt x="27" y="1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CC9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3" name="ExtraShape4">
              <a:extLst>
                <a:ext uri="{FF2B5EF4-FFF2-40B4-BE49-F238E27FC236}">
                  <a16:creationId xmlns:a16="http://schemas.microsoft.com/office/drawing/2014/main" id="{D01F4CF9-DFCD-4338-903B-E5DFEF946E97}"/>
                </a:ext>
              </a:extLst>
            </p:cNvPr>
            <p:cNvSpPr/>
            <p:nvPr/>
          </p:nvSpPr>
          <p:spPr bwMode="auto">
            <a:xfrm>
              <a:off x="3250338" y="1673469"/>
              <a:ext cx="252001" cy="277413"/>
            </a:xfrm>
            <a:custGeom>
              <a:avLst/>
              <a:gdLst>
                <a:gd name="T0" fmla="*/ 31 w 72"/>
                <a:gd name="T1" fmla="*/ 3 h 79"/>
                <a:gd name="T2" fmla="*/ 56 w 72"/>
                <a:gd name="T3" fmla="*/ 64 h 79"/>
                <a:gd name="T4" fmla="*/ 31 w 72"/>
                <a:gd name="T5" fmla="*/ 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" h="79">
                  <a:moveTo>
                    <a:pt x="31" y="3"/>
                  </a:moveTo>
                  <a:cubicBezTo>
                    <a:pt x="47" y="5"/>
                    <a:pt x="72" y="48"/>
                    <a:pt x="56" y="64"/>
                  </a:cubicBezTo>
                  <a:cubicBezTo>
                    <a:pt x="39" y="79"/>
                    <a:pt x="0" y="0"/>
                    <a:pt x="3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4" name="ExtraShape5">
              <a:extLst>
                <a:ext uri="{FF2B5EF4-FFF2-40B4-BE49-F238E27FC236}">
                  <a16:creationId xmlns:a16="http://schemas.microsoft.com/office/drawing/2014/main" id="{8CFFEA1E-3324-4E2C-AC68-67ED8FD12AD3}"/>
                </a:ext>
              </a:extLst>
            </p:cNvPr>
            <p:cNvSpPr/>
            <p:nvPr/>
          </p:nvSpPr>
          <p:spPr bwMode="auto">
            <a:xfrm>
              <a:off x="3127515" y="1692527"/>
              <a:ext cx="360000" cy="461648"/>
            </a:xfrm>
            <a:custGeom>
              <a:avLst/>
              <a:gdLst>
                <a:gd name="T0" fmla="*/ 9 w 103"/>
                <a:gd name="T1" fmla="*/ 60 h 132"/>
                <a:gd name="T2" fmla="*/ 42 w 103"/>
                <a:gd name="T3" fmla="*/ 117 h 132"/>
                <a:gd name="T4" fmla="*/ 102 w 103"/>
                <a:gd name="T5" fmla="*/ 76 h 132"/>
                <a:gd name="T6" fmla="*/ 54 w 103"/>
                <a:gd name="T7" fmla="*/ 3 h 132"/>
                <a:gd name="T8" fmla="*/ 9 w 103"/>
                <a:gd name="T9" fmla="*/ 6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32">
                  <a:moveTo>
                    <a:pt x="9" y="60"/>
                  </a:moveTo>
                  <a:cubicBezTo>
                    <a:pt x="19" y="89"/>
                    <a:pt x="23" y="107"/>
                    <a:pt x="42" y="117"/>
                  </a:cubicBezTo>
                  <a:cubicBezTo>
                    <a:pt x="70" y="132"/>
                    <a:pt x="103" y="107"/>
                    <a:pt x="102" y="76"/>
                  </a:cubicBezTo>
                  <a:cubicBezTo>
                    <a:pt x="102" y="47"/>
                    <a:pt x="86" y="5"/>
                    <a:pt x="54" y="3"/>
                  </a:cubicBezTo>
                  <a:cubicBezTo>
                    <a:pt x="23" y="0"/>
                    <a:pt x="0" y="32"/>
                    <a:pt x="9" y="60"/>
                  </a:cubicBez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5" name="ExtraShape6">
              <a:extLst>
                <a:ext uri="{FF2B5EF4-FFF2-40B4-BE49-F238E27FC236}">
                  <a16:creationId xmlns:a16="http://schemas.microsoft.com/office/drawing/2014/main" id="{B149C777-5DC4-4DDA-A437-2CB5DB993322}"/>
                </a:ext>
              </a:extLst>
            </p:cNvPr>
            <p:cNvSpPr/>
            <p:nvPr/>
          </p:nvSpPr>
          <p:spPr bwMode="auto">
            <a:xfrm>
              <a:off x="3032220" y="1601469"/>
              <a:ext cx="470119" cy="412943"/>
            </a:xfrm>
            <a:custGeom>
              <a:avLst/>
              <a:gdLst>
                <a:gd name="T0" fmla="*/ 114 w 134"/>
                <a:gd name="T1" fmla="*/ 19 h 118"/>
                <a:gd name="T2" fmla="*/ 90 w 134"/>
                <a:gd name="T3" fmla="*/ 18 h 118"/>
                <a:gd name="T4" fmla="*/ 102 w 134"/>
                <a:gd name="T5" fmla="*/ 3 h 118"/>
                <a:gd name="T6" fmla="*/ 78 w 134"/>
                <a:gd name="T7" fmla="*/ 15 h 118"/>
                <a:gd name="T8" fmla="*/ 80 w 134"/>
                <a:gd name="T9" fmla="*/ 3 h 118"/>
                <a:gd name="T10" fmla="*/ 53 w 134"/>
                <a:gd name="T11" fmla="*/ 20 h 118"/>
                <a:gd name="T12" fmla="*/ 64 w 134"/>
                <a:gd name="T13" fmla="*/ 0 h 118"/>
                <a:gd name="T14" fmla="*/ 14 w 134"/>
                <a:gd name="T15" fmla="*/ 35 h 118"/>
                <a:gd name="T16" fmla="*/ 13 w 134"/>
                <a:gd name="T17" fmla="*/ 35 h 118"/>
                <a:gd name="T18" fmla="*/ 10 w 134"/>
                <a:gd name="T19" fmla="*/ 37 h 118"/>
                <a:gd name="T20" fmla="*/ 10 w 134"/>
                <a:gd name="T21" fmla="*/ 38 h 118"/>
                <a:gd name="T22" fmla="*/ 7 w 134"/>
                <a:gd name="T23" fmla="*/ 41 h 118"/>
                <a:gd name="T24" fmla="*/ 9 w 134"/>
                <a:gd name="T25" fmla="*/ 66 h 118"/>
                <a:gd name="T26" fmla="*/ 4 w 134"/>
                <a:gd name="T27" fmla="*/ 85 h 118"/>
                <a:gd name="T28" fmla="*/ 9 w 134"/>
                <a:gd name="T29" fmla="*/ 71 h 118"/>
                <a:gd name="T30" fmla="*/ 46 w 134"/>
                <a:gd name="T31" fmla="*/ 114 h 118"/>
                <a:gd name="T32" fmla="*/ 54 w 134"/>
                <a:gd name="T33" fmla="*/ 53 h 118"/>
                <a:gd name="T34" fmla="*/ 90 w 134"/>
                <a:gd name="T35" fmla="*/ 42 h 118"/>
                <a:gd name="T36" fmla="*/ 72 w 134"/>
                <a:gd name="T37" fmla="*/ 44 h 118"/>
                <a:gd name="T38" fmla="*/ 115 w 134"/>
                <a:gd name="T39" fmla="*/ 32 h 118"/>
                <a:gd name="T40" fmla="*/ 96 w 134"/>
                <a:gd name="T41" fmla="*/ 28 h 118"/>
                <a:gd name="T42" fmla="*/ 110 w 134"/>
                <a:gd name="T43" fmla="*/ 26 h 118"/>
                <a:gd name="T44" fmla="*/ 128 w 134"/>
                <a:gd name="T45" fmla="*/ 45 h 118"/>
                <a:gd name="T46" fmla="*/ 114 w 134"/>
                <a:gd name="T47" fmla="*/ 19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4" h="118">
                  <a:moveTo>
                    <a:pt x="114" y="19"/>
                  </a:moveTo>
                  <a:cubicBezTo>
                    <a:pt x="104" y="17"/>
                    <a:pt x="97" y="17"/>
                    <a:pt x="90" y="18"/>
                  </a:cubicBezTo>
                  <a:cubicBezTo>
                    <a:pt x="96" y="12"/>
                    <a:pt x="100" y="7"/>
                    <a:pt x="102" y="3"/>
                  </a:cubicBezTo>
                  <a:cubicBezTo>
                    <a:pt x="95" y="9"/>
                    <a:pt x="86" y="12"/>
                    <a:pt x="78" y="15"/>
                  </a:cubicBezTo>
                  <a:cubicBezTo>
                    <a:pt x="79" y="10"/>
                    <a:pt x="80" y="6"/>
                    <a:pt x="80" y="3"/>
                  </a:cubicBezTo>
                  <a:cubicBezTo>
                    <a:pt x="74" y="11"/>
                    <a:pt x="64" y="16"/>
                    <a:pt x="53" y="20"/>
                  </a:cubicBezTo>
                  <a:cubicBezTo>
                    <a:pt x="58" y="13"/>
                    <a:pt x="62" y="6"/>
                    <a:pt x="64" y="0"/>
                  </a:cubicBezTo>
                  <a:cubicBezTo>
                    <a:pt x="57" y="13"/>
                    <a:pt x="30" y="24"/>
                    <a:pt x="14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2" y="36"/>
                    <a:pt x="11" y="37"/>
                    <a:pt x="10" y="37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8" y="39"/>
                    <a:pt x="7" y="40"/>
                    <a:pt x="7" y="41"/>
                  </a:cubicBezTo>
                  <a:cubicBezTo>
                    <a:pt x="0" y="50"/>
                    <a:pt x="2" y="60"/>
                    <a:pt x="9" y="66"/>
                  </a:cubicBezTo>
                  <a:cubicBezTo>
                    <a:pt x="3" y="69"/>
                    <a:pt x="1" y="77"/>
                    <a:pt x="4" y="85"/>
                  </a:cubicBezTo>
                  <a:cubicBezTo>
                    <a:pt x="4" y="80"/>
                    <a:pt x="5" y="73"/>
                    <a:pt x="9" y="71"/>
                  </a:cubicBezTo>
                  <a:cubicBezTo>
                    <a:pt x="3" y="91"/>
                    <a:pt x="26" y="109"/>
                    <a:pt x="46" y="114"/>
                  </a:cubicBezTo>
                  <a:cubicBezTo>
                    <a:pt x="58" y="118"/>
                    <a:pt x="65" y="72"/>
                    <a:pt x="54" y="53"/>
                  </a:cubicBezTo>
                  <a:cubicBezTo>
                    <a:pt x="69" y="51"/>
                    <a:pt x="82" y="48"/>
                    <a:pt x="90" y="42"/>
                  </a:cubicBezTo>
                  <a:cubicBezTo>
                    <a:pt x="85" y="44"/>
                    <a:pt x="79" y="44"/>
                    <a:pt x="72" y="44"/>
                  </a:cubicBezTo>
                  <a:cubicBezTo>
                    <a:pt x="87" y="38"/>
                    <a:pt x="102" y="30"/>
                    <a:pt x="115" y="32"/>
                  </a:cubicBezTo>
                  <a:cubicBezTo>
                    <a:pt x="110" y="30"/>
                    <a:pt x="103" y="29"/>
                    <a:pt x="96" y="28"/>
                  </a:cubicBezTo>
                  <a:cubicBezTo>
                    <a:pt x="101" y="27"/>
                    <a:pt x="105" y="26"/>
                    <a:pt x="110" y="26"/>
                  </a:cubicBezTo>
                  <a:cubicBezTo>
                    <a:pt x="123" y="26"/>
                    <a:pt x="132" y="38"/>
                    <a:pt x="128" y="45"/>
                  </a:cubicBezTo>
                  <a:cubicBezTo>
                    <a:pt x="134" y="37"/>
                    <a:pt x="132" y="23"/>
                    <a:pt x="114" y="1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6" name="ExtraShape7">
              <a:extLst>
                <a:ext uri="{FF2B5EF4-FFF2-40B4-BE49-F238E27FC236}">
                  <a16:creationId xmlns:a16="http://schemas.microsoft.com/office/drawing/2014/main" id="{14B93B4C-5EE5-4626-9D6E-E87A45ABE4FE}"/>
                </a:ext>
              </a:extLst>
            </p:cNvPr>
            <p:cNvSpPr/>
            <p:nvPr/>
          </p:nvSpPr>
          <p:spPr bwMode="auto">
            <a:xfrm>
              <a:off x="3121161" y="1938174"/>
              <a:ext cx="135530" cy="118588"/>
            </a:xfrm>
            <a:custGeom>
              <a:avLst/>
              <a:gdLst>
                <a:gd name="T0" fmla="*/ 6 w 39"/>
                <a:gd name="T1" fmla="*/ 27 h 34"/>
                <a:gd name="T2" fmla="*/ 27 w 39"/>
                <a:gd name="T3" fmla="*/ 34 h 34"/>
                <a:gd name="T4" fmla="*/ 34 w 39"/>
                <a:gd name="T5" fmla="*/ 15 h 34"/>
                <a:gd name="T6" fmla="*/ 9 w 39"/>
                <a:gd name="T7" fmla="*/ 5 h 34"/>
                <a:gd name="T8" fmla="*/ 6 w 39"/>
                <a:gd name="T9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4">
                  <a:moveTo>
                    <a:pt x="6" y="27"/>
                  </a:moveTo>
                  <a:cubicBezTo>
                    <a:pt x="12" y="32"/>
                    <a:pt x="20" y="34"/>
                    <a:pt x="27" y="34"/>
                  </a:cubicBezTo>
                  <a:cubicBezTo>
                    <a:pt x="37" y="33"/>
                    <a:pt x="39" y="23"/>
                    <a:pt x="34" y="15"/>
                  </a:cubicBezTo>
                  <a:cubicBezTo>
                    <a:pt x="29" y="8"/>
                    <a:pt x="18" y="0"/>
                    <a:pt x="9" y="5"/>
                  </a:cubicBezTo>
                  <a:cubicBezTo>
                    <a:pt x="0" y="10"/>
                    <a:pt x="0" y="21"/>
                    <a:pt x="6" y="27"/>
                  </a:cubicBez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7" name="ExtraShape45">
              <a:extLst>
                <a:ext uri="{FF2B5EF4-FFF2-40B4-BE49-F238E27FC236}">
                  <a16:creationId xmlns:a16="http://schemas.microsoft.com/office/drawing/2014/main" id="{37D34AC0-7423-4AA8-A857-BD653197CA29}"/>
                </a:ext>
              </a:extLst>
            </p:cNvPr>
            <p:cNvSpPr/>
            <p:nvPr/>
          </p:nvSpPr>
          <p:spPr bwMode="auto">
            <a:xfrm>
              <a:off x="3540455" y="3854648"/>
              <a:ext cx="48707" cy="122824"/>
            </a:xfrm>
            <a:custGeom>
              <a:avLst/>
              <a:gdLst>
                <a:gd name="T0" fmla="*/ 0 w 14"/>
                <a:gd name="T1" fmla="*/ 0 h 35"/>
                <a:gd name="T2" fmla="*/ 0 w 14"/>
                <a:gd name="T3" fmla="*/ 0 h 35"/>
                <a:gd name="T4" fmla="*/ 14 w 14"/>
                <a:gd name="T5" fmla="*/ 35 h 35"/>
                <a:gd name="T6" fmla="*/ 14 w 14"/>
                <a:gd name="T7" fmla="*/ 35 h 35"/>
                <a:gd name="T8" fmla="*/ 0 w 14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12"/>
                    <a:pt x="10" y="24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24"/>
                    <a:pt x="5" y="12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8" name="ExtraShape46">
              <a:extLst>
                <a:ext uri="{FF2B5EF4-FFF2-40B4-BE49-F238E27FC236}">
                  <a16:creationId xmlns:a16="http://schemas.microsoft.com/office/drawing/2014/main" id="{125A3C90-FE9C-44A2-BA50-7613864970BD}"/>
                </a:ext>
              </a:extLst>
            </p:cNvPr>
            <p:cNvSpPr/>
            <p:nvPr/>
          </p:nvSpPr>
          <p:spPr bwMode="auto">
            <a:xfrm>
              <a:off x="3529868" y="3827118"/>
              <a:ext cx="10589" cy="27530"/>
            </a:xfrm>
            <a:custGeom>
              <a:avLst/>
              <a:gdLst>
                <a:gd name="T0" fmla="*/ 0 w 3"/>
                <a:gd name="T1" fmla="*/ 0 h 8"/>
                <a:gd name="T2" fmla="*/ 0 w 3"/>
                <a:gd name="T3" fmla="*/ 0 h 8"/>
                <a:gd name="T4" fmla="*/ 3 w 3"/>
                <a:gd name="T5" fmla="*/ 8 h 8"/>
                <a:gd name="T6" fmla="*/ 3 w 3"/>
                <a:gd name="T7" fmla="*/ 8 h 8"/>
                <a:gd name="T8" fmla="*/ 0 w 3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5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5"/>
                    <a:pt x="1" y="3"/>
                    <a:pt x="0" y="0"/>
                  </a:cubicBezTo>
                </a:path>
              </a:pathLst>
            </a:custGeom>
            <a:solidFill>
              <a:srgbClr val="B8B8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79" name="ExtraShape1">
              <a:extLst>
                <a:ext uri="{FF2B5EF4-FFF2-40B4-BE49-F238E27FC236}">
                  <a16:creationId xmlns:a16="http://schemas.microsoft.com/office/drawing/2014/main" id="{CD6210B7-3BB4-46D7-A9AD-2E610A9B2896}"/>
                </a:ext>
              </a:extLst>
            </p:cNvPr>
            <p:cNvSpPr/>
            <p:nvPr/>
          </p:nvSpPr>
          <p:spPr bwMode="auto">
            <a:xfrm>
              <a:off x="3589162" y="3977472"/>
              <a:ext cx="19059" cy="55059"/>
            </a:xfrm>
            <a:custGeom>
              <a:avLst/>
              <a:gdLst>
                <a:gd name="T0" fmla="*/ 0 w 5"/>
                <a:gd name="T1" fmla="*/ 0 h 16"/>
                <a:gd name="T2" fmla="*/ 0 w 5"/>
                <a:gd name="T3" fmla="*/ 0 h 16"/>
                <a:gd name="T4" fmla="*/ 5 w 5"/>
                <a:gd name="T5" fmla="*/ 16 h 16"/>
                <a:gd name="T6" fmla="*/ 5 w 5"/>
                <a:gd name="T7" fmla="*/ 16 h 16"/>
                <a:gd name="T8" fmla="*/ 0 w 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3" y="11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3" y="11"/>
                    <a:pt x="2" y="6"/>
                    <a:pt x="0" y="0"/>
                  </a:cubicBezTo>
                </a:path>
              </a:pathLst>
            </a:custGeom>
            <a:solidFill>
              <a:srgbClr val="B8B8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0" name="ExtraShape2">
              <a:extLst>
                <a:ext uri="{FF2B5EF4-FFF2-40B4-BE49-F238E27FC236}">
                  <a16:creationId xmlns:a16="http://schemas.microsoft.com/office/drawing/2014/main" id="{4C99E6B3-0E9E-4701-B11E-6600C9774C7D}"/>
                </a:ext>
              </a:extLst>
            </p:cNvPr>
            <p:cNvSpPr/>
            <p:nvPr/>
          </p:nvSpPr>
          <p:spPr bwMode="auto">
            <a:xfrm>
              <a:off x="3519279" y="3587824"/>
              <a:ext cx="95295" cy="444707"/>
            </a:xfrm>
            <a:custGeom>
              <a:avLst/>
              <a:gdLst>
                <a:gd name="T0" fmla="*/ 0 w 27"/>
                <a:gd name="T1" fmla="*/ 0 h 127"/>
                <a:gd name="T2" fmla="*/ 3 w 27"/>
                <a:gd name="T3" fmla="*/ 68 h 127"/>
                <a:gd name="T4" fmla="*/ 6 w 27"/>
                <a:gd name="T5" fmla="*/ 76 h 127"/>
                <a:gd name="T6" fmla="*/ 20 w 27"/>
                <a:gd name="T7" fmla="*/ 111 h 127"/>
                <a:gd name="T8" fmla="*/ 25 w 27"/>
                <a:gd name="T9" fmla="*/ 127 h 127"/>
                <a:gd name="T10" fmla="*/ 0 w 27"/>
                <a:gd name="T1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27">
                  <a:moveTo>
                    <a:pt x="0" y="0"/>
                  </a:moveTo>
                  <a:cubicBezTo>
                    <a:pt x="1" y="22"/>
                    <a:pt x="2" y="45"/>
                    <a:pt x="3" y="68"/>
                  </a:cubicBezTo>
                  <a:cubicBezTo>
                    <a:pt x="4" y="71"/>
                    <a:pt x="5" y="73"/>
                    <a:pt x="6" y="76"/>
                  </a:cubicBezTo>
                  <a:cubicBezTo>
                    <a:pt x="11" y="88"/>
                    <a:pt x="16" y="100"/>
                    <a:pt x="20" y="111"/>
                  </a:cubicBezTo>
                  <a:cubicBezTo>
                    <a:pt x="22" y="117"/>
                    <a:pt x="23" y="122"/>
                    <a:pt x="25" y="127"/>
                  </a:cubicBezTo>
                  <a:cubicBezTo>
                    <a:pt x="27" y="66"/>
                    <a:pt x="18" y="27"/>
                    <a:pt x="0" y="0"/>
                  </a:cubicBezTo>
                </a:path>
              </a:pathLst>
            </a:custGeom>
            <a:solidFill>
              <a:srgbClr val="33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1" name="ExtraShape3">
              <a:extLst>
                <a:ext uri="{FF2B5EF4-FFF2-40B4-BE49-F238E27FC236}">
                  <a16:creationId xmlns:a16="http://schemas.microsoft.com/office/drawing/2014/main" id="{2E9E9AA0-C2E8-4422-A2EB-1E5B9B7F187C}"/>
                </a:ext>
              </a:extLst>
            </p:cNvPr>
            <p:cNvSpPr/>
            <p:nvPr/>
          </p:nvSpPr>
          <p:spPr bwMode="auto">
            <a:xfrm>
              <a:off x="3320220" y="1864057"/>
              <a:ext cx="25412" cy="31765"/>
            </a:xfrm>
            <a:custGeom>
              <a:avLst/>
              <a:gdLst>
                <a:gd name="T0" fmla="*/ 1 w 7"/>
                <a:gd name="T1" fmla="*/ 5 h 9"/>
                <a:gd name="T2" fmla="*/ 5 w 7"/>
                <a:gd name="T3" fmla="*/ 9 h 9"/>
                <a:gd name="T4" fmla="*/ 7 w 7"/>
                <a:gd name="T5" fmla="*/ 3 h 9"/>
                <a:gd name="T6" fmla="*/ 3 w 7"/>
                <a:gd name="T7" fmla="*/ 0 h 9"/>
                <a:gd name="T8" fmla="*/ 1 w 7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1" y="5"/>
                  </a:moveTo>
                  <a:cubicBezTo>
                    <a:pt x="2" y="8"/>
                    <a:pt x="3" y="9"/>
                    <a:pt x="5" y="9"/>
                  </a:cubicBezTo>
                  <a:cubicBezTo>
                    <a:pt x="7" y="8"/>
                    <a:pt x="7" y="6"/>
                    <a:pt x="7" y="3"/>
                  </a:cubicBezTo>
                  <a:cubicBezTo>
                    <a:pt x="6" y="1"/>
                    <a:pt x="4" y="0"/>
                    <a:pt x="3" y="0"/>
                  </a:cubicBezTo>
                  <a:cubicBezTo>
                    <a:pt x="1" y="1"/>
                    <a:pt x="0" y="3"/>
                    <a:pt x="1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2" name="ExtraShape4">
              <a:extLst>
                <a:ext uri="{FF2B5EF4-FFF2-40B4-BE49-F238E27FC236}">
                  <a16:creationId xmlns:a16="http://schemas.microsoft.com/office/drawing/2014/main" id="{1DD77620-EA29-4398-B89F-4D7B20D786E7}"/>
                </a:ext>
              </a:extLst>
            </p:cNvPr>
            <p:cNvSpPr/>
            <p:nvPr/>
          </p:nvSpPr>
          <p:spPr bwMode="auto">
            <a:xfrm>
              <a:off x="3417631" y="1832291"/>
              <a:ext cx="21176" cy="33883"/>
            </a:xfrm>
            <a:custGeom>
              <a:avLst/>
              <a:gdLst>
                <a:gd name="T0" fmla="*/ 0 w 6"/>
                <a:gd name="T1" fmla="*/ 6 h 10"/>
                <a:gd name="T2" fmla="*/ 4 w 6"/>
                <a:gd name="T3" fmla="*/ 9 h 10"/>
                <a:gd name="T4" fmla="*/ 6 w 6"/>
                <a:gd name="T5" fmla="*/ 4 h 10"/>
                <a:gd name="T6" fmla="*/ 2 w 6"/>
                <a:gd name="T7" fmla="*/ 0 h 10"/>
                <a:gd name="T8" fmla="*/ 0 w 6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0" y="6"/>
                  </a:moveTo>
                  <a:cubicBezTo>
                    <a:pt x="1" y="8"/>
                    <a:pt x="3" y="10"/>
                    <a:pt x="4" y="9"/>
                  </a:cubicBezTo>
                  <a:cubicBezTo>
                    <a:pt x="6" y="9"/>
                    <a:pt x="6" y="6"/>
                    <a:pt x="6" y="4"/>
                  </a:cubicBezTo>
                  <a:cubicBezTo>
                    <a:pt x="5" y="1"/>
                    <a:pt x="3" y="0"/>
                    <a:pt x="2" y="0"/>
                  </a:cubicBezTo>
                  <a:cubicBezTo>
                    <a:pt x="0" y="1"/>
                    <a:pt x="0" y="3"/>
                    <a:pt x="0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3" name="ExtraShape5">
              <a:extLst>
                <a:ext uri="{FF2B5EF4-FFF2-40B4-BE49-F238E27FC236}">
                  <a16:creationId xmlns:a16="http://schemas.microsoft.com/office/drawing/2014/main" id="{A40D77D9-BD27-4210-ADC9-87D091E7ADEB}"/>
                </a:ext>
              </a:extLst>
            </p:cNvPr>
            <p:cNvSpPr/>
            <p:nvPr/>
          </p:nvSpPr>
          <p:spPr bwMode="auto">
            <a:xfrm>
              <a:off x="3390103" y="1866174"/>
              <a:ext cx="59294" cy="78354"/>
            </a:xfrm>
            <a:custGeom>
              <a:avLst/>
              <a:gdLst>
                <a:gd name="T0" fmla="*/ 0 w 17"/>
                <a:gd name="T1" fmla="*/ 0 h 22"/>
                <a:gd name="T2" fmla="*/ 17 w 17"/>
                <a:gd name="T3" fmla="*/ 16 h 22"/>
                <a:gd name="T4" fmla="*/ 6 w 17"/>
                <a:gd name="T5" fmla="*/ 22 h 22"/>
                <a:gd name="T6" fmla="*/ 0 w 17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2">
                  <a:moveTo>
                    <a:pt x="0" y="0"/>
                  </a:moveTo>
                  <a:cubicBezTo>
                    <a:pt x="0" y="0"/>
                    <a:pt x="9" y="12"/>
                    <a:pt x="17" y="16"/>
                  </a:cubicBezTo>
                  <a:cubicBezTo>
                    <a:pt x="13" y="22"/>
                    <a:pt x="6" y="22"/>
                    <a:pt x="6" y="2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84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4" name="ExtraShape6">
              <a:extLst>
                <a:ext uri="{FF2B5EF4-FFF2-40B4-BE49-F238E27FC236}">
                  <a16:creationId xmlns:a16="http://schemas.microsoft.com/office/drawing/2014/main" id="{10E3F4ED-DC26-4294-8E8A-D3392EB03CDE}"/>
                </a:ext>
              </a:extLst>
            </p:cNvPr>
            <p:cNvSpPr/>
            <p:nvPr/>
          </p:nvSpPr>
          <p:spPr bwMode="auto">
            <a:xfrm>
              <a:off x="3326573" y="1961469"/>
              <a:ext cx="67765" cy="27530"/>
            </a:xfrm>
            <a:custGeom>
              <a:avLst/>
              <a:gdLst>
                <a:gd name="T0" fmla="*/ 18 w 19"/>
                <a:gd name="T1" fmla="*/ 4 h 8"/>
                <a:gd name="T2" fmla="*/ 0 w 19"/>
                <a:gd name="T3" fmla="*/ 1 h 8"/>
                <a:gd name="T4" fmla="*/ 0 w 19"/>
                <a:gd name="T5" fmla="*/ 0 h 8"/>
                <a:gd name="T6" fmla="*/ 1 w 19"/>
                <a:gd name="T7" fmla="*/ 0 h 8"/>
                <a:gd name="T8" fmla="*/ 18 w 19"/>
                <a:gd name="T9" fmla="*/ 3 h 8"/>
                <a:gd name="T10" fmla="*/ 19 w 19"/>
                <a:gd name="T11" fmla="*/ 3 h 8"/>
                <a:gd name="T12" fmla="*/ 18 w 19"/>
                <a:gd name="T1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8">
                  <a:moveTo>
                    <a:pt x="18" y="4"/>
                  </a:moveTo>
                  <a:cubicBezTo>
                    <a:pt x="7" y="8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8" y="6"/>
                    <a:pt x="18" y="3"/>
                  </a:cubicBezTo>
                  <a:cubicBezTo>
                    <a:pt x="18" y="2"/>
                    <a:pt x="19" y="3"/>
                    <a:pt x="19" y="3"/>
                  </a:cubicBezTo>
                  <a:cubicBezTo>
                    <a:pt x="19" y="3"/>
                    <a:pt x="19" y="4"/>
                    <a:pt x="18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5" name="ExtraShape7">
              <a:extLst>
                <a:ext uri="{FF2B5EF4-FFF2-40B4-BE49-F238E27FC236}">
                  <a16:creationId xmlns:a16="http://schemas.microsoft.com/office/drawing/2014/main" id="{97DED037-201E-4586-A75D-18B68288E7F1}"/>
                </a:ext>
              </a:extLst>
            </p:cNvPr>
            <p:cNvSpPr/>
            <p:nvPr/>
          </p:nvSpPr>
          <p:spPr bwMode="auto">
            <a:xfrm>
              <a:off x="3282102" y="1821704"/>
              <a:ext cx="42353" cy="38118"/>
            </a:xfrm>
            <a:custGeom>
              <a:avLst/>
              <a:gdLst>
                <a:gd name="T0" fmla="*/ 2 w 12"/>
                <a:gd name="T1" fmla="*/ 11 h 11"/>
                <a:gd name="T2" fmla="*/ 1 w 12"/>
                <a:gd name="T3" fmla="*/ 11 h 11"/>
                <a:gd name="T4" fmla="*/ 0 w 12"/>
                <a:gd name="T5" fmla="*/ 9 h 11"/>
                <a:gd name="T6" fmla="*/ 10 w 12"/>
                <a:gd name="T7" fmla="*/ 0 h 11"/>
                <a:gd name="T8" fmla="*/ 12 w 12"/>
                <a:gd name="T9" fmla="*/ 1 h 11"/>
                <a:gd name="T10" fmla="*/ 10 w 12"/>
                <a:gd name="T11" fmla="*/ 3 h 11"/>
                <a:gd name="T12" fmla="*/ 3 w 12"/>
                <a:gd name="T13" fmla="*/ 10 h 11"/>
                <a:gd name="T14" fmla="*/ 2 w 1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1">
                  <a:moveTo>
                    <a:pt x="2" y="11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3" y="2"/>
                    <a:pt x="10" y="0"/>
                    <a:pt x="10" y="0"/>
                  </a:cubicBezTo>
                  <a:cubicBezTo>
                    <a:pt x="11" y="0"/>
                    <a:pt x="11" y="0"/>
                    <a:pt x="12" y="1"/>
                  </a:cubicBezTo>
                  <a:cubicBezTo>
                    <a:pt x="12" y="2"/>
                    <a:pt x="11" y="3"/>
                    <a:pt x="10" y="3"/>
                  </a:cubicBezTo>
                  <a:cubicBezTo>
                    <a:pt x="10" y="3"/>
                    <a:pt x="5" y="4"/>
                    <a:pt x="3" y="10"/>
                  </a:cubicBezTo>
                  <a:cubicBezTo>
                    <a:pt x="2" y="11"/>
                    <a:pt x="2" y="11"/>
                    <a:pt x="2" y="1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6" name="ExtraShape1">
              <a:extLst>
                <a:ext uri="{FF2B5EF4-FFF2-40B4-BE49-F238E27FC236}">
                  <a16:creationId xmlns:a16="http://schemas.microsoft.com/office/drawing/2014/main" id="{1BC543AF-D570-418C-AA6D-5195702D0AF4}"/>
                </a:ext>
              </a:extLst>
            </p:cNvPr>
            <p:cNvSpPr/>
            <p:nvPr/>
          </p:nvSpPr>
          <p:spPr bwMode="auto">
            <a:xfrm>
              <a:off x="3407044" y="1775115"/>
              <a:ext cx="50823" cy="31765"/>
            </a:xfrm>
            <a:custGeom>
              <a:avLst/>
              <a:gdLst>
                <a:gd name="T0" fmla="*/ 13 w 14"/>
                <a:gd name="T1" fmla="*/ 9 h 9"/>
                <a:gd name="T2" fmla="*/ 11 w 14"/>
                <a:gd name="T3" fmla="*/ 8 h 9"/>
                <a:gd name="T4" fmla="*/ 2 w 14"/>
                <a:gd name="T5" fmla="*/ 4 h 9"/>
                <a:gd name="T6" fmla="*/ 0 w 14"/>
                <a:gd name="T7" fmla="*/ 3 h 9"/>
                <a:gd name="T8" fmla="*/ 1 w 14"/>
                <a:gd name="T9" fmla="*/ 1 h 9"/>
                <a:gd name="T10" fmla="*/ 13 w 14"/>
                <a:gd name="T11" fmla="*/ 6 h 9"/>
                <a:gd name="T12" fmla="*/ 13 w 14"/>
                <a:gd name="T13" fmla="*/ 8 h 9"/>
                <a:gd name="T14" fmla="*/ 13 w 14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13" y="9"/>
                  </a:moveTo>
                  <a:cubicBezTo>
                    <a:pt x="12" y="9"/>
                    <a:pt x="12" y="9"/>
                    <a:pt x="11" y="8"/>
                  </a:cubicBezTo>
                  <a:cubicBezTo>
                    <a:pt x="7" y="3"/>
                    <a:pt x="2" y="4"/>
                    <a:pt x="2" y="4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2"/>
                    <a:pt x="0" y="2"/>
                    <a:pt x="1" y="1"/>
                  </a:cubicBezTo>
                  <a:cubicBezTo>
                    <a:pt x="1" y="1"/>
                    <a:pt x="8" y="0"/>
                    <a:pt x="13" y="6"/>
                  </a:cubicBezTo>
                  <a:cubicBezTo>
                    <a:pt x="14" y="7"/>
                    <a:pt x="14" y="8"/>
                    <a:pt x="13" y="8"/>
                  </a:cubicBezTo>
                  <a:lnTo>
                    <a:pt x="13" y="9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7" name="ExtraShape2">
              <a:extLst>
                <a:ext uri="{FF2B5EF4-FFF2-40B4-BE49-F238E27FC236}">
                  <a16:creationId xmlns:a16="http://schemas.microsoft.com/office/drawing/2014/main" id="{060E5F0C-5121-491B-AE7D-B3FF86CA0821}"/>
                </a:ext>
              </a:extLst>
            </p:cNvPr>
            <p:cNvSpPr/>
            <p:nvPr/>
          </p:nvSpPr>
          <p:spPr bwMode="auto">
            <a:xfrm>
              <a:off x="2977161" y="2416764"/>
              <a:ext cx="851296" cy="859766"/>
            </a:xfrm>
            <a:custGeom>
              <a:avLst/>
              <a:gdLst>
                <a:gd name="T0" fmla="*/ 45 w 243"/>
                <a:gd name="T1" fmla="*/ 0 h 245"/>
                <a:gd name="T2" fmla="*/ 56 w 243"/>
                <a:gd name="T3" fmla="*/ 41 h 245"/>
                <a:gd name="T4" fmla="*/ 68 w 243"/>
                <a:gd name="T5" fmla="*/ 82 h 245"/>
                <a:gd name="T6" fmla="*/ 82 w 243"/>
                <a:gd name="T7" fmla="*/ 122 h 245"/>
                <a:gd name="T8" fmla="*/ 99 w 243"/>
                <a:gd name="T9" fmla="*/ 157 h 245"/>
                <a:gd name="T10" fmla="*/ 102 w 243"/>
                <a:gd name="T11" fmla="*/ 161 h 245"/>
                <a:gd name="T12" fmla="*/ 103 w 243"/>
                <a:gd name="T13" fmla="*/ 163 h 245"/>
                <a:gd name="T14" fmla="*/ 104 w 243"/>
                <a:gd name="T15" fmla="*/ 164 h 245"/>
                <a:gd name="T16" fmla="*/ 104 w 243"/>
                <a:gd name="T17" fmla="*/ 164 h 245"/>
                <a:gd name="T18" fmla="*/ 108 w 243"/>
                <a:gd name="T19" fmla="*/ 168 h 245"/>
                <a:gd name="T20" fmla="*/ 124 w 243"/>
                <a:gd name="T21" fmla="*/ 177 h 245"/>
                <a:gd name="T22" fmla="*/ 162 w 243"/>
                <a:gd name="T23" fmla="*/ 194 h 245"/>
                <a:gd name="T24" fmla="*/ 243 w 243"/>
                <a:gd name="T25" fmla="*/ 223 h 245"/>
                <a:gd name="T26" fmla="*/ 238 w 243"/>
                <a:gd name="T27" fmla="*/ 245 h 245"/>
                <a:gd name="T28" fmla="*/ 151 w 243"/>
                <a:gd name="T29" fmla="*/ 228 h 245"/>
                <a:gd name="T30" fmla="*/ 107 w 243"/>
                <a:gd name="T31" fmla="*/ 213 h 245"/>
                <a:gd name="T32" fmla="*/ 85 w 243"/>
                <a:gd name="T33" fmla="*/ 202 h 245"/>
                <a:gd name="T34" fmla="*/ 72 w 243"/>
                <a:gd name="T35" fmla="*/ 192 h 245"/>
                <a:gd name="T36" fmla="*/ 70 w 243"/>
                <a:gd name="T37" fmla="*/ 190 h 245"/>
                <a:gd name="T38" fmla="*/ 69 w 243"/>
                <a:gd name="T39" fmla="*/ 189 h 245"/>
                <a:gd name="T40" fmla="*/ 67 w 243"/>
                <a:gd name="T41" fmla="*/ 186 h 245"/>
                <a:gd name="T42" fmla="*/ 63 w 243"/>
                <a:gd name="T43" fmla="*/ 181 h 245"/>
                <a:gd name="T44" fmla="*/ 41 w 243"/>
                <a:gd name="T45" fmla="*/ 139 h 245"/>
                <a:gd name="T46" fmla="*/ 24 w 243"/>
                <a:gd name="T47" fmla="*/ 97 h 245"/>
                <a:gd name="T48" fmla="*/ 0 w 243"/>
                <a:gd name="T49" fmla="*/ 11 h 245"/>
                <a:gd name="T50" fmla="*/ 45 w 243"/>
                <a:gd name="T5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3" h="245">
                  <a:moveTo>
                    <a:pt x="45" y="0"/>
                  </a:moveTo>
                  <a:cubicBezTo>
                    <a:pt x="49" y="13"/>
                    <a:pt x="52" y="27"/>
                    <a:pt x="56" y="41"/>
                  </a:cubicBezTo>
                  <a:cubicBezTo>
                    <a:pt x="60" y="55"/>
                    <a:pt x="64" y="68"/>
                    <a:pt x="68" y="82"/>
                  </a:cubicBezTo>
                  <a:cubicBezTo>
                    <a:pt x="73" y="95"/>
                    <a:pt x="77" y="109"/>
                    <a:pt x="82" y="122"/>
                  </a:cubicBezTo>
                  <a:cubicBezTo>
                    <a:pt x="87" y="134"/>
                    <a:pt x="93" y="147"/>
                    <a:pt x="99" y="157"/>
                  </a:cubicBezTo>
                  <a:cubicBezTo>
                    <a:pt x="100" y="159"/>
                    <a:pt x="101" y="160"/>
                    <a:pt x="102" y="161"/>
                  </a:cubicBezTo>
                  <a:cubicBezTo>
                    <a:pt x="103" y="163"/>
                    <a:pt x="103" y="163"/>
                    <a:pt x="103" y="163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4"/>
                    <a:pt x="105" y="166"/>
                    <a:pt x="108" y="168"/>
                  </a:cubicBezTo>
                  <a:cubicBezTo>
                    <a:pt x="112" y="171"/>
                    <a:pt x="118" y="174"/>
                    <a:pt x="124" y="177"/>
                  </a:cubicBezTo>
                  <a:cubicBezTo>
                    <a:pt x="136" y="183"/>
                    <a:pt x="149" y="188"/>
                    <a:pt x="162" y="194"/>
                  </a:cubicBezTo>
                  <a:cubicBezTo>
                    <a:pt x="188" y="204"/>
                    <a:pt x="216" y="213"/>
                    <a:pt x="243" y="223"/>
                  </a:cubicBezTo>
                  <a:cubicBezTo>
                    <a:pt x="238" y="245"/>
                    <a:pt x="238" y="245"/>
                    <a:pt x="238" y="245"/>
                  </a:cubicBezTo>
                  <a:cubicBezTo>
                    <a:pt x="208" y="241"/>
                    <a:pt x="180" y="235"/>
                    <a:pt x="151" y="228"/>
                  </a:cubicBezTo>
                  <a:cubicBezTo>
                    <a:pt x="136" y="223"/>
                    <a:pt x="122" y="219"/>
                    <a:pt x="107" y="213"/>
                  </a:cubicBezTo>
                  <a:cubicBezTo>
                    <a:pt x="100" y="210"/>
                    <a:pt x="93" y="207"/>
                    <a:pt x="85" y="202"/>
                  </a:cubicBezTo>
                  <a:cubicBezTo>
                    <a:pt x="81" y="200"/>
                    <a:pt x="77" y="197"/>
                    <a:pt x="72" y="192"/>
                  </a:cubicBezTo>
                  <a:cubicBezTo>
                    <a:pt x="70" y="190"/>
                    <a:pt x="70" y="190"/>
                    <a:pt x="70" y="190"/>
                  </a:cubicBezTo>
                  <a:cubicBezTo>
                    <a:pt x="69" y="189"/>
                    <a:pt x="69" y="189"/>
                    <a:pt x="69" y="189"/>
                  </a:cubicBezTo>
                  <a:cubicBezTo>
                    <a:pt x="67" y="186"/>
                    <a:pt x="67" y="186"/>
                    <a:pt x="67" y="186"/>
                  </a:cubicBezTo>
                  <a:cubicBezTo>
                    <a:pt x="66" y="184"/>
                    <a:pt x="65" y="183"/>
                    <a:pt x="63" y="181"/>
                  </a:cubicBezTo>
                  <a:cubicBezTo>
                    <a:pt x="54" y="167"/>
                    <a:pt x="47" y="153"/>
                    <a:pt x="41" y="139"/>
                  </a:cubicBezTo>
                  <a:cubicBezTo>
                    <a:pt x="35" y="125"/>
                    <a:pt x="29" y="111"/>
                    <a:pt x="24" y="97"/>
                  </a:cubicBezTo>
                  <a:cubicBezTo>
                    <a:pt x="15" y="68"/>
                    <a:pt x="6" y="40"/>
                    <a:pt x="0" y="11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8" name="ExtraShape3">
              <a:extLst>
                <a:ext uri="{FF2B5EF4-FFF2-40B4-BE49-F238E27FC236}">
                  <a16:creationId xmlns:a16="http://schemas.microsoft.com/office/drawing/2014/main" id="{7E351FC0-EC73-4463-8870-A80424056A90}"/>
                </a:ext>
              </a:extLst>
            </p:cNvPr>
            <p:cNvSpPr/>
            <p:nvPr/>
          </p:nvSpPr>
          <p:spPr bwMode="auto">
            <a:xfrm>
              <a:off x="2903043" y="2293939"/>
              <a:ext cx="347295" cy="501884"/>
            </a:xfrm>
            <a:custGeom>
              <a:avLst/>
              <a:gdLst>
                <a:gd name="T0" fmla="*/ 15 w 99"/>
                <a:gd name="T1" fmla="*/ 27 h 143"/>
                <a:gd name="T2" fmla="*/ 25 w 99"/>
                <a:gd name="T3" fmla="*/ 143 h 143"/>
                <a:gd name="T4" fmla="*/ 99 w 99"/>
                <a:gd name="T5" fmla="*/ 124 h 143"/>
                <a:gd name="T6" fmla="*/ 79 w 99"/>
                <a:gd name="T7" fmla="*/ 40 h 143"/>
                <a:gd name="T8" fmla="*/ 15 w 99"/>
                <a:gd name="T9" fmla="*/ 2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143">
                  <a:moveTo>
                    <a:pt x="15" y="27"/>
                  </a:moveTo>
                  <a:cubicBezTo>
                    <a:pt x="0" y="62"/>
                    <a:pt x="25" y="143"/>
                    <a:pt x="25" y="143"/>
                  </a:cubicBezTo>
                  <a:cubicBezTo>
                    <a:pt x="99" y="124"/>
                    <a:pt x="99" y="124"/>
                    <a:pt x="99" y="124"/>
                  </a:cubicBezTo>
                  <a:cubicBezTo>
                    <a:pt x="99" y="124"/>
                    <a:pt x="91" y="77"/>
                    <a:pt x="79" y="40"/>
                  </a:cubicBezTo>
                  <a:cubicBezTo>
                    <a:pt x="66" y="2"/>
                    <a:pt x="27" y="0"/>
                    <a:pt x="15" y="2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89" name="ExtraShape4">
              <a:extLst>
                <a:ext uri="{FF2B5EF4-FFF2-40B4-BE49-F238E27FC236}">
                  <a16:creationId xmlns:a16="http://schemas.microsoft.com/office/drawing/2014/main" id="{E9C95CFE-97AE-482E-8509-D793E00E86DA}"/>
                </a:ext>
              </a:extLst>
            </p:cNvPr>
            <p:cNvSpPr/>
            <p:nvPr/>
          </p:nvSpPr>
          <p:spPr bwMode="auto">
            <a:xfrm>
              <a:off x="3775515" y="3179117"/>
              <a:ext cx="141884" cy="135530"/>
            </a:xfrm>
            <a:custGeom>
              <a:avLst/>
              <a:gdLst>
                <a:gd name="T0" fmla="*/ 9 w 40"/>
                <a:gd name="T1" fmla="*/ 5 h 39"/>
                <a:gd name="T2" fmla="*/ 40 w 40"/>
                <a:gd name="T3" fmla="*/ 0 h 39"/>
                <a:gd name="T4" fmla="*/ 27 w 40"/>
                <a:gd name="T5" fmla="*/ 39 h 39"/>
                <a:gd name="T6" fmla="*/ 1 w 40"/>
                <a:gd name="T7" fmla="*/ 22 h 39"/>
                <a:gd name="T8" fmla="*/ 9 w 40"/>
                <a:gd name="T9" fmla="*/ 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9">
                  <a:moveTo>
                    <a:pt x="9" y="5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0" y="37"/>
                    <a:pt x="1" y="22"/>
                  </a:cubicBezTo>
                  <a:lnTo>
                    <a:pt x="9" y="5"/>
                  </a:ln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0" name="ExtraShape5">
              <a:extLst>
                <a:ext uri="{FF2B5EF4-FFF2-40B4-BE49-F238E27FC236}">
                  <a16:creationId xmlns:a16="http://schemas.microsoft.com/office/drawing/2014/main" id="{63024FDC-609D-447F-86BA-139EB64ACA19}"/>
                </a:ext>
              </a:extLst>
            </p:cNvPr>
            <p:cNvSpPr/>
            <p:nvPr/>
          </p:nvSpPr>
          <p:spPr bwMode="auto">
            <a:xfrm>
              <a:off x="3870809" y="3179117"/>
              <a:ext cx="148235" cy="160942"/>
            </a:xfrm>
            <a:custGeom>
              <a:avLst/>
              <a:gdLst>
                <a:gd name="T0" fmla="*/ 70 w 70"/>
                <a:gd name="T1" fmla="*/ 23 h 76"/>
                <a:gd name="T2" fmla="*/ 50 w 70"/>
                <a:gd name="T3" fmla="*/ 76 h 76"/>
                <a:gd name="T4" fmla="*/ 0 w 70"/>
                <a:gd name="T5" fmla="*/ 64 h 76"/>
                <a:gd name="T6" fmla="*/ 22 w 70"/>
                <a:gd name="T7" fmla="*/ 0 h 76"/>
                <a:gd name="T8" fmla="*/ 70 w 70"/>
                <a:gd name="T9" fmla="*/ 2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76">
                  <a:moveTo>
                    <a:pt x="70" y="23"/>
                  </a:moveTo>
                  <a:lnTo>
                    <a:pt x="50" y="76"/>
                  </a:lnTo>
                  <a:lnTo>
                    <a:pt x="0" y="64"/>
                  </a:lnTo>
                  <a:lnTo>
                    <a:pt x="22" y="0"/>
                  </a:lnTo>
                  <a:lnTo>
                    <a:pt x="70" y="23"/>
                  </a:lnTo>
                  <a:close/>
                </a:path>
              </a:pathLst>
            </a:custGeom>
            <a:solidFill>
              <a:srgbClr val="FFC3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1" name="ExtraShape6">
              <a:extLst>
                <a:ext uri="{FF2B5EF4-FFF2-40B4-BE49-F238E27FC236}">
                  <a16:creationId xmlns:a16="http://schemas.microsoft.com/office/drawing/2014/main" id="{2A4B870A-82D3-4FF9-B1FC-DD0E3EE999B9}"/>
                </a:ext>
              </a:extLst>
            </p:cNvPr>
            <p:cNvSpPr/>
            <p:nvPr/>
          </p:nvSpPr>
          <p:spPr bwMode="auto">
            <a:xfrm>
              <a:off x="2913631" y="5186649"/>
              <a:ext cx="283765" cy="74119"/>
            </a:xfrm>
            <a:custGeom>
              <a:avLst/>
              <a:gdLst>
                <a:gd name="T0" fmla="*/ 134 w 134"/>
                <a:gd name="T1" fmla="*/ 0 h 35"/>
                <a:gd name="T2" fmla="*/ 116 w 134"/>
                <a:gd name="T3" fmla="*/ 0 h 35"/>
                <a:gd name="T4" fmla="*/ 18 w 134"/>
                <a:gd name="T5" fmla="*/ 0 h 35"/>
                <a:gd name="T6" fmla="*/ 6 w 134"/>
                <a:gd name="T7" fmla="*/ 0 h 35"/>
                <a:gd name="T8" fmla="*/ 0 w 134"/>
                <a:gd name="T9" fmla="*/ 35 h 35"/>
                <a:gd name="T10" fmla="*/ 117 w 134"/>
                <a:gd name="T11" fmla="*/ 35 h 35"/>
                <a:gd name="T12" fmla="*/ 134 w 134"/>
                <a:gd name="T1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35">
                  <a:moveTo>
                    <a:pt x="134" y="0"/>
                  </a:moveTo>
                  <a:lnTo>
                    <a:pt x="116" y="0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35"/>
                  </a:lnTo>
                  <a:lnTo>
                    <a:pt x="117" y="35"/>
                  </a:lnTo>
                  <a:lnTo>
                    <a:pt x="13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2" name="ExtraShape7">
              <a:extLst>
                <a:ext uri="{FF2B5EF4-FFF2-40B4-BE49-F238E27FC236}">
                  <a16:creationId xmlns:a16="http://schemas.microsoft.com/office/drawing/2014/main" id="{80D84127-2F43-413D-AF5D-47D1EDA1D31F}"/>
                </a:ext>
              </a:extLst>
            </p:cNvPr>
            <p:cNvSpPr/>
            <p:nvPr/>
          </p:nvSpPr>
          <p:spPr bwMode="auto">
            <a:xfrm>
              <a:off x="3519279" y="5186649"/>
              <a:ext cx="264707" cy="74119"/>
            </a:xfrm>
            <a:custGeom>
              <a:avLst/>
              <a:gdLst>
                <a:gd name="T0" fmla="*/ 125 w 125"/>
                <a:gd name="T1" fmla="*/ 0 h 35"/>
                <a:gd name="T2" fmla="*/ 110 w 125"/>
                <a:gd name="T3" fmla="*/ 0 h 35"/>
                <a:gd name="T4" fmla="*/ 19 w 125"/>
                <a:gd name="T5" fmla="*/ 2 h 35"/>
                <a:gd name="T6" fmla="*/ 2 w 125"/>
                <a:gd name="T7" fmla="*/ 2 h 35"/>
                <a:gd name="T8" fmla="*/ 0 w 125"/>
                <a:gd name="T9" fmla="*/ 35 h 35"/>
                <a:gd name="T10" fmla="*/ 118 w 125"/>
                <a:gd name="T11" fmla="*/ 35 h 35"/>
                <a:gd name="T12" fmla="*/ 125 w 125"/>
                <a:gd name="T1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35">
                  <a:moveTo>
                    <a:pt x="125" y="0"/>
                  </a:moveTo>
                  <a:lnTo>
                    <a:pt x="110" y="0"/>
                  </a:lnTo>
                  <a:lnTo>
                    <a:pt x="19" y="2"/>
                  </a:lnTo>
                  <a:lnTo>
                    <a:pt x="2" y="2"/>
                  </a:lnTo>
                  <a:lnTo>
                    <a:pt x="0" y="35"/>
                  </a:lnTo>
                  <a:lnTo>
                    <a:pt x="118" y="35"/>
                  </a:lnTo>
                  <a:lnTo>
                    <a:pt x="1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3" name="ExtraShape8">
              <a:extLst>
                <a:ext uri="{FF2B5EF4-FFF2-40B4-BE49-F238E27FC236}">
                  <a16:creationId xmlns:a16="http://schemas.microsoft.com/office/drawing/2014/main" id="{B5A728AA-1412-48FD-8F57-8AC63DA132D0}"/>
                </a:ext>
              </a:extLst>
            </p:cNvPr>
            <p:cNvSpPr/>
            <p:nvPr/>
          </p:nvSpPr>
          <p:spPr bwMode="auto">
            <a:xfrm>
              <a:off x="2913631" y="5186649"/>
              <a:ext cx="283765" cy="74119"/>
            </a:xfrm>
            <a:custGeom>
              <a:avLst/>
              <a:gdLst>
                <a:gd name="T0" fmla="*/ 134 w 134"/>
                <a:gd name="T1" fmla="*/ 0 h 35"/>
                <a:gd name="T2" fmla="*/ 116 w 134"/>
                <a:gd name="T3" fmla="*/ 0 h 35"/>
                <a:gd name="T4" fmla="*/ 18 w 134"/>
                <a:gd name="T5" fmla="*/ 0 h 35"/>
                <a:gd name="T6" fmla="*/ 6 w 134"/>
                <a:gd name="T7" fmla="*/ 0 h 35"/>
                <a:gd name="T8" fmla="*/ 0 w 134"/>
                <a:gd name="T9" fmla="*/ 35 h 35"/>
                <a:gd name="T10" fmla="*/ 117 w 134"/>
                <a:gd name="T11" fmla="*/ 35 h 35"/>
                <a:gd name="T12" fmla="*/ 134 w 134"/>
                <a:gd name="T1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35">
                  <a:moveTo>
                    <a:pt x="134" y="0"/>
                  </a:moveTo>
                  <a:lnTo>
                    <a:pt x="116" y="0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35"/>
                  </a:lnTo>
                  <a:lnTo>
                    <a:pt x="117" y="3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264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  <p:sp>
          <p:nvSpPr>
            <p:cNvPr id="94" name="ExtraShape9">
              <a:extLst>
                <a:ext uri="{FF2B5EF4-FFF2-40B4-BE49-F238E27FC236}">
                  <a16:creationId xmlns:a16="http://schemas.microsoft.com/office/drawing/2014/main" id="{C42D9B19-8CB5-4A06-916F-6BD87D72840A}"/>
                </a:ext>
              </a:extLst>
            </p:cNvPr>
            <p:cNvSpPr/>
            <p:nvPr/>
          </p:nvSpPr>
          <p:spPr bwMode="auto">
            <a:xfrm>
              <a:off x="3519279" y="5186649"/>
              <a:ext cx="264707" cy="74119"/>
            </a:xfrm>
            <a:custGeom>
              <a:avLst/>
              <a:gdLst>
                <a:gd name="T0" fmla="*/ 125 w 125"/>
                <a:gd name="T1" fmla="*/ 0 h 35"/>
                <a:gd name="T2" fmla="*/ 110 w 125"/>
                <a:gd name="T3" fmla="*/ 0 h 35"/>
                <a:gd name="T4" fmla="*/ 19 w 125"/>
                <a:gd name="T5" fmla="*/ 2 h 35"/>
                <a:gd name="T6" fmla="*/ 2 w 125"/>
                <a:gd name="T7" fmla="*/ 2 h 35"/>
                <a:gd name="T8" fmla="*/ 0 w 125"/>
                <a:gd name="T9" fmla="*/ 35 h 35"/>
                <a:gd name="T10" fmla="*/ 118 w 125"/>
                <a:gd name="T11" fmla="*/ 35 h 35"/>
                <a:gd name="T12" fmla="*/ 125 w 125"/>
                <a:gd name="T1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35">
                  <a:moveTo>
                    <a:pt x="125" y="0"/>
                  </a:moveTo>
                  <a:lnTo>
                    <a:pt x="110" y="0"/>
                  </a:lnTo>
                  <a:lnTo>
                    <a:pt x="19" y="2"/>
                  </a:lnTo>
                  <a:lnTo>
                    <a:pt x="2" y="2"/>
                  </a:lnTo>
                  <a:lnTo>
                    <a:pt x="0" y="35"/>
                  </a:lnTo>
                  <a:lnTo>
                    <a:pt x="118" y="35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rgbClr val="264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j-lt"/>
              </a:endParaRPr>
            </a:p>
          </p:txBody>
        </p:sp>
      </p:grpSp>
      <p:sp>
        <p:nvSpPr>
          <p:cNvPr id="95" name="Freeform 5"/>
          <p:cNvSpPr>
            <a:spLocks/>
          </p:cNvSpPr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+mj-lt"/>
            </a:endParaRPr>
          </a:p>
        </p:txBody>
      </p:sp>
      <p:sp>
        <p:nvSpPr>
          <p:cNvPr id="97" name="文本框 23"/>
          <p:cNvSpPr txBox="1"/>
          <p:nvPr/>
        </p:nvSpPr>
        <p:spPr>
          <a:xfrm>
            <a:off x="136715" y="189159"/>
            <a:ext cx="4486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3200" b="1" dirty="0">
                <a:solidFill>
                  <a:srgbClr val="C050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1</a:t>
            </a:r>
            <a:r>
              <a:rPr lang="en-US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  </a:t>
            </a:r>
            <a:r>
              <a:rPr lang="tr-TR" altLang="zh-CN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  TITLE HERE</a:t>
            </a:r>
            <a:endParaRPr lang="en-US" altLang="zh-CN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47687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îšliḑê"/>
          <p:cNvSpPr>
            <a:spLocks noGrp="1"/>
          </p:cNvSpPr>
          <p:nvPr>
            <p:ph type="title"/>
          </p:nvPr>
        </p:nvSpPr>
        <p:spPr>
          <a:xfrm>
            <a:off x="675698" y="4185069"/>
            <a:ext cx="5419185" cy="895350"/>
          </a:xfrm>
        </p:spPr>
        <p:txBody>
          <a:bodyPr>
            <a:normAutofit/>
          </a:bodyPr>
          <a:lstStyle/>
          <a:p>
            <a:r>
              <a:rPr lang="en-US" altLang="zh-CN" sz="4800" dirty="0"/>
              <a:t>CONFERENCES</a:t>
            </a:r>
            <a:endParaRPr lang="zh-CN" altLang="en-US" sz="4800" dirty="0"/>
          </a:p>
        </p:txBody>
      </p:sp>
      <p:sp>
        <p:nvSpPr>
          <p:cNvPr id="11" name="íślíd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/0</a:t>
            </a:r>
            <a:r>
              <a:rPr lang="tr-TR" altLang="zh-CN" spc="1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2</a:t>
            </a:r>
            <a:endParaRPr lang="zh-CN" altLang="en-US" spc="1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54425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bb7e4016-7354-4b99-bb83-4933409858c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NUMBER"/>
  <p:tag name="ID" val="553512"/>
  <p:tag name="MH_ORDER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ENTRY"/>
  <p:tag name="ID" val="553512"/>
  <p:tag name="MH_ORDER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NUMBER"/>
  <p:tag name="ID" val="553512"/>
  <p:tag name="MH_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ENTRY"/>
  <p:tag name="ID" val="553512"/>
  <p:tag name="MH_OR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NUMBER"/>
  <p:tag name="ID" val="553512"/>
  <p:tag name="MH_ORDER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ENTRY"/>
  <p:tag name="ID" val="553512"/>
  <p:tag name="MH_ORDER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NUMBER"/>
  <p:tag name="ID" val="553512"/>
  <p:tag name="MH_ORDER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830110146"/>
  <p:tag name="MH_LIBRARY" val="CONTENTS"/>
  <p:tag name="MH_TYPE" val="ENTRY"/>
  <p:tag name="ID" val="553512"/>
  <p:tag name="MH_ORDER" val="3"/>
</p:tagLst>
</file>

<file path=ppt/theme/theme1.xml><?xml version="1.0" encoding="utf-8"?>
<a:theme xmlns:a="http://schemas.openxmlformats.org/drawingml/2006/main" name="Space Science PPT Template, Freepptbackgrounds.net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61B3"/>
      </a:accent1>
      <a:accent2>
        <a:srgbClr val="0EAFFD"/>
      </a:accent2>
      <a:accent3>
        <a:srgbClr val="00A6D9"/>
      </a:accent3>
      <a:accent4>
        <a:srgbClr val="818181"/>
      </a:accent4>
      <a:accent5>
        <a:srgbClr val="A5A5A5"/>
      </a:accent5>
      <a:accent6>
        <a:srgbClr val="C9C9C9"/>
      </a:accent6>
      <a:hlink>
        <a:srgbClr val="4472C4"/>
      </a:hlink>
      <a:folHlink>
        <a:srgbClr val="BFBFBF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81CBFF"/>
            </a:gs>
            <a:gs pos="100000">
              <a:srgbClr val="4F86FF"/>
            </a:gs>
          </a:gsLst>
          <a:lin ang="5400000" scaled="1"/>
        </a:gradFill>
        <a:ln w="27521" cap="flat">
          <a:noFill/>
          <a:prstDash val="solid"/>
          <a:miter/>
        </a:ln>
      </a:spPr>
      <a:bodyPr rtlCol="0" anchor="ctr"/>
      <a:lstStyle>
        <a:defPPr>
          <a:defRPr/>
        </a:defPPr>
      </a:lst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b7e4016-7354-4b99-bb83-4933409858cd-16x9</Template>
  <TotalTime>47</TotalTime>
  <Words>557</Words>
  <Application>Microsoft Macintosh PowerPoint</Application>
  <PresentationFormat>Geniş ekran</PresentationFormat>
  <Paragraphs>199</Paragraphs>
  <Slides>31</Slides>
  <Notes>0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1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31</vt:i4>
      </vt:variant>
    </vt:vector>
  </HeadingPairs>
  <TitlesOfParts>
    <vt:vector size="39" baseType="lpstr">
      <vt:lpstr>等线</vt:lpstr>
      <vt:lpstr>Arial</vt:lpstr>
      <vt:lpstr>Calibri</vt:lpstr>
      <vt:lpstr>Gill Sans MT</vt:lpstr>
      <vt:lpstr>Impact</vt:lpstr>
      <vt:lpstr>Wingdings</vt:lpstr>
      <vt:lpstr>Space Science PPT Template, Freepptbackgrounds.net</vt:lpstr>
      <vt:lpstr>think-cell Slide</vt:lpstr>
      <vt:lpstr>SPACE SCIENCE</vt:lpstr>
      <vt:lpstr>PowerPoint Sunusu</vt:lpstr>
      <vt:lpstr>PARTNERSHIPS</vt:lpstr>
      <vt:lpstr>PowerPoint Sunusu</vt:lpstr>
      <vt:lpstr>PowerPoint Sunusu</vt:lpstr>
      <vt:lpstr>PowerPoint Sunusu</vt:lpstr>
      <vt:lpstr>PowerPoint Sunusu</vt:lpstr>
      <vt:lpstr>PowerPoint Sunusu</vt:lpstr>
      <vt:lpstr>CONFERENCES</vt:lpstr>
      <vt:lpstr>PowerPoint Sunusu</vt:lpstr>
      <vt:lpstr>PowerPoint Sunusu</vt:lpstr>
      <vt:lpstr>PowerPoint Sunusu</vt:lpstr>
      <vt:lpstr>PowerPoint Sunusu</vt:lpstr>
      <vt:lpstr>EVENTS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Thanks! Space Science PPT Template</vt:lpstr>
    </vt:vector>
  </TitlesOfParts>
  <Manager/>
  <Company>Freepptbackgrounds.net</Company>
  <LinksUpToDate>false</LinksUpToDate>
  <SharedDoc>false</SharedDoc>
  <HyperlinkBase>https://www.freepptbackgrounds.net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ace Science PPT Template</dc:title>
  <dc:subject>Powerpoint Template</dc:subject>
  <dc:creator>Freepptbackgrounds.net</dc:creator>
  <cp:keywords>Space Science PPT Template</cp:keywords>
  <dc:description>Space Science PPT Template_x000d_
www.freepptbackgrounds.net</dc:description>
  <cp:lastModifiedBy>Hiko ®</cp:lastModifiedBy>
  <cp:revision>23</cp:revision>
  <cp:lastPrinted>2019-07-31T16:00:00Z</cp:lastPrinted>
  <dcterms:created xsi:type="dcterms:W3CDTF">2019-10-09T01:10:37Z</dcterms:created>
  <dcterms:modified xsi:type="dcterms:W3CDTF">2020-05-19T20:55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